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22"/>
  </p:notesMasterIdLst>
  <p:handoutMasterIdLst>
    <p:handoutMasterId r:id="rId23"/>
  </p:handoutMasterIdLst>
  <p:sldIdLst>
    <p:sldId id="260" r:id="rId3"/>
    <p:sldId id="262" r:id="rId4"/>
    <p:sldId id="261" r:id="rId5"/>
    <p:sldId id="2134805962" r:id="rId6"/>
    <p:sldId id="2134805982" r:id="rId7"/>
    <p:sldId id="263" r:id="rId8"/>
    <p:sldId id="2134805972" r:id="rId9"/>
    <p:sldId id="264" r:id="rId10"/>
    <p:sldId id="445" r:id="rId11"/>
    <p:sldId id="434" r:id="rId12"/>
    <p:sldId id="2134805979" r:id="rId13"/>
    <p:sldId id="2134805964" r:id="rId14"/>
    <p:sldId id="2134805976" r:id="rId15"/>
    <p:sldId id="2134805966" r:id="rId16"/>
    <p:sldId id="2134805967" r:id="rId17"/>
    <p:sldId id="2134805968" r:id="rId18"/>
    <p:sldId id="2076138234" r:id="rId19"/>
    <p:sldId id="440" r:id="rId20"/>
    <p:sldId id="2134805977" r:id="rId21"/>
  </p:sldIdLst>
  <p:sldSz cx="9144000" cy="5143500" type="screen16x9"/>
  <p:notesSz cx="7010400" cy="92964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" userDrawn="1">
          <p15:clr>
            <a:srgbClr val="A4A3A4"/>
          </p15:clr>
        </p15:guide>
        <p15:guide id="2" pos="15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ikh, Rahab P" initials="SRP" lastIdx="1" clrIdx="0">
    <p:extLst>
      <p:ext uri="{19B8F6BF-5375-455C-9EA6-DF929625EA0E}">
        <p15:presenceInfo xmlns:p15="http://schemas.microsoft.com/office/powerpoint/2012/main" userId="S::Rahab.P.Sheikh@medstar.net::1364a2c9-8eb1-465e-9d19-551d5558100f" providerId="AD"/>
      </p:ext>
    </p:extLst>
  </p:cmAuthor>
  <p:cmAuthor id="2" name="Banu Eyueboglu Seitz" initials="BES" lastIdx="1" clrIdx="1">
    <p:extLst>
      <p:ext uri="{19B8F6BF-5375-455C-9EA6-DF929625EA0E}">
        <p15:presenceInfo xmlns:p15="http://schemas.microsoft.com/office/powerpoint/2012/main" userId="S::banu.eyueboglu@biotronik.com::6bafe8de-3530-4c82-8a6c-c8ec9a6ef5b2" providerId="AD"/>
      </p:ext>
    </p:extLst>
  </p:cmAuthor>
  <p:cmAuthor id="3" name="Stephanie Sauter" initials="SS" lastIdx="7" clrIdx="2">
    <p:extLst>
      <p:ext uri="{19B8F6BF-5375-455C-9EA6-DF929625EA0E}">
        <p15:presenceInfo xmlns:p15="http://schemas.microsoft.com/office/powerpoint/2012/main" userId="S::stephanie.sauter@biotronik.com::072d29eb-2662-44a0-9b18-cccd89e356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F6E0"/>
    <a:srgbClr val="E1E7EB"/>
    <a:srgbClr val="DDDDDD"/>
    <a:srgbClr val="09E6F1"/>
    <a:srgbClr val="EAEAEA"/>
    <a:srgbClr val="66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591" autoAdjust="0"/>
    <p:restoredTop sz="94643" autoAdjust="0"/>
  </p:normalViewPr>
  <p:slideViewPr>
    <p:cSldViewPr>
      <p:cViewPr>
        <p:scale>
          <a:sx n="66" d="100"/>
          <a:sy n="66" d="100"/>
        </p:scale>
        <p:origin x="1204" y="176"/>
      </p:cViewPr>
      <p:guideLst>
        <p:guide orient="horz" pos="180"/>
        <p:guide pos="15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92" d="100"/>
          <a:sy n="92" d="100"/>
        </p:scale>
        <p:origin x="-3780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5713108364725231E-2"/>
          <c:y val="3.4107421321236175E-2"/>
          <c:w val="0.80540434998952781"/>
          <c:h val="0.83346356012546075"/>
        </c:manualLayout>
      </c:layout>
      <c:scatterChart>
        <c:scatterStyle val="lineMarker"/>
        <c:varyColors val="0"/>
        <c:ser>
          <c:idx val="2"/>
          <c:order val="2"/>
          <c:tx>
            <c:strRef>
              <c:f>InScaffold!$O$1</c:f>
              <c:strCache>
                <c:ptCount val="1"/>
                <c:pt idx="0">
                  <c:v>BIOMAG I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xVal>
            <c:numRef>
              <c:f>InScaffold!$O$6:$O$116</c:f>
              <c:numCache>
                <c:formatCode>General</c:formatCode>
                <c:ptCount val="111"/>
                <c:pt idx="0">
                  <c:v>-0.39000000000000012</c:v>
                </c:pt>
                <c:pt idx="1">
                  <c:v>-0.33000000000000007</c:v>
                </c:pt>
                <c:pt idx="2">
                  <c:v>-0.12999999999999989</c:v>
                </c:pt>
                <c:pt idx="3">
                  <c:v>-0.10000000000000009</c:v>
                </c:pt>
                <c:pt idx="4">
                  <c:v>-6.999999999999984E-2</c:v>
                </c:pt>
                <c:pt idx="5">
                  <c:v>-6.999999999999984E-2</c:v>
                </c:pt>
                <c:pt idx="6">
                  <c:v>-6.0000000000000053E-2</c:v>
                </c:pt>
                <c:pt idx="7">
                  <c:v>-5.0000000000000266E-2</c:v>
                </c:pt>
                <c:pt idx="8">
                  <c:v>-4.9999999999999822E-2</c:v>
                </c:pt>
                <c:pt idx="9">
                  <c:v>-4.9999999999999822E-2</c:v>
                </c:pt>
                <c:pt idx="10">
                  <c:v>-4.0000000000000036E-2</c:v>
                </c:pt>
                <c:pt idx="11">
                  <c:v>-3.0000000000000249E-2</c:v>
                </c:pt>
                <c:pt idx="12">
                  <c:v>-2.9999999999999805E-2</c:v>
                </c:pt>
                <c:pt idx="13">
                  <c:v>-2.9999999999999805E-2</c:v>
                </c:pt>
                <c:pt idx="14">
                  <c:v>9.9999999999997868E-3</c:v>
                </c:pt>
                <c:pt idx="15">
                  <c:v>1.9999999999999574E-2</c:v>
                </c:pt>
                <c:pt idx="16">
                  <c:v>2.0000000000000018E-2</c:v>
                </c:pt>
                <c:pt idx="17">
                  <c:v>2.0000000000000018E-2</c:v>
                </c:pt>
                <c:pt idx="18">
                  <c:v>2.0000000000000018E-2</c:v>
                </c:pt>
                <c:pt idx="19">
                  <c:v>2.9999999999999805E-2</c:v>
                </c:pt>
                <c:pt idx="20">
                  <c:v>2.9999999999999805E-2</c:v>
                </c:pt>
                <c:pt idx="21">
                  <c:v>3.0000000000000249E-2</c:v>
                </c:pt>
                <c:pt idx="22">
                  <c:v>3.0000000000000249E-2</c:v>
                </c:pt>
                <c:pt idx="23">
                  <c:v>3.0000000000000249E-2</c:v>
                </c:pt>
                <c:pt idx="24">
                  <c:v>3.0000000000000249E-2</c:v>
                </c:pt>
                <c:pt idx="25">
                  <c:v>4.0000000000000036E-2</c:v>
                </c:pt>
                <c:pt idx="26">
                  <c:v>4.0000000000000036E-2</c:v>
                </c:pt>
                <c:pt idx="27">
                  <c:v>4.9999999999999822E-2</c:v>
                </c:pt>
                <c:pt idx="28">
                  <c:v>4.9999999999999822E-2</c:v>
                </c:pt>
                <c:pt idx="29">
                  <c:v>4.9999999999999822E-2</c:v>
                </c:pt>
                <c:pt idx="30">
                  <c:v>5.0000000000000266E-2</c:v>
                </c:pt>
                <c:pt idx="31">
                  <c:v>6.0000000000000053E-2</c:v>
                </c:pt>
                <c:pt idx="32">
                  <c:v>6.0000000000000053E-2</c:v>
                </c:pt>
                <c:pt idx="33">
                  <c:v>6.999999999999984E-2</c:v>
                </c:pt>
                <c:pt idx="34">
                  <c:v>7.0000000000000284E-2</c:v>
                </c:pt>
                <c:pt idx="35">
                  <c:v>7.0000000000000284E-2</c:v>
                </c:pt>
                <c:pt idx="36">
                  <c:v>7.4999999999999734E-2</c:v>
                </c:pt>
                <c:pt idx="37">
                  <c:v>8.0000000000000071E-2</c:v>
                </c:pt>
                <c:pt idx="38">
                  <c:v>8.0000000000000071E-2</c:v>
                </c:pt>
                <c:pt idx="39">
                  <c:v>8.0000000000000071E-2</c:v>
                </c:pt>
                <c:pt idx="40">
                  <c:v>8.0000000000000071E-2</c:v>
                </c:pt>
                <c:pt idx="41">
                  <c:v>8.0000000000000071E-2</c:v>
                </c:pt>
                <c:pt idx="42">
                  <c:v>8.0000000000000071E-2</c:v>
                </c:pt>
                <c:pt idx="43">
                  <c:v>8.9999999999999858E-2</c:v>
                </c:pt>
                <c:pt idx="44">
                  <c:v>8.9999999999999858E-2</c:v>
                </c:pt>
                <c:pt idx="45">
                  <c:v>9.0000000000000302E-2</c:v>
                </c:pt>
                <c:pt idx="46">
                  <c:v>0.10000000000000009</c:v>
                </c:pt>
                <c:pt idx="47">
                  <c:v>0.10000000000000009</c:v>
                </c:pt>
                <c:pt idx="48">
                  <c:v>0.10000000000000009</c:v>
                </c:pt>
                <c:pt idx="49">
                  <c:v>0.10000000000000009</c:v>
                </c:pt>
                <c:pt idx="50">
                  <c:v>0.11000000000000032</c:v>
                </c:pt>
                <c:pt idx="51">
                  <c:v>0.11999999999999966</c:v>
                </c:pt>
                <c:pt idx="52">
                  <c:v>0.12000000000000011</c:v>
                </c:pt>
                <c:pt idx="53">
                  <c:v>0.12000000000000011</c:v>
                </c:pt>
                <c:pt idx="54">
                  <c:v>0.12999999999999989</c:v>
                </c:pt>
                <c:pt idx="55">
                  <c:v>0.12999999999999989</c:v>
                </c:pt>
                <c:pt idx="56">
                  <c:v>0.12999999999999989</c:v>
                </c:pt>
                <c:pt idx="57">
                  <c:v>0.13000000000000034</c:v>
                </c:pt>
                <c:pt idx="58">
                  <c:v>0.14000000000000012</c:v>
                </c:pt>
                <c:pt idx="59">
                  <c:v>0.14999999999999991</c:v>
                </c:pt>
                <c:pt idx="60">
                  <c:v>0.15000000000000013</c:v>
                </c:pt>
                <c:pt idx="61">
                  <c:v>0.16999999999999993</c:v>
                </c:pt>
                <c:pt idx="62">
                  <c:v>0.16999999999999993</c:v>
                </c:pt>
                <c:pt idx="63">
                  <c:v>0.16999999999999993</c:v>
                </c:pt>
                <c:pt idx="64">
                  <c:v>0.18000000000000016</c:v>
                </c:pt>
                <c:pt idx="65">
                  <c:v>0.18999999999999995</c:v>
                </c:pt>
                <c:pt idx="66">
                  <c:v>0.18999999999999995</c:v>
                </c:pt>
                <c:pt idx="67">
                  <c:v>0.20000000000000018</c:v>
                </c:pt>
                <c:pt idx="68">
                  <c:v>0.20999999999999996</c:v>
                </c:pt>
                <c:pt idx="69">
                  <c:v>0.20999999999999996</c:v>
                </c:pt>
                <c:pt idx="70">
                  <c:v>0.21999999999999997</c:v>
                </c:pt>
                <c:pt idx="71">
                  <c:v>0.22999999999999998</c:v>
                </c:pt>
                <c:pt idx="72">
                  <c:v>0.22999999999999998</c:v>
                </c:pt>
                <c:pt idx="73">
                  <c:v>0.22999999999999998</c:v>
                </c:pt>
                <c:pt idx="74">
                  <c:v>0.25</c:v>
                </c:pt>
                <c:pt idx="75">
                  <c:v>0.25</c:v>
                </c:pt>
                <c:pt idx="76">
                  <c:v>0.25000000000000022</c:v>
                </c:pt>
                <c:pt idx="77">
                  <c:v>0.25999999999999979</c:v>
                </c:pt>
                <c:pt idx="78">
                  <c:v>0.2799999999999998</c:v>
                </c:pt>
                <c:pt idx="79">
                  <c:v>0.28000000000000025</c:v>
                </c:pt>
                <c:pt idx="80">
                  <c:v>0.28000000000000025</c:v>
                </c:pt>
                <c:pt idx="81">
                  <c:v>0.30000000000000004</c:v>
                </c:pt>
                <c:pt idx="82">
                  <c:v>0.31000000000000005</c:v>
                </c:pt>
                <c:pt idx="83">
                  <c:v>0.31999999999999984</c:v>
                </c:pt>
                <c:pt idx="84">
                  <c:v>0.32999999999999985</c:v>
                </c:pt>
                <c:pt idx="85">
                  <c:v>0.33000000000000007</c:v>
                </c:pt>
                <c:pt idx="86">
                  <c:v>0.35000000000000009</c:v>
                </c:pt>
                <c:pt idx="87">
                  <c:v>0.35000000000000009</c:v>
                </c:pt>
                <c:pt idx="88">
                  <c:v>0.35000000000000009</c:v>
                </c:pt>
                <c:pt idx="89">
                  <c:v>0.35500000000000043</c:v>
                </c:pt>
                <c:pt idx="90">
                  <c:v>0.35999999999999988</c:v>
                </c:pt>
                <c:pt idx="91">
                  <c:v>0.36999999999999966</c:v>
                </c:pt>
                <c:pt idx="92">
                  <c:v>0.37999999999999989</c:v>
                </c:pt>
                <c:pt idx="93">
                  <c:v>0.38000000000000012</c:v>
                </c:pt>
                <c:pt idx="94">
                  <c:v>0.4099999999999997</c:v>
                </c:pt>
                <c:pt idx="95">
                  <c:v>0.41000000000000014</c:v>
                </c:pt>
                <c:pt idx="96">
                  <c:v>0.43000000000000016</c:v>
                </c:pt>
                <c:pt idx="97">
                  <c:v>0.44999999999999996</c:v>
                </c:pt>
                <c:pt idx="98">
                  <c:v>0.46999999999999975</c:v>
                </c:pt>
                <c:pt idx="99">
                  <c:v>0.5199999999999998</c:v>
                </c:pt>
                <c:pt idx="100">
                  <c:v>0.54</c:v>
                </c:pt>
                <c:pt idx="101">
                  <c:v>0.62000000000000011</c:v>
                </c:pt>
                <c:pt idx="102">
                  <c:v>0.63999999999999968</c:v>
                </c:pt>
                <c:pt idx="103">
                  <c:v>0.65000000000000013</c:v>
                </c:pt>
                <c:pt idx="104">
                  <c:v>0.67000000000000015</c:v>
                </c:pt>
                <c:pt idx="105">
                  <c:v>0.67000000000000015</c:v>
                </c:pt>
                <c:pt idx="106">
                  <c:v>0.8</c:v>
                </c:pt>
                <c:pt idx="107">
                  <c:v>0.85999999999999988</c:v>
                </c:pt>
                <c:pt idx="108">
                  <c:v>1.1000000000000001</c:v>
                </c:pt>
                <c:pt idx="109">
                  <c:v>1.61</c:v>
                </c:pt>
                <c:pt idx="110">
                  <c:v>1.8299999999999998</c:v>
                </c:pt>
              </c:numCache>
            </c:numRef>
          </c:xVal>
          <c:yVal>
            <c:numRef>
              <c:f>InScaffold!$P$6:$P$116</c:f>
              <c:numCache>
                <c:formatCode>General</c:formatCode>
                <c:ptCount val="111"/>
                <c:pt idx="0">
                  <c:v>0.90090090090090091</c:v>
                </c:pt>
                <c:pt idx="1">
                  <c:v>1.8018018018018018</c:v>
                </c:pt>
                <c:pt idx="2">
                  <c:v>2.7027027027027026</c:v>
                </c:pt>
                <c:pt idx="3">
                  <c:v>3.6036036036036037</c:v>
                </c:pt>
                <c:pt idx="4">
                  <c:v>4.5045045045045047</c:v>
                </c:pt>
                <c:pt idx="5">
                  <c:v>5.4054054054054053</c:v>
                </c:pt>
                <c:pt idx="6">
                  <c:v>6.3063063063063058</c:v>
                </c:pt>
                <c:pt idx="7">
                  <c:v>7.2072072072072073</c:v>
                </c:pt>
                <c:pt idx="8">
                  <c:v>8.1081081081081088</c:v>
                </c:pt>
                <c:pt idx="9">
                  <c:v>9.0090090090090094</c:v>
                </c:pt>
                <c:pt idx="10">
                  <c:v>9.9099099099099099</c:v>
                </c:pt>
                <c:pt idx="11">
                  <c:v>10.810810810810811</c:v>
                </c:pt>
                <c:pt idx="12">
                  <c:v>11.711711711711711</c:v>
                </c:pt>
                <c:pt idx="13">
                  <c:v>12.612612612612612</c:v>
                </c:pt>
                <c:pt idx="14">
                  <c:v>13.513513513513514</c:v>
                </c:pt>
                <c:pt idx="15">
                  <c:v>14.414414414414415</c:v>
                </c:pt>
                <c:pt idx="16">
                  <c:v>15.315315315315313</c:v>
                </c:pt>
                <c:pt idx="17">
                  <c:v>16.216216216216218</c:v>
                </c:pt>
                <c:pt idx="18">
                  <c:v>17.117117117117118</c:v>
                </c:pt>
                <c:pt idx="19">
                  <c:v>18.018018018018019</c:v>
                </c:pt>
                <c:pt idx="20">
                  <c:v>18.918918918918919</c:v>
                </c:pt>
                <c:pt idx="21">
                  <c:v>19.81981981981982</c:v>
                </c:pt>
                <c:pt idx="22">
                  <c:v>20.72072072072072</c:v>
                </c:pt>
                <c:pt idx="23">
                  <c:v>21.621621621621621</c:v>
                </c:pt>
                <c:pt idx="24">
                  <c:v>22.522522522522522</c:v>
                </c:pt>
                <c:pt idx="25">
                  <c:v>23.423423423423422</c:v>
                </c:pt>
                <c:pt idx="26">
                  <c:v>24.324324324324326</c:v>
                </c:pt>
                <c:pt idx="27">
                  <c:v>25.225225225225223</c:v>
                </c:pt>
                <c:pt idx="28">
                  <c:v>26.126126126126124</c:v>
                </c:pt>
                <c:pt idx="29">
                  <c:v>27.027027027027028</c:v>
                </c:pt>
                <c:pt idx="30">
                  <c:v>27.927927927927925</c:v>
                </c:pt>
                <c:pt idx="31">
                  <c:v>28.828828828828829</c:v>
                </c:pt>
                <c:pt idx="32">
                  <c:v>29.72972972972973</c:v>
                </c:pt>
                <c:pt idx="33">
                  <c:v>30.630630630630627</c:v>
                </c:pt>
                <c:pt idx="34">
                  <c:v>31.531531531531531</c:v>
                </c:pt>
                <c:pt idx="35">
                  <c:v>32.432432432432435</c:v>
                </c:pt>
                <c:pt idx="36">
                  <c:v>33.333333333333329</c:v>
                </c:pt>
                <c:pt idx="37">
                  <c:v>34.234234234234236</c:v>
                </c:pt>
                <c:pt idx="38">
                  <c:v>35.135135135135137</c:v>
                </c:pt>
                <c:pt idx="39">
                  <c:v>36.036036036036037</c:v>
                </c:pt>
                <c:pt idx="40">
                  <c:v>36.936936936936938</c:v>
                </c:pt>
                <c:pt idx="41">
                  <c:v>37.837837837837839</c:v>
                </c:pt>
                <c:pt idx="42">
                  <c:v>38.738738738738739</c:v>
                </c:pt>
                <c:pt idx="43">
                  <c:v>39.63963963963964</c:v>
                </c:pt>
                <c:pt idx="44">
                  <c:v>40.54054054054054</c:v>
                </c:pt>
                <c:pt idx="45">
                  <c:v>41.441441441441441</c:v>
                </c:pt>
                <c:pt idx="46">
                  <c:v>42.342342342342342</c:v>
                </c:pt>
                <c:pt idx="47">
                  <c:v>43.243243243243242</c:v>
                </c:pt>
                <c:pt idx="48">
                  <c:v>44.144144144144143</c:v>
                </c:pt>
                <c:pt idx="49">
                  <c:v>45.045045045045043</c:v>
                </c:pt>
                <c:pt idx="50">
                  <c:v>45.945945945945951</c:v>
                </c:pt>
                <c:pt idx="51">
                  <c:v>46.846846846846844</c:v>
                </c:pt>
                <c:pt idx="52">
                  <c:v>47.747747747747752</c:v>
                </c:pt>
                <c:pt idx="53">
                  <c:v>48.648648648648653</c:v>
                </c:pt>
                <c:pt idx="54">
                  <c:v>49.549549549549546</c:v>
                </c:pt>
                <c:pt idx="55">
                  <c:v>50.450450450450447</c:v>
                </c:pt>
                <c:pt idx="56">
                  <c:v>51.351351351351347</c:v>
                </c:pt>
                <c:pt idx="57">
                  <c:v>52.252252252252248</c:v>
                </c:pt>
                <c:pt idx="58">
                  <c:v>53.153153153153156</c:v>
                </c:pt>
                <c:pt idx="59">
                  <c:v>54.054054054054056</c:v>
                </c:pt>
                <c:pt idx="60">
                  <c:v>54.954954954954957</c:v>
                </c:pt>
                <c:pt idx="61">
                  <c:v>55.85585585585585</c:v>
                </c:pt>
                <c:pt idx="62">
                  <c:v>56.756756756756758</c:v>
                </c:pt>
                <c:pt idx="63">
                  <c:v>57.657657657657658</c:v>
                </c:pt>
                <c:pt idx="64">
                  <c:v>58.558558558558559</c:v>
                </c:pt>
                <c:pt idx="65">
                  <c:v>59.45945945945946</c:v>
                </c:pt>
                <c:pt idx="66">
                  <c:v>60.360360360360367</c:v>
                </c:pt>
                <c:pt idx="67">
                  <c:v>61.261261261261254</c:v>
                </c:pt>
                <c:pt idx="68">
                  <c:v>62.162162162162161</c:v>
                </c:pt>
                <c:pt idx="69">
                  <c:v>63.063063063063062</c:v>
                </c:pt>
                <c:pt idx="70">
                  <c:v>63.963963963963963</c:v>
                </c:pt>
                <c:pt idx="71">
                  <c:v>64.86486486486487</c:v>
                </c:pt>
                <c:pt idx="72">
                  <c:v>65.765765765765778</c:v>
                </c:pt>
                <c:pt idx="73">
                  <c:v>66.666666666666657</c:v>
                </c:pt>
                <c:pt idx="74">
                  <c:v>67.567567567567565</c:v>
                </c:pt>
                <c:pt idx="75">
                  <c:v>68.468468468468473</c:v>
                </c:pt>
                <c:pt idx="76">
                  <c:v>69.369369369369366</c:v>
                </c:pt>
                <c:pt idx="77">
                  <c:v>70.270270270270274</c:v>
                </c:pt>
                <c:pt idx="78">
                  <c:v>71.171171171171167</c:v>
                </c:pt>
                <c:pt idx="79">
                  <c:v>72.072072072072075</c:v>
                </c:pt>
                <c:pt idx="80">
                  <c:v>72.972972972972968</c:v>
                </c:pt>
                <c:pt idx="81">
                  <c:v>73.873873873873876</c:v>
                </c:pt>
                <c:pt idx="82">
                  <c:v>74.774774774774784</c:v>
                </c:pt>
                <c:pt idx="83">
                  <c:v>75.675675675675677</c:v>
                </c:pt>
                <c:pt idx="84">
                  <c:v>76.576576576576571</c:v>
                </c:pt>
                <c:pt idx="85">
                  <c:v>77.477477477477478</c:v>
                </c:pt>
                <c:pt idx="86">
                  <c:v>78.378378378378372</c:v>
                </c:pt>
                <c:pt idx="87">
                  <c:v>79.27927927927928</c:v>
                </c:pt>
                <c:pt idx="88">
                  <c:v>80.180180180180187</c:v>
                </c:pt>
                <c:pt idx="89">
                  <c:v>81.081081081081081</c:v>
                </c:pt>
                <c:pt idx="90">
                  <c:v>81.981981981981974</c:v>
                </c:pt>
                <c:pt idx="91">
                  <c:v>82.882882882882882</c:v>
                </c:pt>
                <c:pt idx="92">
                  <c:v>83.78378378378379</c:v>
                </c:pt>
                <c:pt idx="93">
                  <c:v>84.684684684684683</c:v>
                </c:pt>
                <c:pt idx="94">
                  <c:v>85.585585585585591</c:v>
                </c:pt>
                <c:pt idx="95">
                  <c:v>86.486486486486484</c:v>
                </c:pt>
                <c:pt idx="96">
                  <c:v>87.387387387387378</c:v>
                </c:pt>
                <c:pt idx="97">
                  <c:v>88.288288288288285</c:v>
                </c:pt>
                <c:pt idx="98">
                  <c:v>89.189189189189193</c:v>
                </c:pt>
                <c:pt idx="99">
                  <c:v>90.090090090090087</c:v>
                </c:pt>
                <c:pt idx="100">
                  <c:v>90.990990990990994</c:v>
                </c:pt>
                <c:pt idx="101">
                  <c:v>91.891891891891902</c:v>
                </c:pt>
                <c:pt idx="102">
                  <c:v>92.792792792792795</c:v>
                </c:pt>
                <c:pt idx="103">
                  <c:v>93.693693693693689</c:v>
                </c:pt>
                <c:pt idx="104">
                  <c:v>94.594594594594597</c:v>
                </c:pt>
                <c:pt idx="105">
                  <c:v>95.495495495495504</c:v>
                </c:pt>
                <c:pt idx="106">
                  <c:v>96.396396396396398</c:v>
                </c:pt>
                <c:pt idx="107">
                  <c:v>97.297297297297305</c:v>
                </c:pt>
                <c:pt idx="108">
                  <c:v>98.198198198198199</c:v>
                </c:pt>
                <c:pt idx="109">
                  <c:v>99.099099099099092</c:v>
                </c:pt>
                <c:pt idx="110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854-4547-A701-47E1F402A8AD}"/>
            </c:ext>
          </c:extLst>
        </c:ser>
        <c:ser>
          <c:idx val="3"/>
          <c:order val="3"/>
          <c:tx>
            <c:strRef>
              <c:f>InScaffold!$L$1</c:f>
              <c:strCache>
                <c:ptCount val="1"/>
                <c:pt idx="0">
                  <c:v>BIOSOLVE II</c:v>
                </c:pt>
              </c:strCache>
            </c:strRef>
          </c:tx>
          <c:spPr>
            <a:ln w="28575" cap="rnd">
              <a:solidFill>
                <a:srgbClr val="6699FF"/>
              </a:solidFill>
              <a:round/>
            </a:ln>
            <a:effectLst/>
          </c:spPr>
          <c:marker>
            <c:symbol val="none"/>
          </c:marker>
          <c:xVal>
            <c:numRef>
              <c:f>InScaffold!$L$6:$L$109</c:f>
              <c:numCache>
                <c:formatCode>General</c:formatCode>
                <c:ptCount val="104"/>
                <c:pt idx="0">
                  <c:v>-0.190301921317474</c:v>
                </c:pt>
                <c:pt idx="1">
                  <c:v>-9.9725526075022705E-2</c:v>
                </c:pt>
                <c:pt idx="2">
                  <c:v>-9.4236047575480195E-2</c:v>
                </c:pt>
                <c:pt idx="3">
                  <c:v>-6.1299176578224902E-2</c:v>
                </c:pt>
                <c:pt idx="4">
                  <c:v>-5.5809698078682399E-2</c:v>
                </c:pt>
                <c:pt idx="5">
                  <c:v>-4.7575480329368598E-2</c:v>
                </c:pt>
                <c:pt idx="6">
                  <c:v>-4.7575480329368598E-2</c:v>
                </c:pt>
                <c:pt idx="7">
                  <c:v>-3.9341262580054798E-2</c:v>
                </c:pt>
                <c:pt idx="8">
                  <c:v>-3.6596523330283598E-2</c:v>
                </c:pt>
                <c:pt idx="9">
                  <c:v>-3.6596523330283399E-3</c:v>
                </c:pt>
                <c:pt idx="10">
                  <c:v>-3.6596523330283399E-3</c:v>
                </c:pt>
                <c:pt idx="11">
                  <c:v>2.9277218664226699E-2</c:v>
                </c:pt>
                <c:pt idx="12">
                  <c:v>3.47666971637694E-2</c:v>
                </c:pt>
                <c:pt idx="13">
                  <c:v>4.3000914913083402E-2</c:v>
                </c:pt>
                <c:pt idx="14">
                  <c:v>4.8490393412625697E-2</c:v>
                </c:pt>
                <c:pt idx="15">
                  <c:v>6.7703568161024894E-2</c:v>
                </c:pt>
                <c:pt idx="16">
                  <c:v>7.8682525160109706E-2</c:v>
                </c:pt>
                <c:pt idx="17">
                  <c:v>8.4172003659652203E-2</c:v>
                </c:pt>
                <c:pt idx="18">
                  <c:v>0.10064043915828</c:v>
                </c:pt>
                <c:pt idx="19">
                  <c:v>0.108874656907593</c:v>
                </c:pt>
                <c:pt idx="20">
                  <c:v>0.11985361390667899</c:v>
                </c:pt>
                <c:pt idx="21">
                  <c:v>0.12259835315645</c:v>
                </c:pt>
                <c:pt idx="22">
                  <c:v>0.13357731015553501</c:v>
                </c:pt>
                <c:pt idx="23">
                  <c:v>0.14181152790484899</c:v>
                </c:pt>
                <c:pt idx="24">
                  <c:v>0.16925892040256099</c:v>
                </c:pt>
                <c:pt idx="25">
                  <c:v>0.18023787740164601</c:v>
                </c:pt>
                <c:pt idx="26">
                  <c:v>0.204940530649588</c:v>
                </c:pt>
                <c:pt idx="27">
                  <c:v>0.202195791399817</c:v>
                </c:pt>
                <c:pt idx="28">
                  <c:v>0.215919487648673</c:v>
                </c:pt>
                <c:pt idx="29">
                  <c:v>0.232387923147301</c:v>
                </c:pt>
                <c:pt idx="30">
                  <c:v>0.23513266239707201</c:v>
                </c:pt>
                <c:pt idx="31">
                  <c:v>0.246111619396157</c:v>
                </c:pt>
                <c:pt idx="32">
                  <c:v>0.25709057639524202</c:v>
                </c:pt>
                <c:pt idx="33">
                  <c:v>0.25709057639524202</c:v>
                </c:pt>
                <c:pt idx="34">
                  <c:v>0.26806953339432699</c:v>
                </c:pt>
                <c:pt idx="35">
                  <c:v>0.26258005489478498</c:v>
                </c:pt>
                <c:pt idx="36">
                  <c:v>0.26532479414455601</c:v>
                </c:pt>
                <c:pt idx="37">
                  <c:v>0.28179322964318398</c:v>
                </c:pt>
                <c:pt idx="38">
                  <c:v>0.30100640439158299</c:v>
                </c:pt>
                <c:pt idx="39">
                  <c:v>0.31473010064043899</c:v>
                </c:pt>
                <c:pt idx="40">
                  <c:v>0.31473010064043899</c:v>
                </c:pt>
                <c:pt idx="41">
                  <c:v>0.32570905763952401</c:v>
                </c:pt>
                <c:pt idx="42">
                  <c:v>0.36139066788655</c:v>
                </c:pt>
                <c:pt idx="43">
                  <c:v>0.36139066788655</c:v>
                </c:pt>
                <c:pt idx="44">
                  <c:v>0.375114364135407</c:v>
                </c:pt>
                <c:pt idx="45">
                  <c:v>0.375114364135407</c:v>
                </c:pt>
                <c:pt idx="46">
                  <c:v>0.38060384263494901</c:v>
                </c:pt>
                <c:pt idx="47">
                  <c:v>0.38609332113449202</c:v>
                </c:pt>
                <c:pt idx="48">
                  <c:v>0.40256175663311999</c:v>
                </c:pt>
                <c:pt idx="49">
                  <c:v>0.40256175663311999</c:v>
                </c:pt>
                <c:pt idx="50">
                  <c:v>0.41903019213174703</c:v>
                </c:pt>
                <c:pt idx="51">
                  <c:v>0.43000914913083199</c:v>
                </c:pt>
                <c:pt idx="52">
                  <c:v>0.43000914913083199</c:v>
                </c:pt>
                <c:pt idx="53">
                  <c:v>0.44647758462946002</c:v>
                </c:pt>
                <c:pt idx="54">
                  <c:v>0.44647758462946002</c:v>
                </c:pt>
                <c:pt idx="55">
                  <c:v>0.449222323879231</c:v>
                </c:pt>
                <c:pt idx="56">
                  <c:v>0.45745654162854499</c:v>
                </c:pt>
                <c:pt idx="57">
                  <c:v>0.46569075937785898</c:v>
                </c:pt>
                <c:pt idx="58">
                  <c:v>0.47941445562671497</c:v>
                </c:pt>
                <c:pt idx="59">
                  <c:v>0.48490393412625798</c:v>
                </c:pt>
                <c:pt idx="60">
                  <c:v>0.49588289112534301</c:v>
                </c:pt>
                <c:pt idx="61">
                  <c:v>0.50137236962488496</c:v>
                </c:pt>
                <c:pt idx="62">
                  <c:v>0.50686184812442803</c:v>
                </c:pt>
                <c:pt idx="63">
                  <c:v>0.51509606587374202</c:v>
                </c:pt>
                <c:pt idx="64">
                  <c:v>0.51784080512351305</c:v>
                </c:pt>
                <c:pt idx="65">
                  <c:v>0.53705397987191195</c:v>
                </c:pt>
                <c:pt idx="66">
                  <c:v>0.54803293687099697</c:v>
                </c:pt>
                <c:pt idx="67">
                  <c:v>0.56175663311985302</c:v>
                </c:pt>
                <c:pt idx="68">
                  <c:v>0.58096980786825203</c:v>
                </c:pt>
                <c:pt idx="69">
                  <c:v>0.58920402561756602</c:v>
                </c:pt>
                <c:pt idx="70">
                  <c:v>0.60841720036596503</c:v>
                </c:pt>
                <c:pt idx="71">
                  <c:v>0.61665141811527902</c:v>
                </c:pt>
                <c:pt idx="72">
                  <c:v>0.61939615736505005</c:v>
                </c:pt>
                <c:pt idx="73">
                  <c:v>0.624885635864593</c:v>
                </c:pt>
                <c:pt idx="74">
                  <c:v>0.64409881061299101</c:v>
                </c:pt>
                <c:pt idx="75">
                  <c:v>0.68252516010978903</c:v>
                </c:pt>
                <c:pt idx="76">
                  <c:v>0.69350411710887405</c:v>
                </c:pt>
                <c:pt idx="77">
                  <c:v>0.753888380603842</c:v>
                </c:pt>
                <c:pt idx="78">
                  <c:v>0.753888380603842</c:v>
                </c:pt>
                <c:pt idx="79">
                  <c:v>0.76486733760292702</c:v>
                </c:pt>
                <c:pt idx="80">
                  <c:v>0.82250686184812405</c:v>
                </c:pt>
                <c:pt idx="81">
                  <c:v>0.827996340347666</c:v>
                </c:pt>
                <c:pt idx="82">
                  <c:v>0.83897529734675202</c:v>
                </c:pt>
                <c:pt idx="83">
                  <c:v>0.84172003659652295</c:v>
                </c:pt>
                <c:pt idx="84">
                  <c:v>0.86642268984446402</c:v>
                </c:pt>
                <c:pt idx="85">
                  <c:v>0.87191216834400698</c:v>
                </c:pt>
                <c:pt idx="86">
                  <c:v>1.0036596523330199</c:v>
                </c:pt>
                <c:pt idx="87">
                  <c:v>1.01463860933211</c:v>
                </c:pt>
                <c:pt idx="88">
                  <c:v>1.0283623055809701</c:v>
                </c:pt>
                <c:pt idx="89">
                  <c:v>1.06953339432753</c:v>
                </c:pt>
                <c:pt idx="90">
                  <c:v>1.06953339432753</c:v>
                </c:pt>
                <c:pt idx="91">
                  <c:v>1.1134492223238699</c:v>
                </c:pt>
                <c:pt idx="92">
                  <c:v>1.11619396157365</c:v>
                </c:pt>
                <c:pt idx="93">
                  <c:v>1.11893870082342</c:v>
                </c:pt>
                <c:pt idx="94">
                  <c:v>1.1381518755718201</c:v>
                </c:pt>
                <c:pt idx="95">
                  <c:v>1.1381518755718201</c:v>
                </c:pt>
                <c:pt idx="96">
                  <c:v>1.2232387923147301</c:v>
                </c:pt>
                <c:pt idx="97">
                  <c:v>1.22049405306495</c:v>
                </c:pt>
                <c:pt idx="98">
                  <c:v>1.3549862763037499</c:v>
                </c:pt>
                <c:pt idx="99">
                  <c:v>1.3632204940530599</c:v>
                </c:pt>
                <c:pt idx="100">
                  <c:v>1.5443732845379601</c:v>
                </c:pt>
                <c:pt idx="101">
                  <c:v>1.5498627630375099</c:v>
                </c:pt>
                <c:pt idx="102">
                  <c:v>1.9094236047575399</c:v>
                </c:pt>
                <c:pt idx="103">
                  <c:v>1.9094236047575399</c:v>
                </c:pt>
              </c:numCache>
            </c:numRef>
          </c:xVal>
          <c:yVal>
            <c:numRef>
              <c:f>InScaffold!$M$6:$M$109</c:f>
              <c:numCache>
                <c:formatCode>General</c:formatCode>
                <c:ptCount val="104"/>
                <c:pt idx="0">
                  <c:v>1.02189781021897</c:v>
                </c:pt>
                <c:pt idx="1">
                  <c:v>1.02189781021897</c:v>
                </c:pt>
                <c:pt idx="2">
                  <c:v>2.0437956204379599</c:v>
                </c:pt>
                <c:pt idx="3">
                  <c:v>1.8978102189781001</c:v>
                </c:pt>
                <c:pt idx="4">
                  <c:v>2.7737226277372198</c:v>
                </c:pt>
                <c:pt idx="5">
                  <c:v>2.9197080291970798</c:v>
                </c:pt>
                <c:pt idx="6">
                  <c:v>4.0875912408759003</c:v>
                </c:pt>
                <c:pt idx="7">
                  <c:v>3.94160583941607</c:v>
                </c:pt>
                <c:pt idx="8">
                  <c:v>4.5255474452554596</c:v>
                </c:pt>
                <c:pt idx="9">
                  <c:v>4.8175182481751699</c:v>
                </c:pt>
                <c:pt idx="10">
                  <c:v>5.2554744525547497</c:v>
                </c:pt>
                <c:pt idx="11">
                  <c:v>5.6934306569343098</c:v>
                </c:pt>
                <c:pt idx="12">
                  <c:v>6.2773722627737198</c:v>
                </c:pt>
                <c:pt idx="13">
                  <c:v>7.4452554744525496</c:v>
                </c:pt>
                <c:pt idx="14">
                  <c:v>8.3211678832116807</c:v>
                </c:pt>
                <c:pt idx="15">
                  <c:v>8.3211678832116807</c:v>
                </c:pt>
                <c:pt idx="16">
                  <c:v>9.1970802919707904</c:v>
                </c:pt>
                <c:pt idx="17">
                  <c:v>12.7007299270073</c:v>
                </c:pt>
                <c:pt idx="18">
                  <c:v>12.8467153284671</c:v>
                </c:pt>
                <c:pt idx="19">
                  <c:v>15.912408759124</c:v>
                </c:pt>
                <c:pt idx="20">
                  <c:v>16.496350364963501</c:v>
                </c:pt>
                <c:pt idx="21">
                  <c:v>17.2262773722627</c:v>
                </c:pt>
                <c:pt idx="22">
                  <c:v>17.2262773722627</c:v>
                </c:pt>
                <c:pt idx="23">
                  <c:v>18.832116788321098</c:v>
                </c:pt>
                <c:pt idx="24">
                  <c:v>19.270072992700701</c:v>
                </c:pt>
                <c:pt idx="25">
                  <c:v>20.729927007299199</c:v>
                </c:pt>
                <c:pt idx="26">
                  <c:v>20.875912408759099</c:v>
                </c:pt>
                <c:pt idx="27">
                  <c:v>23.0656934306569</c:v>
                </c:pt>
                <c:pt idx="28">
                  <c:v>24.087591240875899</c:v>
                </c:pt>
                <c:pt idx="29">
                  <c:v>24.671532846715301</c:v>
                </c:pt>
                <c:pt idx="30">
                  <c:v>26.861313868613099</c:v>
                </c:pt>
                <c:pt idx="31">
                  <c:v>27.153284671532798</c:v>
                </c:pt>
                <c:pt idx="32">
                  <c:v>27.153284671532798</c:v>
                </c:pt>
                <c:pt idx="33">
                  <c:v>28.029197080291901</c:v>
                </c:pt>
                <c:pt idx="34">
                  <c:v>28.7591240875912</c:v>
                </c:pt>
                <c:pt idx="35">
                  <c:v>31.0948905109489</c:v>
                </c:pt>
                <c:pt idx="36">
                  <c:v>33.722627737226198</c:v>
                </c:pt>
                <c:pt idx="37">
                  <c:v>35.036496350364899</c:v>
                </c:pt>
                <c:pt idx="38">
                  <c:v>35.766423357664202</c:v>
                </c:pt>
                <c:pt idx="39">
                  <c:v>37.372262773722603</c:v>
                </c:pt>
                <c:pt idx="40">
                  <c:v>38.686131386861298</c:v>
                </c:pt>
                <c:pt idx="41">
                  <c:v>39.270072992700698</c:v>
                </c:pt>
                <c:pt idx="42">
                  <c:v>39.854014598540097</c:v>
                </c:pt>
                <c:pt idx="43">
                  <c:v>41.897810218978101</c:v>
                </c:pt>
                <c:pt idx="44">
                  <c:v>41.897810218978101</c:v>
                </c:pt>
                <c:pt idx="45">
                  <c:v>43.795620437956202</c:v>
                </c:pt>
                <c:pt idx="46">
                  <c:v>45.5474452554744</c:v>
                </c:pt>
                <c:pt idx="47">
                  <c:v>46.4233576642335</c:v>
                </c:pt>
                <c:pt idx="48">
                  <c:v>47.007299270072899</c:v>
                </c:pt>
                <c:pt idx="49">
                  <c:v>48.029197080291901</c:v>
                </c:pt>
                <c:pt idx="50">
                  <c:v>49.635036496350303</c:v>
                </c:pt>
                <c:pt idx="51">
                  <c:v>50.510948905109402</c:v>
                </c:pt>
                <c:pt idx="52">
                  <c:v>51.824817518248103</c:v>
                </c:pt>
                <c:pt idx="53">
                  <c:v>51.824817518248103</c:v>
                </c:pt>
                <c:pt idx="54">
                  <c:v>52.700729927007202</c:v>
                </c:pt>
                <c:pt idx="55">
                  <c:v>53.722627737226198</c:v>
                </c:pt>
                <c:pt idx="56">
                  <c:v>54.014598540145897</c:v>
                </c:pt>
                <c:pt idx="57">
                  <c:v>56.204379562043798</c:v>
                </c:pt>
                <c:pt idx="58">
                  <c:v>58.248175182481702</c:v>
                </c:pt>
                <c:pt idx="59">
                  <c:v>60.729927007299203</c:v>
                </c:pt>
                <c:pt idx="60">
                  <c:v>60.875912408759099</c:v>
                </c:pt>
                <c:pt idx="61">
                  <c:v>62.627737226277297</c:v>
                </c:pt>
                <c:pt idx="62">
                  <c:v>63.211678832116696</c:v>
                </c:pt>
                <c:pt idx="63">
                  <c:v>63.795620437956202</c:v>
                </c:pt>
                <c:pt idx="64">
                  <c:v>65.985401459854003</c:v>
                </c:pt>
                <c:pt idx="65">
                  <c:v>65.985401459854003</c:v>
                </c:pt>
                <c:pt idx="66">
                  <c:v>68.759124087591204</c:v>
                </c:pt>
                <c:pt idx="67">
                  <c:v>69.635036496350295</c:v>
                </c:pt>
                <c:pt idx="68">
                  <c:v>70.802919708029194</c:v>
                </c:pt>
                <c:pt idx="69">
                  <c:v>72.700729927007302</c:v>
                </c:pt>
                <c:pt idx="70">
                  <c:v>73.576642335766394</c:v>
                </c:pt>
                <c:pt idx="71">
                  <c:v>74.4525547445255</c:v>
                </c:pt>
                <c:pt idx="72">
                  <c:v>77.664233576642303</c:v>
                </c:pt>
                <c:pt idx="73">
                  <c:v>81.313868613138595</c:v>
                </c:pt>
                <c:pt idx="74">
                  <c:v>82.7737226277372</c:v>
                </c:pt>
                <c:pt idx="75">
                  <c:v>83.211678832116704</c:v>
                </c:pt>
                <c:pt idx="76">
                  <c:v>84.525547445255398</c:v>
                </c:pt>
                <c:pt idx="77">
                  <c:v>84.963503649635001</c:v>
                </c:pt>
                <c:pt idx="78">
                  <c:v>85.839416058394093</c:v>
                </c:pt>
                <c:pt idx="79">
                  <c:v>86.861313868613095</c:v>
                </c:pt>
                <c:pt idx="80">
                  <c:v>86.569343065693403</c:v>
                </c:pt>
                <c:pt idx="81">
                  <c:v>87.591240875912405</c:v>
                </c:pt>
                <c:pt idx="82">
                  <c:v>87.883211678832097</c:v>
                </c:pt>
                <c:pt idx="83">
                  <c:v>89.343065693430603</c:v>
                </c:pt>
                <c:pt idx="84">
                  <c:v>89.489051094890499</c:v>
                </c:pt>
                <c:pt idx="85">
                  <c:v>90.364963503649605</c:v>
                </c:pt>
                <c:pt idx="86">
                  <c:v>90.510948905109402</c:v>
                </c:pt>
                <c:pt idx="87">
                  <c:v>91.240875912408697</c:v>
                </c:pt>
                <c:pt idx="88">
                  <c:v>92.116788321167803</c:v>
                </c:pt>
                <c:pt idx="89">
                  <c:v>92.262773722627699</c:v>
                </c:pt>
                <c:pt idx="90">
                  <c:v>92.846715328467099</c:v>
                </c:pt>
                <c:pt idx="91">
                  <c:v>92.846715328467099</c:v>
                </c:pt>
                <c:pt idx="92">
                  <c:v>93.576642335766394</c:v>
                </c:pt>
                <c:pt idx="93">
                  <c:v>94.014598540145897</c:v>
                </c:pt>
                <c:pt idx="94">
                  <c:v>94.160583941605793</c:v>
                </c:pt>
                <c:pt idx="95">
                  <c:v>95.036496350364899</c:v>
                </c:pt>
                <c:pt idx="96">
                  <c:v>95.036496350364899</c:v>
                </c:pt>
                <c:pt idx="97">
                  <c:v>96.058394160583902</c:v>
                </c:pt>
                <c:pt idx="98">
                  <c:v>96.496350364963504</c:v>
                </c:pt>
                <c:pt idx="99">
                  <c:v>97.8102189781021</c:v>
                </c:pt>
                <c:pt idx="100">
                  <c:v>98.394160583941598</c:v>
                </c:pt>
                <c:pt idx="101">
                  <c:v>99.124087591240794</c:v>
                </c:pt>
                <c:pt idx="102">
                  <c:v>99.270072992700705</c:v>
                </c:pt>
                <c:pt idx="103">
                  <c:v>100.14598540145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854-4547-A701-47E1F402A8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5181008"/>
        <c:axId val="515181336"/>
        <c:extLst>
          <c:ext xmlns:c15="http://schemas.microsoft.com/office/drawing/2012/chart" uri="{02D57815-91ED-43cb-92C2-25804820EDAC}">
            <c15:filteredScatte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InScaffold!$C$1</c15:sqref>
                        </c15:formulaRef>
                      </c:ext>
                    </c:extLst>
                    <c:strCache>
                      <c:ptCount val="1"/>
                      <c:pt idx="0">
                        <c:v>PROGRESS-AMS</c:v>
                      </c:pt>
                    </c:strCache>
                  </c:strRef>
                </c:tx>
                <c:spPr>
                  <a:ln w="1905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>
                      <c:ext uri="{02D57815-91ED-43cb-92C2-25804820EDAC}">
                        <c15:formulaRef>
                          <c15:sqref>InScaffold!$C$6:$C$102</c15:sqref>
                        </c15:formulaRef>
                      </c:ext>
                    </c:extLst>
                    <c:numCache>
                      <c:formatCode>General</c:formatCode>
                      <c:ptCount val="97"/>
                      <c:pt idx="0">
                        <c:v>-0.10233918128654899</c:v>
                      </c:pt>
                      <c:pt idx="1">
                        <c:v>0.157894736842105</c:v>
                      </c:pt>
                      <c:pt idx="2">
                        <c:v>0.160818713450292</c:v>
                      </c:pt>
                      <c:pt idx="3">
                        <c:v>0.20760233918128601</c:v>
                      </c:pt>
                      <c:pt idx="4">
                        <c:v>0.21052631578947301</c:v>
                      </c:pt>
                      <c:pt idx="5">
                        <c:v>0.30116959064327398</c:v>
                      </c:pt>
                      <c:pt idx="6">
                        <c:v>0.30116959064327398</c:v>
                      </c:pt>
                      <c:pt idx="7">
                        <c:v>0.41228070175438503</c:v>
                      </c:pt>
                      <c:pt idx="8">
                        <c:v>0.41228070175438503</c:v>
                      </c:pt>
                      <c:pt idx="9">
                        <c:v>0.45614035087719201</c:v>
                      </c:pt>
                      <c:pt idx="10">
                        <c:v>0.45906432748538001</c:v>
                      </c:pt>
                      <c:pt idx="11">
                        <c:v>0.47660818713450198</c:v>
                      </c:pt>
                      <c:pt idx="12">
                        <c:v>0.47660818713450198</c:v>
                      </c:pt>
                      <c:pt idx="13">
                        <c:v>0.53216374269005795</c:v>
                      </c:pt>
                      <c:pt idx="14">
                        <c:v>0.53216374269005795</c:v>
                      </c:pt>
                      <c:pt idx="15">
                        <c:v>0.55847953216374202</c:v>
                      </c:pt>
                      <c:pt idx="16">
                        <c:v>0.56432748538011701</c:v>
                      </c:pt>
                      <c:pt idx="17">
                        <c:v>0.57602339181286499</c:v>
                      </c:pt>
                      <c:pt idx="18">
                        <c:v>0.57602339181286499</c:v>
                      </c:pt>
                      <c:pt idx="19">
                        <c:v>0.58479532163742598</c:v>
                      </c:pt>
                      <c:pt idx="20">
                        <c:v>0.58771929824561397</c:v>
                      </c:pt>
                      <c:pt idx="21">
                        <c:v>0.716374269005847</c:v>
                      </c:pt>
                      <c:pt idx="22">
                        <c:v>0.716374269005847</c:v>
                      </c:pt>
                      <c:pt idx="23">
                        <c:v>0.73976608187134496</c:v>
                      </c:pt>
                      <c:pt idx="24">
                        <c:v>0.73976608187134496</c:v>
                      </c:pt>
                      <c:pt idx="25">
                        <c:v>0.74853801169590595</c:v>
                      </c:pt>
                      <c:pt idx="26">
                        <c:v>0.74853801169590595</c:v>
                      </c:pt>
                      <c:pt idx="27">
                        <c:v>0.75730994152046704</c:v>
                      </c:pt>
                      <c:pt idx="28">
                        <c:v>0.75730994152046704</c:v>
                      </c:pt>
                      <c:pt idx="29">
                        <c:v>0.80701754385964897</c:v>
                      </c:pt>
                      <c:pt idx="30">
                        <c:v>0.80701754385964897</c:v>
                      </c:pt>
                      <c:pt idx="31">
                        <c:v>0.81871345029239695</c:v>
                      </c:pt>
                      <c:pt idx="32">
                        <c:v>0.82163742690058394</c:v>
                      </c:pt>
                      <c:pt idx="33">
                        <c:v>0.85672514619883</c:v>
                      </c:pt>
                      <c:pt idx="34">
                        <c:v>0.859649122807017</c:v>
                      </c:pt>
                      <c:pt idx="35">
                        <c:v>0.88888888888888795</c:v>
                      </c:pt>
                      <c:pt idx="36">
                        <c:v>0.89181286549707495</c:v>
                      </c:pt>
                      <c:pt idx="37">
                        <c:v>0.90058479532163704</c:v>
                      </c:pt>
                      <c:pt idx="38">
                        <c:v>0.90058479532163704</c:v>
                      </c:pt>
                      <c:pt idx="39">
                        <c:v>0.92105263157894701</c:v>
                      </c:pt>
                      <c:pt idx="40">
                        <c:v>0.92105263157894701</c:v>
                      </c:pt>
                      <c:pt idx="41">
                        <c:v>0.96198830409356695</c:v>
                      </c:pt>
                      <c:pt idx="42">
                        <c:v>0.96198830409356695</c:v>
                      </c:pt>
                      <c:pt idx="43">
                        <c:v>1.0087719298245601</c:v>
                      </c:pt>
                      <c:pt idx="44">
                        <c:v>1.0087719298245601</c:v>
                      </c:pt>
                      <c:pt idx="45">
                        <c:v>1.0350877192982399</c:v>
                      </c:pt>
                      <c:pt idx="46">
                        <c:v>1.0409356725146199</c:v>
                      </c:pt>
                      <c:pt idx="47">
                        <c:v>1.0760233918128601</c:v>
                      </c:pt>
                      <c:pt idx="48">
                        <c:v>1.07894736842105</c:v>
                      </c:pt>
                      <c:pt idx="49">
                        <c:v>1.12865497076023</c:v>
                      </c:pt>
                      <c:pt idx="50">
                        <c:v>1.1315789473684199</c:v>
                      </c:pt>
                      <c:pt idx="51">
                        <c:v>1.1432748538011599</c:v>
                      </c:pt>
                      <c:pt idx="52">
                        <c:v>1.1432748538011599</c:v>
                      </c:pt>
                      <c:pt idx="53">
                        <c:v>1.1491228070175401</c:v>
                      </c:pt>
                      <c:pt idx="54">
                        <c:v>1.1491228070175401</c:v>
                      </c:pt>
                      <c:pt idx="55">
                        <c:v>1.1608187134502901</c:v>
                      </c:pt>
                      <c:pt idx="56">
                        <c:v>1.1608187134502901</c:v>
                      </c:pt>
                      <c:pt idx="57">
                        <c:v>1.1929824561403499</c:v>
                      </c:pt>
                      <c:pt idx="58">
                        <c:v>1.1929824561403499</c:v>
                      </c:pt>
                      <c:pt idx="59">
                        <c:v>1.2105263157894699</c:v>
                      </c:pt>
                      <c:pt idx="60">
                        <c:v>1.2105263157894699</c:v>
                      </c:pt>
                      <c:pt idx="61">
                        <c:v>1.26315789473684</c:v>
                      </c:pt>
                      <c:pt idx="62">
                        <c:v>1.26315789473684</c:v>
                      </c:pt>
                      <c:pt idx="63">
                        <c:v>1.2660818713450199</c:v>
                      </c:pt>
                      <c:pt idx="64">
                        <c:v>1.26900584795321</c:v>
                      </c:pt>
                      <c:pt idx="65">
                        <c:v>1.3216374269005799</c:v>
                      </c:pt>
                      <c:pt idx="66">
                        <c:v>1.3216374269005799</c:v>
                      </c:pt>
                      <c:pt idx="67">
                        <c:v>1.3274853801169499</c:v>
                      </c:pt>
                      <c:pt idx="68">
                        <c:v>1.3333333333333299</c:v>
                      </c:pt>
                      <c:pt idx="69">
                        <c:v>1.4122807017543799</c:v>
                      </c:pt>
                      <c:pt idx="70">
                        <c:v>1.4122807017543799</c:v>
                      </c:pt>
                      <c:pt idx="71">
                        <c:v>1.45029239766081</c:v>
                      </c:pt>
                      <c:pt idx="72">
                        <c:v>1.45029239766081</c:v>
                      </c:pt>
                      <c:pt idx="73">
                        <c:v>1.4649122807017501</c:v>
                      </c:pt>
                      <c:pt idx="74">
                        <c:v>1.4678362573099399</c:v>
                      </c:pt>
                      <c:pt idx="75">
                        <c:v>1.48830409356725</c:v>
                      </c:pt>
                      <c:pt idx="76">
                        <c:v>1.4912280701754299</c:v>
                      </c:pt>
                      <c:pt idx="77">
                        <c:v>1.5</c:v>
                      </c:pt>
                      <c:pt idx="78">
                        <c:v>1.5</c:v>
                      </c:pt>
                      <c:pt idx="79">
                        <c:v>1.54970760233918</c:v>
                      </c:pt>
                      <c:pt idx="80">
                        <c:v>1.54970760233918</c:v>
                      </c:pt>
                      <c:pt idx="81">
                        <c:v>1.61695906432748</c:v>
                      </c:pt>
                      <c:pt idx="82">
                        <c:v>1.61695906432748</c:v>
                      </c:pt>
                      <c:pt idx="83">
                        <c:v>1.6608187134502901</c:v>
                      </c:pt>
                      <c:pt idx="84">
                        <c:v>1.6608187134502901</c:v>
                      </c:pt>
                      <c:pt idx="85">
                        <c:v>1.66959064327485</c:v>
                      </c:pt>
                      <c:pt idx="86">
                        <c:v>1.66959064327485</c:v>
                      </c:pt>
                      <c:pt idx="87">
                        <c:v>1.69005847953216</c:v>
                      </c:pt>
                      <c:pt idx="88">
                        <c:v>1.69005847953216</c:v>
                      </c:pt>
                      <c:pt idx="89">
                        <c:v>1.7573099415204601</c:v>
                      </c:pt>
                      <c:pt idx="90">
                        <c:v>1.7573099415204601</c:v>
                      </c:pt>
                      <c:pt idx="91">
                        <c:v>1.8274853801169499</c:v>
                      </c:pt>
                      <c:pt idx="92">
                        <c:v>1.8274853801169499</c:v>
                      </c:pt>
                      <c:pt idx="93">
                        <c:v>1.87134502923976</c:v>
                      </c:pt>
                      <c:pt idx="94">
                        <c:v>1.87134502923976</c:v>
                      </c:pt>
                      <c:pt idx="95">
                        <c:v>2.4590643274853798</c:v>
                      </c:pt>
                      <c:pt idx="96">
                        <c:v>2.4590643274853798</c:v>
                      </c:pt>
                    </c:numCache>
                  </c:numRef>
                </c:xVal>
                <c:yVal>
                  <c:numRef>
                    <c:extLst>
                      <c:ext uri="{02D57815-91ED-43cb-92C2-25804820EDAC}">
                        <c15:formulaRef>
                          <c15:sqref>InScaffold!$D$6:$D$102</c15:sqref>
                        </c15:formulaRef>
                      </c:ext>
                    </c:extLst>
                    <c:numCache>
                      <c:formatCode>General</c:formatCode>
                      <c:ptCount val="97"/>
                      <c:pt idx="0">
                        <c:v>1.76991150442476</c:v>
                      </c:pt>
                      <c:pt idx="1">
                        <c:v>1.76991150442476</c:v>
                      </c:pt>
                      <c:pt idx="2">
                        <c:v>3.2448377581120802</c:v>
                      </c:pt>
                      <c:pt idx="3">
                        <c:v>3.3923303834808198</c:v>
                      </c:pt>
                      <c:pt idx="4">
                        <c:v>4.7197640117993904</c:v>
                      </c:pt>
                      <c:pt idx="5">
                        <c:v>5.1622418879055898</c:v>
                      </c:pt>
                      <c:pt idx="6">
                        <c:v>6.7846607669616299</c:v>
                      </c:pt>
                      <c:pt idx="7">
                        <c:v>6.9321533923303704</c:v>
                      </c:pt>
                      <c:pt idx="8">
                        <c:v>8.2595870206489597</c:v>
                      </c:pt>
                      <c:pt idx="9">
                        <c:v>8.4070796460176904</c:v>
                      </c:pt>
                      <c:pt idx="10">
                        <c:v>11.9469026548672</c:v>
                      </c:pt>
                      <c:pt idx="11">
                        <c:v>11.9469026548672</c:v>
                      </c:pt>
                      <c:pt idx="12">
                        <c:v>13.421828908554501</c:v>
                      </c:pt>
                      <c:pt idx="13">
                        <c:v>13.716814159291999</c:v>
                      </c:pt>
                      <c:pt idx="14">
                        <c:v>16.961651917404101</c:v>
                      </c:pt>
                      <c:pt idx="15">
                        <c:v>16.961651917404101</c:v>
                      </c:pt>
                      <c:pt idx="16">
                        <c:v>18.879056047197601</c:v>
                      </c:pt>
                      <c:pt idx="17">
                        <c:v>18.879056047197601</c:v>
                      </c:pt>
                      <c:pt idx="18">
                        <c:v>20.206489675516199</c:v>
                      </c:pt>
                      <c:pt idx="19">
                        <c:v>20.353982300884901</c:v>
                      </c:pt>
                      <c:pt idx="20">
                        <c:v>21.976401179941</c:v>
                      </c:pt>
                      <c:pt idx="21">
                        <c:v>21.976401179941</c:v>
                      </c:pt>
                      <c:pt idx="22">
                        <c:v>23.598820058996999</c:v>
                      </c:pt>
                      <c:pt idx="23">
                        <c:v>23.598820058996999</c:v>
                      </c:pt>
                      <c:pt idx="24">
                        <c:v>25.3687315634218</c:v>
                      </c:pt>
                      <c:pt idx="25">
                        <c:v>25.3687315634218</c:v>
                      </c:pt>
                      <c:pt idx="26">
                        <c:v>27.138643067846601</c:v>
                      </c:pt>
                      <c:pt idx="27">
                        <c:v>27.138643067846601</c:v>
                      </c:pt>
                      <c:pt idx="28">
                        <c:v>28.908554572271299</c:v>
                      </c:pt>
                      <c:pt idx="29">
                        <c:v>28.908554572271299</c:v>
                      </c:pt>
                      <c:pt idx="30">
                        <c:v>30.530973451327402</c:v>
                      </c:pt>
                      <c:pt idx="31">
                        <c:v>30.530973451327402</c:v>
                      </c:pt>
                      <c:pt idx="32">
                        <c:v>32.005899705014698</c:v>
                      </c:pt>
                      <c:pt idx="33">
                        <c:v>32.153392330383397</c:v>
                      </c:pt>
                      <c:pt idx="34">
                        <c:v>33.775811209439503</c:v>
                      </c:pt>
                      <c:pt idx="35">
                        <c:v>33.775811209439503</c:v>
                      </c:pt>
                      <c:pt idx="36">
                        <c:v>35.398230088495502</c:v>
                      </c:pt>
                      <c:pt idx="37">
                        <c:v>35.545722713864201</c:v>
                      </c:pt>
                      <c:pt idx="38">
                        <c:v>37.1681415929203</c:v>
                      </c:pt>
                      <c:pt idx="39">
                        <c:v>37.315634218288999</c:v>
                      </c:pt>
                      <c:pt idx="40">
                        <c:v>38.938053097345097</c:v>
                      </c:pt>
                      <c:pt idx="41">
                        <c:v>38.938053097345097</c:v>
                      </c:pt>
                      <c:pt idx="42">
                        <c:v>40.560471976401097</c:v>
                      </c:pt>
                      <c:pt idx="43">
                        <c:v>40.707964601769902</c:v>
                      </c:pt>
                      <c:pt idx="44">
                        <c:v>42.625368731563398</c:v>
                      </c:pt>
                      <c:pt idx="45">
                        <c:v>42.625368731563398</c:v>
                      </c:pt>
                      <c:pt idx="46">
                        <c:v>43.805309734513202</c:v>
                      </c:pt>
                      <c:pt idx="47">
                        <c:v>43.952802359882</c:v>
                      </c:pt>
                      <c:pt idx="48">
                        <c:v>48.967551622418803</c:v>
                      </c:pt>
                      <c:pt idx="49">
                        <c:v>49.2625368731563</c:v>
                      </c:pt>
                      <c:pt idx="50">
                        <c:v>50.7374631268436</c:v>
                      </c:pt>
                      <c:pt idx="51">
                        <c:v>51.179941002949803</c:v>
                      </c:pt>
                      <c:pt idx="52">
                        <c:v>52.359882005899699</c:v>
                      </c:pt>
                      <c:pt idx="53">
                        <c:v>52.654867256637097</c:v>
                      </c:pt>
                      <c:pt idx="54">
                        <c:v>55.899705014749202</c:v>
                      </c:pt>
                      <c:pt idx="55">
                        <c:v>55.899705014749202</c:v>
                      </c:pt>
                      <c:pt idx="56">
                        <c:v>57.522123893805301</c:v>
                      </c:pt>
                      <c:pt idx="57">
                        <c:v>57.669616519173999</c:v>
                      </c:pt>
                      <c:pt idx="58">
                        <c:v>59.292035398229999</c:v>
                      </c:pt>
                      <c:pt idx="59">
                        <c:v>59.439528023598797</c:v>
                      </c:pt>
                      <c:pt idx="60">
                        <c:v>61.061946902654803</c:v>
                      </c:pt>
                      <c:pt idx="61">
                        <c:v>61.061946902654803</c:v>
                      </c:pt>
                      <c:pt idx="62">
                        <c:v>64.454277286135607</c:v>
                      </c:pt>
                      <c:pt idx="63">
                        <c:v>64.454277286135607</c:v>
                      </c:pt>
                      <c:pt idx="64">
                        <c:v>66.076696165191706</c:v>
                      </c:pt>
                      <c:pt idx="65">
                        <c:v>66.076696165191706</c:v>
                      </c:pt>
                      <c:pt idx="66">
                        <c:v>69.321533923303804</c:v>
                      </c:pt>
                      <c:pt idx="67">
                        <c:v>69.321533923303804</c:v>
                      </c:pt>
                      <c:pt idx="68">
                        <c:v>72.566371681415902</c:v>
                      </c:pt>
                      <c:pt idx="69">
                        <c:v>72.7138643067846</c:v>
                      </c:pt>
                      <c:pt idx="70">
                        <c:v>74.188790560471901</c:v>
                      </c:pt>
                      <c:pt idx="71">
                        <c:v>74.336283185840699</c:v>
                      </c:pt>
                      <c:pt idx="72">
                        <c:v>76.401179941002894</c:v>
                      </c:pt>
                      <c:pt idx="73">
                        <c:v>76.401179941002894</c:v>
                      </c:pt>
                      <c:pt idx="74">
                        <c:v>77.876106194690195</c:v>
                      </c:pt>
                      <c:pt idx="75">
                        <c:v>77.876106194690195</c:v>
                      </c:pt>
                      <c:pt idx="76">
                        <c:v>79.498525073746293</c:v>
                      </c:pt>
                      <c:pt idx="77">
                        <c:v>79.646017699115006</c:v>
                      </c:pt>
                      <c:pt idx="78">
                        <c:v>83.038348082595803</c:v>
                      </c:pt>
                      <c:pt idx="79">
                        <c:v>83.038348082595803</c:v>
                      </c:pt>
                      <c:pt idx="80">
                        <c:v>84.660766961651902</c:v>
                      </c:pt>
                      <c:pt idx="81">
                        <c:v>84.808259587020601</c:v>
                      </c:pt>
                      <c:pt idx="82">
                        <c:v>86.283185840707901</c:v>
                      </c:pt>
                      <c:pt idx="83">
                        <c:v>86.430678466076699</c:v>
                      </c:pt>
                      <c:pt idx="84">
                        <c:v>88.348082595870196</c:v>
                      </c:pt>
                      <c:pt idx="85">
                        <c:v>88.348082595870196</c:v>
                      </c:pt>
                      <c:pt idx="86">
                        <c:v>89.528023598819999</c:v>
                      </c:pt>
                      <c:pt idx="87">
                        <c:v>89.823008849557496</c:v>
                      </c:pt>
                      <c:pt idx="88">
                        <c:v>91.150442477876098</c:v>
                      </c:pt>
                      <c:pt idx="89">
                        <c:v>91.297935103244797</c:v>
                      </c:pt>
                      <c:pt idx="90">
                        <c:v>94.985250737463105</c:v>
                      </c:pt>
                      <c:pt idx="91">
                        <c:v>94.985250737463105</c:v>
                      </c:pt>
                      <c:pt idx="92">
                        <c:v>96.460176991150405</c:v>
                      </c:pt>
                      <c:pt idx="93">
                        <c:v>96.607669616519104</c:v>
                      </c:pt>
                      <c:pt idx="94">
                        <c:v>98.230088495575203</c:v>
                      </c:pt>
                      <c:pt idx="95">
                        <c:v>98.230088495575203</c:v>
                      </c:pt>
                      <c:pt idx="96">
                        <c:v>99.705014749262503</c:v>
                      </c:pt>
                    </c:numCache>
                  </c:numRef>
                </c:yVal>
                <c:smooth val="0"/>
                <c:extLst>
                  <c:ext xmlns:c16="http://schemas.microsoft.com/office/drawing/2014/chart" uri="{C3380CC4-5D6E-409C-BE32-E72D297353CC}">
                    <c16:uniqueId val="{00000002-9854-4547-A701-47E1F402A8AD}"/>
                  </c:ext>
                </c:extLst>
              </c15:ser>
            </c15:filteredScatterSeries>
            <c15:filteredScatte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InScaffold!$H$1</c15:sqref>
                        </c15:formulaRef>
                      </c:ext>
                    </c:extLst>
                    <c:strCache>
                      <c:ptCount val="1"/>
                      <c:pt idx="0">
                        <c:v>BIOSOLVE I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x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InScaffold!$H$6:$H$66</c15:sqref>
                        </c15:formulaRef>
                      </c:ext>
                    </c:extLst>
                    <c:numCache>
                      <c:formatCode>General</c:formatCode>
                      <c:ptCount val="61"/>
                      <c:pt idx="0">
                        <c:v>-0.257777777777777</c:v>
                      </c:pt>
                      <c:pt idx="1">
                        <c:v>-0.211111111111111</c:v>
                      </c:pt>
                      <c:pt idx="2">
                        <c:v>-0.206666666666666</c:v>
                      </c:pt>
                      <c:pt idx="3">
                        <c:v>-5.9999999999999901E-2</c:v>
                      </c:pt>
                      <c:pt idx="4">
                        <c:v>-5.7777777777777803E-2</c:v>
                      </c:pt>
                      <c:pt idx="5">
                        <c:v>0.02</c:v>
                      </c:pt>
                      <c:pt idx="6">
                        <c:v>0.02</c:v>
                      </c:pt>
                      <c:pt idx="7">
                        <c:v>0.142222222222222</c:v>
                      </c:pt>
                      <c:pt idx="8">
                        <c:v>0.142222222222222</c:v>
                      </c:pt>
                      <c:pt idx="9">
                        <c:v>0.16666666666666599</c:v>
                      </c:pt>
                      <c:pt idx="10">
                        <c:v>0.16888888888888801</c:v>
                      </c:pt>
                      <c:pt idx="11">
                        <c:v>0.21777777777777699</c:v>
                      </c:pt>
                      <c:pt idx="12">
                        <c:v>0.219999999999999</c:v>
                      </c:pt>
                      <c:pt idx="13">
                        <c:v>0.24222222222222201</c:v>
                      </c:pt>
                      <c:pt idx="14">
                        <c:v>0.24444444444444399</c:v>
                      </c:pt>
                      <c:pt idx="15">
                        <c:v>0.27777777777777701</c:v>
                      </c:pt>
                      <c:pt idx="16">
                        <c:v>0.28222222222222199</c:v>
                      </c:pt>
                      <c:pt idx="17">
                        <c:v>0.31111111111111101</c:v>
                      </c:pt>
                      <c:pt idx="18">
                        <c:v>0.31111111111111101</c:v>
                      </c:pt>
                      <c:pt idx="19">
                        <c:v>0.37777777777777699</c:v>
                      </c:pt>
                      <c:pt idx="20">
                        <c:v>0.37777777777777699</c:v>
                      </c:pt>
                      <c:pt idx="21">
                        <c:v>0.45111111111111102</c:v>
                      </c:pt>
                      <c:pt idx="22">
                        <c:v>0.45111111111111102</c:v>
                      </c:pt>
                      <c:pt idx="23">
                        <c:v>0.48888888888888898</c:v>
                      </c:pt>
                      <c:pt idx="24">
                        <c:v>0.48888888888888898</c:v>
                      </c:pt>
                      <c:pt idx="25">
                        <c:v>0.551111111111111</c:v>
                      </c:pt>
                      <c:pt idx="26">
                        <c:v>0.55333333333333301</c:v>
                      </c:pt>
                      <c:pt idx="27">
                        <c:v>0.57777777777777695</c:v>
                      </c:pt>
                      <c:pt idx="28">
                        <c:v>0.57999999999999996</c:v>
                      </c:pt>
                      <c:pt idx="29">
                        <c:v>0.61111111111111105</c:v>
                      </c:pt>
                      <c:pt idx="30">
                        <c:v>0.61333333333333295</c:v>
                      </c:pt>
                      <c:pt idx="31">
                        <c:v>0.637777777777777</c:v>
                      </c:pt>
                      <c:pt idx="32">
                        <c:v>0.64</c:v>
                      </c:pt>
                      <c:pt idx="33">
                        <c:v>0.64666666666666595</c:v>
                      </c:pt>
                      <c:pt idx="34">
                        <c:v>0.65111111111111097</c:v>
                      </c:pt>
                      <c:pt idx="35">
                        <c:v>0.66666666666666596</c:v>
                      </c:pt>
                      <c:pt idx="36">
                        <c:v>0.67111111111111099</c:v>
                      </c:pt>
                      <c:pt idx="37">
                        <c:v>0.71777777777777796</c:v>
                      </c:pt>
                      <c:pt idx="38">
                        <c:v>0.72</c:v>
                      </c:pt>
                      <c:pt idx="39">
                        <c:v>0.80888888888888899</c:v>
                      </c:pt>
                      <c:pt idx="40">
                        <c:v>0.81111111111111101</c:v>
                      </c:pt>
                      <c:pt idx="41">
                        <c:v>0.84666666666666601</c:v>
                      </c:pt>
                      <c:pt idx="42">
                        <c:v>0.85333333333333306</c:v>
                      </c:pt>
                      <c:pt idx="43">
                        <c:v>1.16888888888888</c:v>
                      </c:pt>
                      <c:pt idx="44">
                        <c:v>1.16888888888888</c:v>
                      </c:pt>
                      <c:pt idx="45">
                        <c:v>1.20888888888888</c:v>
                      </c:pt>
                      <c:pt idx="46">
                        <c:v>1.20888888888888</c:v>
                      </c:pt>
                      <c:pt idx="47">
                        <c:v>1.2177777777777701</c:v>
                      </c:pt>
                      <c:pt idx="48">
                        <c:v>1.2177777777777701</c:v>
                      </c:pt>
                      <c:pt idx="49">
                        <c:v>1.2377777777777701</c:v>
                      </c:pt>
                      <c:pt idx="50">
                        <c:v>1.24</c:v>
                      </c:pt>
                      <c:pt idx="51">
                        <c:v>1.2466666666666599</c:v>
                      </c:pt>
                      <c:pt idx="52">
                        <c:v>1.2488888888888801</c:v>
                      </c:pt>
                      <c:pt idx="53">
                        <c:v>1.3444444444444399</c:v>
                      </c:pt>
                      <c:pt idx="54">
                        <c:v>1.34666666666666</c:v>
                      </c:pt>
                      <c:pt idx="55">
                        <c:v>1.5088888888888801</c:v>
                      </c:pt>
                      <c:pt idx="56">
                        <c:v>1.5088888888888801</c:v>
                      </c:pt>
                      <c:pt idx="57">
                        <c:v>1.5888888888888799</c:v>
                      </c:pt>
                      <c:pt idx="58">
                        <c:v>1.5888888888888799</c:v>
                      </c:pt>
                      <c:pt idx="59">
                        <c:v>1.6288888888888799</c:v>
                      </c:pt>
                      <c:pt idx="60">
                        <c:v>1.6288888888888799</c:v>
                      </c:pt>
                    </c:numCache>
                  </c:numRef>
                </c:xVal>
                <c:y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InScaffold!$I$6:$I$66</c15:sqref>
                        </c15:formulaRef>
                      </c:ext>
                    </c:extLst>
                    <c:numCache>
                      <c:formatCode>General</c:formatCode>
                      <c:ptCount val="61"/>
                      <c:pt idx="0">
                        <c:v>2.7816411682892799</c:v>
                      </c:pt>
                      <c:pt idx="1">
                        <c:v>2.7816411682892799</c:v>
                      </c:pt>
                      <c:pt idx="2">
                        <c:v>5.5632823365785802</c:v>
                      </c:pt>
                      <c:pt idx="3">
                        <c:v>5.9805285118219702</c:v>
                      </c:pt>
                      <c:pt idx="4">
                        <c:v>8.2058414464534</c:v>
                      </c:pt>
                      <c:pt idx="5">
                        <c:v>8.4840055632823308</c:v>
                      </c:pt>
                      <c:pt idx="6">
                        <c:v>10.848400556328199</c:v>
                      </c:pt>
                      <c:pt idx="7">
                        <c:v>11.2656467315716</c:v>
                      </c:pt>
                      <c:pt idx="8">
                        <c:v>13.769123783031899</c:v>
                      </c:pt>
                      <c:pt idx="9">
                        <c:v>13.769123783031899</c:v>
                      </c:pt>
                      <c:pt idx="10">
                        <c:v>16.689847009735701</c:v>
                      </c:pt>
                      <c:pt idx="11">
                        <c:v>16.828929068150199</c:v>
                      </c:pt>
                      <c:pt idx="12">
                        <c:v>22.253129346314299</c:v>
                      </c:pt>
                      <c:pt idx="13">
                        <c:v>22.253129346314299</c:v>
                      </c:pt>
                      <c:pt idx="14">
                        <c:v>24.895688456189099</c:v>
                      </c:pt>
                      <c:pt idx="15">
                        <c:v>24.895688456189099</c:v>
                      </c:pt>
                      <c:pt idx="16">
                        <c:v>27.6773296244784</c:v>
                      </c:pt>
                      <c:pt idx="17">
                        <c:v>27.6773296244784</c:v>
                      </c:pt>
                      <c:pt idx="18">
                        <c:v>30.458970792767701</c:v>
                      </c:pt>
                      <c:pt idx="19">
                        <c:v>30.598052851182199</c:v>
                      </c:pt>
                      <c:pt idx="20">
                        <c:v>33.379694019471401</c:v>
                      </c:pt>
                      <c:pt idx="21">
                        <c:v>33.379694019471401</c:v>
                      </c:pt>
                      <c:pt idx="22">
                        <c:v>36.022253129346304</c:v>
                      </c:pt>
                      <c:pt idx="23">
                        <c:v>36.161335187760699</c:v>
                      </c:pt>
                      <c:pt idx="24">
                        <c:v>38.664812239221099</c:v>
                      </c:pt>
                      <c:pt idx="25">
                        <c:v>38.664812239221099</c:v>
                      </c:pt>
                      <c:pt idx="26">
                        <c:v>44.367176634214097</c:v>
                      </c:pt>
                      <c:pt idx="27">
                        <c:v>44.367176634214097</c:v>
                      </c:pt>
                      <c:pt idx="28">
                        <c:v>49.652294853963802</c:v>
                      </c:pt>
                      <c:pt idx="29">
                        <c:v>50.069541029207201</c:v>
                      </c:pt>
                      <c:pt idx="30">
                        <c:v>52.573018080667502</c:v>
                      </c:pt>
                      <c:pt idx="31">
                        <c:v>52.712100139081997</c:v>
                      </c:pt>
                      <c:pt idx="32">
                        <c:v>55.3546592489568</c:v>
                      </c:pt>
                      <c:pt idx="33">
                        <c:v>55.493741307371302</c:v>
                      </c:pt>
                      <c:pt idx="34">
                        <c:v>58.275382475660599</c:v>
                      </c:pt>
                      <c:pt idx="35">
                        <c:v>58.275382475660599</c:v>
                      </c:pt>
                      <c:pt idx="36">
                        <c:v>63.560500695410198</c:v>
                      </c:pt>
                      <c:pt idx="37">
                        <c:v>63.6995827538247</c:v>
                      </c:pt>
                      <c:pt idx="38">
                        <c:v>66.481223922113998</c:v>
                      </c:pt>
                      <c:pt idx="39">
                        <c:v>66.620305980528499</c:v>
                      </c:pt>
                      <c:pt idx="40">
                        <c:v>69.401947148817797</c:v>
                      </c:pt>
                      <c:pt idx="41">
                        <c:v>69.401947148817797</c:v>
                      </c:pt>
                      <c:pt idx="42">
                        <c:v>74.965229485396307</c:v>
                      </c:pt>
                      <c:pt idx="43">
                        <c:v>74.965229485396307</c:v>
                      </c:pt>
                      <c:pt idx="44">
                        <c:v>77.607788595271202</c:v>
                      </c:pt>
                      <c:pt idx="45">
                        <c:v>77.607788595271202</c:v>
                      </c:pt>
                      <c:pt idx="46">
                        <c:v>80.250347705145998</c:v>
                      </c:pt>
                      <c:pt idx="47">
                        <c:v>80.3894297635605</c:v>
                      </c:pt>
                      <c:pt idx="48">
                        <c:v>83.171070931849698</c:v>
                      </c:pt>
                      <c:pt idx="49">
                        <c:v>83.171070931849698</c:v>
                      </c:pt>
                      <c:pt idx="50">
                        <c:v>86.091794158553498</c:v>
                      </c:pt>
                      <c:pt idx="51">
                        <c:v>86.091794158553498</c:v>
                      </c:pt>
                      <c:pt idx="52">
                        <c:v>88.734353268428293</c:v>
                      </c:pt>
                      <c:pt idx="53">
                        <c:v>89.012517385257297</c:v>
                      </c:pt>
                      <c:pt idx="54">
                        <c:v>91.376912378303103</c:v>
                      </c:pt>
                      <c:pt idx="55">
                        <c:v>91.655076495132107</c:v>
                      </c:pt>
                      <c:pt idx="56">
                        <c:v>94.297635605006903</c:v>
                      </c:pt>
                      <c:pt idx="57">
                        <c:v>94.436717663421405</c:v>
                      </c:pt>
                      <c:pt idx="58">
                        <c:v>97.218358831710702</c:v>
                      </c:pt>
                      <c:pt idx="59">
                        <c:v>97.218358831710702</c:v>
                      </c:pt>
                      <c:pt idx="60">
                        <c:v>100.139082058414</c:v>
                      </c:pt>
                    </c:numCache>
                  </c:numRef>
                </c:y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9854-4547-A701-47E1F402A8AD}"/>
                  </c:ext>
                </c:extLst>
              </c15:ser>
            </c15:filteredScatterSeries>
          </c:ext>
        </c:extLst>
      </c:scatterChart>
      <c:valAx>
        <c:axId val="515181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1D384C"/>
                    </a:solidFill>
                    <a:latin typeface="Arial "/>
                    <a:ea typeface="+mn-ea"/>
                    <a:cs typeface="+mn-cs"/>
                  </a:defRPr>
                </a:pPr>
                <a:r>
                  <a:rPr lang="en-GB" sz="1400" b="1" i="0" baseline="0" dirty="0">
                    <a:solidFill>
                      <a:schemeClr val="tx1"/>
                    </a:solidFill>
                    <a:latin typeface="+mn-lt"/>
                  </a:rPr>
                  <a:t>In-scaffold LLL (mm)</a:t>
                </a:r>
              </a:p>
            </c:rich>
          </c:tx>
          <c:layout>
            <c:manualLayout>
              <c:xMode val="edge"/>
              <c:yMode val="edge"/>
              <c:x val="0.33707465863524633"/>
              <c:y val="0.932836754855401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rgbClr val="1D384C"/>
                  </a:solidFill>
                  <a:latin typeface="Arial 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181336"/>
        <c:crosses val="autoZero"/>
        <c:crossBetween val="midCat"/>
      </c:valAx>
      <c:valAx>
        <c:axId val="515181336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1D384C"/>
                    </a:solidFill>
                    <a:latin typeface="Calibri (Body)"/>
                    <a:ea typeface="+mn-ea"/>
                    <a:cs typeface="+mn-cs"/>
                  </a:defRPr>
                </a:pPr>
                <a:r>
                  <a:rPr lang="en-GB" sz="1400" b="1" i="0" baseline="0" dirty="0">
                    <a:solidFill>
                      <a:schemeClr val="tx1"/>
                    </a:solidFill>
                    <a:latin typeface="Calibri (Body)"/>
                  </a:rPr>
                  <a:t>Cumulative Frequency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rgbClr val="1D384C"/>
                  </a:solidFill>
                  <a:latin typeface="Calibri (Body)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181008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75928118621104"/>
          <c:y val="3.3452246669539977E-2"/>
          <c:w val="0.8567862836996728"/>
          <c:h val="0.79434633310136915"/>
        </c:manualLayout>
      </c:layout>
      <c:scatterChart>
        <c:scatterStyle val="lineMarker"/>
        <c:varyColors val="0"/>
        <c:ser>
          <c:idx val="2"/>
          <c:order val="0"/>
          <c:tx>
            <c:strRef>
              <c:f>InSegment!$O$1</c:f>
              <c:strCache>
                <c:ptCount val="1"/>
                <c:pt idx="0">
                  <c:v>BIOMAG I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xVal>
            <c:numRef>
              <c:f>InSegment!$O$6:$O$116</c:f>
              <c:numCache>
                <c:formatCode>General</c:formatCode>
                <c:ptCount val="111"/>
                <c:pt idx="0">
                  <c:v>-0.79999999999999982</c:v>
                </c:pt>
                <c:pt idx="1">
                  <c:v>-0.78999999999999981</c:v>
                </c:pt>
                <c:pt idx="2">
                  <c:v>-0.69</c:v>
                </c:pt>
                <c:pt idx="3">
                  <c:v>-0.65000000000000036</c:v>
                </c:pt>
                <c:pt idx="4">
                  <c:v>-0.62999999999999989</c:v>
                </c:pt>
                <c:pt idx="5">
                  <c:v>-0.5299999999999998</c:v>
                </c:pt>
                <c:pt idx="6">
                  <c:v>-0.49000000000000021</c:v>
                </c:pt>
                <c:pt idx="7">
                  <c:v>-0.45000000000000018</c:v>
                </c:pt>
                <c:pt idx="8">
                  <c:v>-0.39999999999999991</c:v>
                </c:pt>
                <c:pt idx="9">
                  <c:v>-0.37000000000000011</c:v>
                </c:pt>
                <c:pt idx="10">
                  <c:v>-0.36000000000000032</c:v>
                </c:pt>
                <c:pt idx="11">
                  <c:v>-0.29000000000000004</c:v>
                </c:pt>
                <c:pt idx="12">
                  <c:v>-0.25</c:v>
                </c:pt>
                <c:pt idx="13">
                  <c:v>-0.25</c:v>
                </c:pt>
                <c:pt idx="14">
                  <c:v>-0.25</c:v>
                </c:pt>
                <c:pt idx="15">
                  <c:v>-0.21000000000000041</c:v>
                </c:pt>
                <c:pt idx="16">
                  <c:v>-0.20999999999999996</c:v>
                </c:pt>
                <c:pt idx="17">
                  <c:v>-0.20999999999999996</c:v>
                </c:pt>
                <c:pt idx="18">
                  <c:v>-0.20999999999999996</c:v>
                </c:pt>
                <c:pt idx="19">
                  <c:v>-0.20999999999999996</c:v>
                </c:pt>
                <c:pt idx="20">
                  <c:v>-0.20999999999999996</c:v>
                </c:pt>
                <c:pt idx="21">
                  <c:v>-0.19999999999999996</c:v>
                </c:pt>
                <c:pt idx="22">
                  <c:v>-0.18999999999999995</c:v>
                </c:pt>
                <c:pt idx="23">
                  <c:v>-0.18999999999999995</c:v>
                </c:pt>
                <c:pt idx="24">
                  <c:v>-0.18000000000000016</c:v>
                </c:pt>
                <c:pt idx="25">
                  <c:v>-0.17000000000000015</c:v>
                </c:pt>
                <c:pt idx="26">
                  <c:v>-0.16999999999999993</c:v>
                </c:pt>
                <c:pt idx="27">
                  <c:v>-0.16000000000000014</c:v>
                </c:pt>
                <c:pt idx="28">
                  <c:v>-0.16000000000000014</c:v>
                </c:pt>
                <c:pt idx="29">
                  <c:v>-0.15999999999999992</c:v>
                </c:pt>
                <c:pt idx="30">
                  <c:v>-0.15000000000000013</c:v>
                </c:pt>
                <c:pt idx="31">
                  <c:v>-0.14999999999999991</c:v>
                </c:pt>
                <c:pt idx="32">
                  <c:v>-0.13999999999999968</c:v>
                </c:pt>
                <c:pt idx="33">
                  <c:v>-0.12000000000000011</c:v>
                </c:pt>
                <c:pt idx="34">
                  <c:v>-0.12000000000000011</c:v>
                </c:pt>
                <c:pt idx="35">
                  <c:v>-0.11000000000000032</c:v>
                </c:pt>
                <c:pt idx="36">
                  <c:v>-8.9999999999999858E-2</c:v>
                </c:pt>
                <c:pt idx="37">
                  <c:v>-6.0000000000000053E-2</c:v>
                </c:pt>
                <c:pt idx="38">
                  <c:v>-6.0000000000000053E-2</c:v>
                </c:pt>
                <c:pt idx="39">
                  <c:v>-5.0000000000000266E-2</c:v>
                </c:pt>
                <c:pt idx="40">
                  <c:v>-5.0000000000000044E-2</c:v>
                </c:pt>
                <c:pt idx="41">
                  <c:v>-4.4999999999999929E-2</c:v>
                </c:pt>
                <c:pt idx="42">
                  <c:v>-4.0000000000000036E-2</c:v>
                </c:pt>
                <c:pt idx="43">
                  <c:v>-2.9999999999999805E-2</c:v>
                </c:pt>
                <c:pt idx="44">
                  <c:v>-2.0000000000000018E-2</c:v>
                </c:pt>
                <c:pt idx="45">
                  <c:v>-9.9999999999997868E-3</c:v>
                </c:pt>
                <c:pt idx="46">
                  <c:v>0</c:v>
                </c:pt>
                <c:pt idx="47">
                  <c:v>1.0000000000000231E-2</c:v>
                </c:pt>
                <c:pt idx="48">
                  <c:v>3.0000000000000249E-2</c:v>
                </c:pt>
                <c:pt idx="49">
                  <c:v>3.9999999999999591E-2</c:v>
                </c:pt>
                <c:pt idx="50">
                  <c:v>4.0000000000000036E-2</c:v>
                </c:pt>
                <c:pt idx="51">
                  <c:v>4.0000000000000036E-2</c:v>
                </c:pt>
                <c:pt idx="52">
                  <c:v>4.0000000000000036E-2</c:v>
                </c:pt>
                <c:pt idx="53">
                  <c:v>4.9999999999999822E-2</c:v>
                </c:pt>
                <c:pt idx="54">
                  <c:v>6.0000000000000053E-2</c:v>
                </c:pt>
                <c:pt idx="55">
                  <c:v>6.0000000000000053E-2</c:v>
                </c:pt>
                <c:pt idx="56">
                  <c:v>6.999999999999984E-2</c:v>
                </c:pt>
                <c:pt idx="57">
                  <c:v>6.999999999999984E-2</c:v>
                </c:pt>
                <c:pt idx="58">
                  <c:v>8.0000000000000071E-2</c:v>
                </c:pt>
                <c:pt idx="59">
                  <c:v>8.0000000000000071E-2</c:v>
                </c:pt>
                <c:pt idx="60">
                  <c:v>8.0000000000000071E-2</c:v>
                </c:pt>
                <c:pt idx="61">
                  <c:v>8.0000000000000071E-2</c:v>
                </c:pt>
                <c:pt idx="62">
                  <c:v>8.0000000000000071E-2</c:v>
                </c:pt>
                <c:pt idx="63">
                  <c:v>8.9999999999999858E-2</c:v>
                </c:pt>
                <c:pt idx="64">
                  <c:v>9.0000000000000302E-2</c:v>
                </c:pt>
                <c:pt idx="65">
                  <c:v>0.10000000000000009</c:v>
                </c:pt>
                <c:pt idx="66">
                  <c:v>0.10000000000000009</c:v>
                </c:pt>
                <c:pt idx="67">
                  <c:v>0.10999999999999988</c:v>
                </c:pt>
                <c:pt idx="68">
                  <c:v>0.11000000000000032</c:v>
                </c:pt>
                <c:pt idx="69">
                  <c:v>0.11000000000000032</c:v>
                </c:pt>
                <c:pt idx="70">
                  <c:v>0.11499999999999999</c:v>
                </c:pt>
                <c:pt idx="71">
                  <c:v>0.11999999999999988</c:v>
                </c:pt>
                <c:pt idx="72">
                  <c:v>0.12000000000000011</c:v>
                </c:pt>
                <c:pt idx="73">
                  <c:v>0.14000000000000012</c:v>
                </c:pt>
                <c:pt idx="74">
                  <c:v>0.15999999999999992</c:v>
                </c:pt>
                <c:pt idx="75">
                  <c:v>0.16999999999999993</c:v>
                </c:pt>
                <c:pt idx="76">
                  <c:v>0.16999999999999993</c:v>
                </c:pt>
                <c:pt idx="77">
                  <c:v>0.17999999999999972</c:v>
                </c:pt>
                <c:pt idx="78">
                  <c:v>0.17999999999999994</c:v>
                </c:pt>
                <c:pt idx="79">
                  <c:v>0.19999999999999973</c:v>
                </c:pt>
                <c:pt idx="80">
                  <c:v>0.20999999999999996</c:v>
                </c:pt>
                <c:pt idx="81">
                  <c:v>0.21999999999999975</c:v>
                </c:pt>
                <c:pt idx="82">
                  <c:v>0.22999999999999998</c:v>
                </c:pt>
                <c:pt idx="83">
                  <c:v>0.24000000000000021</c:v>
                </c:pt>
                <c:pt idx="84">
                  <c:v>0.25</c:v>
                </c:pt>
                <c:pt idx="85">
                  <c:v>0.25</c:v>
                </c:pt>
                <c:pt idx="86">
                  <c:v>0.25</c:v>
                </c:pt>
                <c:pt idx="87">
                  <c:v>0.25</c:v>
                </c:pt>
                <c:pt idx="88">
                  <c:v>0.25000000000000022</c:v>
                </c:pt>
                <c:pt idx="89">
                  <c:v>0.2799999999999998</c:v>
                </c:pt>
                <c:pt idx="90">
                  <c:v>0.28000000000000025</c:v>
                </c:pt>
                <c:pt idx="91">
                  <c:v>0.29999999999999982</c:v>
                </c:pt>
                <c:pt idx="92">
                  <c:v>0.31000000000000028</c:v>
                </c:pt>
                <c:pt idx="93">
                  <c:v>0.33000000000000007</c:v>
                </c:pt>
                <c:pt idx="94">
                  <c:v>0.3400000000000003</c:v>
                </c:pt>
                <c:pt idx="95">
                  <c:v>0.35000000000000009</c:v>
                </c:pt>
                <c:pt idx="96">
                  <c:v>0.35000000000000009</c:v>
                </c:pt>
                <c:pt idx="97">
                  <c:v>0.35500000000000043</c:v>
                </c:pt>
                <c:pt idx="98">
                  <c:v>0.37000000000000011</c:v>
                </c:pt>
                <c:pt idx="99">
                  <c:v>0.38000000000000034</c:v>
                </c:pt>
                <c:pt idx="100">
                  <c:v>0.40000000000000036</c:v>
                </c:pt>
                <c:pt idx="101">
                  <c:v>0.41000000000000014</c:v>
                </c:pt>
                <c:pt idx="102">
                  <c:v>0.45999999999999996</c:v>
                </c:pt>
                <c:pt idx="103">
                  <c:v>0.5199999999999998</c:v>
                </c:pt>
                <c:pt idx="104">
                  <c:v>0.63000000000000012</c:v>
                </c:pt>
                <c:pt idx="105">
                  <c:v>0.66999999999999993</c:v>
                </c:pt>
                <c:pt idx="106">
                  <c:v>0.67000000000000015</c:v>
                </c:pt>
                <c:pt idx="107">
                  <c:v>0.84</c:v>
                </c:pt>
                <c:pt idx="108">
                  <c:v>0.87999999999999989</c:v>
                </c:pt>
                <c:pt idx="109">
                  <c:v>1.1199999999999999</c:v>
                </c:pt>
                <c:pt idx="110">
                  <c:v>1.61</c:v>
                </c:pt>
              </c:numCache>
            </c:numRef>
          </c:xVal>
          <c:yVal>
            <c:numRef>
              <c:f>InSegment!$P$6:$P$116</c:f>
              <c:numCache>
                <c:formatCode>General</c:formatCode>
                <c:ptCount val="111"/>
                <c:pt idx="0">
                  <c:v>0.90090090090090091</c:v>
                </c:pt>
                <c:pt idx="1">
                  <c:v>1.8018018018018018</c:v>
                </c:pt>
                <c:pt idx="2">
                  <c:v>2.7027027027027026</c:v>
                </c:pt>
                <c:pt idx="3">
                  <c:v>3.6036036036036037</c:v>
                </c:pt>
                <c:pt idx="4">
                  <c:v>4.5045045045045047</c:v>
                </c:pt>
                <c:pt idx="5">
                  <c:v>5.4054054054054053</c:v>
                </c:pt>
                <c:pt idx="6">
                  <c:v>6.3063063063063058</c:v>
                </c:pt>
                <c:pt idx="7">
                  <c:v>7.2072072072072073</c:v>
                </c:pt>
                <c:pt idx="8">
                  <c:v>8.1081081081081088</c:v>
                </c:pt>
                <c:pt idx="9">
                  <c:v>9.0090090090090094</c:v>
                </c:pt>
                <c:pt idx="10">
                  <c:v>9.9099099099099099</c:v>
                </c:pt>
                <c:pt idx="11">
                  <c:v>10.810810810810811</c:v>
                </c:pt>
                <c:pt idx="12">
                  <c:v>11.711711711711711</c:v>
                </c:pt>
                <c:pt idx="13">
                  <c:v>12.612612612612612</c:v>
                </c:pt>
                <c:pt idx="14">
                  <c:v>13.513513513513514</c:v>
                </c:pt>
                <c:pt idx="15">
                  <c:v>14.414414414414415</c:v>
                </c:pt>
                <c:pt idx="16">
                  <c:v>15.315315315315313</c:v>
                </c:pt>
                <c:pt idx="17">
                  <c:v>16.216216216216218</c:v>
                </c:pt>
                <c:pt idx="18">
                  <c:v>17.117117117117118</c:v>
                </c:pt>
                <c:pt idx="19">
                  <c:v>18.018018018018019</c:v>
                </c:pt>
                <c:pt idx="20">
                  <c:v>18.918918918918919</c:v>
                </c:pt>
                <c:pt idx="21">
                  <c:v>19.81981981981982</c:v>
                </c:pt>
                <c:pt idx="22">
                  <c:v>20.72072072072072</c:v>
                </c:pt>
                <c:pt idx="23">
                  <c:v>21.621621621621621</c:v>
                </c:pt>
                <c:pt idx="24">
                  <c:v>22.522522522522522</c:v>
                </c:pt>
                <c:pt idx="25">
                  <c:v>23.423423423423422</c:v>
                </c:pt>
                <c:pt idx="26">
                  <c:v>24.324324324324326</c:v>
                </c:pt>
                <c:pt idx="27">
                  <c:v>25.225225225225223</c:v>
                </c:pt>
                <c:pt idx="28">
                  <c:v>26.126126126126124</c:v>
                </c:pt>
                <c:pt idx="29">
                  <c:v>27.027027027027028</c:v>
                </c:pt>
                <c:pt idx="30">
                  <c:v>27.927927927927925</c:v>
                </c:pt>
                <c:pt idx="31">
                  <c:v>28.828828828828829</c:v>
                </c:pt>
                <c:pt idx="32">
                  <c:v>29.72972972972973</c:v>
                </c:pt>
                <c:pt idx="33">
                  <c:v>30.630630630630627</c:v>
                </c:pt>
                <c:pt idx="34">
                  <c:v>31.531531531531531</c:v>
                </c:pt>
                <c:pt idx="35">
                  <c:v>32.432432432432435</c:v>
                </c:pt>
                <c:pt idx="36">
                  <c:v>33.333333333333329</c:v>
                </c:pt>
                <c:pt idx="37">
                  <c:v>34.234234234234236</c:v>
                </c:pt>
                <c:pt idx="38">
                  <c:v>35.135135135135137</c:v>
                </c:pt>
                <c:pt idx="39">
                  <c:v>36.036036036036037</c:v>
                </c:pt>
                <c:pt idx="40">
                  <c:v>36.936936936936938</c:v>
                </c:pt>
                <c:pt idx="41">
                  <c:v>37.837837837837839</c:v>
                </c:pt>
                <c:pt idx="42">
                  <c:v>38.738738738738739</c:v>
                </c:pt>
                <c:pt idx="43">
                  <c:v>39.63963963963964</c:v>
                </c:pt>
                <c:pt idx="44">
                  <c:v>40.54054054054054</c:v>
                </c:pt>
                <c:pt idx="45">
                  <c:v>41.441441441441441</c:v>
                </c:pt>
                <c:pt idx="46">
                  <c:v>42.342342342342342</c:v>
                </c:pt>
                <c:pt idx="47">
                  <c:v>43.243243243243242</c:v>
                </c:pt>
                <c:pt idx="48">
                  <c:v>44.144144144144143</c:v>
                </c:pt>
                <c:pt idx="49">
                  <c:v>45.045045045045043</c:v>
                </c:pt>
                <c:pt idx="50">
                  <c:v>45.945945945945951</c:v>
                </c:pt>
                <c:pt idx="51">
                  <c:v>46.846846846846844</c:v>
                </c:pt>
                <c:pt idx="52">
                  <c:v>47.747747747747752</c:v>
                </c:pt>
                <c:pt idx="53">
                  <c:v>48.648648648648653</c:v>
                </c:pt>
                <c:pt idx="54">
                  <c:v>49.549549549549546</c:v>
                </c:pt>
                <c:pt idx="55">
                  <c:v>50.450450450450447</c:v>
                </c:pt>
                <c:pt idx="56">
                  <c:v>51.351351351351347</c:v>
                </c:pt>
                <c:pt idx="57">
                  <c:v>52.252252252252248</c:v>
                </c:pt>
                <c:pt idx="58">
                  <c:v>53.153153153153156</c:v>
                </c:pt>
                <c:pt idx="59">
                  <c:v>54.054054054054056</c:v>
                </c:pt>
                <c:pt idx="60">
                  <c:v>54.954954954954957</c:v>
                </c:pt>
                <c:pt idx="61">
                  <c:v>55.85585585585585</c:v>
                </c:pt>
                <c:pt idx="62">
                  <c:v>56.756756756756758</c:v>
                </c:pt>
                <c:pt idx="63">
                  <c:v>57.657657657657658</c:v>
                </c:pt>
                <c:pt idx="64">
                  <c:v>58.558558558558559</c:v>
                </c:pt>
                <c:pt idx="65">
                  <c:v>59.45945945945946</c:v>
                </c:pt>
                <c:pt idx="66">
                  <c:v>60.360360360360367</c:v>
                </c:pt>
                <c:pt idx="67">
                  <c:v>61.261261261261254</c:v>
                </c:pt>
                <c:pt idx="68">
                  <c:v>62.162162162162161</c:v>
                </c:pt>
                <c:pt idx="69">
                  <c:v>63.063063063063062</c:v>
                </c:pt>
                <c:pt idx="70">
                  <c:v>63.963963963963963</c:v>
                </c:pt>
                <c:pt idx="71">
                  <c:v>64.86486486486487</c:v>
                </c:pt>
                <c:pt idx="72">
                  <c:v>65.765765765765778</c:v>
                </c:pt>
                <c:pt idx="73">
                  <c:v>66.666666666666657</c:v>
                </c:pt>
                <c:pt idx="74">
                  <c:v>67.567567567567565</c:v>
                </c:pt>
                <c:pt idx="75">
                  <c:v>68.468468468468473</c:v>
                </c:pt>
                <c:pt idx="76">
                  <c:v>69.369369369369366</c:v>
                </c:pt>
                <c:pt idx="77">
                  <c:v>70.270270270270274</c:v>
                </c:pt>
                <c:pt idx="78">
                  <c:v>71.171171171171167</c:v>
                </c:pt>
                <c:pt idx="79">
                  <c:v>72.072072072072075</c:v>
                </c:pt>
                <c:pt idx="80">
                  <c:v>72.972972972972968</c:v>
                </c:pt>
                <c:pt idx="81">
                  <c:v>73.873873873873876</c:v>
                </c:pt>
                <c:pt idx="82">
                  <c:v>74.774774774774784</c:v>
                </c:pt>
                <c:pt idx="83">
                  <c:v>75.675675675675677</c:v>
                </c:pt>
                <c:pt idx="84">
                  <c:v>76.576576576576571</c:v>
                </c:pt>
                <c:pt idx="85">
                  <c:v>77.477477477477478</c:v>
                </c:pt>
                <c:pt idx="86">
                  <c:v>78.378378378378372</c:v>
                </c:pt>
                <c:pt idx="87">
                  <c:v>79.27927927927928</c:v>
                </c:pt>
                <c:pt idx="88">
                  <c:v>80.180180180180187</c:v>
                </c:pt>
                <c:pt idx="89">
                  <c:v>81.081081081081081</c:v>
                </c:pt>
                <c:pt idx="90">
                  <c:v>81.981981981981974</c:v>
                </c:pt>
                <c:pt idx="91">
                  <c:v>82.882882882882882</c:v>
                </c:pt>
                <c:pt idx="92">
                  <c:v>83.78378378378379</c:v>
                </c:pt>
                <c:pt idx="93">
                  <c:v>84.684684684684683</c:v>
                </c:pt>
                <c:pt idx="94">
                  <c:v>85.585585585585591</c:v>
                </c:pt>
                <c:pt idx="95">
                  <c:v>86.486486486486484</c:v>
                </c:pt>
                <c:pt idx="96">
                  <c:v>87.387387387387378</c:v>
                </c:pt>
                <c:pt idx="97">
                  <c:v>88.288288288288285</c:v>
                </c:pt>
                <c:pt idx="98">
                  <c:v>89.189189189189193</c:v>
                </c:pt>
                <c:pt idx="99">
                  <c:v>90.090090090090087</c:v>
                </c:pt>
                <c:pt idx="100">
                  <c:v>90.990990990990994</c:v>
                </c:pt>
                <c:pt idx="101">
                  <c:v>91.891891891891902</c:v>
                </c:pt>
                <c:pt idx="102">
                  <c:v>92.792792792792795</c:v>
                </c:pt>
                <c:pt idx="103">
                  <c:v>93.693693693693689</c:v>
                </c:pt>
                <c:pt idx="104">
                  <c:v>94.594594594594597</c:v>
                </c:pt>
                <c:pt idx="105">
                  <c:v>95.495495495495504</c:v>
                </c:pt>
                <c:pt idx="106">
                  <c:v>96.396396396396398</c:v>
                </c:pt>
                <c:pt idx="107">
                  <c:v>97.297297297297305</c:v>
                </c:pt>
                <c:pt idx="108">
                  <c:v>98.198198198198199</c:v>
                </c:pt>
                <c:pt idx="109">
                  <c:v>99.099099099099092</c:v>
                </c:pt>
                <c:pt idx="110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C81-4FED-8E9E-F01C779F69F5}"/>
            </c:ext>
          </c:extLst>
        </c:ser>
        <c:ser>
          <c:idx val="3"/>
          <c:order val="1"/>
          <c:tx>
            <c:strRef>
              <c:f>InSegment!$L$1</c:f>
              <c:strCache>
                <c:ptCount val="1"/>
                <c:pt idx="0">
                  <c:v>BIOSOLVE II</c:v>
                </c:pt>
              </c:strCache>
            </c:strRef>
          </c:tx>
          <c:spPr>
            <a:ln w="28575" cap="rnd">
              <a:solidFill>
                <a:srgbClr val="6699FF"/>
              </a:solidFill>
              <a:round/>
            </a:ln>
            <a:effectLst/>
          </c:spPr>
          <c:marker>
            <c:symbol val="none"/>
          </c:marker>
          <c:xVal>
            <c:numRef>
              <c:f>InSegment!$L$6:$L$135</c:f>
              <c:numCache>
                <c:formatCode>General</c:formatCode>
                <c:ptCount val="130"/>
                <c:pt idx="0">
                  <c:v>-0.75986277873070296</c:v>
                </c:pt>
                <c:pt idx="1">
                  <c:v>-0.42367066895368699</c:v>
                </c:pt>
                <c:pt idx="2">
                  <c:v>-0.426672384219553</c:v>
                </c:pt>
                <c:pt idx="3">
                  <c:v>-0.37564322469982803</c:v>
                </c:pt>
                <c:pt idx="4">
                  <c:v>-0.37264150943396201</c:v>
                </c:pt>
                <c:pt idx="5">
                  <c:v>-0.20754716981131999</c:v>
                </c:pt>
                <c:pt idx="6">
                  <c:v>-0.20754716981131999</c:v>
                </c:pt>
                <c:pt idx="7">
                  <c:v>-0.14451114922812999</c:v>
                </c:pt>
                <c:pt idx="8">
                  <c:v>-0.147512864493996</c:v>
                </c:pt>
                <c:pt idx="9">
                  <c:v>-0.102487135506003</c:v>
                </c:pt>
                <c:pt idx="10">
                  <c:v>-0.102487135506003</c:v>
                </c:pt>
                <c:pt idx="11">
                  <c:v>-9.9485420240136901E-2</c:v>
                </c:pt>
                <c:pt idx="12">
                  <c:v>-9.6483704974271001E-2</c:v>
                </c:pt>
                <c:pt idx="13">
                  <c:v>-7.5471698113207503E-2</c:v>
                </c:pt>
                <c:pt idx="14">
                  <c:v>-7.5471698113207503E-2</c:v>
                </c:pt>
                <c:pt idx="15">
                  <c:v>-6.0463121783876202E-2</c:v>
                </c:pt>
                <c:pt idx="16">
                  <c:v>-5.74614065180101E-2</c:v>
                </c:pt>
                <c:pt idx="17">
                  <c:v>-4.54545454545454E-2</c:v>
                </c:pt>
                <c:pt idx="18">
                  <c:v>-4.54545454545454E-2</c:v>
                </c:pt>
                <c:pt idx="19">
                  <c:v>-3.6449399656946803E-2</c:v>
                </c:pt>
                <c:pt idx="20">
                  <c:v>-3.9451114922812898E-2</c:v>
                </c:pt>
                <c:pt idx="21">
                  <c:v>-2.7444253859348001E-2</c:v>
                </c:pt>
                <c:pt idx="22">
                  <c:v>-2.7444253859348001E-2</c:v>
                </c:pt>
                <c:pt idx="23">
                  <c:v>-1.2435677530016899E-2</c:v>
                </c:pt>
                <c:pt idx="24">
                  <c:v>-1.2435677530016899E-2</c:v>
                </c:pt>
                <c:pt idx="25">
                  <c:v>-6.4322469982844802E-3</c:v>
                </c:pt>
                <c:pt idx="26">
                  <c:v>-3.43053173241836E-3</c:v>
                </c:pt>
                <c:pt idx="27">
                  <c:v>2.57289879931388E-3</c:v>
                </c:pt>
                <c:pt idx="28">
                  <c:v>2.57289879931388E-3</c:v>
                </c:pt>
                <c:pt idx="29">
                  <c:v>1.4579759862778799E-2</c:v>
                </c:pt>
                <c:pt idx="30">
                  <c:v>1.4579759862778799E-2</c:v>
                </c:pt>
                <c:pt idx="31">
                  <c:v>1.7581475128644899E-2</c:v>
                </c:pt>
                <c:pt idx="32">
                  <c:v>1.7581475128644899E-2</c:v>
                </c:pt>
                <c:pt idx="33">
                  <c:v>3.8593481989708599E-2</c:v>
                </c:pt>
                <c:pt idx="34">
                  <c:v>4.4596912521441101E-2</c:v>
                </c:pt>
                <c:pt idx="35">
                  <c:v>5.9605488850771902E-2</c:v>
                </c:pt>
                <c:pt idx="36">
                  <c:v>6.86106346483705E-2</c:v>
                </c:pt>
                <c:pt idx="37">
                  <c:v>8.0617495711835505E-2</c:v>
                </c:pt>
                <c:pt idx="38">
                  <c:v>8.0617495711835505E-2</c:v>
                </c:pt>
                <c:pt idx="39">
                  <c:v>8.36192109777016E-2</c:v>
                </c:pt>
                <c:pt idx="40">
                  <c:v>8.9622641509434095E-2</c:v>
                </c:pt>
                <c:pt idx="41">
                  <c:v>0.104631217838764</c:v>
                </c:pt>
                <c:pt idx="42">
                  <c:v>0.107632933104631</c:v>
                </c:pt>
                <c:pt idx="43">
                  <c:v>0.119639794168096</c:v>
                </c:pt>
                <c:pt idx="44">
                  <c:v>0.119639794168096</c:v>
                </c:pt>
                <c:pt idx="45">
                  <c:v>0.13164665523156099</c:v>
                </c:pt>
                <c:pt idx="46">
                  <c:v>0.13464837049742701</c:v>
                </c:pt>
                <c:pt idx="47">
                  <c:v>0.15866209262435599</c:v>
                </c:pt>
                <c:pt idx="48">
                  <c:v>0.15566037735849</c:v>
                </c:pt>
                <c:pt idx="49">
                  <c:v>0.17066895368782101</c:v>
                </c:pt>
                <c:pt idx="50">
                  <c:v>0.17367066895368799</c:v>
                </c:pt>
                <c:pt idx="51">
                  <c:v>0.19468267581475099</c:v>
                </c:pt>
                <c:pt idx="52">
                  <c:v>0.19468267581475099</c:v>
                </c:pt>
                <c:pt idx="53">
                  <c:v>0.212692967409948</c:v>
                </c:pt>
                <c:pt idx="54">
                  <c:v>0.21569468267581399</c:v>
                </c:pt>
                <c:pt idx="55">
                  <c:v>0.22469982847341299</c:v>
                </c:pt>
                <c:pt idx="56">
                  <c:v>0.23070325900514599</c:v>
                </c:pt>
                <c:pt idx="57">
                  <c:v>0.23670668953687801</c:v>
                </c:pt>
                <c:pt idx="58">
                  <c:v>0.239708404802744</c:v>
                </c:pt>
                <c:pt idx="59">
                  <c:v>0.25171526586620901</c:v>
                </c:pt>
                <c:pt idx="60">
                  <c:v>0.25171526586620901</c:v>
                </c:pt>
                <c:pt idx="61">
                  <c:v>0.26072041166380799</c:v>
                </c:pt>
                <c:pt idx="62">
                  <c:v>0.26072041166380799</c:v>
                </c:pt>
                <c:pt idx="63">
                  <c:v>0.26672384219554002</c:v>
                </c:pt>
                <c:pt idx="64">
                  <c:v>0.26972555746140597</c:v>
                </c:pt>
                <c:pt idx="65">
                  <c:v>0.27873070325900501</c:v>
                </c:pt>
                <c:pt idx="66">
                  <c:v>0.27873070325900501</c:v>
                </c:pt>
                <c:pt idx="67">
                  <c:v>0.305746140651801</c:v>
                </c:pt>
                <c:pt idx="68">
                  <c:v>0.305746140651801</c:v>
                </c:pt>
                <c:pt idx="69">
                  <c:v>0.33576329331046301</c:v>
                </c:pt>
                <c:pt idx="70">
                  <c:v>0.33576329331046301</c:v>
                </c:pt>
                <c:pt idx="71">
                  <c:v>0.35077186963979401</c:v>
                </c:pt>
                <c:pt idx="72">
                  <c:v>0.35377358490566002</c:v>
                </c:pt>
                <c:pt idx="73">
                  <c:v>0.36878216123499102</c:v>
                </c:pt>
                <c:pt idx="74">
                  <c:v>0.36578044596912501</c:v>
                </c:pt>
                <c:pt idx="75">
                  <c:v>0.37178387650085698</c:v>
                </c:pt>
                <c:pt idx="76">
                  <c:v>0.37478559176672399</c:v>
                </c:pt>
                <c:pt idx="77">
                  <c:v>0.38379073756432203</c:v>
                </c:pt>
                <c:pt idx="78">
                  <c:v>0.38379073756432203</c:v>
                </c:pt>
                <c:pt idx="79">
                  <c:v>0.41680960548885099</c:v>
                </c:pt>
                <c:pt idx="80">
                  <c:v>0.41680960548885099</c:v>
                </c:pt>
                <c:pt idx="81">
                  <c:v>0.42581475128644902</c:v>
                </c:pt>
                <c:pt idx="82">
                  <c:v>0.42281303602058301</c:v>
                </c:pt>
                <c:pt idx="83">
                  <c:v>0.44082332761578003</c:v>
                </c:pt>
                <c:pt idx="84">
                  <c:v>0.44082332761578003</c:v>
                </c:pt>
                <c:pt idx="85">
                  <c:v>0.44682675814751199</c:v>
                </c:pt>
                <c:pt idx="86">
                  <c:v>0.44682675814751199</c:v>
                </c:pt>
                <c:pt idx="87">
                  <c:v>0.45283018867924502</c:v>
                </c:pt>
                <c:pt idx="88">
                  <c:v>0.45583190394511103</c:v>
                </c:pt>
                <c:pt idx="89">
                  <c:v>0.48284734133790702</c:v>
                </c:pt>
                <c:pt idx="90">
                  <c:v>0.48284734133790702</c:v>
                </c:pt>
                <c:pt idx="91">
                  <c:v>0.49485420240137201</c:v>
                </c:pt>
                <c:pt idx="92">
                  <c:v>0.50085763293310404</c:v>
                </c:pt>
                <c:pt idx="93">
                  <c:v>0.50986277873070296</c:v>
                </c:pt>
                <c:pt idx="94">
                  <c:v>0.51286449399656897</c:v>
                </c:pt>
                <c:pt idx="95">
                  <c:v>0.52787307032590003</c:v>
                </c:pt>
                <c:pt idx="96">
                  <c:v>0.52787307032590003</c:v>
                </c:pt>
                <c:pt idx="97">
                  <c:v>0.56989708404802697</c:v>
                </c:pt>
                <c:pt idx="98">
                  <c:v>0.56989708404802697</c:v>
                </c:pt>
                <c:pt idx="99">
                  <c:v>0.58490566037735803</c:v>
                </c:pt>
                <c:pt idx="100">
                  <c:v>0.58490566037735803</c:v>
                </c:pt>
                <c:pt idx="101">
                  <c:v>0.59691252144082296</c:v>
                </c:pt>
                <c:pt idx="102">
                  <c:v>0.605917667238421</c:v>
                </c:pt>
                <c:pt idx="103">
                  <c:v>0.605917667238421</c:v>
                </c:pt>
                <c:pt idx="104">
                  <c:v>0.61792452830188604</c:v>
                </c:pt>
                <c:pt idx="105">
                  <c:v>0.61792452830188604</c:v>
                </c:pt>
                <c:pt idx="106">
                  <c:v>0.65394511149228096</c:v>
                </c:pt>
                <c:pt idx="107">
                  <c:v>0.65094339622641495</c:v>
                </c:pt>
                <c:pt idx="108">
                  <c:v>0.68996569468267599</c:v>
                </c:pt>
                <c:pt idx="109">
                  <c:v>0.692967409948542</c:v>
                </c:pt>
                <c:pt idx="110">
                  <c:v>0.76200686106346505</c:v>
                </c:pt>
                <c:pt idx="111">
                  <c:v>0.76500857632933095</c:v>
                </c:pt>
                <c:pt idx="112">
                  <c:v>0.77701543739279599</c:v>
                </c:pt>
                <c:pt idx="113">
                  <c:v>0.77701543739279599</c:v>
                </c:pt>
                <c:pt idx="114">
                  <c:v>0.86706689536878201</c:v>
                </c:pt>
                <c:pt idx="115">
                  <c:v>0.86706689536878201</c:v>
                </c:pt>
                <c:pt idx="116">
                  <c:v>1.01715265866209</c:v>
                </c:pt>
                <c:pt idx="117">
                  <c:v>1.01715265866209</c:v>
                </c:pt>
                <c:pt idx="118">
                  <c:v>1.05317324185248</c:v>
                </c:pt>
                <c:pt idx="119">
                  <c:v>1.05317324185248</c:v>
                </c:pt>
                <c:pt idx="120">
                  <c:v>1.09819897084048</c:v>
                </c:pt>
                <c:pt idx="121">
                  <c:v>1.09819897084048</c:v>
                </c:pt>
                <c:pt idx="122">
                  <c:v>1.1102058319039401</c:v>
                </c:pt>
                <c:pt idx="123">
                  <c:v>1.1102058319039401</c:v>
                </c:pt>
                <c:pt idx="124">
                  <c:v>1.17324185248713</c:v>
                </c:pt>
                <c:pt idx="125">
                  <c:v>1.17324185248713</c:v>
                </c:pt>
                <c:pt idx="126">
                  <c:v>1.4103773584905599</c:v>
                </c:pt>
                <c:pt idx="127">
                  <c:v>1.4103773584905599</c:v>
                </c:pt>
                <c:pt idx="128">
                  <c:v>1.74957118353344</c:v>
                </c:pt>
                <c:pt idx="129">
                  <c:v>1.74957118353344</c:v>
                </c:pt>
              </c:numCache>
            </c:numRef>
          </c:xVal>
          <c:yVal>
            <c:numRef>
              <c:f>InSegment!$M$6:$M$135</c:f>
              <c:numCache>
                <c:formatCode>General</c:formatCode>
                <c:ptCount val="130"/>
                <c:pt idx="0">
                  <c:v>0.78369905956114305</c:v>
                </c:pt>
                <c:pt idx="1">
                  <c:v>0.94043887147334704</c:v>
                </c:pt>
                <c:pt idx="2">
                  <c:v>1.8808777429467001</c:v>
                </c:pt>
                <c:pt idx="3">
                  <c:v>1.8808777429467001</c:v>
                </c:pt>
                <c:pt idx="4">
                  <c:v>3.44827586206896</c:v>
                </c:pt>
                <c:pt idx="5">
                  <c:v>3.44827586206896</c:v>
                </c:pt>
                <c:pt idx="6">
                  <c:v>4.5454545454545396</c:v>
                </c:pt>
                <c:pt idx="7">
                  <c:v>4.5454545454545396</c:v>
                </c:pt>
                <c:pt idx="8">
                  <c:v>5.3291536050156703</c:v>
                </c:pt>
                <c:pt idx="9">
                  <c:v>5.3291536050156703</c:v>
                </c:pt>
                <c:pt idx="10">
                  <c:v>5.9561128526645799</c:v>
                </c:pt>
                <c:pt idx="11">
                  <c:v>6.1128526645767902</c:v>
                </c:pt>
                <c:pt idx="12">
                  <c:v>7.8369905956112902</c:v>
                </c:pt>
                <c:pt idx="13">
                  <c:v>7.8369905956112902</c:v>
                </c:pt>
                <c:pt idx="14">
                  <c:v>10.6583072100313</c:v>
                </c:pt>
                <c:pt idx="15">
                  <c:v>10.815047021943499</c:v>
                </c:pt>
                <c:pt idx="16">
                  <c:v>12.2257053291536</c:v>
                </c:pt>
                <c:pt idx="17">
                  <c:v>12.3824451410658</c:v>
                </c:pt>
                <c:pt idx="18">
                  <c:v>13.322884012539101</c:v>
                </c:pt>
                <c:pt idx="19">
                  <c:v>13.322884012539101</c:v>
                </c:pt>
                <c:pt idx="20">
                  <c:v>14.1065830721003</c:v>
                </c:pt>
                <c:pt idx="21">
                  <c:v>14.1065830721003</c:v>
                </c:pt>
                <c:pt idx="22">
                  <c:v>15.047021943573601</c:v>
                </c:pt>
                <c:pt idx="23">
                  <c:v>15.2037617554859</c:v>
                </c:pt>
                <c:pt idx="24">
                  <c:v>15.8307210031347</c:v>
                </c:pt>
                <c:pt idx="25">
                  <c:v>15.8307210031347</c:v>
                </c:pt>
                <c:pt idx="26">
                  <c:v>17.5548589341692</c:v>
                </c:pt>
                <c:pt idx="27">
                  <c:v>17.5548589341692</c:v>
                </c:pt>
                <c:pt idx="28">
                  <c:v>18.338557993730401</c:v>
                </c:pt>
                <c:pt idx="29">
                  <c:v>18.495297805642601</c:v>
                </c:pt>
                <c:pt idx="30">
                  <c:v>20.532915360501502</c:v>
                </c:pt>
                <c:pt idx="31">
                  <c:v>20.532915360501502</c:v>
                </c:pt>
                <c:pt idx="32">
                  <c:v>21.1598746081504</c:v>
                </c:pt>
                <c:pt idx="33">
                  <c:v>21.0031347962382</c:v>
                </c:pt>
                <c:pt idx="34">
                  <c:v>22.257053291536</c:v>
                </c:pt>
                <c:pt idx="35">
                  <c:v>22.257053291536</c:v>
                </c:pt>
                <c:pt idx="36">
                  <c:v>24.921630094043799</c:v>
                </c:pt>
                <c:pt idx="37">
                  <c:v>24.921630094043799</c:v>
                </c:pt>
                <c:pt idx="38">
                  <c:v>26.645768025078301</c:v>
                </c:pt>
                <c:pt idx="39">
                  <c:v>26.8025078369906</c:v>
                </c:pt>
                <c:pt idx="40">
                  <c:v>28.369905956112799</c:v>
                </c:pt>
                <c:pt idx="41">
                  <c:v>28.683385579937301</c:v>
                </c:pt>
                <c:pt idx="42">
                  <c:v>31.034482758620602</c:v>
                </c:pt>
                <c:pt idx="43">
                  <c:v>31.191222570532901</c:v>
                </c:pt>
                <c:pt idx="44">
                  <c:v>31.818181818181799</c:v>
                </c:pt>
                <c:pt idx="45">
                  <c:v>32.131661442006198</c:v>
                </c:pt>
                <c:pt idx="46">
                  <c:v>35.736677115987398</c:v>
                </c:pt>
                <c:pt idx="47">
                  <c:v>35.736677115987398</c:v>
                </c:pt>
                <c:pt idx="48">
                  <c:v>36.363636363636303</c:v>
                </c:pt>
                <c:pt idx="49">
                  <c:v>36.363636363636303</c:v>
                </c:pt>
                <c:pt idx="50">
                  <c:v>40.909090909090899</c:v>
                </c:pt>
                <c:pt idx="51">
                  <c:v>41.065830721003103</c:v>
                </c:pt>
                <c:pt idx="52">
                  <c:v>43.730407523510898</c:v>
                </c:pt>
                <c:pt idx="53">
                  <c:v>43.730407523510898</c:v>
                </c:pt>
                <c:pt idx="54">
                  <c:v>46.3949843260188</c:v>
                </c:pt>
                <c:pt idx="55">
                  <c:v>46.7084639498432</c:v>
                </c:pt>
                <c:pt idx="56">
                  <c:v>48.432601880877698</c:v>
                </c:pt>
                <c:pt idx="57">
                  <c:v>48.432601880877698</c:v>
                </c:pt>
                <c:pt idx="58">
                  <c:v>49.216300940438799</c:v>
                </c:pt>
                <c:pt idx="59">
                  <c:v>49.216300940438799</c:v>
                </c:pt>
                <c:pt idx="60">
                  <c:v>49.686520376175501</c:v>
                </c:pt>
                <c:pt idx="61">
                  <c:v>49.686520376175501</c:v>
                </c:pt>
                <c:pt idx="62">
                  <c:v>52.664576802507803</c:v>
                </c:pt>
                <c:pt idx="63">
                  <c:v>52.664576802507803</c:v>
                </c:pt>
                <c:pt idx="64">
                  <c:v>54.231974921630098</c:v>
                </c:pt>
                <c:pt idx="65">
                  <c:v>54.231974921630098</c:v>
                </c:pt>
                <c:pt idx="66">
                  <c:v>58.777429467084602</c:v>
                </c:pt>
                <c:pt idx="67">
                  <c:v>58.777429467084602</c:v>
                </c:pt>
                <c:pt idx="68">
                  <c:v>59.717868338557999</c:v>
                </c:pt>
                <c:pt idx="69">
                  <c:v>59.874608150470202</c:v>
                </c:pt>
                <c:pt idx="70">
                  <c:v>61.755485893416903</c:v>
                </c:pt>
                <c:pt idx="71">
                  <c:v>61.912225705329099</c:v>
                </c:pt>
                <c:pt idx="72">
                  <c:v>62.382445141065801</c:v>
                </c:pt>
                <c:pt idx="73">
                  <c:v>62.382445141065801</c:v>
                </c:pt>
                <c:pt idx="74">
                  <c:v>65.2037617554859</c:v>
                </c:pt>
                <c:pt idx="75">
                  <c:v>65.2037617554859</c:v>
                </c:pt>
                <c:pt idx="76">
                  <c:v>67.711598746081506</c:v>
                </c:pt>
                <c:pt idx="77">
                  <c:v>67.711598746081506</c:v>
                </c:pt>
                <c:pt idx="78">
                  <c:v>69.435736677115997</c:v>
                </c:pt>
                <c:pt idx="79">
                  <c:v>69.435736677115997</c:v>
                </c:pt>
                <c:pt idx="80">
                  <c:v>70.219435736677099</c:v>
                </c:pt>
                <c:pt idx="81">
                  <c:v>70.219435736677099</c:v>
                </c:pt>
                <c:pt idx="82">
                  <c:v>72.257053291535996</c:v>
                </c:pt>
                <c:pt idx="83">
                  <c:v>72.257053291535996</c:v>
                </c:pt>
                <c:pt idx="84">
                  <c:v>73.040752351097098</c:v>
                </c:pt>
                <c:pt idx="85">
                  <c:v>73.040752351097098</c:v>
                </c:pt>
                <c:pt idx="86">
                  <c:v>73.981191222570502</c:v>
                </c:pt>
                <c:pt idx="87">
                  <c:v>73.981191222570502</c:v>
                </c:pt>
                <c:pt idx="88">
                  <c:v>74.921630094043806</c:v>
                </c:pt>
                <c:pt idx="89">
                  <c:v>75.078369905956094</c:v>
                </c:pt>
                <c:pt idx="90">
                  <c:v>78.526645768025006</c:v>
                </c:pt>
                <c:pt idx="91">
                  <c:v>78.526645768025006</c:v>
                </c:pt>
                <c:pt idx="92">
                  <c:v>79.467084639498395</c:v>
                </c:pt>
                <c:pt idx="93">
                  <c:v>79.623824451410599</c:v>
                </c:pt>
                <c:pt idx="94">
                  <c:v>80.250783699059497</c:v>
                </c:pt>
                <c:pt idx="95">
                  <c:v>80.407523510971799</c:v>
                </c:pt>
                <c:pt idx="96">
                  <c:v>82.758620689655103</c:v>
                </c:pt>
                <c:pt idx="97">
                  <c:v>82.915360501567406</c:v>
                </c:pt>
                <c:pt idx="98">
                  <c:v>83.855799373040696</c:v>
                </c:pt>
                <c:pt idx="99">
                  <c:v>83.855799373040696</c:v>
                </c:pt>
                <c:pt idx="100">
                  <c:v>84.639498432601798</c:v>
                </c:pt>
                <c:pt idx="101">
                  <c:v>84.7962382445141</c:v>
                </c:pt>
                <c:pt idx="102">
                  <c:v>85.579937304075202</c:v>
                </c:pt>
                <c:pt idx="103">
                  <c:v>86.990595611285201</c:v>
                </c:pt>
                <c:pt idx="104">
                  <c:v>87.304075235109707</c:v>
                </c:pt>
                <c:pt idx="105">
                  <c:v>89.184952978056401</c:v>
                </c:pt>
                <c:pt idx="106">
                  <c:v>89.184952978056401</c:v>
                </c:pt>
                <c:pt idx="107">
                  <c:v>90.125391849529706</c:v>
                </c:pt>
                <c:pt idx="108">
                  <c:v>90.125391849529706</c:v>
                </c:pt>
                <c:pt idx="109">
                  <c:v>91.065830721003096</c:v>
                </c:pt>
                <c:pt idx="110">
                  <c:v>90.909090909090907</c:v>
                </c:pt>
                <c:pt idx="111">
                  <c:v>91.849529780564197</c:v>
                </c:pt>
                <c:pt idx="112">
                  <c:v>92.006269592476499</c:v>
                </c:pt>
                <c:pt idx="113">
                  <c:v>92.946708463949804</c:v>
                </c:pt>
                <c:pt idx="114">
                  <c:v>92.946708463949804</c:v>
                </c:pt>
                <c:pt idx="115">
                  <c:v>93.730407523510905</c:v>
                </c:pt>
                <c:pt idx="116">
                  <c:v>93.887147335423194</c:v>
                </c:pt>
                <c:pt idx="117">
                  <c:v>94.670846394984295</c:v>
                </c:pt>
                <c:pt idx="118">
                  <c:v>94.670846394984295</c:v>
                </c:pt>
                <c:pt idx="119">
                  <c:v>95.6112852664576</c:v>
                </c:pt>
                <c:pt idx="120">
                  <c:v>95.454545454545396</c:v>
                </c:pt>
                <c:pt idx="121">
                  <c:v>96.551724137931004</c:v>
                </c:pt>
                <c:pt idx="122">
                  <c:v>96.708463949843207</c:v>
                </c:pt>
                <c:pt idx="123">
                  <c:v>97.335423197492105</c:v>
                </c:pt>
                <c:pt idx="124">
                  <c:v>97.492163009404393</c:v>
                </c:pt>
                <c:pt idx="125">
                  <c:v>98.275862068965495</c:v>
                </c:pt>
                <c:pt idx="126">
                  <c:v>98.275862068965495</c:v>
                </c:pt>
                <c:pt idx="127">
                  <c:v>98.902821316614407</c:v>
                </c:pt>
                <c:pt idx="128">
                  <c:v>99.373040752351102</c:v>
                </c:pt>
                <c:pt idx="129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C81-4FED-8E9E-F01C779F69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5181008"/>
        <c:axId val="515181336"/>
      </c:scatterChart>
      <c:valAx>
        <c:axId val="515181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 b="1" i="0" baseline="0">
                    <a:solidFill>
                      <a:schemeClr val="tx1"/>
                    </a:solidFill>
                    <a:latin typeface="+mn-lt"/>
                  </a:rPr>
                  <a:t>In-segment LLL (mm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181336"/>
        <c:crosses val="autoZero"/>
        <c:crossBetween val="midCat"/>
      </c:valAx>
      <c:valAx>
        <c:axId val="515181336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 b="1" i="0" baseline="0">
                    <a:solidFill>
                      <a:schemeClr val="tx1"/>
                    </a:solidFill>
                    <a:latin typeface="+mn-lt"/>
                  </a:rPr>
                  <a:t>Cumulative Frequency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181008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56</cdr:x>
      <cdr:y>0.1035</cdr:y>
    </cdr:from>
    <cdr:to>
      <cdr:x>0.67142</cdr:x>
      <cdr:y>0.3069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52170000-B610-4FCD-A718-977C23CCA875}"/>
            </a:ext>
          </a:extLst>
        </cdr:cNvPr>
        <cdr:cNvSpPr txBox="1"/>
      </cdr:nvSpPr>
      <cdr:spPr>
        <a:xfrm xmlns:a="http://schemas.openxmlformats.org/drawingml/2006/main">
          <a:off x="3964999" y="465139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de-CH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226B66D6-0732-4BA4-AA51-5C1309A7D86F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1D143332-19C1-488F-9E12-168CC4B3F65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01B7A9-8BE1-4F7E-95C8-E5A54CBFB95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845CB0-A824-4A1A-8DCB-2D3C39767C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159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E678BB-763C-40DF-B781-F9D40CCA79A2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837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AE678BB-763C-40DF-B781-F9D40CCA79A2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976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AE678BB-763C-40DF-B781-F9D40CCA79A2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746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mages are from GER443-012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45CB0-A824-4A1A-8DCB-2D3C39767CE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5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mages are from GER443-009</a:t>
            </a:r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45CB0-A824-4A1A-8DCB-2D3C39767CE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1586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mages are from GER175-004</a:t>
            </a:r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45CB0-A824-4A1A-8DCB-2D3C39767CE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47052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mages are from GER443-00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OCT analysis are on patient level</a:t>
            </a:r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845CB0-A824-4A1A-8DCB-2D3C39767CE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527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633200"/>
            <a:ext cx="6954942" cy="162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100000"/>
              </a:lnSpc>
              <a:spcBef>
                <a:spcPts val="150"/>
              </a:spcBef>
              <a:defRPr sz="600" b="0">
                <a:solidFill>
                  <a:schemeClr val="accent5"/>
                </a:solidFill>
              </a:defRPr>
            </a:lvl1pPr>
            <a:lvl2pPr>
              <a:defRPr sz="600">
                <a:solidFill>
                  <a:schemeClr val="accent3"/>
                </a:solidFill>
              </a:defRPr>
            </a:lvl2pPr>
            <a:lvl3pPr>
              <a:defRPr sz="600">
                <a:solidFill>
                  <a:schemeClr val="accent3"/>
                </a:solidFill>
              </a:defRPr>
            </a:lvl3pPr>
            <a:lvl4pPr>
              <a:defRPr sz="600">
                <a:solidFill>
                  <a:schemeClr val="accent3"/>
                </a:solidFill>
              </a:defRPr>
            </a:lvl4pPr>
            <a:lvl5pPr>
              <a:defRPr sz="6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CD5C06-41D5-4FA0-AA07-41B8D1A01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62" y="616912"/>
            <a:ext cx="8686739" cy="211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35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96B1D3-5D2E-4B48-AB0F-FE40EAADE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5D7D940-53C6-48EC-A9D5-2FA49617D2F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28600" y="1057275"/>
            <a:ext cx="8686800" cy="34575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911F671-4561-46A7-9FF1-8A7610260CC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20 SEP 2021 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5CE38BC-00B1-49A4-981B-E00DD28F5CE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RMS US Expert Panel 	Confidentia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FA56FA-4BE4-4220-85F3-3ED5F2F23F2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F09BF93-3748-4C85-A40E-6CE8D61850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312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633200"/>
            <a:ext cx="6954942" cy="162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>
              <a:lnSpc>
                <a:spcPct val="100000"/>
              </a:lnSpc>
              <a:spcBef>
                <a:spcPts val="150"/>
              </a:spcBef>
              <a:defRPr sz="600" b="0">
                <a:solidFill>
                  <a:schemeClr val="accent5"/>
                </a:solidFill>
              </a:defRPr>
            </a:lvl1pPr>
            <a:lvl2pPr>
              <a:defRPr sz="600">
                <a:solidFill>
                  <a:schemeClr val="accent3"/>
                </a:solidFill>
              </a:defRPr>
            </a:lvl2pPr>
            <a:lvl3pPr>
              <a:defRPr sz="600">
                <a:solidFill>
                  <a:schemeClr val="accent3"/>
                </a:solidFill>
              </a:defRPr>
            </a:lvl3pPr>
            <a:lvl4pPr>
              <a:defRPr sz="600">
                <a:solidFill>
                  <a:schemeClr val="accent3"/>
                </a:solidFill>
              </a:defRPr>
            </a:lvl4pPr>
            <a:lvl5pPr>
              <a:defRPr sz="6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Refer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CD5C06-41D5-4FA0-AA07-41B8D1A01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62" y="616912"/>
            <a:ext cx="8686739" cy="211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350" b="0" dirty="0" smtClean="0">
                <a:solidFill>
                  <a:schemeClr val="accent2"/>
                </a:solidFill>
              </a:defRPr>
            </a:lvl1pPr>
            <a:lvl2pPr>
              <a:defRPr lang="en-US" b="0" dirty="0" smtClean="0"/>
            </a:lvl2pPr>
            <a:lvl3pPr>
              <a:defRPr lang="en-US" b="0" dirty="0" smtClean="0"/>
            </a:lvl3pPr>
            <a:lvl4pPr>
              <a:defRPr lang="en-US" b="0" dirty="0" smtClean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sub-lin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96B1D3-5D2E-4B48-AB0F-FE40EAADE5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5D7D940-53C6-48EC-A9D5-2FA49617D2F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228600" y="1057275"/>
            <a:ext cx="8686800" cy="345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911F671-4561-46A7-9FF1-8A7610260CC2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14Jun2022</a:t>
            </a:r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5CE38BC-00B1-49A4-981B-E00DD28F5CE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BIOMAG-II SQV - CONFIDENTIA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3FA56FA-4BE4-4220-85F3-3ED5F2F23F2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F09BF93-3748-4C85-A40E-6CE8D61850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124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707A0-FFF5-46D8-8158-5AE39EFFC5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1329D7-1898-4331-A059-0913E76825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22C86F-557D-4B8B-AA61-0ABC67A88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286799-1BC1-4D86-912A-067DBA316D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3594AC-C6ED-4C79-9314-D2B775E3F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1491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1D18D-250D-45AF-8FE0-D651A9BE5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026280-54F0-47D6-AA7E-682893F9D6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39D93-2565-49DD-B98B-E45C0FBD0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24E9D-0C61-4C40-9350-0B09880E1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A6FB8-1404-4624-97FD-083B145C4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178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9C1F9-1952-4458-B505-C05294D548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1D87F7-5874-45F8-A1FB-871616D9A8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776575-6688-4649-8673-90C1CE0BB6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A9B05-581E-4BE0-B848-2158E9A16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1AA546-8679-42C8-A996-F33E97E1F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7942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1B065-52D4-4F52-B899-C6D9BE06D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BC3FC0-24EF-4F6B-9B23-DB28FEC4B3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43D49C-C06F-47D7-9933-2E04CCC3A1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6FEF46-B323-4B8C-A386-1B8DD9B4CC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321861-0D92-4A65-9CF3-A6794FE2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1B01E6-0804-42B0-8EA8-F87EB234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6078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527DBD-D884-417E-82ED-DE5DE9241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9C7FF7-826E-4112-8A3D-884166DE49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44DD95-2EFF-40E7-AB79-BAD11C09CA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7A2F61-07EA-4D3E-8BF8-DB362E1744C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EB0C051-49F2-4F2C-9D74-BDFA0C8D054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7B2389C-A65D-4566-A447-E08860500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2537F7-0C65-4E22-8156-8937D8030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56B0F7-B6A1-4202-9E0B-87533EE39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321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02E1B-0675-4630-A0DC-80465F6FB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5E5858-292E-430C-A2E0-D375A6367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163FE6-BDCB-41CF-B95B-820D79314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49367D-3293-493D-8628-64CA42858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37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0734A3-AD23-4D2F-90C8-C90EFA3EB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E416D5-21B8-4D5E-A30F-4A0C192416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E49185-8D63-4622-96F4-B5B654CC9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118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5FAE6-E144-44F7-857E-2CDA7C65B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0B6BF0-1BEB-4639-8471-8D45F37F6B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64CF7D-4E50-4EB7-BF69-9E14D506C8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16FC3F-57FC-4BD5-B524-5A3F72963E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603B9C-1A5C-414D-A104-4D31A6500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D777DB-6184-4340-A20C-4A8B50C41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537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49CA5-2492-4FE0-9F58-02D16F833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C6145A-7D96-46AA-B999-1A415378612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9ABA8F-1930-42BD-AA78-66326664A5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D589C2-0293-4310-9E96-FC718663A9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AB2B25-3848-4B48-A17E-753CAFF4F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04147E-7AB9-49C8-A2D9-93B677BC5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821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547B16-206C-4753-A790-220E4C1667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FD7DA9-B6CA-4EFD-A8A6-A7165CF6F1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737EFB-264B-4306-8478-DF3471A63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50ECB7-CCDA-4637-AFC0-A9A177D8C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63AAF-1B31-42B7-88B0-F6057C05D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8897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04730AB-4D91-47BD-8690-3BB84B9AC8C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B7E545C-4B56-49FB-8147-88040C759F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047E31-6D8B-4CFE-8C78-4E4131FD11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9C0A18-FB40-45A8-9265-60852983A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65E804-E8ED-40AF-A80D-3267F77F9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590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4C9F7-BB62-4FC8-A27C-9F846F1CBE3D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D98B837-58F6-4565-9863-0CCA04712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73415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38" imgH="338" progId="TCLayout.ActiveDocument.1">
                  <p:embed/>
                </p:oleObj>
              </mc:Choice>
              <mc:Fallback>
                <p:oleObj name="think-cell Folie" r:id="rId17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A14D02-CC6A-4E13-8063-E7D2D92DA659}" type="datetimeFigureOut">
              <a:rPr lang="en-US" smtClean="0"/>
              <a:pPr/>
              <a:t>2/25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4C9F7-BB62-4FC8-A27C-9F846F1CBE3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4" r:id="rId12"/>
    <p:sldLayoutId id="214748368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6DA6DE-4F3B-4642-963D-E085C2588D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16922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338" imgH="338" progId="TCLayout.ActiveDocument.1">
                  <p:embed/>
                </p:oleObj>
              </mc:Choice>
              <mc:Fallback>
                <p:oleObj name="think-cell Folie" r:id="rId1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FF5B07-130B-4F3E-935A-9ED127404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DA578-153B-4BD9-869F-F5BFDC70A4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149A82-6CB4-407E-91D8-7D20D6076D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A9B523-4DBA-40C6-B1AD-637BAB69096B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6F244-951C-46D0-AA8A-D371964566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68E28B-13A5-4C50-AE99-0B099403B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8C8C54-B8A7-4849-A144-0B0438D6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216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chart" Target="../charts/chart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chart" Target="../charts/chart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2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9.png"/><Relationship Id="rId11" Type="http://schemas.microsoft.com/office/2007/relationships/hdphoto" Target="../media/hdphoto3.wdp"/><Relationship Id="rId5" Type="http://schemas.openxmlformats.org/officeDocument/2006/relationships/image" Target="../media/image5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6.bin"/><Relationship Id="rId9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5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215-58C1-4AE2-8A14-82595CA33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529" y="2343150"/>
            <a:ext cx="8839200" cy="1295400"/>
          </a:xfrm>
        </p:spPr>
        <p:txBody>
          <a:bodyPr>
            <a:normAutofit fontScale="90000"/>
          </a:bodyPr>
          <a:lstStyle/>
          <a:p>
            <a:pPr algn="l"/>
            <a:r>
              <a:rPr lang="en-US" sz="2700" b="1" dirty="0"/>
              <a:t>Safety and performance of the third-generation drug-eluting resorbable coronary magnesium scaffold system in the treatment of subjects with de novo coronary artery lesions: 6-month results of the prospective, multicenter BIOMAG-I first-in-human study</a:t>
            </a:r>
            <a:br>
              <a:rPr lang="en-US" sz="2700" dirty="0"/>
            </a:br>
            <a:br>
              <a:rPr lang="en-US" sz="3200" dirty="0"/>
            </a:br>
            <a:endParaRPr lang="en-US" sz="32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6B94215-58C1-4AE2-8A14-82595CA33BD1}"/>
              </a:ext>
            </a:extLst>
          </p:cNvPr>
          <p:cNvSpPr txBox="1">
            <a:spLocks/>
          </p:cNvSpPr>
          <p:nvPr/>
        </p:nvSpPr>
        <p:spPr>
          <a:xfrm>
            <a:off x="228600" y="3333750"/>
            <a:ext cx="6248400" cy="1295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000" dirty="0"/>
              <a:t>Michael Haude, MD, PhD</a:t>
            </a:r>
          </a:p>
          <a:p>
            <a:pPr algn="l"/>
            <a:r>
              <a:rPr lang="en-US" sz="2000" dirty="0"/>
              <a:t>On behalf of the BIOMAG-I investigators</a:t>
            </a:r>
          </a:p>
        </p:txBody>
      </p:sp>
    </p:spTree>
    <p:extLst>
      <p:ext uri="{BB962C8B-B14F-4D97-AF65-F5344CB8AC3E}">
        <p14:creationId xmlns:p14="http://schemas.microsoft.com/office/powerpoint/2010/main" val="15736913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F80CC43-CDD5-46F1-8752-DB0E9D1B23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378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Group 54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167359087"/>
              </p:ext>
            </p:extLst>
          </p:nvPr>
        </p:nvGraphicFramePr>
        <p:xfrm>
          <a:off x="4550228" y="2800350"/>
          <a:ext cx="3581399" cy="1407326"/>
        </p:xfrm>
        <a:graphic>
          <a:graphicData uri="http://schemas.openxmlformats.org/drawingml/2006/table">
            <a:tbl>
              <a:tblPr/>
              <a:tblGrid>
                <a:gridCol w="24151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62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71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Lesion Characteristics</a:t>
                      </a: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*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(N=117)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N (%)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384">
                <a:tc>
                  <a:txBody>
                    <a:bodyPr/>
                    <a:lstStyle/>
                    <a:p>
                      <a:pPr marL="8640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Lesion Length (mm ± SD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7018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2.3 ± 5.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384">
                <a:tc>
                  <a:txBody>
                    <a:bodyPr/>
                    <a:lstStyle/>
                    <a:p>
                      <a:pPr marL="8640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RVD (mm ± SD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7018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 2.7 ± 0.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3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640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AHA/ACC Lesion Class B2/C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7018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0 (76.9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marL="8640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Bifurca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7018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5 (21.4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Group 54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863244240"/>
              </p:ext>
            </p:extLst>
          </p:nvPr>
        </p:nvGraphicFramePr>
        <p:xfrm>
          <a:off x="381000" y="1269776"/>
          <a:ext cx="3869544" cy="2822369"/>
        </p:xfrm>
        <a:graphic>
          <a:graphicData uri="http://schemas.openxmlformats.org/drawingml/2006/table">
            <a:tbl>
              <a:tblPr/>
              <a:tblGrid>
                <a:gridCol w="22867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27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61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Baseline Characteristics (N=116)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e-CH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N (%)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Age (mean ± SD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7018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61.0 ± 9.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Male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77913" algn="r"/>
                          <a:tab pos="1706563" algn="r"/>
                        </a:tabLst>
                        <a:defRPr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90 (77.6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9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Hypertension 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77913" algn="r"/>
                          <a:tab pos="1706563" algn="r"/>
                        </a:tabLst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86 (74.1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de-CH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Hypercholesterolemia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77913" algn="r"/>
                          <a:tab pos="1706563" algn="r"/>
                        </a:tabLst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72 (62.1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de-CH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Smoking </a:t>
                      </a:r>
                      <a:r>
                        <a:rPr kumimoji="0" lang="de-CH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history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77913" algn="r"/>
                          <a:tab pos="1706563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75 (64.7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Diabetes mellitus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77913" algn="r"/>
                          <a:tab pos="1706563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32 (27.6) 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1800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nsulin-dependent diabetes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e-CH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6 (5.2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6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de-CH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istory of MI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77913" algn="r"/>
                          <a:tab pos="1706563" algn="r"/>
                        </a:tabLst>
                      </a:pPr>
                      <a:r>
                        <a:rPr kumimoji="0" lang="de-CH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39 (33.6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00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NSTEMI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077913" algn="r"/>
                          <a:tab pos="1706563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24 (20.7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6" name="Group 54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3806689"/>
              </p:ext>
            </p:extLst>
          </p:nvPr>
        </p:nvGraphicFramePr>
        <p:xfrm>
          <a:off x="4550229" y="1269776"/>
          <a:ext cx="3581400" cy="1358438"/>
        </p:xfrm>
        <a:graphic>
          <a:graphicData uri="http://schemas.openxmlformats.org/drawingml/2006/table">
            <a:tbl>
              <a:tblPr/>
              <a:tblGrid>
                <a:gridCol w="23609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04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83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Lesion Location* (N=117)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N (%)</a:t>
                      </a: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2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8572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LA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de-CH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53 (45.3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8572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  <a:defRPr/>
                      </a:pPr>
                      <a:r>
                        <a:rPr kumimoji="0" lang="en-US" sz="14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LCx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  <a:r>
                        <a:rPr lang="de-CH" sz="14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e-CH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.8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2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8572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  <a:defRPr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RCA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400" dirty="0">
                          <a:solidFill>
                            <a:schemeClr val="tx1"/>
                          </a:solidFill>
                          <a:latin typeface="+mn-lt"/>
                        </a:rPr>
                        <a:t>40 (34.2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5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85725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8900" algn="l"/>
                        </a:tabLst>
                        <a:defRPr/>
                      </a:pPr>
                      <a:r>
                        <a:rPr kumimoji="0" lang="de-CH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Intermediate Branch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40497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sz="1400" dirty="0">
                          <a:solidFill>
                            <a:schemeClr val="tx1"/>
                          </a:solidFill>
                          <a:latin typeface="+mn-lt"/>
                        </a:rPr>
                        <a:t> 2  (1.7)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BF659D3-E67D-40C4-93B4-DF8F2783DD9C}"/>
              </a:ext>
            </a:extLst>
          </p:cNvPr>
          <p:cNvSpPr txBox="1"/>
          <p:nvPr/>
        </p:nvSpPr>
        <p:spPr>
          <a:xfrm>
            <a:off x="-76200" y="4762170"/>
            <a:ext cx="344357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</a:rPr>
              <a:t>* Lesion location and lesion characteristics data are based on core lab analysis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CE2EAF9-13F5-4182-96AE-AB5D1E610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97975"/>
            <a:ext cx="8229600" cy="857250"/>
          </a:xfrm>
        </p:spPr>
        <p:txBody>
          <a:bodyPr vert="horz">
            <a:normAutofit/>
          </a:bodyPr>
          <a:lstStyle/>
          <a:p>
            <a:r>
              <a:rPr lang="en-US" sz="4000" dirty="0"/>
              <a:t>Baseline and Lesion Characteristics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72C544-16B9-F41B-3464-05CD2AE50C92}"/>
              </a:ext>
            </a:extLst>
          </p:cNvPr>
          <p:cNvSpPr/>
          <p:nvPr/>
        </p:nvSpPr>
        <p:spPr>
          <a:xfrm>
            <a:off x="381000" y="3790950"/>
            <a:ext cx="3581400" cy="301195"/>
          </a:xfrm>
          <a:prstGeom prst="rect">
            <a:avLst/>
          </a:prstGeom>
          <a:noFill/>
          <a:ln w="349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C8CFA14-42BD-175A-AB0F-E9F8E73BEE95}"/>
              </a:ext>
            </a:extLst>
          </p:cNvPr>
          <p:cNvSpPr/>
          <p:nvPr/>
        </p:nvSpPr>
        <p:spPr>
          <a:xfrm>
            <a:off x="4548130" y="3640352"/>
            <a:ext cx="3581400" cy="301195"/>
          </a:xfrm>
          <a:prstGeom prst="rect">
            <a:avLst/>
          </a:prstGeom>
          <a:noFill/>
          <a:ln w="349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7281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C4F1FD9-ADF9-440F-BADB-969832AF00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C4F1FD9-ADF9-440F-BADB-969832AF00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1769C0C-33E9-4EB9-B65C-EB76A306D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76" y="647536"/>
            <a:ext cx="7769225" cy="570119"/>
          </a:xfrm>
        </p:spPr>
        <p:txBody>
          <a:bodyPr vert="horz">
            <a:noAutofit/>
          </a:bodyPr>
          <a:lstStyle/>
          <a:p>
            <a:r>
              <a:rPr lang="de-CH" sz="4000" dirty="0"/>
              <a:t>Primary </a:t>
            </a:r>
            <a:r>
              <a:rPr lang="de-CH" sz="4000" dirty="0" err="1"/>
              <a:t>Endpoint</a:t>
            </a:r>
            <a:br>
              <a:rPr lang="de-CH" sz="4000" dirty="0"/>
            </a:br>
            <a:r>
              <a:rPr lang="de-CH" sz="2000" b="1" i="1" dirty="0"/>
              <a:t>In-Scaffold Late Lumen Loss (LLL) at 6 </a:t>
            </a:r>
            <a:r>
              <a:rPr lang="de-CH" sz="2000" b="1" i="1" dirty="0" err="1"/>
              <a:t>months</a:t>
            </a:r>
            <a:br>
              <a:rPr lang="de-CH" sz="4000" dirty="0"/>
            </a:br>
            <a:endParaRPr lang="de-CH" sz="40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F7F9E94-6802-426F-B479-38862B66475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i="0" dirty="0">
              <a:solidFill>
                <a:srgbClr val="8E9295"/>
              </a:solidFill>
              <a:latin typeface="Verdana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ECF06BB-055C-4F19-AFD9-27DE49D70741}"/>
              </a:ext>
            </a:extLst>
          </p:cNvPr>
          <p:cNvSpPr txBox="1"/>
          <p:nvPr/>
        </p:nvSpPr>
        <p:spPr>
          <a:xfrm>
            <a:off x="7577" y="4666764"/>
            <a:ext cx="55931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800" b="0" i="0" dirty="0">
                <a:solidFill>
                  <a:schemeClr val="bg1"/>
                </a:solidFill>
              </a:rPr>
              <a:t>Data </a:t>
            </a:r>
            <a:r>
              <a:rPr lang="de-CH" sz="800" b="0" i="0" dirty="0" err="1">
                <a:solidFill>
                  <a:schemeClr val="bg1"/>
                </a:solidFill>
              </a:rPr>
              <a:t>are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shown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as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mean</a:t>
            </a:r>
            <a:r>
              <a:rPr lang="de-CH" sz="800" b="0" i="0" dirty="0">
                <a:solidFill>
                  <a:schemeClr val="bg1"/>
                </a:solidFill>
              </a:rPr>
              <a:t> ± SD; CI = </a:t>
            </a:r>
            <a:r>
              <a:rPr lang="de-CH" sz="800" b="0" i="0" dirty="0" err="1">
                <a:solidFill>
                  <a:schemeClr val="bg1"/>
                </a:solidFill>
              </a:rPr>
              <a:t>confidence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interval</a:t>
            </a:r>
            <a:endParaRPr lang="de-CH" sz="800" b="0" i="0" dirty="0">
              <a:solidFill>
                <a:schemeClr val="bg1"/>
              </a:solidFill>
            </a:endParaRPr>
          </a:p>
          <a:p>
            <a:r>
              <a:rPr lang="de-CH" sz="800" b="0" i="0" baseline="30000" dirty="0">
                <a:solidFill>
                  <a:schemeClr val="bg1"/>
                </a:solidFill>
                <a:latin typeface="+mn-lt"/>
              </a:rPr>
              <a:t>1</a:t>
            </a:r>
            <a:r>
              <a:rPr lang="de-CH" sz="8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Haude et al. Safety and performance of the second-generation drug-eluting absorbable metal scaffold in patients (BIOSOLVE-II): </a:t>
            </a:r>
            <a:b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6 month results of a prospective, 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multicentre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, non-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randomised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, first-in-man trial. Lancet 2016;387: 31–39. </a:t>
            </a:r>
            <a:endParaRPr lang="de-CH" sz="800" b="0" i="0" dirty="0">
              <a:solidFill>
                <a:schemeClr val="bg1"/>
              </a:solidFill>
              <a:latin typeface="+mn-lt"/>
            </a:endParaRPr>
          </a:p>
          <a:p>
            <a:endParaRPr lang="de-CH" sz="800" b="0" i="0" dirty="0">
              <a:solidFill>
                <a:schemeClr val="bg1"/>
              </a:solidFill>
              <a:latin typeface="+mn-lt"/>
            </a:endParaRPr>
          </a:p>
          <a:p>
            <a:endParaRPr lang="de-CH" sz="800" b="0" i="0" dirty="0">
              <a:solidFill>
                <a:schemeClr val="bg1"/>
              </a:solidFill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BD8C109F-FE1F-49CA-8AD0-E15F999EF7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5076596"/>
              </p:ext>
            </p:extLst>
          </p:nvPr>
        </p:nvGraphicFramePr>
        <p:xfrm>
          <a:off x="1084198" y="1055116"/>
          <a:ext cx="6975603" cy="3611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Box 2">
            <a:extLst>
              <a:ext uri="{FF2B5EF4-FFF2-40B4-BE49-F238E27FC236}">
                <a16:creationId xmlns:a16="http://schemas.microsoft.com/office/drawing/2014/main" id="{654B19A0-133B-40E1-8583-BB45819A7400}"/>
              </a:ext>
            </a:extLst>
          </p:cNvPr>
          <p:cNvSpPr txBox="1"/>
          <p:nvPr/>
        </p:nvSpPr>
        <p:spPr>
          <a:xfrm>
            <a:off x="5454595" y="1282250"/>
            <a:ext cx="3220278" cy="26702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400" b="1" dirty="0">
                <a:solidFill>
                  <a:srgbClr val="FF0000"/>
                </a:solidFill>
                <a:latin typeface="Calibri (Body)"/>
                <a:ea typeface="Verdana" panose="020B0604030504040204" pitchFamily="34" charset="0"/>
              </a:rPr>
              <a:t>Mean I</a:t>
            </a:r>
            <a:r>
              <a:rPr lang="de-CH" sz="1400" b="1" dirty="0">
                <a:solidFill>
                  <a:srgbClr val="FF0000"/>
                </a:solidFill>
                <a:effectLst/>
                <a:latin typeface="Calibri (Body)"/>
                <a:ea typeface="Verdana" panose="020B0604030504040204" pitchFamily="34" charset="0"/>
              </a:rPr>
              <a:t>n-</a:t>
            </a:r>
            <a:r>
              <a:rPr lang="de-CH" sz="1400" b="1" dirty="0" err="1">
                <a:solidFill>
                  <a:srgbClr val="FF0000"/>
                </a:solidFill>
                <a:effectLst/>
                <a:latin typeface="Calibri (Body)"/>
                <a:ea typeface="Verdana" panose="020B0604030504040204" pitchFamily="34" charset="0"/>
              </a:rPr>
              <a:t>scaffold</a:t>
            </a:r>
            <a:r>
              <a:rPr lang="de-CH" sz="1400" b="1" dirty="0">
                <a:solidFill>
                  <a:srgbClr val="FF0000"/>
                </a:solidFill>
                <a:effectLst/>
                <a:latin typeface="Calibri (Body)"/>
                <a:ea typeface="Verdana" panose="020B0604030504040204" pitchFamily="34" charset="0"/>
              </a:rPr>
              <a:t> LLL = 0.21 ± 0.31mm, 95% CI [0.16; 0.27] </a:t>
            </a:r>
          </a:p>
        </p:txBody>
      </p:sp>
      <p:sp>
        <p:nvSpPr>
          <p:cNvPr id="20" name="TextBox 1">
            <a:extLst>
              <a:ext uri="{FF2B5EF4-FFF2-40B4-BE49-F238E27FC236}">
                <a16:creationId xmlns:a16="http://schemas.microsoft.com/office/drawing/2014/main" id="{CDBB7FD8-7132-4012-8BDA-CA728939A67A}"/>
              </a:ext>
            </a:extLst>
          </p:cNvPr>
          <p:cNvSpPr txBox="1"/>
          <p:nvPr/>
        </p:nvSpPr>
        <p:spPr>
          <a:xfrm>
            <a:off x="5454595" y="1788767"/>
            <a:ext cx="2644906" cy="20955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u="none" strike="noStrike" kern="0" cap="none" spc="0" normalizeH="0" baseline="0" noProof="0" dirty="0">
                <a:ln>
                  <a:noFill/>
                </a:ln>
                <a:solidFill>
                  <a:srgbClr val="6699FF"/>
                </a:solidFill>
                <a:effectLst/>
                <a:uLnTx/>
                <a:uFillTx/>
                <a:latin typeface="Calibri (Body)"/>
                <a:ea typeface="Verdana" panose="020B0604030504040204" pitchFamily="34" charset="0"/>
              </a:rPr>
              <a:t>Mean In-</a:t>
            </a:r>
            <a:r>
              <a:rPr kumimoji="0" lang="de-CH" sz="1400" b="1" u="none" strike="noStrike" kern="0" cap="none" spc="0" normalizeH="0" baseline="0" noProof="0" dirty="0" err="1">
                <a:ln>
                  <a:noFill/>
                </a:ln>
                <a:solidFill>
                  <a:srgbClr val="6699FF"/>
                </a:solidFill>
                <a:effectLst/>
                <a:uLnTx/>
                <a:uFillTx/>
                <a:latin typeface="Calibri (Body)"/>
                <a:ea typeface="Verdana" panose="020B0604030504040204" pitchFamily="34" charset="0"/>
              </a:rPr>
              <a:t>scaffold</a:t>
            </a:r>
            <a:r>
              <a:rPr kumimoji="0" lang="de-CH" sz="1400" b="1" u="none" strike="noStrike" kern="0" cap="none" spc="0" normalizeH="0" baseline="0" noProof="0" dirty="0">
                <a:ln>
                  <a:noFill/>
                </a:ln>
                <a:solidFill>
                  <a:srgbClr val="6699FF"/>
                </a:solidFill>
                <a:effectLst/>
                <a:uLnTx/>
                <a:uFillTx/>
                <a:latin typeface="Calibri (Body)"/>
                <a:ea typeface="Verdana" panose="020B0604030504040204" pitchFamily="34" charset="0"/>
              </a:rPr>
              <a:t> LLL =  0.44 ± 0.36mm,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400" b="1" kern="0" dirty="0">
                <a:solidFill>
                  <a:srgbClr val="6699FF"/>
                </a:solidFill>
                <a:latin typeface="Calibri (Body)"/>
                <a:ea typeface="Verdana" panose="020B0604030504040204" pitchFamily="34" charset="0"/>
              </a:rPr>
              <a:t>95% CI [0.37; 0.50]</a:t>
            </a:r>
            <a:r>
              <a:rPr kumimoji="0" lang="de-CH" sz="1400" b="1" u="none" strike="noStrike" kern="0" cap="none" spc="0" normalizeH="0" baseline="30000" noProof="0" dirty="0">
                <a:ln>
                  <a:noFill/>
                </a:ln>
                <a:solidFill>
                  <a:srgbClr val="6699FF"/>
                </a:solidFill>
                <a:effectLst/>
                <a:uLnTx/>
                <a:uFillTx/>
                <a:latin typeface="Calibri (Body)"/>
                <a:ea typeface="Verdana" panose="020B0604030504040204" pitchFamily="34" charset="0"/>
              </a:rPr>
              <a:t>1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82DB503-994A-4058-B2CC-9D1D5758E7C7}"/>
              </a:ext>
            </a:extLst>
          </p:cNvPr>
          <p:cNvCxnSpPr/>
          <p:nvPr/>
        </p:nvCxnSpPr>
        <p:spPr>
          <a:xfrm>
            <a:off x="5574425" y="2487513"/>
            <a:ext cx="226925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7A18FBE-41C8-4327-837C-58B267EABB8F}"/>
              </a:ext>
            </a:extLst>
          </p:cNvPr>
          <p:cNvSpPr txBox="1"/>
          <p:nvPr/>
        </p:nvSpPr>
        <p:spPr>
          <a:xfrm>
            <a:off x="5867400" y="2377086"/>
            <a:ext cx="837567" cy="261610"/>
          </a:xfrm>
          <a:prstGeom prst="rect">
            <a:avLst/>
          </a:prstGeom>
          <a:noFill/>
        </p:spPr>
        <p:txBody>
          <a:bodyPr wrap="square" lIns="0" tIns="0" rIns="0" rtlCol="0" anchor="ctr">
            <a:spAutoFit/>
          </a:bodyPr>
          <a:lstStyle/>
          <a:p>
            <a:pPr>
              <a:defRPr/>
            </a:pPr>
            <a:r>
              <a:rPr lang="de-CH" sz="1400" b="1" kern="0" dirty="0">
                <a:ea typeface="Verdana" panose="020B0604030504040204" pitchFamily="34" charset="0"/>
              </a:rPr>
              <a:t>BIOMAG-I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7EA96C4-95E6-465F-BB6C-6741C3553F2E}"/>
              </a:ext>
            </a:extLst>
          </p:cNvPr>
          <p:cNvCxnSpPr/>
          <p:nvPr/>
        </p:nvCxnSpPr>
        <p:spPr>
          <a:xfrm>
            <a:off x="5574425" y="2769657"/>
            <a:ext cx="226925" cy="0"/>
          </a:xfrm>
          <a:prstGeom prst="line">
            <a:avLst/>
          </a:prstGeom>
          <a:ln w="28575">
            <a:solidFill>
              <a:srgbClr val="6699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772FEA3D-A0FC-4438-A159-A56CC3205567}"/>
              </a:ext>
            </a:extLst>
          </p:cNvPr>
          <p:cNvSpPr txBox="1"/>
          <p:nvPr/>
        </p:nvSpPr>
        <p:spPr>
          <a:xfrm>
            <a:off x="5851216" y="2666645"/>
            <a:ext cx="1141943" cy="261610"/>
          </a:xfrm>
          <a:prstGeom prst="rect">
            <a:avLst/>
          </a:prstGeom>
          <a:noFill/>
        </p:spPr>
        <p:txBody>
          <a:bodyPr wrap="square" lIns="0" tIns="0" r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400" b="1" kern="0" dirty="0">
                <a:ea typeface="Verdana" panose="020B0604030504040204" pitchFamily="34" charset="0"/>
              </a:rPr>
              <a:t>BIOSOLVE-II</a:t>
            </a:r>
            <a:r>
              <a:rPr lang="de-CH" sz="1400" b="1" kern="0" baseline="30000" dirty="0">
                <a:ea typeface="Verdana" panose="020B0604030504040204" pitchFamily="34" charset="0"/>
              </a:rPr>
              <a:t>1</a:t>
            </a:r>
          </a:p>
        </p:txBody>
      </p:sp>
      <p:sp>
        <p:nvSpPr>
          <p:cNvPr id="33" name="TextBox 3">
            <a:extLst>
              <a:ext uri="{FF2B5EF4-FFF2-40B4-BE49-F238E27FC236}">
                <a16:creationId xmlns:a16="http://schemas.microsoft.com/office/drawing/2014/main" id="{10F9AA0A-56BD-4E1E-B414-7D818222CE54}"/>
              </a:ext>
            </a:extLst>
          </p:cNvPr>
          <p:cNvSpPr txBox="1"/>
          <p:nvPr/>
        </p:nvSpPr>
        <p:spPr>
          <a:xfrm>
            <a:off x="3200400" y="2506790"/>
            <a:ext cx="864355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u="none" strike="noStrike" kern="0" cap="none" spc="0" normalizeH="0" baseline="0" noProof="0" dirty="0">
                <a:ln>
                  <a:noFill/>
                </a:ln>
                <a:solidFill>
                  <a:srgbClr val="1D384C"/>
                </a:solidFill>
                <a:effectLst/>
                <a:uLnTx/>
                <a:uFillTx/>
              </a:rPr>
              <a:t>-52%</a:t>
            </a:r>
          </a:p>
        </p:txBody>
      </p:sp>
      <p:sp>
        <p:nvSpPr>
          <p:cNvPr id="34" name="Textfeld 4">
            <a:extLst>
              <a:ext uri="{FF2B5EF4-FFF2-40B4-BE49-F238E27FC236}">
                <a16:creationId xmlns:a16="http://schemas.microsoft.com/office/drawing/2014/main" id="{464ADEE5-7249-4DD0-B612-4F9B3D8C0C6B}"/>
              </a:ext>
            </a:extLst>
          </p:cNvPr>
          <p:cNvSpPr txBox="1"/>
          <p:nvPr/>
        </p:nvSpPr>
        <p:spPr>
          <a:xfrm>
            <a:off x="5479995" y="3017465"/>
            <a:ext cx="362785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b="1" i="1" dirty="0"/>
              <a:t>Post hoc </a:t>
            </a:r>
            <a:r>
              <a:rPr lang="de-CH" sz="1400" b="1" i="1" dirty="0" err="1"/>
              <a:t>superiority</a:t>
            </a:r>
            <a:r>
              <a:rPr lang="de-CH" sz="1400" b="1" i="1" dirty="0"/>
              <a:t> </a:t>
            </a:r>
            <a:r>
              <a:rPr lang="de-CH" sz="1400" b="1" i="1" dirty="0" err="1"/>
              <a:t>analysis</a:t>
            </a:r>
            <a:r>
              <a:rPr lang="de-CH" sz="1400" b="1" i="1" dirty="0"/>
              <a:t>: </a:t>
            </a:r>
            <a:br>
              <a:rPr lang="de-CH" sz="1400" b="1" i="1" dirty="0"/>
            </a:br>
            <a:r>
              <a:rPr lang="de-CH" sz="1400" b="1" i="1" dirty="0" err="1"/>
              <a:t>weighted</a:t>
            </a:r>
            <a:r>
              <a:rPr lang="de-CH" sz="1400" b="1" i="1" dirty="0"/>
              <a:t> </a:t>
            </a:r>
            <a:r>
              <a:rPr lang="de-CH" sz="1400" b="1" i="1" dirty="0" err="1"/>
              <a:t>mean</a:t>
            </a:r>
            <a:r>
              <a:rPr lang="de-CH" sz="1400" b="1" i="1" dirty="0"/>
              <a:t> 0.44; </a:t>
            </a:r>
            <a:r>
              <a:rPr lang="de-CH" sz="1400" b="1" i="1" dirty="0" err="1"/>
              <a:t>superiority</a:t>
            </a:r>
            <a:r>
              <a:rPr lang="de-CH" sz="1400" b="1" i="1" dirty="0"/>
              <a:t> </a:t>
            </a:r>
            <a:r>
              <a:rPr lang="de-CH" sz="1400" b="1" i="1" dirty="0" err="1"/>
              <a:t>margin</a:t>
            </a:r>
            <a:r>
              <a:rPr lang="de-CH" sz="1400" b="1" i="1" dirty="0"/>
              <a:t> 0.11; </a:t>
            </a:r>
            <a:br>
              <a:rPr lang="de-CH" sz="1400" b="1" i="1" dirty="0"/>
            </a:br>
            <a:r>
              <a:rPr lang="de-CH" sz="1400" b="1" i="1" dirty="0" err="1"/>
              <a:t>calculated</a:t>
            </a:r>
            <a:r>
              <a:rPr lang="de-CH" sz="1400" b="1" i="1" dirty="0"/>
              <a:t> power 93.6%; p&lt;0.0001</a:t>
            </a:r>
            <a:r>
              <a:rPr lang="de-CH" sz="1400" b="1" i="1" dirty="0">
                <a:solidFill>
                  <a:schemeClr val="bg1"/>
                </a:solidFill>
              </a:rPr>
              <a:t>93.6</a:t>
            </a:r>
            <a:r>
              <a:rPr lang="de-CH" sz="1400" dirty="0">
                <a:solidFill>
                  <a:schemeClr val="bg1"/>
                </a:solidFill>
              </a:rPr>
              <a:t>%; </a:t>
            </a:r>
          </a:p>
        </p:txBody>
      </p:sp>
    </p:spTree>
    <p:extLst>
      <p:ext uri="{BB962C8B-B14F-4D97-AF65-F5344CB8AC3E}">
        <p14:creationId xmlns:p14="http://schemas.microsoft.com/office/powerpoint/2010/main" val="2236074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0"/>
                                        <p:tgtEl>
                                          <p:spTgt spid="17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7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7" grpId="0" uiExpand="1">
        <p:bldSub>
          <a:bldChart bld="series"/>
        </p:bldSub>
      </p:bldGraphic>
      <p:bldP spid="19" grpId="0"/>
      <p:bldP spid="20" grpId="0"/>
      <p:bldP spid="23" grpId="0"/>
      <p:bldP spid="25" grpId="0"/>
      <p:bldP spid="33" grpId="0"/>
      <p:bldP spid="3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3C0318D-89F7-45BA-9106-1BA79BCC48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893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1769C0C-33E9-4EB9-B65C-EB76A306D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3" y="615344"/>
            <a:ext cx="7769225" cy="566738"/>
          </a:xfrm>
        </p:spPr>
        <p:txBody>
          <a:bodyPr vert="horz">
            <a:normAutofit fontScale="90000"/>
          </a:bodyPr>
          <a:lstStyle/>
          <a:p>
            <a:pPr>
              <a:tabLst>
                <a:tab pos="1524000" algn="l"/>
              </a:tabLst>
            </a:pPr>
            <a:r>
              <a:rPr lang="de-CH" dirty="0" err="1"/>
              <a:t>Secondary</a:t>
            </a:r>
            <a:r>
              <a:rPr lang="de-CH" dirty="0"/>
              <a:t> </a:t>
            </a:r>
            <a:r>
              <a:rPr lang="de-CH" dirty="0" err="1"/>
              <a:t>Endpoint</a:t>
            </a:r>
            <a:r>
              <a:rPr lang="de-CH" dirty="0"/>
              <a:t> </a:t>
            </a:r>
            <a:br>
              <a:rPr lang="de-CH" dirty="0"/>
            </a:br>
            <a:r>
              <a:rPr lang="de-CH" sz="2200" b="1" i="1" dirty="0"/>
              <a:t>In-segment Late Lumen Loss (LLL) at 6 </a:t>
            </a:r>
            <a:r>
              <a:rPr lang="de-CH" sz="2200" b="1" i="1" dirty="0" err="1"/>
              <a:t>months</a:t>
            </a:r>
            <a:br>
              <a:rPr lang="de-CH" b="1" i="1" dirty="0">
                <a:solidFill>
                  <a:srgbClr val="1D384C"/>
                </a:solidFill>
                <a:latin typeface="Arial "/>
              </a:rPr>
            </a:br>
            <a:br>
              <a:rPr lang="de-CH" dirty="0"/>
            </a:br>
            <a:endParaRPr lang="de-CH" sz="18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F7F9E94-6802-426F-B479-38862B66475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b="0" i="0" dirty="0">
              <a:solidFill>
                <a:srgbClr val="8E9295"/>
              </a:solidFill>
              <a:latin typeface="Verdana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6F97B7-5166-4449-B2B8-F2CBB174B19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DF09BF93-3748-4C85-A40E-6CE8D618504B}" type="slidenum">
              <a:rPr lang="en-US" sz="600" b="0" i="0">
                <a:solidFill>
                  <a:srgbClr val="8E9295"/>
                </a:solidFill>
                <a:latin typeface="Verdana"/>
                <a:ea typeface="+mn-ea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en-US" sz="600" b="0" i="0">
              <a:solidFill>
                <a:srgbClr val="8E9295"/>
              </a:solidFill>
              <a:latin typeface="Verdana"/>
              <a:ea typeface="+mn-ea"/>
              <a:cs typeface="+mn-cs"/>
            </a:endParaRPr>
          </a:p>
        </p:txBody>
      </p:sp>
      <p:sp>
        <p:nvSpPr>
          <p:cNvPr id="16" name="Textfeld 1">
            <a:extLst>
              <a:ext uri="{FF2B5EF4-FFF2-40B4-BE49-F238E27FC236}">
                <a16:creationId xmlns:a16="http://schemas.microsoft.com/office/drawing/2014/main" id="{EE1549B6-8889-4C0B-A80A-FF94C7547DF5}"/>
              </a:ext>
            </a:extLst>
          </p:cNvPr>
          <p:cNvSpPr txBox="1"/>
          <p:nvPr/>
        </p:nvSpPr>
        <p:spPr>
          <a:xfrm>
            <a:off x="-24384" y="4686903"/>
            <a:ext cx="55931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800" b="0" i="0" dirty="0">
                <a:solidFill>
                  <a:schemeClr val="bg1"/>
                </a:solidFill>
              </a:rPr>
              <a:t>Data </a:t>
            </a:r>
            <a:r>
              <a:rPr lang="de-CH" sz="800" b="0" i="0" dirty="0" err="1">
                <a:solidFill>
                  <a:schemeClr val="bg1"/>
                </a:solidFill>
              </a:rPr>
              <a:t>are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shown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as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mean</a:t>
            </a:r>
            <a:r>
              <a:rPr lang="de-CH" sz="800" b="0" i="0" dirty="0">
                <a:solidFill>
                  <a:schemeClr val="bg1"/>
                </a:solidFill>
              </a:rPr>
              <a:t> ± SD; CI = </a:t>
            </a:r>
            <a:r>
              <a:rPr lang="de-CH" sz="800" b="0" i="0" dirty="0" err="1">
                <a:solidFill>
                  <a:schemeClr val="bg1"/>
                </a:solidFill>
              </a:rPr>
              <a:t>confidence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interval</a:t>
            </a:r>
            <a:endParaRPr lang="de-CH" sz="800" b="0" i="0" dirty="0">
              <a:solidFill>
                <a:schemeClr val="bg1"/>
              </a:solidFill>
            </a:endParaRPr>
          </a:p>
          <a:p>
            <a:r>
              <a:rPr lang="de-CH" sz="800" b="0" i="0" baseline="30000" dirty="0">
                <a:solidFill>
                  <a:schemeClr val="bg1"/>
                </a:solidFill>
                <a:latin typeface="+mn-lt"/>
              </a:rPr>
              <a:t>1</a:t>
            </a:r>
            <a:r>
              <a:rPr lang="de-CH" sz="8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Haude et al. Safety and performance of the second-generation drug-eluting absorbable metal scaffold in patients (BIOSOLVE-II): </a:t>
            </a:r>
            <a:b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</a:b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6 month results of a prospective, 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multicentre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, non-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randomised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, first-in-man trial. Lancet 2016;387: 31–39. </a:t>
            </a:r>
            <a:endParaRPr lang="de-CH" sz="800" b="0" i="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D7E6D409-EF46-463E-AD9C-3F8FC6708C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2879926"/>
              </p:ext>
            </p:extLst>
          </p:nvPr>
        </p:nvGraphicFramePr>
        <p:xfrm>
          <a:off x="629054" y="987426"/>
          <a:ext cx="7106931" cy="3684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TextBox 9">
            <a:extLst>
              <a:ext uri="{FF2B5EF4-FFF2-40B4-BE49-F238E27FC236}">
                <a16:creationId xmlns:a16="http://schemas.microsoft.com/office/drawing/2014/main" id="{40C4735D-912F-439A-83A5-D152A9280847}"/>
              </a:ext>
            </a:extLst>
          </p:cNvPr>
          <p:cNvSpPr txBox="1"/>
          <p:nvPr/>
        </p:nvSpPr>
        <p:spPr>
          <a:xfrm>
            <a:off x="5813570" y="1349453"/>
            <a:ext cx="3023585" cy="52322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de-CH" sz="1400" b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Verdana" panose="020B0604030504040204" pitchFamily="34" charset="0"/>
              </a:rPr>
              <a:t>Mean</a:t>
            </a:r>
            <a:r>
              <a:rPr kumimoji="0" lang="de-CH" sz="1400" b="1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Verdana" panose="020B0604030504040204" pitchFamily="34" charset="0"/>
              </a:rPr>
              <a:t> </a:t>
            </a:r>
            <a:r>
              <a:rPr kumimoji="0" lang="de-CH" sz="1400" b="1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Verdana" panose="020B0604030504040204" pitchFamily="34" charset="0"/>
              </a:rPr>
              <a:t>In-segment LLL= </a:t>
            </a:r>
            <a:r>
              <a:rPr lang="de-CH" sz="1400" b="1" kern="0" dirty="0">
                <a:solidFill>
                  <a:srgbClr val="FF0000"/>
                </a:solidFill>
                <a:ea typeface="Verdana" panose="020B0604030504040204" pitchFamily="34" charset="0"/>
              </a:rPr>
              <a:t>0.05±0.36mm 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400" b="1" kern="0" dirty="0">
                <a:solidFill>
                  <a:srgbClr val="FF0000"/>
                </a:solidFill>
                <a:ea typeface="Verdana" panose="020B0604030504040204" pitchFamily="34" charset="0"/>
              </a:rPr>
              <a:t>95% CI [</a:t>
            </a:r>
            <a:r>
              <a:rPr lang="en-US" sz="1400" b="1" dirty="0">
                <a:solidFill>
                  <a:srgbClr val="FF0000"/>
                </a:solidFill>
              </a:rPr>
              <a:t>-0.014, 0.12</a:t>
            </a:r>
            <a:r>
              <a:rPr lang="de-CH" sz="1400" b="1" kern="0" dirty="0">
                <a:solidFill>
                  <a:srgbClr val="FF0000"/>
                </a:solidFill>
                <a:ea typeface="Verdana" panose="020B0604030504040204" pitchFamily="34" charset="0"/>
              </a:rPr>
              <a:t>]</a:t>
            </a:r>
            <a:endParaRPr kumimoji="0" lang="de-CH" sz="1400" b="1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ea typeface="Verdana" panose="020B0604030504040204" pitchFamily="34" charset="0"/>
            </a:endParaRPr>
          </a:p>
        </p:txBody>
      </p:sp>
      <p:sp>
        <p:nvSpPr>
          <p:cNvPr id="24" name="TextBox 5">
            <a:extLst>
              <a:ext uri="{FF2B5EF4-FFF2-40B4-BE49-F238E27FC236}">
                <a16:creationId xmlns:a16="http://schemas.microsoft.com/office/drawing/2014/main" id="{9A3DCAED-7A99-44A3-A1E1-92875D8E71CB}"/>
              </a:ext>
            </a:extLst>
          </p:cNvPr>
          <p:cNvSpPr txBox="1"/>
          <p:nvPr/>
        </p:nvSpPr>
        <p:spPr>
          <a:xfrm>
            <a:off x="5804492" y="1832594"/>
            <a:ext cx="2983509" cy="69249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de-CH" sz="1400" b="1" u="none" strike="noStrike" kern="0" cap="none" spc="0" normalizeH="0" baseline="0" noProof="0" dirty="0">
                <a:ln>
                  <a:noFill/>
                </a:ln>
                <a:solidFill>
                  <a:srgbClr val="6699FF"/>
                </a:solidFill>
                <a:effectLst/>
                <a:uLnTx/>
                <a:uFillTx/>
                <a:ea typeface="Verdana" panose="020B0604030504040204" pitchFamily="34" charset="0"/>
              </a:rPr>
              <a:t>Mean In-segment LLL= 0.27±0.37mm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400" b="1" kern="0" dirty="0">
                <a:solidFill>
                  <a:srgbClr val="6699FF"/>
                </a:solidFill>
                <a:ea typeface="Verdana" panose="020B0604030504040204" pitchFamily="34" charset="0"/>
              </a:rPr>
              <a:t>95% CI [0.20; 0.37]</a:t>
            </a:r>
            <a:r>
              <a:rPr lang="de-CH" sz="1400" b="1" kern="0" baseline="30000" dirty="0">
                <a:solidFill>
                  <a:srgbClr val="6699FF"/>
                </a:solidFill>
                <a:ea typeface="Verdana" panose="020B0604030504040204" pitchFamily="34" charset="0"/>
              </a:rPr>
              <a:t>1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b="1" i="0" u="none" strike="noStrike" kern="0" cap="none" spc="0" normalizeH="0" baseline="0" noProof="0" dirty="0">
              <a:ln>
                <a:noFill/>
              </a:ln>
              <a:solidFill>
                <a:srgbClr val="6699FF"/>
              </a:solidFill>
              <a:effectLst/>
              <a:uLnTx/>
              <a:uFillTx/>
              <a:latin typeface="Arial 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7C3E1EF-4B3A-40FB-8F5D-2A1776DE1305}"/>
              </a:ext>
            </a:extLst>
          </p:cNvPr>
          <p:cNvCxnSpPr/>
          <p:nvPr/>
        </p:nvCxnSpPr>
        <p:spPr>
          <a:xfrm>
            <a:off x="5896466" y="2527397"/>
            <a:ext cx="226925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747A975-6C3D-44B6-A814-8539CFFD46A0}"/>
              </a:ext>
            </a:extLst>
          </p:cNvPr>
          <p:cNvSpPr txBox="1"/>
          <p:nvPr/>
        </p:nvSpPr>
        <p:spPr>
          <a:xfrm>
            <a:off x="6189441" y="2416970"/>
            <a:ext cx="837567" cy="261610"/>
          </a:xfrm>
          <a:prstGeom prst="rect">
            <a:avLst/>
          </a:prstGeom>
          <a:noFill/>
        </p:spPr>
        <p:txBody>
          <a:bodyPr wrap="square" lIns="0" tIns="0" r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400" b="1" i="0" kern="0" dirty="0">
                <a:ea typeface="Verdana" panose="020B0604030504040204" pitchFamily="34" charset="0"/>
                <a:cs typeface="+mn-cs"/>
              </a:rPr>
              <a:t>BIOMAG-I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00D5AAE-9E32-4D63-8CF0-49D170892BB7}"/>
              </a:ext>
            </a:extLst>
          </p:cNvPr>
          <p:cNvCxnSpPr/>
          <p:nvPr/>
        </p:nvCxnSpPr>
        <p:spPr>
          <a:xfrm>
            <a:off x="5896466" y="2809541"/>
            <a:ext cx="226925" cy="0"/>
          </a:xfrm>
          <a:prstGeom prst="line">
            <a:avLst/>
          </a:prstGeom>
          <a:ln w="28575">
            <a:solidFill>
              <a:srgbClr val="6699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141A4AA5-2BC6-4DCC-9F19-4CB12A153129}"/>
              </a:ext>
            </a:extLst>
          </p:cNvPr>
          <p:cNvSpPr txBox="1"/>
          <p:nvPr/>
        </p:nvSpPr>
        <p:spPr>
          <a:xfrm>
            <a:off x="6173257" y="2706529"/>
            <a:ext cx="1141943" cy="261610"/>
          </a:xfrm>
          <a:prstGeom prst="rect">
            <a:avLst/>
          </a:prstGeom>
          <a:noFill/>
        </p:spPr>
        <p:txBody>
          <a:bodyPr wrap="square" lIns="0" tIns="0" rIns="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CH" sz="1400" b="1" i="0" kern="0" dirty="0">
                <a:ea typeface="Verdana" panose="020B0604030504040204" pitchFamily="34" charset="0"/>
              </a:rPr>
              <a:t>BIOSOLVE-II</a:t>
            </a:r>
            <a:r>
              <a:rPr lang="de-CH" sz="1400" b="1" i="0" kern="0" baseline="30000" dirty="0">
                <a:ea typeface="Verdana" panose="020B0604030504040204" pitchFamily="34" charset="0"/>
              </a:rPr>
              <a:t>1</a:t>
            </a:r>
            <a:endParaRPr lang="de-CH" sz="1400" b="1" i="0" kern="0" dirty="0">
              <a:ea typeface="Verdana" panose="020B0604030504040204" pitchFamily="34" charset="0"/>
            </a:endParaRPr>
          </a:p>
        </p:txBody>
      </p:sp>
      <p:sp>
        <p:nvSpPr>
          <p:cNvPr id="33" name="Textfeld 5">
            <a:extLst>
              <a:ext uri="{FF2B5EF4-FFF2-40B4-BE49-F238E27FC236}">
                <a16:creationId xmlns:a16="http://schemas.microsoft.com/office/drawing/2014/main" id="{9A7C8837-E1E3-44BF-B551-F7DE3A2B7FB4}"/>
              </a:ext>
            </a:extLst>
          </p:cNvPr>
          <p:cNvSpPr txBox="1"/>
          <p:nvPr/>
        </p:nvSpPr>
        <p:spPr>
          <a:xfrm>
            <a:off x="5804492" y="2968139"/>
            <a:ext cx="332796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b="1" dirty="0"/>
              <a:t>Post hoc </a:t>
            </a:r>
            <a:r>
              <a:rPr lang="de-CH" sz="1400" b="1" dirty="0" err="1"/>
              <a:t>superiority</a:t>
            </a:r>
            <a:r>
              <a:rPr lang="de-CH" sz="1400" b="1" dirty="0"/>
              <a:t> </a:t>
            </a:r>
            <a:r>
              <a:rPr lang="de-CH" sz="1400" b="1" dirty="0" err="1"/>
              <a:t>analysis</a:t>
            </a:r>
            <a:r>
              <a:rPr lang="de-CH" sz="1400" b="1" dirty="0"/>
              <a:t>: </a:t>
            </a:r>
            <a:br>
              <a:rPr lang="de-CH" sz="1400" b="1" dirty="0"/>
            </a:br>
            <a:r>
              <a:rPr lang="de-CH" sz="1400" b="1" dirty="0" err="1"/>
              <a:t>weighted</a:t>
            </a:r>
            <a:r>
              <a:rPr lang="de-CH" sz="1400" b="1" dirty="0"/>
              <a:t> </a:t>
            </a:r>
            <a:r>
              <a:rPr lang="de-CH" sz="1400" b="1" dirty="0" err="1"/>
              <a:t>mean</a:t>
            </a:r>
            <a:r>
              <a:rPr lang="de-CH" sz="1400" b="1" dirty="0"/>
              <a:t> 0.44; </a:t>
            </a:r>
            <a:r>
              <a:rPr lang="de-CH" sz="1400" b="1" dirty="0" err="1"/>
              <a:t>superiority</a:t>
            </a:r>
            <a:r>
              <a:rPr lang="de-CH" sz="1400" b="1" dirty="0"/>
              <a:t> </a:t>
            </a:r>
            <a:r>
              <a:rPr lang="de-CH" sz="1400" b="1" dirty="0" err="1"/>
              <a:t>margin</a:t>
            </a:r>
            <a:r>
              <a:rPr lang="de-CH" sz="1400" b="1" dirty="0"/>
              <a:t> </a:t>
            </a:r>
            <a:br>
              <a:rPr lang="de-CH" sz="1400" b="1" dirty="0"/>
            </a:br>
            <a:r>
              <a:rPr lang="de-CH" sz="1400" b="1" dirty="0"/>
              <a:t>0.0675; </a:t>
            </a:r>
            <a:r>
              <a:rPr lang="de-CH" sz="1400" b="1" dirty="0" err="1"/>
              <a:t>calculated</a:t>
            </a:r>
            <a:r>
              <a:rPr lang="de-CH" sz="1400" b="1" dirty="0"/>
              <a:t> power 99.5%; p&lt;0.0001</a:t>
            </a:r>
          </a:p>
        </p:txBody>
      </p:sp>
      <p:sp>
        <p:nvSpPr>
          <p:cNvPr id="34" name="TextBox 12">
            <a:extLst>
              <a:ext uri="{FF2B5EF4-FFF2-40B4-BE49-F238E27FC236}">
                <a16:creationId xmlns:a16="http://schemas.microsoft.com/office/drawing/2014/main" id="{AD9AFB65-3834-4F4A-880C-9AC724D7D15D}"/>
              </a:ext>
            </a:extLst>
          </p:cNvPr>
          <p:cNvSpPr txBox="1"/>
          <p:nvPr/>
        </p:nvSpPr>
        <p:spPr>
          <a:xfrm>
            <a:off x="3581400" y="2364388"/>
            <a:ext cx="500458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-81%</a:t>
            </a:r>
          </a:p>
        </p:txBody>
      </p:sp>
    </p:spTree>
    <p:extLst>
      <p:ext uri="{BB962C8B-B14F-4D97-AF65-F5344CB8AC3E}">
        <p14:creationId xmlns:p14="http://schemas.microsoft.com/office/powerpoint/2010/main" val="344292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0"/>
                                        <p:tgtEl>
                                          <p:spTgt spid="2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2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0" grpId="0" uiExpand="1">
        <p:bldSub>
          <a:bldChart bld="series"/>
        </p:bldSub>
      </p:bldGraphic>
      <p:bldP spid="21" grpId="0"/>
      <p:bldP spid="24" grpId="0" uiExpand="1"/>
      <p:bldP spid="27" grpId="0"/>
      <p:bldP spid="32" grpId="0"/>
      <p:bldP spid="33" grpId="0"/>
      <p:bldP spid="3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A13218F-EED9-400D-9D07-44B1DC8F7D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9005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B339BE-EB4D-4624-BE57-D12EA2CC64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5" y="167689"/>
            <a:ext cx="8915400" cy="857250"/>
          </a:xfrm>
        </p:spPr>
        <p:txBody>
          <a:bodyPr vert="horz">
            <a:noAutofit/>
          </a:bodyPr>
          <a:lstStyle/>
          <a:p>
            <a:r>
              <a:rPr lang="en-US" sz="4000" dirty="0"/>
              <a:t>Serial Angiographic Data Analysis </a:t>
            </a:r>
            <a:br>
              <a:rPr lang="en-US" sz="4000" dirty="0"/>
            </a:br>
            <a:r>
              <a:rPr lang="en-US" sz="2000" b="1" i="1" dirty="0"/>
              <a:t>at 6-month F/U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B0E67B0-D663-4AA4-A664-6D80284F045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87681"/>
              </p:ext>
            </p:extLst>
          </p:nvPr>
        </p:nvGraphicFramePr>
        <p:xfrm>
          <a:off x="342900" y="2415286"/>
          <a:ext cx="8458200" cy="22138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43100">
                  <a:extLst>
                    <a:ext uri="{9D8B030D-6E8A-4147-A177-3AD203B41FA5}">
                      <a16:colId xmlns:a16="http://schemas.microsoft.com/office/drawing/2014/main" val="2338009310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496897966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4118996667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520500190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4232070207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93784587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Pre-procedure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Post-procedure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6 months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∆ post-procedure </a:t>
                      </a:r>
                      <a:br>
                        <a:rPr lang="en-US" sz="950" dirty="0">
                          <a:effectLst/>
                        </a:rPr>
                      </a:br>
                      <a:r>
                        <a:rPr lang="en-US" sz="950" dirty="0">
                          <a:effectLst/>
                        </a:rPr>
                        <a:t>– 6 months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-value </a:t>
                      </a:r>
                      <a:br>
                        <a:rPr lang="en-US" sz="95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95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-procedure </a:t>
                      </a:r>
                      <a:br>
                        <a:rPr lang="en-US" sz="95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95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 6 months</a:t>
                      </a:r>
                    </a:p>
                  </a:txBody>
                  <a:tcPr marL="52606" marR="52606" marT="0" marB="0"/>
                </a:tc>
                <a:extLst>
                  <a:ext uri="{0D108BD9-81ED-4DB2-BD59-A6C34878D82A}">
                    <a16:rowId xmlns:a16="http://schemas.microsoft.com/office/drawing/2014/main" val="2439948754"/>
                  </a:ext>
                </a:extLst>
              </a:tr>
              <a:tr h="1133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Angiography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=111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=111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=111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=111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extLst>
                  <a:ext uri="{0D108BD9-81ED-4DB2-BD59-A6C34878D82A}">
                    <a16:rowId xmlns:a16="http://schemas.microsoft.com/office/drawing/2014/main" val="328358254"/>
                  </a:ext>
                </a:extLst>
              </a:tr>
              <a:tr h="45221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Reference vessel diameter (mm)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In-scaffold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In-segment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2.73 (0.46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2.85 (0.46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2.75 (0.50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2.84 (0.49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2.79 (0.51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-0</a:t>
                      </a:r>
                      <a:r>
                        <a:rPr lang="en-US" sz="950" dirty="0">
                          <a:effectLst/>
                        </a:rPr>
                        <a:t>.01 (0.26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5 (0.33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73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14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/>
                </a:tc>
                <a:extLst>
                  <a:ext uri="{0D108BD9-81ED-4DB2-BD59-A6C34878D82A}">
                    <a16:rowId xmlns:a16="http://schemas.microsoft.com/office/drawing/2014/main" val="1207560996"/>
                  </a:ext>
                </a:extLst>
              </a:tr>
              <a:tr h="4195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Minimum </a:t>
                      </a:r>
                      <a:r>
                        <a:rPr lang="de-DE" sz="950" dirty="0" err="1">
                          <a:effectLst/>
                        </a:rPr>
                        <a:t>lumen</a:t>
                      </a:r>
                      <a:r>
                        <a:rPr lang="de-DE" sz="950" dirty="0">
                          <a:effectLst/>
                        </a:rPr>
                        <a:t> </a:t>
                      </a:r>
                      <a:r>
                        <a:rPr lang="de-DE" sz="950" dirty="0" err="1">
                          <a:effectLst/>
                        </a:rPr>
                        <a:t>diameter</a:t>
                      </a:r>
                      <a:r>
                        <a:rPr lang="de-DE" sz="950" dirty="0">
                          <a:effectLst/>
                        </a:rPr>
                        <a:t> (mm)</a:t>
                      </a:r>
                      <a:endParaRPr lang="en-US" sz="95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In-</a:t>
                      </a:r>
                      <a:r>
                        <a:rPr lang="de-DE" sz="950" dirty="0" err="1">
                          <a:effectLst/>
                        </a:rPr>
                        <a:t>scaffold</a:t>
                      </a:r>
                      <a:endParaRPr lang="en-US" sz="95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In-segment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NA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1</a:t>
                      </a:r>
                      <a:r>
                        <a:rPr lang="en-US" sz="950" dirty="0">
                          <a:effectLst/>
                        </a:rPr>
                        <a:t>.07 (0.39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2</a:t>
                      </a:r>
                      <a:r>
                        <a:rPr lang="en-US" sz="950" dirty="0">
                          <a:effectLst/>
                        </a:rPr>
                        <a:t>.60 (0.43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2</a:t>
                      </a:r>
                      <a:r>
                        <a:rPr lang="en-US" sz="950" dirty="0">
                          <a:effectLst/>
                        </a:rPr>
                        <a:t>.31 (0.44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2</a:t>
                      </a:r>
                      <a:r>
                        <a:rPr lang="en-US" sz="950" dirty="0">
                          <a:effectLst/>
                        </a:rPr>
                        <a:t>.39 (0.54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2</a:t>
                      </a:r>
                      <a:r>
                        <a:rPr lang="en-US" sz="950" dirty="0">
                          <a:effectLst/>
                        </a:rPr>
                        <a:t>.26 (0.49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-0</a:t>
                      </a:r>
                      <a:r>
                        <a:rPr lang="en-US" sz="950" dirty="0">
                          <a:effectLst/>
                        </a:rPr>
                        <a:t>.21 (0.31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-0</a:t>
                      </a:r>
                      <a:r>
                        <a:rPr lang="en-US" sz="950" dirty="0">
                          <a:effectLst/>
                        </a:rPr>
                        <a:t>.05 (0.36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&lt; 0</a:t>
                      </a:r>
                      <a:r>
                        <a:rPr lang="en-US" sz="950" dirty="0">
                          <a:effectLst/>
                        </a:rPr>
                        <a:t>.</a:t>
                      </a:r>
                      <a:r>
                        <a:rPr lang="de-DE" sz="950" dirty="0">
                          <a:effectLst/>
                        </a:rPr>
                        <a:t>0001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0</a:t>
                      </a:r>
                      <a:r>
                        <a:rPr lang="en-US" sz="950" dirty="0">
                          <a:effectLst/>
                        </a:rPr>
                        <a:t>.</a:t>
                      </a:r>
                      <a:r>
                        <a:rPr lang="de-DE" sz="950" dirty="0">
                          <a:effectLst/>
                        </a:rPr>
                        <a:t>12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extLst>
                  <a:ext uri="{0D108BD9-81ED-4DB2-BD59-A6C34878D82A}">
                    <a16:rowId xmlns:a16="http://schemas.microsoft.com/office/drawing/2014/main" val="2499829958"/>
                  </a:ext>
                </a:extLst>
              </a:tr>
              <a:tr h="4327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Diameter stenosis (%)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In-scaffold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In-segment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60.8 (12.9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8.4 (5.4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15.6 (8.2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16.0 (11.6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19.0 (11.6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7</a:t>
                      </a:r>
                      <a:r>
                        <a:rPr lang="en-US" sz="950" dirty="0">
                          <a:effectLst/>
                        </a:rPr>
                        <a:t>.5 (11.0)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3.3 (13.3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&lt;0</a:t>
                      </a:r>
                      <a:r>
                        <a:rPr lang="en-US" sz="950" dirty="0">
                          <a:effectLst/>
                        </a:rPr>
                        <a:t>.</a:t>
                      </a:r>
                      <a:r>
                        <a:rPr lang="de-DE" sz="950" dirty="0">
                          <a:effectLst/>
                        </a:rPr>
                        <a:t>0001</a:t>
                      </a:r>
                      <a:endParaRPr lang="en-US" sz="95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0</a:t>
                      </a:r>
                      <a:r>
                        <a:rPr lang="en-US" sz="950" dirty="0">
                          <a:effectLst/>
                        </a:rPr>
                        <a:t>.</a:t>
                      </a:r>
                      <a:r>
                        <a:rPr lang="de-DE" sz="950" dirty="0">
                          <a:effectLst/>
                        </a:rPr>
                        <a:t>01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2606" marR="52606" marT="0" marB="0" anchor="ctr"/>
                </a:tc>
                <a:extLst>
                  <a:ext uri="{0D108BD9-81ED-4DB2-BD59-A6C34878D82A}">
                    <a16:rowId xmlns:a16="http://schemas.microsoft.com/office/drawing/2014/main" val="1996378441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3B52F4D-371C-49CD-A74F-511C73C814BD}"/>
              </a:ext>
            </a:extLst>
          </p:cNvPr>
          <p:cNvSpPr/>
          <p:nvPr/>
        </p:nvSpPr>
        <p:spPr>
          <a:xfrm>
            <a:off x="0" y="4705350"/>
            <a:ext cx="101662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ata are mean (SD)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A6D39D07-F656-4FFF-B6C8-95F71A848B30}"/>
              </a:ext>
            </a:extLst>
          </p:cNvPr>
          <p:cNvGrpSpPr/>
          <p:nvPr/>
        </p:nvGrpSpPr>
        <p:grpSpPr>
          <a:xfrm>
            <a:off x="752291" y="1053361"/>
            <a:ext cx="7841867" cy="1137389"/>
            <a:chOff x="752291" y="1434361"/>
            <a:chExt cx="7841867" cy="1137389"/>
          </a:xfrm>
        </p:grpSpPr>
        <p:pic>
          <p:nvPicPr>
            <p:cNvPr id="11" name="Picture 10" descr="A picture containing elephant, holding, ball, person&#10;&#10;Description automatically generated">
              <a:extLst>
                <a:ext uri="{FF2B5EF4-FFF2-40B4-BE49-F238E27FC236}">
                  <a16:creationId xmlns:a16="http://schemas.microsoft.com/office/drawing/2014/main" id="{90E1668D-EED1-4EEA-A0CC-F713EB27AC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2291" y="1434361"/>
              <a:ext cx="1140050" cy="1110335"/>
            </a:xfrm>
            <a:prstGeom prst="rect">
              <a:avLst/>
            </a:prstGeom>
          </p:spPr>
        </p:pic>
        <p:pic>
          <p:nvPicPr>
            <p:cNvPr id="12" name="Picture 11" descr="A picture containing little&#10;&#10;Description automatically generated">
              <a:extLst>
                <a:ext uri="{FF2B5EF4-FFF2-40B4-BE49-F238E27FC236}">
                  <a16:creationId xmlns:a16="http://schemas.microsoft.com/office/drawing/2014/main" id="{C9BA74F7-31A4-46AB-AC55-846D896C6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513363" y="1434361"/>
              <a:ext cx="1172292" cy="1121225"/>
            </a:xfrm>
            <a:prstGeom prst="rect">
              <a:avLst/>
            </a:prstGeom>
          </p:spPr>
        </p:pic>
        <p:pic>
          <p:nvPicPr>
            <p:cNvPr id="13" name="Picture 12" descr="A close up&#10;&#10;Description automatically generated">
              <a:extLst>
                <a:ext uri="{FF2B5EF4-FFF2-40B4-BE49-F238E27FC236}">
                  <a16:creationId xmlns:a16="http://schemas.microsoft.com/office/drawing/2014/main" id="{7FB11D1D-5CC1-4ACD-98CC-DC47DDF8A2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355029" y="1434361"/>
              <a:ext cx="1165843" cy="1121315"/>
            </a:xfrm>
            <a:prstGeom prst="rect">
              <a:avLst/>
            </a:prstGeom>
          </p:spPr>
        </p:pic>
        <p:pic>
          <p:nvPicPr>
            <p:cNvPr id="14" name="Picture 13" descr="A picture containing outdoor, photo, sitting, standing&#10;&#10;Description automatically generated">
              <a:extLst>
                <a:ext uri="{FF2B5EF4-FFF2-40B4-BE49-F238E27FC236}">
                  <a16:creationId xmlns:a16="http://schemas.microsoft.com/office/drawing/2014/main" id="{320B2527-1E91-42CF-BD74-F1A3649C29A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73989" y="1434361"/>
              <a:ext cx="1079575" cy="1137389"/>
            </a:xfrm>
            <a:prstGeom prst="rect">
              <a:avLst/>
            </a:prstGeom>
          </p:spPr>
        </p:pic>
        <p:pic>
          <p:nvPicPr>
            <p:cNvPr id="15" name="Picture 14" descr="A picture containing sitting, standing, street, little&#10;&#10;Description automatically generated">
              <a:extLst>
                <a:ext uri="{FF2B5EF4-FFF2-40B4-BE49-F238E27FC236}">
                  <a16:creationId xmlns:a16="http://schemas.microsoft.com/office/drawing/2014/main" id="{DA924D03-3E54-4D3C-AB9E-330B8C7B48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515330" y="1434361"/>
              <a:ext cx="1078828" cy="1121315"/>
            </a:xfrm>
            <a:prstGeom prst="rect">
              <a:avLst/>
            </a:prstGeom>
          </p:spPr>
        </p:pic>
        <p:pic>
          <p:nvPicPr>
            <p:cNvPr id="16" name="Picture 15" descr="A picture containing young, person, holding, standing&#10;&#10;Description automatically generated">
              <a:extLst>
                <a:ext uri="{FF2B5EF4-FFF2-40B4-BE49-F238E27FC236}">
                  <a16:creationId xmlns:a16="http://schemas.microsoft.com/office/drawing/2014/main" id="{8F586635-459E-4726-AAF9-C1324E97CD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882465" y="1434362"/>
              <a:ext cx="1081328" cy="1110334"/>
            </a:xfrm>
            <a:prstGeom prst="rect">
              <a:avLst/>
            </a:prstGeom>
          </p:spPr>
        </p:pic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0CBD004-6251-42AB-ADB0-A847E051C281}"/>
              </a:ext>
            </a:extLst>
          </p:cNvPr>
          <p:cNvGrpSpPr/>
          <p:nvPr/>
        </p:nvGrpSpPr>
        <p:grpSpPr>
          <a:xfrm>
            <a:off x="1056670" y="2114550"/>
            <a:ext cx="6700991" cy="307779"/>
            <a:chOff x="1056670" y="2266950"/>
            <a:chExt cx="6700991" cy="30777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55D3106-61D4-4346-A686-E2460C5A12D6}"/>
                </a:ext>
              </a:extLst>
            </p:cNvPr>
            <p:cNvSpPr txBox="1"/>
            <p:nvPr/>
          </p:nvSpPr>
          <p:spPr>
            <a:xfrm>
              <a:off x="1056670" y="2266952"/>
              <a:ext cx="125092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/>
                <a:t>Pre-procedure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B3E561A-2C3D-4883-9070-EB30433B8E0A}"/>
                </a:ext>
              </a:extLst>
            </p:cNvPr>
            <p:cNvSpPr txBox="1"/>
            <p:nvPr/>
          </p:nvSpPr>
          <p:spPr>
            <a:xfrm>
              <a:off x="4005214" y="2266951"/>
              <a:ext cx="132497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/>
                <a:t>Post-procedur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DE94BD6-8222-436D-87F4-2299CE83EA92}"/>
                </a:ext>
              </a:extLst>
            </p:cNvPr>
            <p:cNvSpPr txBox="1"/>
            <p:nvPr/>
          </p:nvSpPr>
          <p:spPr>
            <a:xfrm>
              <a:off x="7024768" y="2266950"/>
              <a:ext cx="73289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/>
                <a:t>6m F/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32193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C0CDF8-D992-4728-AEC8-0087193F0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33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AFAD87-E911-43FF-B550-65C5B645C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348"/>
            <a:ext cx="8534400" cy="857250"/>
          </a:xfrm>
        </p:spPr>
        <p:txBody>
          <a:bodyPr vert="horz">
            <a:noAutofit/>
          </a:bodyPr>
          <a:lstStyle/>
          <a:p>
            <a:r>
              <a:rPr lang="en-US" sz="4000" dirty="0"/>
              <a:t>Serial IVUS Data Analysis  </a:t>
            </a:r>
            <a:br>
              <a:rPr lang="en-US" sz="4000" dirty="0"/>
            </a:br>
            <a:r>
              <a:rPr lang="en-US" sz="2000" b="1" i="1" dirty="0"/>
              <a:t>at 6-month F/U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249D2C31-4FB4-4C77-811F-676E6638805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2047450"/>
              </p:ext>
            </p:extLst>
          </p:nvPr>
        </p:nvGraphicFramePr>
        <p:xfrm>
          <a:off x="342900" y="2379592"/>
          <a:ext cx="8458200" cy="23005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00200">
                  <a:extLst>
                    <a:ext uri="{9D8B030D-6E8A-4147-A177-3AD203B41FA5}">
                      <a16:colId xmlns:a16="http://schemas.microsoft.com/office/drawing/2014/main" val="47322101"/>
                    </a:ext>
                  </a:extLst>
                </a:gridCol>
                <a:gridCol w="1413164">
                  <a:extLst>
                    <a:ext uri="{9D8B030D-6E8A-4147-A177-3AD203B41FA5}">
                      <a16:colId xmlns:a16="http://schemas.microsoft.com/office/drawing/2014/main" val="3625874803"/>
                    </a:ext>
                  </a:extLst>
                </a:gridCol>
                <a:gridCol w="1447800">
                  <a:extLst>
                    <a:ext uri="{9D8B030D-6E8A-4147-A177-3AD203B41FA5}">
                      <a16:colId xmlns:a16="http://schemas.microsoft.com/office/drawing/2014/main" val="2383017693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22562459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174598774"/>
                    </a:ext>
                  </a:extLst>
                </a:gridCol>
                <a:gridCol w="1330036">
                  <a:extLst>
                    <a:ext uri="{9D8B030D-6E8A-4147-A177-3AD203B41FA5}">
                      <a16:colId xmlns:a16="http://schemas.microsoft.com/office/drawing/2014/main" val="3125270981"/>
                    </a:ext>
                  </a:extLst>
                </a:gridCol>
              </a:tblGrid>
              <a:tr h="3312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re-procedure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ost-procedure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6 month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∆ post-procedure 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– 6 month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-value 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post-procedure </a:t>
                      </a:r>
                      <a:br>
                        <a:rPr lang="en-US" sz="1000" dirty="0">
                          <a:effectLst/>
                        </a:rPr>
                      </a:br>
                      <a:r>
                        <a:rPr lang="en-US" sz="1000" dirty="0">
                          <a:effectLst/>
                        </a:rPr>
                        <a:t>vs 6 month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39989216"/>
                  </a:ext>
                </a:extLst>
              </a:tr>
              <a:tr h="29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Intravascular ultrasound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=87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N=87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>
                          <a:effectLst/>
                        </a:rPr>
                        <a:t>N=87</a:t>
                      </a:r>
                      <a:endParaRPr lang="en-US" sz="95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>
                          <a:effectLst/>
                        </a:rPr>
                        <a:t>N=87</a:t>
                      </a:r>
                      <a:endParaRPr lang="en-US" sz="95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 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690578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ean vessel area (mm²)</a:t>
                      </a: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12.59 (4.48)</a:t>
                      </a: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14.90 (4.62)</a:t>
                      </a: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14.67 (4.82)</a:t>
                      </a: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-0.23 (1.45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15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extLst>
                  <a:ext uri="{0D108BD9-81ED-4DB2-BD59-A6C34878D82A}">
                    <a16:rowId xmlns:a16="http://schemas.microsoft.com/office/drawing/2014/main" val="19756951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ean scaffold area (mm²)</a:t>
                      </a: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NA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7</a:t>
                      </a:r>
                      <a:r>
                        <a:rPr lang="en-US" sz="950" dirty="0">
                          <a:effectLst/>
                        </a:rPr>
                        <a:t>.59 (2.21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6</a:t>
                      </a:r>
                      <a:r>
                        <a:rPr lang="en-US" sz="950" dirty="0">
                          <a:effectLst/>
                        </a:rPr>
                        <a:t>.96 (2.48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-0</a:t>
                      </a:r>
                      <a:r>
                        <a:rPr lang="en-US" sz="950" dirty="0">
                          <a:effectLst/>
                        </a:rPr>
                        <a:t>.62 (1.05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&lt;0</a:t>
                      </a:r>
                      <a:r>
                        <a:rPr lang="en-US" sz="950" dirty="0">
                          <a:effectLst/>
                        </a:rPr>
                        <a:t>.</a:t>
                      </a:r>
                      <a:r>
                        <a:rPr lang="de-DE" sz="950" dirty="0">
                          <a:effectLst/>
                        </a:rPr>
                        <a:t>0001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extLst>
                  <a:ext uri="{0D108BD9-81ED-4DB2-BD59-A6C34878D82A}">
                    <a16:rowId xmlns:a16="http://schemas.microsoft.com/office/drawing/2014/main" val="22444044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ean lumen area (mm²)</a:t>
                      </a: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5.93 (2.23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7.61 (2.26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6.97 (2.50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-0.65 (1.05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de-DE" sz="950" dirty="0">
                          <a:effectLst/>
                        </a:rPr>
                        <a:t>&lt;0</a:t>
                      </a:r>
                      <a:r>
                        <a:rPr lang="en-US" sz="950" dirty="0">
                          <a:effectLst/>
                        </a:rPr>
                        <a:t>.</a:t>
                      </a:r>
                      <a:r>
                        <a:rPr lang="de-DE" sz="950" dirty="0">
                          <a:effectLst/>
                        </a:rPr>
                        <a:t>0001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extLst>
                  <a:ext uri="{0D108BD9-81ED-4DB2-BD59-A6C34878D82A}">
                    <a16:rowId xmlns:a16="http://schemas.microsoft.com/office/drawing/2014/main" val="13427993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ean plaque area (mm²)</a:t>
                      </a: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6.63 (3.19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7.24 (2.86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7.72 (2.75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48 (1.14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002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72000" anchor="ctr"/>
                </a:tc>
                <a:extLst>
                  <a:ext uri="{0D108BD9-81ED-4DB2-BD59-A6C34878D82A}">
                    <a16:rowId xmlns:a16="http://schemas.microsoft.com/office/drawing/2014/main" val="4241707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otal incomplete strut apposition area (mm²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>
                          <a:effectLst/>
                        </a:rPr>
                        <a:t>NA</a:t>
                      </a:r>
                      <a:endParaRPr lang="en-US" sz="95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3 (0.10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2 (0.05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0 (0.10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68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4148828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otal tissue protrusion/ neointimal area (mm²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>
                          <a:effectLst/>
                        </a:rPr>
                        <a:t>NA</a:t>
                      </a:r>
                      <a:endParaRPr lang="en-US" sz="95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0 (0.00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2 (0.11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2 (0.11)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50" dirty="0">
                          <a:effectLst/>
                        </a:rPr>
                        <a:t>0.05</a:t>
                      </a:r>
                      <a:endParaRPr lang="en-US" sz="95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6478566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B910E1D-C278-4273-A1CB-91664DFCB260}"/>
              </a:ext>
            </a:extLst>
          </p:cNvPr>
          <p:cNvSpPr/>
          <p:nvPr/>
        </p:nvSpPr>
        <p:spPr>
          <a:xfrm>
            <a:off x="0" y="4715824"/>
            <a:ext cx="10166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ata are mean (SD),</a:t>
            </a:r>
          </a:p>
          <a:p>
            <a:endParaRPr lang="en-US" sz="800" dirty="0">
              <a:solidFill>
                <a:schemeClr val="bg1"/>
              </a:solidFill>
            </a:endParaRPr>
          </a:p>
          <a:p>
            <a:endParaRPr lang="en-US" sz="800" dirty="0">
              <a:solidFill>
                <a:schemeClr val="bg1"/>
              </a:solidFill>
            </a:endParaRPr>
          </a:p>
        </p:txBody>
      </p:sp>
      <p:pic>
        <p:nvPicPr>
          <p:cNvPr id="8" name="Picture 4" descr="A close up of a seal&#10;&#10;Description automatically generated">
            <a:extLst>
              <a:ext uri="{FF2B5EF4-FFF2-40B4-BE49-F238E27FC236}">
                <a16:creationId xmlns:a16="http://schemas.microsoft.com/office/drawing/2014/main" id="{A3BB5563-90D8-4F62-AABC-034022F95F3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877" y="1105304"/>
            <a:ext cx="1182586" cy="1182586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14" descr="A picture containing bird, seal, sitting, apple&#10;&#10;Description automatically generated">
            <a:extLst>
              <a:ext uri="{FF2B5EF4-FFF2-40B4-BE49-F238E27FC236}">
                <a16:creationId xmlns:a16="http://schemas.microsoft.com/office/drawing/2014/main" id="{E98066C8-969E-4AA8-9143-C4DB70FCF8F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776" y="1110501"/>
            <a:ext cx="1182585" cy="118258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0" name="Picture 12" descr="A picture containing bird, sitting, apple&#10;&#10;Description automatically generated">
            <a:extLst>
              <a:ext uri="{FF2B5EF4-FFF2-40B4-BE49-F238E27FC236}">
                <a16:creationId xmlns:a16="http://schemas.microsoft.com/office/drawing/2014/main" id="{97910C1C-EDAD-48F7-BF40-305CDE2B51E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546" y="1110500"/>
            <a:ext cx="1182585" cy="1182585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034901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6943081-1B00-434A-A9A1-F5C580A503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7476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442364-2CBA-4F40-9694-4B63BA730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43263"/>
            <a:ext cx="9333380" cy="857250"/>
          </a:xfrm>
        </p:spPr>
        <p:txBody>
          <a:bodyPr vert="horz">
            <a:noAutofit/>
          </a:bodyPr>
          <a:lstStyle/>
          <a:p>
            <a:r>
              <a:rPr lang="en-US" sz="4000" dirty="0"/>
              <a:t>Serial IVUS-VH Data An</a:t>
            </a:r>
            <a:r>
              <a:rPr lang="en-US" sz="3200" dirty="0"/>
              <a:t>alysis </a:t>
            </a:r>
            <a:br>
              <a:rPr lang="en-US" sz="3200" dirty="0"/>
            </a:br>
            <a:r>
              <a:rPr lang="en-US" sz="2000" b="1" i="1" dirty="0"/>
              <a:t>at 6-month F/U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B16EF71A-7898-4BE8-BC1C-56C31AB633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12566797"/>
              </p:ext>
            </p:extLst>
          </p:nvPr>
        </p:nvGraphicFramePr>
        <p:xfrm>
          <a:off x="381000" y="2914174"/>
          <a:ext cx="8382000" cy="106759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86132">
                  <a:extLst>
                    <a:ext uri="{9D8B030D-6E8A-4147-A177-3AD203B41FA5}">
                      <a16:colId xmlns:a16="http://schemas.microsoft.com/office/drawing/2014/main" val="3811692128"/>
                    </a:ext>
                  </a:extLst>
                </a:gridCol>
                <a:gridCol w="1457068">
                  <a:extLst>
                    <a:ext uri="{9D8B030D-6E8A-4147-A177-3AD203B41FA5}">
                      <a16:colId xmlns:a16="http://schemas.microsoft.com/office/drawing/2014/main" val="3532417584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43542508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337652550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1302040880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281387738"/>
                    </a:ext>
                  </a:extLst>
                </a:gridCol>
              </a:tblGrid>
              <a:tr h="1452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re-procedur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ost-procedur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 month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∆ post-procedure 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– 6 months</a:t>
                      </a:r>
                    </a:p>
                  </a:txBody>
                  <a:tcPr marL="51606" marR="5160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-value 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post-procedure </a:t>
                      </a:r>
                      <a:br>
                        <a:rPr lang="en-US" sz="1100" dirty="0">
                          <a:effectLst/>
                        </a:rPr>
                      </a:br>
                      <a:r>
                        <a:rPr lang="en-US" sz="1100" dirty="0">
                          <a:effectLst/>
                        </a:rPr>
                        <a:t>vs 6 month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/>
                </a:tc>
                <a:extLst>
                  <a:ext uri="{0D108BD9-81ED-4DB2-BD59-A6C34878D82A}">
                    <a16:rowId xmlns:a16="http://schemas.microsoft.com/office/drawing/2014/main" val="3739492028"/>
                  </a:ext>
                </a:extLst>
              </a:tr>
              <a:tr h="1111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Virtual histolog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N=1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N=1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=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=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extLst>
                  <a:ext uri="{0D108BD9-81ED-4DB2-BD59-A6C34878D82A}">
                    <a16:rowId xmlns:a16="http://schemas.microsoft.com/office/drawing/2014/main" val="2113466285"/>
                  </a:ext>
                </a:extLst>
              </a:tr>
              <a:tr h="3190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Dense calcium (%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7.22 (7.58)</a:t>
                      </a: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8.17 (13.88)</a:t>
                      </a: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3.28 (7.83)</a:t>
                      </a: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-4.89 (14.16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0.15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51606" marR="51606" marT="0" marB="0" anchor="ctr"/>
                </a:tc>
                <a:extLst>
                  <a:ext uri="{0D108BD9-81ED-4DB2-BD59-A6C34878D82A}">
                    <a16:rowId xmlns:a16="http://schemas.microsoft.com/office/drawing/2014/main" val="2788122908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D4CDFED-8ACB-4374-BD59-F253C89FBC0F}"/>
              </a:ext>
            </a:extLst>
          </p:cNvPr>
          <p:cNvSpPr/>
          <p:nvPr/>
        </p:nvSpPr>
        <p:spPr>
          <a:xfrm>
            <a:off x="0" y="4743038"/>
            <a:ext cx="10166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ata are mean (SD)</a:t>
            </a:r>
          </a:p>
          <a:p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BE8C9A-D9DD-456D-9B8B-25961219A862}"/>
              </a:ext>
            </a:extLst>
          </p:cNvPr>
          <p:cNvSpPr/>
          <p:nvPr/>
        </p:nvSpPr>
        <p:spPr>
          <a:xfrm>
            <a:off x="7516785" y="1814556"/>
            <a:ext cx="150682" cy="122665"/>
          </a:xfrm>
          <a:prstGeom prst="rect">
            <a:avLst/>
          </a:prstGeom>
          <a:solidFill>
            <a:srgbClr val="92D050">
              <a:alpha val="23000"/>
            </a:srgbClr>
          </a:solidFill>
          <a:ln w="3175" cap="flat" cmpd="sng" algn="ctr">
            <a:solidFill>
              <a:srgbClr val="92D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200" kern="0">
              <a:solidFill>
                <a:prstClr val="white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FB9581-8698-4C1A-A0AB-037AA553415A}"/>
              </a:ext>
            </a:extLst>
          </p:cNvPr>
          <p:cNvSpPr txBox="1"/>
          <p:nvPr/>
        </p:nvSpPr>
        <p:spPr>
          <a:xfrm>
            <a:off x="6313394" y="1545834"/>
            <a:ext cx="2304256" cy="25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50"/>
                </a:solidFill>
              </a:rPr>
              <a:t>Fibrou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E838E1-CBF7-433B-B1ED-E6E86F39206B}"/>
              </a:ext>
            </a:extLst>
          </p:cNvPr>
          <p:cNvSpPr txBox="1"/>
          <p:nvPr/>
        </p:nvSpPr>
        <p:spPr>
          <a:xfrm>
            <a:off x="6324600" y="1939125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b="1" kern="0" dirty="0">
                <a:solidFill>
                  <a:srgbClr val="FF0000"/>
                </a:solidFill>
              </a:rPr>
              <a:t>Necrotic co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D9C301-D12E-46DD-A640-4EFD7D999325}"/>
              </a:ext>
            </a:extLst>
          </p:cNvPr>
          <p:cNvSpPr txBox="1"/>
          <p:nvPr/>
        </p:nvSpPr>
        <p:spPr>
          <a:xfrm>
            <a:off x="6324600" y="2116501"/>
            <a:ext cx="180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b="1" kern="0" dirty="0">
                <a:solidFill>
                  <a:prstClr val="black"/>
                </a:solidFill>
              </a:rPr>
              <a:t>Calciu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912F96-7E3C-4D8F-8BBF-764C1D8A6596}"/>
              </a:ext>
            </a:extLst>
          </p:cNvPr>
          <p:cNvSpPr/>
          <p:nvPr/>
        </p:nvSpPr>
        <p:spPr>
          <a:xfrm>
            <a:off x="7519708" y="2002494"/>
            <a:ext cx="143277" cy="132074"/>
          </a:xfrm>
          <a:prstGeom prst="rect">
            <a:avLst/>
          </a:prstGeom>
          <a:solidFill>
            <a:srgbClr val="FF0000">
              <a:alpha val="29000"/>
            </a:srgbClr>
          </a:solidFill>
          <a:ln w="3175" cap="flat" cmpd="sng" algn="ctr">
            <a:solidFill>
              <a:srgbClr val="FF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200" kern="0">
              <a:solidFill>
                <a:srgbClr val="FFFF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0E861B-2CF2-4F43-8410-8BFF521B4294}"/>
              </a:ext>
            </a:extLst>
          </p:cNvPr>
          <p:cNvSpPr/>
          <p:nvPr/>
        </p:nvSpPr>
        <p:spPr>
          <a:xfrm>
            <a:off x="7519708" y="2185330"/>
            <a:ext cx="143277" cy="129092"/>
          </a:xfrm>
          <a:prstGeom prst="rect">
            <a:avLst/>
          </a:prstGeom>
          <a:solidFill>
            <a:schemeClr val="bg1">
              <a:alpha val="29000"/>
            </a:schemeClr>
          </a:solidFill>
          <a:ln w="317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200" kern="0">
              <a:solidFill>
                <a:srgbClr val="FFFF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0DB0A-4F24-4063-BEEC-ED47A9BE8B43}"/>
              </a:ext>
            </a:extLst>
          </p:cNvPr>
          <p:cNvSpPr/>
          <p:nvPr/>
        </p:nvSpPr>
        <p:spPr>
          <a:xfrm>
            <a:off x="7510714" y="1605110"/>
            <a:ext cx="150682" cy="122665"/>
          </a:xfrm>
          <a:prstGeom prst="rect">
            <a:avLst/>
          </a:prstGeom>
          <a:solidFill>
            <a:srgbClr val="00B050">
              <a:alpha val="23000"/>
            </a:srgbClr>
          </a:solidFill>
          <a:ln w="3175" cap="flat" cmpd="sng" algn="ctr">
            <a:solidFill>
              <a:srgbClr val="00B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en-US" sz="1200" kern="0">
              <a:solidFill>
                <a:srgbClr val="FF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A8D4DE4-484A-4BA7-B212-51B41C70957D}"/>
              </a:ext>
            </a:extLst>
          </p:cNvPr>
          <p:cNvSpPr txBox="1"/>
          <p:nvPr/>
        </p:nvSpPr>
        <p:spPr>
          <a:xfrm>
            <a:off x="6313394" y="1753795"/>
            <a:ext cx="2304256" cy="2518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92D050"/>
                </a:solidFill>
              </a:rPr>
              <a:t>Fibrous Fatty</a:t>
            </a:r>
          </a:p>
        </p:txBody>
      </p:sp>
      <p:pic>
        <p:nvPicPr>
          <p:cNvPr id="18" name="Picture 35">
            <a:extLst>
              <a:ext uri="{FF2B5EF4-FFF2-40B4-BE49-F238E27FC236}">
                <a16:creationId xmlns:a16="http://schemas.microsoft.com/office/drawing/2014/main" id="{E2A209F4-AE0F-4C85-8C89-B497FA55C9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200400" y="1348532"/>
            <a:ext cx="1440000" cy="1440000"/>
          </a:xfrm>
          <a:prstGeom prst="rect">
            <a:avLst/>
          </a:prstGeom>
        </p:spPr>
      </p:pic>
      <p:pic>
        <p:nvPicPr>
          <p:cNvPr id="19" name="Picture 37">
            <a:extLst>
              <a:ext uri="{FF2B5EF4-FFF2-40B4-BE49-F238E27FC236}">
                <a16:creationId xmlns:a16="http://schemas.microsoft.com/office/drawing/2014/main" id="{EF615942-76C9-47E6-B685-AAE7ACC2432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400" y="1348531"/>
            <a:ext cx="1512000" cy="1411864"/>
          </a:xfrm>
          <a:prstGeom prst="rect">
            <a:avLst/>
          </a:prstGeom>
        </p:spPr>
      </p:pic>
      <p:pic>
        <p:nvPicPr>
          <p:cNvPr id="20" name="Picture 40">
            <a:extLst>
              <a:ext uri="{FF2B5EF4-FFF2-40B4-BE49-F238E27FC236}">
                <a16:creationId xmlns:a16="http://schemas.microsoft.com/office/drawing/2014/main" id="{4E8A2214-ADF6-46BA-B9D2-8859EA3E312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699081" y="1348531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79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1" grpId="0"/>
      <p:bldP spid="12" grpId="0"/>
      <p:bldP spid="13" grpId="0" animBg="1"/>
      <p:bldP spid="14" grpId="0" animBg="1"/>
      <p:bldP spid="15" grpId="0" animBg="1"/>
      <p:bldP spid="1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19CAFD-D96D-4577-B648-43674DC19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9352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F47A5B-6F60-49AE-BC28-5E3AE6045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209550"/>
            <a:ext cx="8229600" cy="857250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Serial OCT Data Analysis </a:t>
            </a:r>
            <a:br>
              <a:rPr lang="en-US" sz="3200" dirty="0"/>
            </a:br>
            <a:r>
              <a:rPr lang="en-US" sz="2200" b="1" i="1" dirty="0"/>
              <a:t>at 6-month F/U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081CA6F5-3948-4E1D-A394-68521E3471C1}"/>
              </a:ext>
            </a:extLst>
          </p:cNvPr>
          <p:cNvGrpSpPr/>
          <p:nvPr/>
        </p:nvGrpSpPr>
        <p:grpSpPr>
          <a:xfrm>
            <a:off x="1143000" y="2492571"/>
            <a:ext cx="6782039" cy="338556"/>
            <a:chOff x="1056670" y="2266950"/>
            <a:chExt cx="6782039" cy="338556"/>
          </a:xfrm>
        </p:grpSpPr>
        <p:sp>
          <p:nvSpPr>
            <p:cNvPr id="11" name="TextBox 2">
              <a:extLst>
                <a:ext uri="{FF2B5EF4-FFF2-40B4-BE49-F238E27FC236}">
                  <a16:creationId xmlns:a16="http://schemas.microsoft.com/office/drawing/2014/main" id="{A23E13DC-0FED-46E6-A054-D6D5B8D74ABB}"/>
                </a:ext>
              </a:extLst>
            </p:cNvPr>
            <p:cNvSpPr txBox="1"/>
            <p:nvPr/>
          </p:nvSpPr>
          <p:spPr>
            <a:xfrm>
              <a:off x="1056670" y="2266952"/>
              <a:ext cx="14070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/>
                <a:t>Pre-procedure</a:t>
              </a:r>
            </a:p>
          </p:txBody>
        </p:sp>
        <p:sp>
          <p:nvSpPr>
            <p:cNvPr id="12" name="TextBox 21">
              <a:extLst>
                <a:ext uri="{FF2B5EF4-FFF2-40B4-BE49-F238E27FC236}">
                  <a16:creationId xmlns:a16="http://schemas.microsoft.com/office/drawing/2014/main" id="{2214505D-CD96-4AB8-B74C-42B19D630797}"/>
                </a:ext>
              </a:extLst>
            </p:cNvPr>
            <p:cNvSpPr txBox="1"/>
            <p:nvPr/>
          </p:nvSpPr>
          <p:spPr>
            <a:xfrm>
              <a:off x="4005214" y="2266951"/>
              <a:ext cx="14902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/>
                <a:t>Post-procedure</a:t>
              </a:r>
            </a:p>
          </p:txBody>
        </p:sp>
        <p:sp>
          <p:nvSpPr>
            <p:cNvPr id="13" name="TextBox 22">
              <a:extLst>
                <a:ext uri="{FF2B5EF4-FFF2-40B4-BE49-F238E27FC236}">
                  <a16:creationId xmlns:a16="http://schemas.microsoft.com/office/drawing/2014/main" id="{35614094-F6FC-4546-B0C1-7381A8947771}"/>
                </a:ext>
              </a:extLst>
            </p:cNvPr>
            <p:cNvSpPr txBox="1"/>
            <p:nvPr/>
          </p:nvSpPr>
          <p:spPr>
            <a:xfrm>
              <a:off x="7024768" y="2266950"/>
              <a:ext cx="81394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/>
                <a:t>6m F/U</a:t>
              </a:r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587136DF-67DD-417A-A6D6-2078818AFD53}"/>
              </a:ext>
            </a:extLst>
          </p:cNvPr>
          <p:cNvSpPr txBox="1"/>
          <p:nvPr/>
        </p:nvSpPr>
        <p:spPr>
          <a:xfrm>
            <a:off x="3027844" y="2802306"/>
            <a:ext cx="288868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CH" sz="1600" dirty="0" err="1"/>
              <a:t>Malapposed</a:t>
            </a:r>
            <a:r>
              <a:rPr lang="de-CH" sz="1600" dirty="0"/>
              <a:t>* </a:t>
            </a:r>
            <a:r>
              <a:rPr lang="de-CH" sz="1600" dirty="0" err="1"/>
              <a:t>struts</a:t>
            </a:r>
            <a:r>
              <a:rPr lang="de-CH" sz="1600" dirty="0"/>
              <a:t> %: 4.40 ± 4.54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CH" sz="1600" dirty="0"/>
              <a:t>Total </a:t>
            </a:r>
            <a:r>
              <a:rPr lang="de-CH" sz="1600" dirty="0" err="1"/>
              <a:t>incomplete</a:t>
            </a:r>
            <a:r>
              <a:rPr lang="de-CH" sz="1600" dirty="0"/>
              <a:t> </a:t>
            </a:r>
            <a:r>
              <a:rPr lang="de-CH" sz="1600" dirty="0" err="1"/>
              <a:t>strut</a:t>
            </a:r>
            <a:r>
              <a:rPr lang="de-CH" sz="1600" dirty="0"/>
              <a:t> </a:t>
            </a:r>
            <a:r>
              <a:rPr lang="de-CH" sz="1600" dirty="0" err="1"/>
              <a:t>apposition</a:t>
            </a:r>
            <a:r>
              <a:rPr lang="de-CH" sz="1600" dirty="0"/>
              <a:t> </a:t>
            </a:r>
            <a:r>
              <a:rPr lang="de-CH" sz="1600" dirty="0" err="1"/>
              <a:t>area</a:t>
            </a:r>
            <a:r>
              <a:rPr lang="de-CH" sz="1600" dirty="0"/>
              <a:t> mm</a:t>
            </a:r>
            <a:r>
              <a:rPr lang="de-CH" sz="1600" baseline="30000" dirty="0"/>
              <a:t>2</a:t>
            </a:r>
            <a:r>
              <a:rPr lang="de-CH" sz="1600" dirty="0"/>
              <a:t>: 0.08 ± 0.11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860658A-4925-4124-9868-6C98B51BF15E}"/>
              </a:ext>
            </a:extLst>
          </p:cNvPr>
          <p:cNvGrpSpPr/>
          <p:nvPr/>
        </p:nvGrpSpPr>
        <p:grpSpPr>
          <a:xfrm>
            <a:off x="1011388" y="1053904"/>
            <a:ext cx="7121223" cy="1572735"/>
            <a:chOff x="1080912" y="919596"/>
            <a:chExt cx="7121223" cy="1572735"/>
          </a:xfrm>
        </p:grpSpPr>
        <p:pic>
          <p:nvPicPr>
            <p:cNvPr id="9" name="Picture 9" descr="A picture containing sitting, dark, lamp, light&#10;&#10;Description automatically generated">
              <a:extLst>
                <a:ext uri="{FF2B5EF4-FFF2-40B4-BE49-F238E27FC236}">
                  <a16:creationId xmlns:a16="http://schemas.microsoft.com/office/drawing/2014/main" id="{63A45269-36A0-460D-8F2B-4ACF33E5E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9400" y="919596"/>
              <a:ext cx="1572735" cy="1572735"/>
            </a:xfrm>
            <a:prstGeom prst="ellipse">
              <a:avLst/>
            </a:prstGeom>
            <a:noFill/>
            <a:ln>
              <a:noFill/>
            </a:ln>
            <a:effectLst>
              <a:softEdge rad="112500"/>
            </a:effectLst>
          </p:spPr>
        </p:pic>
        <p:pic>
          <p:nvPicPr>
            <p:cNvPr id="16" name="Picture 19" descr="A picture containing object, sitting, dark, lamp&#10;&#10;Description automatically generated">
              <a:extLst>
                <a:ext uri="{FF2B5EF4-FFF2-40B4-BE49-F238E27FC236}">
                  <a16:creationId xmlns:a16="http://schemas.microsoft.com/office/drawing/2014/main" id="{9BE21323-0861-472A-BAB8-28ECD0976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0912" y="919596"/>
              <a:ext cx="1572734" cy="1572734"/>
            </a:xfrm>
            <a:prstGeom prst="ellipse">
              <a:avLst/>
            </a:prstGeom>
            <a:noFill/>
            <a:ln>
              <a:noFill/>
            </a:ln>
            <a:effectLst>
              <a:softEdge rad="112500"/>
            </a:effectLst>
          </p:spPr>
        </p:pic>
        <p:pic>
          <p:nvPicPr>
            <p:cNvPr id="17" name="Picture 16" descr="A picture containing sitting, dark, orange, lamp&#10;&#10;Description automatically generated">
              <a:extLst>
                <a:ext uri="{FF2B5EF4-FFF2-40B4-BE49-F238E27FC236}">
                  <a16:creationId xmlns:a16="http://schemas.microsoft.com/office/drawing/2014/main" id="{D49A39D8-DC71-4729-A448-2CCD6F1DA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66" y="919596"/>
              <a:ext cx="1572734" cy="1572734"/>
            </a:xfrm>
            <a:prstGeom prst="ellipse">
              <a:avLst/>
            </a:prstGeom>
            <a:noFill/>
            <a:ln>
              <a:noFill/>
            </a:ln>
            <a:effectLst>
              <a:softEdge rad="112500"/>
            </a:effectLst>
          </p:spPr>
        </p:pic>
      </p:grpSp>
      <p:sp>
        <p:nvSpPr>
          <p:cNvPr id="19" name="Textfeld 18">
            <a:extLst>
              <a:ext uri="{FF2B5EF4-FFF2-40B4-BE49-F238E27FC236}">
                <a16:creationId xmlns:a16="http://schemas.microsoft.com/office/drawing/2014/main" id="{7619D62C-F086-4FD6-82CE-AB8180A97AC9}"/>
              </a:ext>
            </a:extLst>
          </p:cNvPr>
          <p:cNvSpPr txBox="1"/>
          <p:nvPr/>
        </p:nvSpPr>
        <p:spPr>
          <a:xfrm>
            <a:off x="0" y="4681835"/>
            <a:ext cx="45159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</a:rPr>
              <a:t>Data are mean </a:t>
            </a:r>
            <a:r>
              <a:rPr lang="de-CH" sz="800" dirty="0">
                <a:solidFill>
                  <a:schemeClr val="bg1"/>
                </a:solidFill>
              </a:rPr>
              <a:t>±</a:t>
            </a:r>
            <a:r>
              <a:rPr lang="en-US" sz="800" dirty="0">
                <a:solidFill>
                  <a:schemeClr val="bg1"/>
                </a:solidFill>
              </a:rPr>
              <a:t>SD</a:t>
            </a:r>
          </a:p>
          <a:p>
            <a:r>
              <a:rPr lang="de-CH" sz="800" dirty="0">
                <a:solidFill>
                  <a:schemeClr val="bg1"/>
                </a:solidFill>
              </a:rPr>
              <a:t>* Definition </a:t>
            </a:r>
            <a:r>
              <a:rPr lang="de-CH" sz="800" dirty="0" err="1">
                <a:solidFill>
                  <a:schemeClr val="bg1"/>
                </a:solidFill>
              </a:rPr>
              <a:t>of</a:t>
            </a:r>
            <a:r>
              <a:rPr lang="de-CH" sz="800" dirty="0">
                <a:solidFill>
                  <a:schemeClr val="bg1"/>
                </a:solidFill>
              </a:rPr>
              <a:t> </a:t>
            </a:r>
            <a:r>
              <a:rPr lang="de-CH" sz="800" dirty="0" err="1">
                <a:solidFill>
                  <a:schemeClr val="bg1"/>
                </a:solidFill>
              </a:rPr>
              <a:t>malapposition</a:t>
            </a:r>
            <a:r>
              <a:rPr lang="de-CH" sz="800" dirty="0">
                <a:solidFill>
                  <a:schemeClr val="bg1"/>
                </a:solidFill>
              </a:rPr>
              <a:t>: </a:t>
            </a:r>
            <a:r>
              <a:rPr lang="en-US" sz="8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f the distance between outer contour of the strut and vessel wall is more</a:t>
            </a:r>
            <a:br>
              <a:rPr lang="en-US" sz="8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8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than the individual strut thickness</a:t>
            </a:r>
            <a:r>
              <a:rPr lang="de-CH" sz="8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3BDDBF7-AA76-47EA-A040-73DEA5F1D2CA}"/>
              </a:ext>
            </a:extLst>
          </p:cNvPr>
          <p:cNvSpPr txBox="1"/>
          <p:nvPr/>
        </p:nvSpPr>
        <p:spPr>
          <a:xfrm>
            <a:off x="6342251" y="2802238"/>
            <a:ext cx="25831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sz="1600" dirty="0" err="1"/>
              <a:t>Struts</a:t>
            </a:r>
            <a:r>
              <a:rPr lang="de-CH" sz="1600" dirty="0"/>
              <a:t> </a:t>
            </a:r>
            <a:r>
              <a:rPr lang="de-CH" sz="1600" dirty="0" err="1"/>
              <a:t>hardly</a:t>
            </a:r>
            <a:r>
              <a:rPr lang="de-CH" sz="1600" dirty="0"/>
              <a:t> </a:t>
            </a:r>
            <a:r>
              <a:rPr lang="de-CH" sz="1600" dirty="0" err="1"/>
              <a:t>discernable</a:t>
            </a:r>
            <a:r>
              <a:rPr lang="de-CH" sz="1600" dirty="0"/>
              <a:t> </a:t>
            </a:r>
          </a:p>
          <a:p>
            <a:endParaRPr lang="de-CH" sz="1600" dirty="0"/>
          </a:p>
        </p:txBody>
      </p:sp>
    </p:spTree>
    <p:extLst>
      <p:ext uri="{BB962C8B-B14F-4D97-AF65-F5344CB8AC3E}">
        <p14:creationId xmlns:p14="http://schemas.microsoft.com/office/powerpoint/2010/main" val="30811893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DB712D9-D9B7-433E-B9B2-5B865B7767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922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A5FB0B5-5883-4929-87C6-268902F19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8140" y="225584"/>
            <a:ext cx="8686800" cy="857250"/>
          </a:xfrm>
        </p:spPr>
        <p:txBody>
          <a:bodyPr vert="horz">
            <a:noAutofit/>
          </a:bodyPr>
          <a:lstStyle/>
          <a:p>
            <a:r>
              <a:rPr lang="de-CH" sz="4000" dirty="0"/>
              <a:t>Clinical </a:t>
            </a:r>
            <a:r>
              <a:rPr lang="de-CH" sz="4000" dirty="0" err="1"/>
              <a:t>Results</a:t>
            </a:r>
            <a:r>
              <a:rPr lang="de-CH" sz="4000" dirty="0"/>
              <a:t> at 6-month F/U</a:t>
            </a:r>
            <a:endParaRPr lang="en-US" sz="4000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714C73D-CF23-4B91-9D4A-A3D38FE1E94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54336591"/>
              </p:ext>
            </p:extLst>
          </p:nvPr>
        </p:nvGraphicFramePr>
        <p:xfrm>
          <a:off x="447829" y="1200150"/>
          <a:ext cx="8229600" cy="234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3747531983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905585301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37206339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82672944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CH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=115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CH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CH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% CI</a:t>
                      </a:r>
                    </a:p>
                  </a:txBody>
                  <a:tcPr marL="51433" marR="51433" marT="0" marB="0" anchor="ctr"/>
                </a:tc>
                <a:extLst>
                  <a:ext uri="{0D108BD9-81ED-4DB2-BD59-A6C34878D82A}">
                    <a16:rowId xmlns:a16="http://schemas.microsoft.com/office/drawing/2014/main" val="941720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Target Lesion Failure</a:t>
                      </a:r>
                      <a:r>
                        <a:rPr lang="en-US" sz="1600" b="1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*</a:t>
                      </a:r>
                      <a:endParaRPr lang="de-CH" sz="16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Verdana"/>
                      </a:endParaRP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1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9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1 - 6.2</a:t>
                      </a:r>
                    </a:p>
                  </a:txBody>
                  <a:tcPr marL="51433" marR="51433" marT="0" marB="0" anchor="ctr"/>
                </a:tc>
                <a:extLst>
                  <a:ext uri="{0D108BD9-81ED-4DB2-BD59-A6C34878D82A}">
                    <a16:rowId xmlns:a16="http://schemas.microsoft.com/office/drawing/2014/main" val="1641277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180340"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Cardiac Death</a:t>
                      </a:r>
                      <a:endParaRPr lang="de-CH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Verdana"/>
                      </a:endParaRP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</a:t>
                      </a:r>
                      <a:endParaRPr lang="de-CH" sz="16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Verdana"/>
                      </a:endParaRP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0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0 - 0.0</a:t>
                      </a:r>
                    </a:p>
                  </a:txBody>
                  <a:tcPr marL="51433" marR="51433" marT="0" marB="0" anchor="ctr"/>
                </a:tc>
                <a:extLst>
                  <a:ext uri="{0D108BD9-81ED-4DB2-BD59-A6C34878D82A}">
                    <a16:rowId xmlns:a16="http://schemas.microsoft.com/office/drawing/2014/main" val="384250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1803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Target Vessel MI**</a:t>
                      </a:r>
                      <a:endParaRPr lang="de-CH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Verdana"/>
                      </a:endParaRP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0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0 - 0.0</a:t>
                      </a:r>
                    </a:p>
                  </a:txBody>
                  <a:tcPr marL="51433" marR="51433" marT="0" marB="0" anchor="ctr"/>
                </a:tc>
                <a:extLst>
                  <a:ext uri="{0D108BD9-81ED-4DB2-BD59-A6C34878D82A}">
                    <a16:rowId xmlns:a16="http://schemas.microsoft.com/office/drawing/2014/main" val="4196825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18034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Clinically driven TLR</a:t>
                      </a:r>
                      <a:endParaRPr lang="de-CH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Verdana"/>
                      </a:endParaRP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1</a:t>
                      </a:r>
                      <a:r>
                        <a:rPr lang="de-CH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ƚ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9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1 - 6.2</a:t>
                      </a:r>
                    </a:p>
                  </a:txBody>
                  <a:tcPr marL="51433" marR="51433" marT="0" marB="0" anchor="ctr"/>
                </a:tc>
                <a:extLst>
                  <a:ext uri="{0D108BD9-81ED-4DB2-BD59-A6C34878D82A}">
                    <a16:rowId xmlns:a16="http://schemas.microsoft.com/office/drawing/2014/main" val="34531338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Scaffold Thrombosis </a:t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</a:b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definite or probable</a:t>
                      </a:r>
                      <a:endParaRPr lang="de-CH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Verdana"/>
                      </a:endParaRP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0</a:t>
                      </a:r>
                    </a:p>
                  </a:txBody>
                  <a:tcPr marL="51433" marR="51433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Verdana"/>
                        </a:rPr>
                        <a:t>0.0 - 0.0</a:t>
                      </a:r>
                    </a:p>
                  </a:txBody>
                  <a:tcPr marL="51433" marR="51433" marT="0" marB="0" anchor="ctr"/>
                </a:tc>
                <a:extLst>
                  <a:ext uri="{0D108BD9-81ED-4DB2-BD59-A6C34878D82A}">
                    <a16:rowId xmlns:a16="http://schemas.microsoft.com/office/drawing/2014/main" val="221418794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E4D94A6-9B37-4CD8-95DA-9D6CA273FF2A}"/>
              </a:ext>
            </a:extLst>
          </p:cNvPr>
          <p:cNvSpPr/>
          <p:nvPr/>
        </p:nvSpPr>
        <p:spPr>
          <a:xfrm>
            <a:off x="381000" y="3551555"/>
            <a:ext cx="776401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1100" baseline="30000" dirty="0">
                <a:ea typeface="Times New Roman"/>
                <a:cs typeface="Verdana"/>
              </a:rPr>
              <a:t>ƚ : </a:t>
            </a:r>
            <a:r>
              <a:rPr lang="en-US" sz="1100" dirty="0"/>
              <a:t>The patient was asymptomatic, but at follow-up angiography, a 63% diameter stenosis (by core laboratory assessment) with an IFR of 0.51 was detected that was successfully treated with an </a:t>
            </a:r>
            <a:r>
              <a:rPr lang="en-US" sz="1100" dirty="0" err="1"/>
              <a:t>Orsiro</a:t>
            </a:r>
            <a:r>
              <a:rPr lang="en-US" sz="1100" dirty="0"/>
              <a:t> DES on post procedure day 166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8D0265-21AE-4582-B261-BFB358E1B20C}"/>
              </a:ext>
            </a:extLst>
          </p:cNvPr>
          <p:cNvSpPr txBox="1"/>
          <p:nvPr/>
        </p:nvSpPr>
        <p:spPr>
          <a:xfrm>
            <a:off x="-23813" y="4705350"/>
            <a:ext cx="50353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</a:rPr>
              <a:t>* composite of cardiac death, </a:t>
            </a:r>
            <a:r>
              <a:rPr lang="en-AU" sz="800" b="0" i="0" dirty="0">
                <a:solidFill>
                  <a:schemeClr val="bg1"/>
                </a:solidFill>
              </a:rPr>
              <a:t>target vessel myocardial infarction, and clinically driven target lesion revascularization</a:t>
            </a:r>
          </a:p>
          <a:p>
            <a:r>
              <a:rPr lang="en-AU" sz="800" b="0" i="0" dirty="0">
                <a:solidFill>
                  <a:schemeClr val="bg1"/>
                </a:solidFill>
              </a:rPr>
              <a:t>** peri-procedural target vessel MI according to SCAI definition and non-peri-procedural target vessel MI </a:t>
            </a:r>
            <a:br>
              <a:rPr lang="en-AU" sz="800" b="0" i="0" dirty="0">
                <a:solidFill>
                  <a:schemeClr val="bg1"/>
                </a:solidFill>
              </a:rPr>
            </a:br>
            <a:r>
              <a:rPr lang="en-AU" sz="800" b="0" i="0" dirty="0">
                <a:solidFill>
                  <a:schemeClr val="bg1"/>
                </a:solidFill>
              </a:rPr>
              <a:t>according to </a:t>
            </a:r>
            <a:r>
              <a:rPr lang="en-AU" sz="800" dirty="0">
                <a:solidFill>
                  <a:schemeClr val="bg1"/>
                </a:solidFill>
              </a:rPr>
              <a:t>e</a:t>
            </a:r>
            <a:r>
              <a:rPr lang="en-AU" sz="800" b="0" i="0" dirty="0">
                <a:solidFill>
                  <a:schemeClr val="bg1"/>
                </a:solidFill>
              </a:rPr>
              <a:t>xtended historical definition</a:t>
            </a:r>
            <a:endParaRPr lang="en-US" sz="800" b="0" i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8270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E60A0E4-7B43-4D99-8CED-4B5A995DAB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85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58540" y="326785"/>
            <a:ext cx="5826919" cy="566738"/>
          </a:xfrm>
        </p:spPr>
        <p:txBody>
          <a:bodyPr vert="horz">
            <a:noAutofit/>
          </a:bodyPr>
          <a:lstStyle/>
          <a:p>
            <a:r>
              <a:rPr lang="de-CH" sz="4000" dirty="0" err="1">
                <a:cs typeface="Calibri" panose="020F0502020204030204" pitchFamily="34" charset="0"/>
              </a:rPr>
              <a:t>Conclusion</a:t>
            </a:r>
            <a:r>
              <a:rPr lang="de-CH" sz="4000" dirty="0">
                <a:cs typeface="Calibri" panose="020F0502020204030204" pitchFamily="34" charset="0"/>
              </a:rPr>
              <a:t> (1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985851"/>
            <a:ext cx="7845692" cy="3578031"/>
          </a:xfrm>
        </p:spPr>
        <p:txBody>
          <a:bodyPr>
            <a:normAutofit/>
          </a:bodyPr>
          <a:lstStyle/>
          <a:p>
            <a:pPr>
              <a:spcBef>
                <a:spcPts val="900"/>
              </a:spcBef>
              <a:buClrTx/>
              <a:buFont typeface="Wingdings" panose="05000000000000000000" pitchFamily="2" charset="2"/>
              <a:buChar char="§"/>
            </a:pPr>
            <a:r>
              <a:rPr lang="de-CH" sz="2000" dirty="0"/>
              <a:t>DREAMS 3G </a:t>
            </a:r>
            <a:r>
              <a:rPr lang="de-CH" sz="2000" dirty="0" err="1"/>
              <a:t>demonstrates</a:t>
            </a:r>
            <a:r>
              <a:rPr lang="de-CH" sz="2000" dirty="0"/>
              <a:t> </a:t>
            </a:r>
            <a:r>
              <a:rPr lang="de-CH" sz="2000" dirty="0" err="1"/>
              <a:t>significantly</a:t>
            </a:r>
            <a:r>
              <a:rPr lang="de-CH" sz="2000" dirty="0"/>
              <a:t> </a:t>
            </a:r>
            <a:r>
              <a:rPr lang="de-CH" sz="2000" dirty="0" err="1"/>
              <a:t>lower</a:t>
            </a:r>
            <a:r>
              <a:rPr lang="de-CH" sz="2000" dirty="0"/>
              <a:t> in-</a:t>
            </a:r>
            <a:r>
              <a:rPr lang="de-CH" sz="2000" dirty="0" err="1"/>
              <a:t>scaffold</a:t>
            </a:r>
            <a:r>
              <a:rPr lang="de-CH" sz="2000" dirty="0"/>
              <a:t> LLL (</a:t>
            </a:r>
            <a:r>
              <a:rPr lang="de-CH" sz="2000" dirty="0" err="1"/>
              <a:t>mean</a:t>
            </a:r>
            <a:r>
              <a:rPr lang="de-CH" sz="2000" dirty="0"/>
              <a:t> 0.21 mm, median 0.13 mm) </a:t>
            </a:r>
            <a:r>
              <a:rPr lang="de-CH" sz="2000" dirty="0" err="1"/>
              <a:t>compared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</a:t>
            </a:r>
            <a:r>
              <a:rPr lang="de-CH" sz="2000" dirty="0" err="1"/>
              <a:t>its</a:t>
            </a:r>
            <a:r>
              <a:rPr lang="de-CH" sz="2000" dirty="0"/>
              <a:t> </a:t>
            </a:r>
            <a:r>
              <a:rPr lang="de-CH" sz="2000" dirty="0" err="1"/>
              <a:t>precursor</a:t>
            </a:r>
            <a:r>
              <a:rPr lang="de-CH" sz="2000" dirty="0"/>
              <a:t> </a:t>
            </a:r>
            <a:r>
              <a:rPr lang="de-CH" sz="2000" dirty="0" err="1"/>
              <a:t>device</a:t>
            </a:r>
            <a:r>
              <a:rPr lang="de-CH" sz="2000" dirty="0"/>
              <a:t> DREAMS 2G at 6-month follow-up</a:t>
            </a:r>
            <a:r>
              <a:rPr lang="de-CH" sz="2000" baseline="30000" dirty="0"/>
              <a:t>1</a:t>
            </a:r>
            <a:r>
              <a:rPr lang="de-CH" sz="2000" dirty="0"/>
              <a:t> </a:t>
            </a:r>
            <a:r>
              <a:rPr lang="de-CH" sz="2000" dirty="0" err="1"/>
              <a:t>which</a:t>
            </a:r>
            <a:r>
              <a:rPr lang="de-CH" sz="2000" dirty="0"/>
              <a:t>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now</a:t>
            </a:r>
            <a:r>
              <a:rPr lang="de-CH" sz="2000" dirty="0"/>
              <a:t> on </a:t>
            </a:r>
            <a:r>
              <a:rPr lang="de-CH" sz="2000" dirty="0" err="1"/>
              <a:t>the</a:t>
            </a:r>
            <a:r>
              <a:rPr lang="de-CH" sz="2000" dirty="0"/>
              <a:t> </a:t>
            </a:r>
            <a:r>
              <a:rPr lang="de-CH" sz="2000" dirty="0" err="1"/>
              <a:t>level</a:t>
            </a:r>
            <a:r>
              <a:rPr lang="de-CH" sz="2000" dirty="0"/>
              <a:t> </a:t>
            </a:r>
            <a:r>
              <a:rPr lang="de-CH" sz="2000" dirty="0" err="1"/>
              <a:t>of</a:t>
            </a:r>
            <a:r>
              <a:rPr lang="de-CH" sz="2000" dirty="0"/>
              <a:t> </a:t>
            </a:r>
            <a:r>
              <a:rPr lang="de-CH" sz="2000" dirty="0" err="1"/>
              <a:t>contemporary</a:t>
            </a:r>
            <a:r>
              <a:rPr lang="de-CH" sz="2000" dirty="0"/>
              <a:t> DES</a:t>
            </a:r>
            <a:r>
              <a:rPr lang="de-CH" sz="2000" baseline="30000" dirty="0"/>
              <a:t>2</a:t>
            </a:r>
          </a:p>
          <a:p>
            <a:pPr>
              <a:lnSpc>
                <a:spcPct val="150000"/>
              </a:lnSpc>
              <a:spcBef>
                <a:spcPts val="900"/>
              </a:spcBef>
              <a:buClrTx/>
              <a:buFont typeface="Wingdings" panose="05000000000000000000" pitchFamily="2" charset="2"/>
              <a:buChar char="§"/>
            </a:pPr>
            <a:r>
              <a:rPr lang="de-CH" sz="2000" dirty="0"/>
              <a:t>Very </a:t>
            </a:r>
            <a:r>
              <a:rPr lang="de-CH" sz="2000" dirty="0" err="1"/>
              <a:t>good</a:t>
            </a:r>
            <a:r>
              <a:rPr lang="de-CH" sz="2000" dirty="0"/>
              <a:t> </a:t>
            </a:r>
            <a:r>
              <a:rPr lang="de-CH" sz="2000" dirty="0" err="1"/>
              <a:t>safety</a:t>
            </a:r>
            <a:r>
              <a:rPr lang="de-CH" sz="2000" dirty="0"/>
              <a:t> and </a:t>
            </a:r>
            <a:r>
              <a:rPr lang="de-CH" sz="2000" dirty="0" err="1"/>
              <a:t>efficacy</a:t>
            </a:r>
            <a:r>
              <a:rPr lang="de-CH" sz="2000" dirty="0"/>
              <a:t> </a:t>
            </a:r>
            <a:r>
              <a:rPr lang="de-CH" sz="2000" dirty="0" err="1"/>
              <a:t>profile</a:t>
            </a:r>
            <a:r>
              <a:rPr lang="de-CH" sz="2000" dirty="0"/>
              <a:t> </a:t>
            </a:r>
            <a:r>
              <a:rPr lang="de-CH" sz="2000" dirty="0" err="1"/>
              <a:t>up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6-month follow-</a:t>
            </a:r>
            <a:r>
              <a:rPr lang="de-CH" sz="2000" dirty="0" err="1"/>
              <a:t>up</a:t>
            </a:r>
            <a:r>
              <a:rPr lang="de-CH" sz="2000" dirty="0"/>
              <a:t>:</a:t>
            </a:r>
          </a:p>
          <a:p>
            <a:pPr lvl="1">
              <a:spcBef>
                <a:spcPts val="900"/>
              </a:spcBef>
              <a:buClrTx/>
              <a:buFont typeface="Wingdings" panose="05000000000000000000" pitchFamily="2" charset="2"/>
              <a:buChar char="§"/>
            </a:pPr>
            <a:r>
              <a:rPr lang="de-CH" sz="2000" dirty="0"/>
              <a:t>Very </a:t>
            </a:r>
            <a:r>
              <a:rPr lang="de-CH" sz="2000" dirty="0" err="1"/>
              <a:t>low</a:t>
            </a:r>
            <a:r>
              <a:rPr lang="de-CH" sz="2000" dirty="0"/>
              <a:t> TLF (0.9%) and </a:t>
            </a:r>
            <a:r>
              <a:rPr lang="de-CH" sz="2000" dirty="0" err="1"/>
              <a:t>clinically-driven</a:t>
            </a:r>
            <a:r>
              <a:rPr lang="de-CH" sz="2000" dirty="0"/>
              <a:t> TLR rate (0.9%)</a:t>
            </a:r>
          </a:p>
          <a:p>
            <a:pPr lvl="1">
              <a:spcBef>
                <a:spcPts val="900"/>
              </a:spcBef>
              <a:buClrTx/>
              <a:buFont typeface="Wingdings" panose="05000000000000000000" pitchFamily="2" charset="2"/>
              <a:buChar char="§"/>
            </a:pPr>
            <a:r>
              <a:rPr lang="de-CH" sz="2000" dirty="0" err="1"/>
              <a:t>No</a:t>
            </a:r>
            <a:r>
              <a:rPr lang="de-CH" sz="2000" dirty="0"/>
              <a:t> definite </a:t>
            </a:r>
            <a:r>
              <a:rPr lang="de-CH" sz="2000" dirty="0" err="1"/>
              <a:t>or</a:t>
            </a:r>
            <a:r>
              <a:rPr lang="de-CH" sz="2000" dirty="0"/>
              <a:t> probable </a:t>
            </a:r>
            <a:r>
              <a:rPr lang="de-CH" sz="2000" dirty="0" err="1"/>
              <a:t>scaffold</a:t>
            </a:r>
            <a:r>
              <a:rPr lang="de-CH" sz="2000" dirty="0"/>
              <a:t> </a:t>
            </a:r>
            <a:r>
              <a:rPr lang="de-CH" sz="2000" dirty="0" err="1"/>
              <a:t>thrombosis</a:t>
            </a:r>
            <a:endParaRPr lang="de-CH" sz="2000" dirty="0"/>
          </a:p>
          <a:p>
            <a:pPr lvl="1">
              <a:spcBef>
                <a:spcPts val="900"/>
              </a:spcBef>
              <a:buClrTx/>
              <a:buFont typeface="Wingdings" panose="05000000000000000000" pitchFamily="2" charset="2"/>
              <a:buChar char="§"/>
            </a:pPr>
            <a:r>
              <a:rPr lang="de-CH" sz="2000" dirty="0" err="1"/>
              <a:t>No</a:t>
            </a:r>
            <a:r>
              <a:rPr lang="de-CH" sz="2000" dirty="0"/>
              <a:t> </a:t>
            </a:r>
            <a:r>
              <a:rPr lang="de-CH" sz="2000" dirty="0" err="1"/>
              <a:t>myocardial</a:t>
            </a:r>
            <a:r>
              <a:rPr lang="de-CH" sz="2000" dirty="0"/>
              <a:t> </a:t>
            </a:r>
            <a:r>
              <a:rPr lang="de-CH" sz="2000" dirty="0" err="1"/>
              <a:t>infarction</a:t>
            </a:r>
            <a:endParaRPr lang="de-CH" sz="2000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14B3BB6-4C09-4BDB-B4C6-01D27B391F2D}"/>
              </a:ext>
            </a:extLst>
          </p:cNvPr>
          <p:cNvSpPr txBox="1"/>
          <p:nvPr/>
        </p:nvSpPr>
        <p:spPr>
          <a:xfrm>
            <a:off x="-23446" y="4681835"/>
            <a:ext cx="59897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 b="0" i="0" baseline="30000" dirty="0">
                <a:solidFill>
                  <a:schemeClr val="bg1"/>
                </a:solidFill>
                <a:latin typeface="+mn-lt"/>
              </a:rPr>
              <a:t>1</a:t>
            </a:r>
            <a:r>
              <a:rPr lang="de-CH" sz="8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Haude et al. Safety and performance of the second-generation drug-eluting absorbable metal scaffold in patients (BIOSOLVE-II): 6 month results of a prospective, 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multicentre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, non-</a:t>
            </a:r>
            <a:r>
              <a:rPr lang="en-US" sz="800" b="0" i="0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randomised</a:t>
            </a:r>
            <a:r>
              <a:rPr lang="en-US" sz="800" b="0" i="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, first-in-man trial. Lancet 2016;387: 31–39. </a:t>
            </a:r>
            <a:endParaRPr lang="de-CH" sz="800" b="0" i="0" dirty="0">
              <a:solidFill>
                <a:schemeClr val="bg1"/>
              </a:solidFill>
              <a:latin typeface="+mn-lt"/>
            </a:endParaRPr>
          </a:p>
          <a:p>
            <a:r>
              <a:rPr lang="en-US" sz="800" b="0" i="0" baseline="30000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2 </a:t>
            </a:r>
            <a:r>
              <a:rPr lang="de-CH" sz="800" b="0" i="0" dirty="0">
                <a:solidFill>
                  <a:schemeClr val="bg1"/>
                </a:solidFill>
              </a:rPr>
              <a:t>Byrne et al, ESC </a:t>
            </a:r>
            <a:r>
              <a:rPr lang="de-CH" sz="800" b="0" i="0" dirty="0" err="1">
                <a:solidFill>
                  <a:schemeClr val="bg1"/>
                </a:solidFill>
              </a:rPr>
              <a:t>report</a:t>
            </a:r>
            <a:r>
              <a:rPr lang="de-CH" sz="800" b="0" i="0" dirty="0">
                <a:solidFill>
                  <a:schemeClr val="bg1"/>
                </a:solidFill>
              </a:rPr>
              <a:t> - Task Force on </a:t>
            </a:r>
            <a:r>
              <a:rPr lang="de-CH" sz="800" b="0" i="0" dirty="0" err="1">
                <a:solidFill>
                  <a:schemeClr val="bg1"/>
                </a:solidFill>
              </a:rPr>
              <a:t>the</a:t>
            </a:r>
            <a:r>
              <a:rPr lang="de-CH" sz="800" b="0" i="0" dirty="0">
                <a:solidFill>
                  <a:schemeClr val="bg1"/>
                </a:solidFill>
              </a:rPr>
              <a:t> Evaluation </a:t>
            </a:r>
            <a:r>
              <a:rPr lang="de-CH" sz="800" b="0" i="0" dirty="0" err="1">
                <a:solidFill>
                  <a:schemeClr val="bg1"/>
                </a:solidFill>
              </a:rPr>
              <a:t>of</a:t>
            </a:r>
            <a:r>
              <a:rPr lang="de-CH" sz="800" b="0" i="0" dirty="0">
                <a:solidFill>
                  <a:schemeClr val="bg1"/>
                </a:solidFill>
              </a:rPr>
              <a:t> </a:t>
            </a:r>
            <a:r>
              <a:rPr lang="de-CH" sz="800" b="0" i="0" dirty="0" err="1">
                <a:solidFill>
                  <a:schemeClr val="bg1"/>
                </a:solidFill>
              </a:rPr>
              <a:t>Coronary</a:t>
            </a:r>
            <a:r>
              <a:rPr lang="de-CH" sz="800" b="0" i="0" dirty="0">
                <a:solidFill>
                  <a:schemeClr val="bg1"/>
                </a:solidFill>
              </a:rPr>
              <a:t> Stents in Europe, </a:t>
            </a:r>
            <a:r>
              <a:rPr lang="de-CH" sz="800" b="0" i="0" dirty="0" err="1">
                <a:solidFill>
                  <a:schemeClr val="bg1"/>
                </a:solidFill>
              </a:rPr>
              <a:t>Eur</a:t>
            </a:r>
            <a:r>
              <a:rPr lang="de-CH" sz="800" b="0" i="0" dirty="0">
                <a:solidFill>
                  <a:schemeClr val="bg1"/>
                </a:solidFill>
              </a:rPr>
              <a:t> Heart J 2015; 36: 2608-2620</a:t>
            </a:r>
            <a:endParaRPr lang="de-CH" sz="800" b="0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14641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3A0B0AA-86C6-48D4-8FB2-B11A7FDBE5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28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8484A3-FDB7-4EB7-989F-86CA35CB8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CH" sz="4000" dirty="0" err="1">
                <a:cs typeface="Calibri" panose="020F0502020204030204" pitchFamily="34" charset="0"/>
              </a:rPr>
              <a:t>Conclusion</a:t>
            </a:r>
            <a:r>
              <a:rPr lang="de-CH" sz="4000" dirty="0">
                <a:cs typeface="Calibri" panose="020F0502020204030204" pitchFamily="34" charset="0"/>
              </a:rPr>
              <a:t> (2)</a:t>
            </a:r>
            <a:endParaRPr lang="de-CH" sz="400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5E753A9-7F74-4E94-AC1E-311C51BBB3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IVUS assessment showed preservation of the scaffold area from post-procedure up to six months with a low mean neointimal area.</a:t>
            </a:r>
          </a:p>
          <a:p>
            <a:pPr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en-US" sz="2000" dirty="0"/>
              <a:t>OCT revealed that struts were well embedded in the vessel wall with a low proportion of mal-apposed struts, which were no longer discernable at six months. </a:t>
            </a:r>
          </a:p>
          <a:p>
            <a:pPr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en-GB" sz="2000" dirty="0">
                <a:solidFill>
                  <a:schemeClr val="tx1">
                    <a:lumMod val="95000"/>
                    <a:lumOff val="5000"/>
                  </a:schemeClr>
                </a:solidFill>
                <a:ea typeface="MS PGothic" pitchFamily="34" charset="-128"/>
                <a:cs typeface="Arial" pitchFamily="34" charset="0"/>
              </a:rPr>
              <a:t>In the serial Virtual Histology IVUS analysis, the white colour coding (a surrogate parameter for scaffold </a:t>
            </a:r>
            <a:r>
              <a:rPr lang="en-US" sz="2000" dirty="0">
                <a:solidFill>
                  <a:schemeClr val="tx1">
                    <a:lumMod val="95000"/>
                    <a:lumOff val="5000"/>
                  </a:schemeClr>
                </a:solidFill>
                <a:ea typeface="MS PGothic" pitchFamily="34" charset="-128"/>
                <a:cs typeface="Arial" pitchFamily="34" charset="0"/>
              </a:rPr>
              <a:t>struts)</a:t>
            </a:r>
            <a:r>
              <a:rPr lang="de-CH" sz="2000" dirty="0"/>
              <a:t> </a:t>
            </a:r>
            <a:r>
              <a:rPr lang="en-GB" sz="2000" dirty="0">
                <a:solidFill>
                  <a:schemeClr val="tx1">
                    <a:lumMod val="95000"/>
                    <a:lumOff val="5000"/>
                  </a:schemeClr>
                </a:solidFill>
                <a:ea typeface="MS PGothic" pitchFamily="34" charset="-128"/>
                <a:cs typeface="Arial" pitchFamily="34" charset="0"/>
              </a:rPr>
              <a:t>was reduced at six months compared to post-procedure, documenting device resorption.</a:t>
            </a:r>
            <a:endParaRPr lang="de-CH" sz="2000" dirty="0"/>
          </a:p>
          <a:p>
            <a:pPr marL="0" indent="0">
              <a:buNone/>
            </a:pPr>
            <a:endParaRPr lang="de-CH" sz="2000" dirty="0"/>
          </a:p>
        </p:txBody>
      </p:sp>
    </p:spTree>
    <p:extLst>
      <p:ext uri="{BB962C8B-B14F-4D97-AF65-F5344CB8AC3E}">
        <p14:creationId xmlns:p14="http://schemas.microsoft.com/office/powerpoint/2010/main" val="647458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F2257D7-B9B2-4B25-BB11-40908BB136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781050"/>
            <a:ext cx="8534400" cy="3467100"/>
          </a:xfrm>
        </p:spPr>
        <p:txBody>
          <a:bodyPr>
            <a:normAutofit fontScale="85000" lnSpcReduction="20000"/>
          </a:bodyPr>
          <a:lstStyle/>
          <a:p>
            <a:pPr>
              <a:buNone/>
            </a:pPr>
            <a:r>
              <a:rPr lang="en-US" sz="3000" b="1" dirty="0"/>
              <a:t>Michael Haude, MD, PhD</a:t>
            </a:r>
          </a:p>
          <a:p>
            <a:pPr>
              <a:buNone/>
            </a:pPr>
            <a:endParaRPr lang="en-US" sz="2000" dirty="0"/>
          </a:p>
          <a:p>
            <a:pPr>
              <a:buNone/>
            </a:pPr>
            <a:r>
              <a:rPr lang="en-US" sz="2000" dirty="0"/>
              <a:t>Grant/Research Support:</a:t>
            </a:r>
          </a:p>
          <a:p>
            <a:pPr>
              <a:buNone/>
            </a:pPr>
            <a:r>
              <a:rPr lang="en-US" sz="2000" dirty="0">
                <a:solidFill>
                  <a:schemeClr val="dk1"/>
                </a:solidFill>
              </a:rPr>
              <a:t>	</a:t>
            </a:r>
            <a:r>
              <a:rPr lang="en-US" sz="2000" dirty="0" err="1">
                <a:solidFill>
                  <a:schemeClr val="dk1"/>
                </a:solidFill>
              </a:rPr>
              <a:t>Biotronik</a:t>
            </a:r>
            <a:r>
              <a:rPr lang="en-US" sz="2000" dirty="0">
                <a:solidFill>
                  <a:schemeClr val="dk1"/>
                </a:solidFill>
              </a:rPr>
              <a:t> </a:t>
            </a:r>
          </a:p>
          <a:p>
            <a:pPr>
              <a:buNone/>
            </a:pPr>
            <a:r>
              <a:rPr lang="en-US" sz="2000" dirty="0">
                <a:solidFill>
                  <a:schemeClr val="dk1"/>
                </a:solidFill>
              </a:rPr>
              <a:t>	Cardiac Dimensions </a:t>
            </a:r>
          </a:p>
          <a:p>
            <a:pPr>
              <a:buNone/>
            </a:pPr>
            <a:r>
              <a:rPr lang="en-US" sz="2000" dirty="0">
                <a:solidFill>
                  <a:schemeClr val="dk1"/>
                </a:solidFill>
              </a:rPr>
              <a:t>	Orbus </a:t>
            </a:r>
            <a:r>
              <a:rPr lang="en-US" sz="2000" dirty="0" err="1">
                <a:solidFill>
                  <a:schemeClr val="dk1"/>
                </a:solidFill>
              </a:rPr>
              <a:t>Neich</a:t>
            </a:r>
            <a:r>
              <a:rPr lang="en-US" sz="2000" dirty="0">
                <a:solidFill>
                  <a:schemeClr val="dk1"/>
                </a:solidFill>
              </a:rPr>
              <a:t> </a:t>
            </a:r>
          </a:p>
          <a:p>
            <a:pPr>
              <a:buNone/>
            </a:pPr>
            <a:r>
              <a:rPr lang="en-US" sz="2000" dirty="0">
                <a:solidFill>
                  <a:schemeClr val="dk1"/>
                </a:solidFill>
              </a:rPr>
              <a:t>	Philips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buNone/>
            </a:pPr>
            <a:endParaRPr lang="en-US" sz="2000" dirty="0"/>
          </a:p>
          <a:p>
            <a:pPr>
              <a:buNone/>
            </a:pPr>
            <a:r>
              <a:rPr lang="en-US" sz="2000" dirty="0"/>
              <a:t>Consult/Honoraria:</a:t>
            </a:r>
          </a:p>
          <a:p>
            <a:pPr>
              <a:buNone/>
            </a:pPr>
            <a:r>
              <a:rPr lang="en-US" sz="2000" dirty="0">
                <a:solidFill>
                  <a:schemeClr val="dk1"/>
                </a:solidFill>
              </a:rPr>
              <a:t>	</a:t>
            </a:r>
            <a:r>
              <a:rPr lang="en-US" sz="2000" dirty="0" err="1">
                <a:solidFill>
                  <a:schemeClr val="dk1"/>
                </a:solidFill>
              </a:rPr>
              <a:t>Biotronik</a:t>
            </a:r>
            <a:r>
              <a:rPr lang="en-US" sz="2000" dirty="0">
                <a:solidFill>
                  <a:schemeClr val="dk1"/>
                </a:solidFill>
              </a:rPr>
              <a:t> </a:t>
            </a:r>
          </a:p>
          <a:p>
            <a:pPr>
              <a:buNone/>
            </a:pPr>
            <a:r>
              <a:rPr lang="en-US" sz="2000" dirty="0">
                <a:solidFill>
                  <a:schemeClr val="dk1"/>
                </a:solidFill>
              </a:rPr>
              <a:t>	Cardiac Dimensions</a:t>
            </a:r>
          </a:p>
          <a:p>
            <a:pPr>
              <a:buNone/>
            </a:pPr>
            <a:r>
              <a:rPr lang="en-US" sz="2000" dirty="0">
                <a:solidFill>
                  <a:schemeClr val="dk1"/>
                </a:solidFill>
              </a:rPr>
              <a:t>	Orbus </a:t>
            </a:r>
            <a:r>
              <a:rPr lang="en-US" sz="2000" dirty="0" err="1">
                <a:solidFill>
                  <a:schemeClr val="dk1"/>
                </a:solidFill>
              </a:rPr>
              <a:t>Neich</a:t>
            </a:r>
            <a:endParaRPr lang="en-US" sz="2000" dirty="0">
              <a:solidFill>
                <a:schemeClr val="accent2"/>
              </a:solidFill>
            </a:endParaRPr>
          </a:p>
          <a:p>
            <a:pPr>
              <a:buNone/>
            </a:pPr>
            <a:endParaRPr lang="en-US" sz="2000" dirty="0">
              <a:latin typeface="TradeGothic" pitchFamily="2" charset="0"/>
            </a:endParaRPr>
          </a:p>
          <a:p>
            <a:pPr>
              <a:buNone/>
            </a:pPr>
            <a:endParaRPr lang="en-US" sz="2000" dirty="0">
              <a:latin typeface="TradeGothi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23308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A73E494-AEDC-45E1-B55E-6FFB1163C9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731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F2E82D5-8A26-4D30-A7A6-998BE0421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85750"/>
            <a:ext cx="8229600" cy="857250"/>
          </a:xfrm>
        </p:spPr>
        <p:txBody>
          <a:bodyPr vert="horz">
            <a:normAutofit/>
          </a:bodyPr>
          <a:lstStyle/>
          <a:p>
            <a:r>
              <a:rPr lang="en-US" sz="4000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E75B9C-3743-4868-92F8-6E9C94F831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68158"/>
            <a:ext cx="8229600" cy="3308592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20000"/>
              </a:lnSpc>
              <a:buClrTx/>
              <a:buFont typeface="Wingdings" panose="05000000000000000000" pitchFamily="2" charset="2"/>
              <a:buChar char="§"/>
            </a:pPr>
            <a:r>
              <a:rPr lang="de-CH" sz="2000" dirty="0" err="1"/>
              <a:t>Bioresorbable</a:t>
            </a:r>
            <a:r>
              <a:rPr lang="de-CH" sz="2000" dirty="0"/>
              <a:t> </a:t>
            </a:r>
            <a:r>
              <a:rPr lang="de-CH" sz="2000" dirty="0" err="1"/>
              <a:t>scaffolds</a:t>
            </a:r>
            <a:r>
              <a:rPr lang="de-CH" sz="2000" dirty="0"/>
              <a:t> </a:t>
            </a:r>
            <a:r>
              <a:rPr lang="de-CH" sz="2000" dirty="0" err="1"/>
              <a:t>have</a:t>
            </a:r>
            <a:r>
              <a:rPr lang="de-CH" sz="2000" dirty="0"/>
              <a:t> </a:t>
            </a:r>
            <a:r>
              <a:rPr lang="de-CH" sz="2000" dirty="0" err="1"/>
              <a:t>been</a:t>
            </a:r>
            <a:r>
              <a:rPr lang="de-CH" sz="2000" dirty="0"/>
              <a:t> </a:t>
            </a:r>
            <a:r>
              <a:rPr lang="de-CH" sz="2000" dirty="0" err="1"/>
              <a:t>developed</a:t>
            </a:r>
            <a:r>
              <a:rPr lang="de-CH" sz="2000" dirty="0"/>
              <a:t> to</a:t>
            </a:r>
            <a:r>
              <a:rPr lang="de-CH" sz="2000" baseline="30000" dirty="0"/>
              <a:t>1, 2</a:t>
            </a:r>
          </a:p>
          <a:p>
            <a:pPr lvl="1">
              <a:lnSpc>
                <a:spcPct val="120000"/>
              </a:lnSpc>
              <a:buClrTx/>
              <a:buFont typeface="Wingdings" panose="05000000000000000000" pitchFamily="2" charset="2"/>
              <a:buChar char="§"/>
            </a:pPr>
            <a:r>
              <a:rPr lang="de-CH" sz="2000" dirty="0" err="1"/>
              <a:t>Provide</a:t>
            </a:r>
            <a:r>
              <a:rPr lang="de-CH" sz="2000" dirty="0"/>
              <a:t> </a:t>
            </a:r>
            <a:r>
              <a:rPr lang="de-CH" sz="2000" dirty="0" err="1"/>
              <a:t>temporary</a:t>
            </a:r>
            <a:r>
              <a:rPr lang="de-CH" sz="2000" dirty="0"/>
              <a:t> </a:t>
            </a:r>
            <a:r>
              <a:rPr lang="de-CH" sz="2000" dirty="0" err="1"/>
              <a:t>mechanical</a:t>
            </a:r>
            <a:r>
              <a:rPr lang="de-CH" sz="2000" dirty="0"/>
              <a:t> support</a:t>
            </a:r>
          </a:p>
          <a:p>
            <a:pPr lvl="1">
              <a:lnSpc>
                <a:spcPct val="120000"/>
              </a:lnSpc>
              <a:buClrTx/>
              <a:buFont typeface="Wingdings" panose="05000000000000000000" pitchFamily="2" charset="2"/>
              <a:buChar char="§"/>
            </a:pPr>
            <a:r>
              <a:rPr lang="de-CH" sz="2000" dirty="0" err="1"/>
              <a:t>While</a:t>
            </a:r>
            <a:r>
              <a:rPr lang="de-CH" sz="2000" dirty="0"/>
              <a:t> </a:t>
            </a:r>
            <a:r>
              <a:rPr lang="de-CH" sz="2000" dirty="0" err="1"/>
              <a:t>controlling</a:t>
            </a:r>
            <a:r>
              <a:rPr lang="de-CH" sz="2000" dirty="0"/>
              <a:t> </a:t>
            </a:r>
            <a:r>
              <a:rPr lang="de-CH" sz="2000" dirty="0" err="1"/>
              <a:t>neointimal</a:t>
            </a:r>
            <a:r>
              <a:rPr lang="de-CH" sz="2000" dirty="0"/>
              <a:t> </a:t>
            </a:r>
            <a:r>
              <a:rPr lang="de-CH" sz="2000" dirty="0" err="1"/>
              <a:t>proliferation</a:t>
            </a:r>
            <a:r>
              <a:rPr lang="de-CH" sz="2000" dirty="0"/>
              <a:t> </a:t>
            </a:r>
            <a:r>
              <a:rPr lang="de-CH" sz="2000" dirty="0" err="1"/>
              <a:t>over</a:t>
            </a:r>
            <a:r>
              <a:rPr lang="de-CH" sz="2000" dirty="0"/>
              <a:t> </a:t>
            </a:r>
            <a:r>
              <a:rPr lang="de-CH" sz="2000" dirty="0" err="1"/>
              <a:t>the</a:t>
            </a:r>
            <a:r>
              <a:rPr lang="de-CH" sz="2000" dirty="0"/>
              <a:t> </a:t>
            </a:r>
            <a:r>
              <a:rPr lang="de-CH" sz="2000" dirty="0" err="1"/>
              <a:t>vascular</a:t>
            </a:r>
            <a:r>
              <a:rPr lang="de-CH" sz="2000" dirty="0"/>
              <a:t> </a:t>
            </a:r>
            <a:r>
              <a:rPr lang="de-CH" sz="2000" dirty="0" err="1"/>
              <a:t>healing</a:t>
            </a:r>
            <a:r>
              <a:rPr lang="de-CH" sz="2000" dirty="0"/>
              <a:t> </a:t>
            </a:r>
            <a:r>
              <a:rPr lang="de-CH" sz="2000" dirty="0" err="1"/>
              <a:t>period</a:t>
            </a:r>
            <a:endParaRPr lang="de-CH" sz="2000" dirty="0"/>
          </a:p>
          <a:p>
            <a:pPr lvl="1">
              <a:lnSpc>
                <a:spcPct val="120000"/>
              </a:lnSpc>
              <a:buClrTx/>
              <a:buFont typeface="Wingdings" panose="05000000000000000000" pitchFamily="2" charset="2"/>
              <a:buChar char="§"/>
            </a:pPr>
            <a:r>
              <a:rPr lang="de-CH" sz="2000" dirty="0"/>
              <a:t>Prevent </a:t>
            </a:r>
            <a:r>
              <a:rPr lang="de-CH" sz="2000" dirty="0" err="1"/>
              <a:t>long</a:t>
            </a:r>
            <a:r>
              <a:rPr lang="de-CH" sz="2000" dirty="0"/>
              <a:t>-term </a:t>
            </a:r>
            <a:r>
              <a:rPr lang="de-CH" sz="2000" dirty="0" err="1"/>
              <a:t>stent-related</a:t>
            </a:r>
            <a:r>
              <a:rPr lang="de-CH" sz="2000" dirty="0"/>
              <a:t> adverse </a:t>
            </a:r>
            <a:r>
              <a:rPr lang="de-CH" sz="2000" dirty="0" err="1"/>
              <a:t>events</a:t>
            </a:r>
            <a:endParaRPr lang="de-CH" sz="2000" dirty="0"/>
          </a:p>
          <a:p>
            <a:pPr lvl="1">
              <a:buClrTx/>
              <a:buFont typeface="Wingdings" panose="05000000000000000000" pitchFamily="2" charset="2"/>
              <a:buChar char="§"/>
            </a:pPr>
            <a:endParaRPr lang="de-CH" sz="1600" dirty="0"/>
          </a:p>
          <a:p>
            <a:pPr>
              <a:buClrTx/>
              <a:buFont typeface="Wingdings" panose="05000000000000000000" pitchFamily="2" charset="2"/>
              <a:buChar char="§"/>
            </a:pPr>
            <a:r>
              <a:rPr lang="de-CH" sz="2200" dirty="0" err="1"/>
              <a:t>Resorbable</a:t>
            </a:r>
            <a:r>
              <a:rPr lang="de-CH" sz="2200" dirty="0"/>
              <a:t> Magnesium Scaffolds </a:t>
            </a:r>
            <a:r>
              <a:rPr lang="de-CH" sz="2200" dirty="0" err="1"/>
              <a:t>emerged</a:t>
            </a:r>
            <a:r>
              <a:rPr lang="de-CH" sz="2200" dirty="0"/>
              <a:t> </a:t>
            </a:r>
            <a:r>
              <a:rPr lang="de-CH" sz="2200" dirty="0" err="1"/>
              <a:t>as</a:t>
            </a:r>
            <a:r>
              <a:rPr lang="de-CH" sz="2200" dirty="0"/>
              <a:t> promising </a:t>
            </a:r>
            <a:r>
              <a:rPr lang="de-CH" sz="2200" dirty="0" err="1"/>
              <a:t>technology</a:t>
            </a:r>
            <a:r>
              <a:rPr lang="de-CH" sz="2200" dirty="0"/>
              <a:t>: 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de-CH" sz="2200" dirty="0"/>
              <a:t>The CE-</a:t>
            </a:r>
            <a:r>
              <a:rPr lang="de-CH" sz="2200" dirty="0" err="1"/>
              <a:t>marked</a:t>
            </a:r>
            <a:r>
              <a:rPr lang="de-CH" sz="2200" dirty="0"/>
              <a:t> 2</a:t>
            </a:r>
            <a:r>
              <a:rPr lang="de-CH" sz="2200" baseline="30000" dirty="0"/>
              <a:t>nd</a:t>
            </a:r>
            <a:r>
              <a:rPr lang="de-CH" sz="2200" dirty="0"/>
              <a:t> </a:t>
            </a:r>
            <a:r>
              <a:rPr lang="de-CH" sz="2200" dirty="0" err="1"/>
              <a:t>generation</a:t>
            </a:r>
            <a:r>
              <a:rPr lang="de-CH" sz="2200" dirty="0"/>
              <a:t> Drug-</a:t>
            </a:r>
            <a:r>
              <a:rPr lang="de-CH" sz="2200" dirty="0" err="1"/>
              <a:t>Eluting</a:t>
            </a:r>
            <a:r>
              <a:rPr lang="de-CH" sz="2200" dirty="0"/>
              <a:t> </a:t>
            </a:r>
            <a:r>
              <a:rPr lang="de-CH" sz="2200" dirty="0" err="1"/>
              <a:t>Resorbable</a:t>
            </a:r>
            <a:r>
              <a:rPr lang="de-CH" sz="2200" dirty="0"/>
              <a:t> Magnesium Scaffold (DREAMS 2G, </a:t>
            </a:r>
            <a:r>
              <a:rPr lang="de-CH" sz="2200" dirty="0" err="1"/>
              <a:t>commercial</a:t>
            </a:r>
            <a:r>
              <a:rPr lang="de-CH" sz="2200" dirty="0"/>
              <a:t> </a:t>
            </a:r>
            <a:r>
              <a:rPr lang="de-CH" sz="2200" dirty="0" err="1"/>
              <a:t>name</a:t>
            </a:r>
            <a:r>
              <a:rPr lang="de-CH" sz="2200" dirty="0"/>
              <a:t> </a:t>
            </a:r>
            <a:r>
              <a:rPr lang="de-CH" sz="2200" dirty="0" err="1"/>
              <a:t>Magmaris</a:t>
            </a:r>
            <a:r>
              <a:rPr lang="de-CH" sz="2200" dirty="0"/>
              <a:t>) </a:t>
            </a:r>
            <a:r>
              <a:rPr lang="de-CH" sz="2200" dirty="0" err="1"/>
              <a:t>showed</a:t>
            </a:r>
            <a:r>
              <a:rPr lang="de-CH" sz="2200" dirty="0"/>
              <a:t> </a:t>
            </a:r>
            <a:r>
              <a:rPr lang="de-CH" sz="2200" dirty="0" err="1"/>
              <a:t>low</a:t>
            </a:r>
            <a:r>
              <a:rPr lang="de-CH" sz="2200" dirty="0"/>
              <a:t> </a:t>
            </a:r>
            <a:r>
              <a:rPr lang="de-CH" sz="2200" dirty="0" err="1"/>
              <a:t>target</a:t>
            </a:r>
            <a:r>
              <a:rPr lang="de-CH" sz="2200" dirty="0"/>
              <a:t> </a:t>
            </a:r>
            <a:r>
              <a:rPr lang="de-CH" sz="2200" dirty="0" err="1"/>
              <a:t>lesion</a:t>
            </a:r>
            <a:r>
              <a:rPr lang="de-CH" sz="2200" dirty="0"/>
              <a:t> </a:t>
            </a:r>
            <a:r>
              <a:rPr lang="de-CH" sz="2200" dirty="0" err="1"/>
              <a:t>failure</a:t>
            </a:r>
            <a:r>
              <a:rPr lang="de-CH" sz="2200" dirty="0"/>
              <a:t> and </a:t>
            </a:r>
            <a:r>
              <a:rPr lang="de-CH" sz="2200" dirty="0" err="1"/>
              <a:t>scaffold</a:t>
            </a:r>
            <a:r>
              <a:rPr lang="de-CH" sz="2200" dirty="0"/>
              <a:t> </a:t>
            </a:r>
            <a:r>
              <a:rPr lang="de-CH" sz="2200" dirty="0" err="1"/>
              <a:t>thrombosis</a:t>
            </a:r>
            <a:r>
              <a:rPr lang="de-CH" sz="2200" dirty="0"/>
              <a:t> </a:t>
            </a:r>
            <a:r>
              <a:rPr lang="de-CH" sz="2200" dirty="0" err="1"/>
              <a:t>rates</a:t>
            </a:r>
            <a:r>
              <a:rPr lang="de-CH" sz="2200" dirty="0"/>
              <a:t> in multiple </a:t>
            </a:r>
            <a:r>
              <a:rPr lang="de-CH" sz="2200" dirty="0" err="1"/>
              <a:t>trials</a:t>
            </a:r>
            <a:r>
              <a:rPr lang="de-CH" sz="2200" dirty="0"/>
              <a:t> </a:t>
            </a:r>
            <a:r>
              <a:rPr lang="de-CH" sz="2200" baseline="30000" dirty="0"/>
              <a:t>3, 4, 5 </a:t>
            </a:r>
          </a:p>
          <a:p>
            <a:pPr lvl="1">
              <a:buClrTx/>
              <a:buFont typeface="Wingdings" panose="05000000000000000000" pitchFamily="2" charset="2"/>
              <a:buChar char="§"/>
            </a:pPr>
            <a:r>
              <a:rPr lang="de-CH" sz="2200" dirty="0"/>
              <a:t>But in-</a:t>
            </a:r>
            <a:r>
              <a:rPr lang="de-CH" sz="2200" dirty="0" err="1"/>
              <a:t>scaffold</a:t>
            </a:r>
            <a:r>
              <a:rPr lang="de-CH" sz="2200" dirty="0"/>
              <a:t> Late Lumen Loss (LLL) was not </a:t>
            </a:r>
            <a:r>
              <a:rPr lang="de-CH" sz="2200" dirty="0" err="1"/>
              <a:t>comparable</a:t>
            </a:r>
            <a:r>
              <a:rPr lang="de-CH" sz="2200" dirty="0"/>
              <a:t> </a:t>
            </a:r>
            <a:r>
              <a:rPr lang="de-CH" sz="2200" dirty="0" err="1"/>
              <a:t>to</a:t>
            </a:r>
            <a:r>
              <a:rPr lang="de-CH" sz="2200" dirty="0"/>
              <a:t> LLL </a:t>
            </a:r>
            <a:r>
              <a:rPr lang="de-CH" sz="2200" dirty="0" err="1"/>
              <a:t>values</a:t>
            </a:r>
            <a:r>
              <a:rPr lang="de-CH" sz="2200" dirty="0"/>
              <a:t> </a:t>
            </a:r>
            <a:r>
              <a:rPr lang="de-CH" sz="2200" dirty="0" err="1"/>
              <a:t>observed</a:t>
            </a:r>
            <a:r>
              <a:rPr lang="de-CH" sz="2200" dirty="0"/>
              <a:t> </a:t>
            </a:r>
            <a:r>
              <a:rPr lang="de-CH" sz="2200" dirty="0" err="1"/>
              <a:t>with</a:t>
            </a:r>
            <a:r>
              <a:rPr lang="de-CH" sz="2200" dirty="0"/>
              <a:t> </a:t>
            </a:r>
            <a:r>
              <a:rPr lang="de-CH" sz="2200" dirty="0" err="1"/>
              <a:t>historical</a:t>
            </a:r>
            <a:r>
              <a:rPr lang="de-CH" sz="2200" dirty="0"/>
              <a:t> PLLA-</a:t>
            </a:r>
            <a:r>
              <a:rPr lang="de-CH" sz="2200" dirty="0" err="1"/>
              <a:t>based</a:t>
            </a:r>
            <a:r>
              <a:rPr lang="de-CH" sz="2200" dirty="0"/>
              <a:t> scaffolds</a:t>
            </a:r>
            <a:r>
              <a:rPr lang="de-CH" sz="2200" baseline="30000" dirty="0"/>
              <a:t>6</a:t>
            </a:r>
            <a:r>
              <a:rPr lang="de-CH" sz="2200" dirty="0"/>
              <a:t> </a:t>
            </a:r>
            <a:r>
              <a:rPr lang="de-CH" sz="2200" dirty="0" err="1"/>
              <a:t>or</a:t>
            </a:r>
            <a:r>
              <a:rPr lang="de-CH" sz="2200" dirty="0"/>
              <a:t> </a:t>
            </a:r>
            <a:r>
              <a:rPr lang="de-CH" sz="2200" dirty="0" err="1"/>
              <a:t>contemporary</a:t>
            </a:r>
            <a:r>
              <a:rPr lang="de-CH" sz="2200" dirty="0"/>
              <a:t> DES</a:t>
            </a:r>
            <a:r>
              <a:rPr lang="de-CH" sz="2200" baseline="30000" dirty="0"/>
              <a:t>7</a:t>
            </a:r>
          </a:p>
          <a:p>
            <a:pPr marL="457200" lvl="1" indent="0">
              <a:buClrTx/>
              <a:buNone/>
            </a:pPr>
            <a:endParaRPr lang="de-CH" sz="2000" baseline="30000" dirty="0"/>
          </a:p>
          <a:p>
            <a:pPr marL="457200" lvl="1" indent="0">
              <a:buClrTx/>
              <a:buNone/>
            </a:pPr>
            <a:endParaRPr lang="de-CH" sz="1600" baseline="300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11B2E5-1CE5-4509-A1B5-5AE66DFCA7F6}"/>
              </a:ext>
            </a:extLst>
          </p:cNvPr>
          <p:cNvSpPr txBox="1"/>
          <p:nvPr/>
        </p:nvSpPr>
        <p:spPr>
          <a:xfrm>
            <a:off x="0" y="4705350"/>
            <a:ext cx="62484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600" dirty="0">
                <a:solidFill>
                  <a:schemeClr val="bg1"/>
                </a:solidFill>
              </a:rPr>
              <a:t>1: Neumann et al. ESS-EACTS Guidelines, </a:t>
            </a:r>
            <a:r>
              <a:rPr lang="de-CH" sz="600" dirty="0" err="1">
                <a:solidFill>
                  <a:schemeClr val="bg1"/>
                </a:solidFill>
              </a:rPr>
              <a:t>EuroIntervention</a:t>
            </a:r>
            <a:r>
              <a:rPr lang="de-CH" sz="600" dirty="0">
                <a:solidFill>
                  <a:schemeClr val="bg1"/>
                </a:solidFill>
              </a:rPr>
              <a:t> 2019: 14: 1435-1534; 2 Galli et al., SICI-GISE Position Paper, CRM 2022; 34: 11-16;; 3: Galli S et al; 2-Year Follow </a:t>
            </a:r>
            <a:r>
              <a:rPr lang="de-CH" sz="600" dirty="0" err="1">
                <a:solidFill>
                  <a:schemeClr val="bg1"/>
                </a:solidFill>
              </a:rPr>
              <a:t>up</a:t>
            </a:r>
            <a:r>
              <a:rPr lang="de-CH" sz="600" dirty="0">
                <a:solidFill>
                  <a:schemeClr val="bg1"/>
                </a:solidFill>
              </a:rPr>
              <a:t> </a:t>
            </a:r>
            <a:r>
              <a:rPr lang="de-CH" sz="600" dirty="0" err="1">
                <a:solidFill>
                  <a:schemeClr val="bg1"/>
                </a:solidFill>
              </a:rPr>
              <a:t>of</a:t>
            </a:r>
            <a:r>
              <a:rPr lang="de-CH" sz="600" dirty="0">
                <a:solidFill>
                  <a:schemeClr val="bg1"/>
                </a:solidFill>
              </a:rPr>
              <a:t> </a:t>
            </a:r>
            <a:r>
              <a:rPr lang="de-CH" sz="600" dirty="0" err="1">
                <a:solidFill>
                  <a:schemeClr val="bg1"/>
                </a:solidFill>
              </a:rPr>
              <a:t>Magmaris</a:t>
            </a:r>
            <a:r>
              <a:rPr lang="de-CH" sz="600" dirty="0">
                <a:solidFill>
                  <a:schemeClr val="bg1"/>
                </a:solidFill>
              </a:rPr>
              <a:t> Multicenter </a:t>
            </a:r>
            <a:r>
              <a:rPr lang="de-CH" sz="600" dirty="0" err="1">
                <a:solidFill>
                  <a:schemeClr val="bg1"/>
                </a:solidFill>
              </a:rPr>
              <a:t>Italian</a:t>
            </a:r>
            <a:r>
              <a:rPr lang="de-CH" sz="600" dirty="0">
                <a:solidFill>
                  <a:schemeClr val="bg1"/>
                </a:solidFill>
              </a:rPr>
              <a:t> Registry, CRM 2022; 41: 69-75; 4: </a:t>
            </a:r>
            <a:r>
              <a:rPr lang="de-CH" sz="600" dirty="0" err="1">
                <a:solidFill>
                  <a:schemeClr val="bg1"/>
                </a:solidFill>
              </a:rPr>
              <a:t>Verhey</a:t>
            </a:r>
            <a:r>
              <a:rPr lang="de-CH" sz="600" dirty="0">
                <a:solidFill>
                  <a:schemeClr val="bg1"/>
                </a:solidFill>
              </a:rPr>
              <a:t> et al; BIOSOLVE-IV </a:t>
            </a:r>
            <a:r>
              <a:rPr lang="de-CH" sz="600" dirty="0" err="1">
                <a:solidFill>
                  <a:schemeClr val="bg1"/>
                </a:solidFill>
              </a:rPr>
              <a:t>registry</a:t>
            </a:r>
            <a:r>
              <a:rPr lang="de-CH" sz="600" dirty="0">
                <a:solidFill>
                  <a:schemeClr val="bg1"/>
                </a:solidFill>
              </a:rPr>
              <a:t> - 12 </a:t>
            </a:r>
            <a:r>
              <a:rPr lang="de-CH" sz="600" dirty="0" err="1">
                <a:solidFill>
                  <a:schemeClr val="bg1"/>
                </a:solidFill>
              </a:rPr>
              <a:t>Months</a:t>
            </a:r>
            <a:r>
              <a:rPr lang="de-CH" sz="600" dirty="0">
                <a:solidFill>
                  <a:schemeClr val="bg1"/>
                </a:solidFill>
              </a:rPr>
              <a:t> Outcomes </a:t>
            </a:r>
            <a:r>
              <a:rPr lang="de-CH" sz="600" dirty="0" err="1">
                <a:solidFill>
                  <a:schemeClr val="bg1"/>
                </a:solidFill>
              </a:rPr>
              <a:t>of</a:t>
            </a:r>
            <a:r>
              <a:rPr lang="de-CH" sz="600" dirty="0">
                <a:solidFill>
                  <a:schemeClr val="bg1"/>
                </a:solidFill>
              </a:rPr>
              <a:t> </a:t>
            </a:r>
            <a:r>
              <a:rPr lang="de-CH" sz="600" dirty="0" err="1">
                <a:solidFill>
                  <a:schemeClr val="bg1"/>
                </a:solidFill>
              </a:rPr>
              <a:t>the</a:t>
            </a:r>
            <a:r>
              <a:rPr lang="de-CH" sz="600" dirty="0">
                <a:solidFill>
                  <a:schemeClr val="bg1"/>
                </a:solidFill>
              </a:rPr>
              <a:t> First </a:t>
            </a:r>
            <a:r>
              <a:rPr lang="de-CH" sz="600" dirty="0" err="1">
                <a:solidFill>
                  <a:schemeClr val="bg1"/>
                </a:solidFill>
              </a:rPr>
              <a:t>Cohort</a:t>
            </a:r>
            <a:r>
              <a:rPr lang="de-CH" sz="600" dirty="0">
                <a:solidFill>
                  <a:schemeClr val="bg1"/>
                </a:solidFill>
              </a:rPr>
              <a:t> </a:t>
            </a:r>
            <a:r>
              <a:rPr lang="de-CH" sz="600" dirty="0" err="1">
                <a:solidFill>
                  <a:schemeClr val="bg1"/>
                </a:solidFill>
              </a:rPr>
              <a:t>of</a:t>
            </a:r>
            <a:r>
              <a:rPr lang="de-CH" sz="600" dirty="0">
                <a:solidFill>
                  <a:schemeClr val="bg1"/>
                </a:solidFill>
              </a:rPr>
              <a:t> 1075 </a:t>
            </a:r>
            <a:r>
              <a:rPr lang="de-CH" sz="600" dirty="0" err="1">
                <a:solidFill>
                  <a:schemeClr val="bg1"/>
                </a:solidFill>
              </a:rPr>
              <a:t>Patients</a:t>
            </a:r>
            <a:r>
              <a:rPr lang="de-CH" sz="600" dirty="0">
                <a:solidFill>
                  <a:schemeClr val="bg1"/>
                </a:solidFill>
              </a:rPr>
              <a:t>, CCI 2021;98:E1–E8; 5: Haude et al; </a:t>
            </a:r>
            <a:r>
              <a:rPr lang="de-CH" sz="600" dirty="0" err="1">
                <a:solidFill>
                  <a:schemeClr val="bg1"/>
                </a:solidFill>
              </a:rPr>
              <a:t>Pooled</a:t>
            </a:r>
            <a:r>
              <a:rPr lang="de-CH" sz="600" dirty="0">
                <a:solidFill>
                  <a:schemeClr val="bg1"/>
                </a:solidFill>
              </a:rPr>
              <a:t> 12months Outcomes </a:t>
            </a:r>
            <a:r>
              <a:rPr lang="de-CH" sz="600" dirty="0" err="1">
                <a:solidFill>
                  <a:schemeClr val="bg1"/>
                </a:solidFill>
              </a:rPr>
              <a:t>of</a:t>
            </a:r>
            <a:r>
              <a:rPr lang="de-CH" sz="600" dirty="0">
                <a:solidFill>
                  <a:schemeClr val="bg1"/>
                </a:solidFill>
              </a:rPr>
              <a:t> BIOSOLVE-II and BIOSOLVE-III , CCI 2018; 92:E502-E511; 6: </a:t>
            </a:r>
            <a:r>
              <a:rPr lang="de-CH" sz="600" dirty="0" err="1">
                <a:solidFill>
                  <a:schemeClr val="bg1"/>
                </a:solidFill>
              </a:rPr>
              <a:t>Serruys</a:t>
            </a:r>
            <a:r>
              <a:rPr lang="de-CH" sz="600" dirty="0">
                <a:solidFill>
                  <a:schemeClr val="bg1"/>
                </a:solidFill>
              </a:rPr>
              <a:t> PW et al, Evaluation </a:t>
            </a:r>
            <a:r>
              <a:rPr lang="de-CH" sz="600" dirty="0" err="1">
                <a:solidFill>
                  <a:schemeClr val="bg1"/>
                </a:solidFill>
              </a:rPr>
              <a:t>of</a:t>
            </a:r>
            <a:r>
              <a:rPr lang="de-CH" sz="600" dirty="0">
                <a:solidFill>
                  <a:schemeClr val="bg1"/>
                </a:solidFill>
              </a:rPr>
              <a:t> </a:t>
            </a:r>
            <a:r>
              <a:rPr lang="de-CH" sz="600" dirty="0" err="1">
                <a:solidFill>
                  <a:schemeClr val="bg1"/>
                </a:solidFill>
              </a:rPr>
              <a:t>the</a:t>
            </a:r>
            <a:r>
              <a:rPr lang="de-CH" sz="600" dirty="0">
                <a:solidFill>
                  <a:schemeClr val="bg1"/>
                </a:solidFill>
              </a:rPr>
              <a:t> 2nd Generation </a:t>
            </a:r>
            <a:r>
              <a:rPr lang="de-CH" sz="600" dirty="0" err="1">
                <a:solidFill>
                  <a:schemeClr val="bg1"/>
                </a:solidFill>
              </a:rPr>
              <a:t>of</a:t>
            </a:r>
            <a:r>
              <a:rPr lang="de-CH" sz="600" dirty="0">
                <a:solidFill>
                  <a:schemeClr val="bg1"/>
                </a:solidFill>
              </a:rPr>
              <a:t> a </a:t>
            </a:r>
            <a:r>
              <a:rPr lang="de-CH" sz="600" dirty="0" err="1">
                <a:solidFill>
                  <a:schemeClr val="bg1"/>
                </a:solidFill>
              </a:rPr>
              <a:t>Bioresorbalbe</a:t>
            </a:r>
            <a:r>
              <a:rPr lang="de-CH" sz="600" dirty="0">
                <a:solidFill>
                  <a:schemeClr val="bg1"/>
                </a:solidFill>
              </a:rPr>
              <a:t> </a:t>
            </a:r>
            <a:r>
              <a:rPr lang="de-CH" sz="600" dirty="0" err="1">
                <a:solidFill>
                  <a:schemeClr val="bg1"/>
                </a:solidFill>
              </a:rPr>
              <a:t>Everolimus</a:t>
            </a:r>
            <a:r>
              <a:rPr lang="de-CH" sz="600" dirty="0">
                <a:solidFill>
                  <a:schemeClr val="bg1"/>
                </a:solidFill>
              </a:rPr>
              <a:t> Drug </a:t>
            </a:r>
            <a:r>
              <a:rPr lang="de-CH" sz="600" dirty="0" err="1">
                <a:solidFill>
                  <a:schemeClr val="bg1"/>
                </a:solidFill>
              </a:rPr>
              <a:t>Eluting</a:t>
            </a:r>
            <a:r>
              <a:rPr lang="de-CH" sz="600" dirty="0">
                <a:solidFill>
                  <a:schemeClr val="bg1"/>
                </a:solidFill>
              </a:rPr>
              <a:t> Scaffold , 6 </a:t>
            </a:r>
            <a:r>
              <a:rPr lang="de-CH" sz="600" dirty="0" err="1">
                <a:solidFill>
                  <a:schemeClr val="bg1"/>
                </a:solidFill>
              </a:rPr>
              <a:t>month</a:t>
            </a:r>
            <a:r>
              <a:rPr lang="de-CH" sz="600" dirty="0">
                <a:solidFill>
                  <a:schemeClr val="bg1"/>
                </a:solidFill>
              </a:rPr>
              <a:t> - Clinical and Imaging Outcomes, </a:t>
            </a:r>
            <a:r>
              <a:rPr lang="de-CH" sz="600" dirty="0" err="1">
                <a:solidFill>
                  <a:schemeClr val="bg1"/>
                </a:solidFill>
              </a:rPr>
              <a:t>Circulation</a:t>
            </a:r>
            <a:r>
              <a:rPr lang="de-CH" sz="600" dirty="0">
                <a:solidFill>
                  <a:schemeClr val="bg1"/>
                </a:solidFill>
              </a:rPr>
              <a:t> 2010; 122: 2301-2312; 7: Byrne et al, ESC </a:t>
            </a:r>
            <a:r>
              <a:rPr lang="de-CH" sz="600" dirty="0" err="1">
                <a:solidFill>
                  <a:schemeClr val="bg1"/>
                </a:solidFill>
              </a:rPr>
              <a:t>report</a:t>
            </a:r>
            <a:r>
              <a:rPr lang="de-CH" sz="600" dirty="0">
                <a:solidFill>
                  <a:schemeClr val="bg1"/>
                </a:solidFill>
              </a:rPr>
              <a:t> - Task Force on </a:t>
            </a:r>
            <a:r>
              <a:rPr lang="de-CH" sz="600" dirty="0" err="1">
                <a:solidFill>
                  <a:schemeClr val="bg1"/>
                </a:solidFill>
              </a:rPr>
              <a:t>the</a:t>
            </a:r>
            <a:r>
              <a:rPr lang="de-CH" sz="600" dirty="0">
                <a:solidFill>
                  <a:schemeClr val="bg1"/>
                </a:solidFill>
              </a:rPr>
              <a:t> Evaluation </a:t>
            </a:r>
            <a:r>
              <a:rPr lang="de-CH" sz="600" dirty="0" err="1">
                <a:solidFill>
                  <a:schemeClr val="bg1"/>
                </a:solidFill>
              </a:rPr>
              <a:t>of</a:t>
            </a:r>
            <a:r>
              <a:rPr lang="de-CH" sz="600" dirty="0">
                <a:solidFill>
                  <a:schemeClr val="bg1"/>
                </a:solidFill>
              </a:rPr>
              <a:t> </a:t>
            </a:r>
            <a:r>
              <a:rPr lang="de-CH" sz="600" dirty="0" err="1">
                <a:solidFill>
                  <a:schemeClr val="bg1"/>
                </a:solidFill>
              </a:rPr>
              <a:t>Coronary</a:t>
            </a:r>
            <a:r>
              <a:rPr lang="de-CH" sz="600" dirty="0">
                <a:solidFill>
                  <a:schemeClr val="bg1"/>
                </a:solidFill>
              </a:rPr>
              <a:t> Stents in Europe, </a:t>
            </a:r>
            <a:r>
              <a:rPr lang="de-CH" sz="600" dirty="0" err="1">
                <a:solidFill>
                  <a:schemeClr val="bg1"/>
                </a:solidFill>
              </a:rPr>
              <a:t>Eur</a:t>
            </a:r>
            <a:r>
              <a:rPr lang="de-CH" sz="600" dirty="0">
                <a:solidFill>
                  <a:schemeClr val="bg1"/>
                </a:solidFill>
              </a:rPr>
              <a:t> Heart J 2015; 36: 2608-2620.</a:t>
            </a:r>
          </a:p>
          <a:p>
            <a:endParaRPr lang="en-US" sz="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486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B396A0F-01BB-4FBA-ADEA-649A5EFB06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980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B396A0F-01BB-4FBA-ADEA-649A5EFB06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Tabelle 13">
            <a:extLst>
              <a:ext uri="{FF2B5EF4-FFF2-40B4-BE49-F238E27FC236}">
                <a16:creationId xmlns:a16="http://schemas.microsoft.com/office/drawing/2014/main" id="{00B6EAC3-1CE5-419F-BDE7-FCE7CA1CF9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7420570"/>
              </p:ext>
            </p:extLst>
          </p:nvPr>
        </p:nvGraphicFramePr>
        <p:xfrm>
          <a:off x="6148879" y="3425190"/>
          <a:ext cx="2919560" cy="128016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583912">
                  <a:extLst>
                    <a:ext uri="{9D8B030D-6E8A-4147-A177-3AD203B41FA5}">
                      <a16:colId xmlns:a16="http://schemas.microsoft.com/office/drawing/2014/main" val="2271146708"/>
                    </a:ext>
                  </a:extLst>
                </a:gridCol>
                <a:gridCol w="583912">
                  <a:extLst>
                    <a:ext uri="{9D8B030D-6E8A-4147-A177-3AD203B41FA5}">
                      <a16:colId xmlns:a16="http://schemas.microsoft.com/office/drawing/2014/main" val="1918968030"/>
                    </a:ext>
                  </a:extLst>
                </a:gridCol>
                <a:gridCol w="583912">
                  <a:extLst>
                    <a:ext uri="{9D8B030D-6E8A-4147-A177-3AD203B41FA5}">
                      <a16:colId xmlns:a16="http://schemas.microsoft.com/office/drawing/2014/main" val="1091534294"/>
                    </a:ext>
                  </a:extLst>
                </a:gridCol>
                <a:gridCol w="583912">
                  <a:extLst>
                    <a:ext uri="{9D8B030D-6E8A-4147-A177-3AD203B41FA5}">
                      <a16:colId xmlns:a16="http://schemas.microsoft.com/office/drawing/2014/main" val="3259012935"/>
                    </a:ext>
                  </a:extLst>
                </a:gridCol>
                <a:gridCol w="583912">
                  <a:extLst>
                    <a:ext uri="{9D8B030D-6E8A-4147-A177-3AD203B41FA5}">
                      <a16:colId xmlns:a16="http://schemas.microsoft.com/office/drawing/2014/main" val="1398331768"/>
                    </a:ext>
                  </a:extLst>
                </a:gridCol>
              </a:tblGrid>
              <a:tr h="196355">
                <a:tc gridSpan="5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200" dirty="0">
                          <a:solidFill>
                            <a:schemeClr val="tx1"/>
                          </a:solidFill>
                        </a:rPr>
                        <a:t>DREAMS 3G </a:t>
                      </a:r>
                      <a:r>
                        <a:rPr lang="de-CH" sz="1200" dirty="0" err="1">
                          <a:solidFill>
                            <a:schemeClr val="tx1"/>
                          </a:solidFill>
                        </a:rPr>
                        <a:t>size</a:t>
                      </a:r>
                      <a:r>
                        <a:rPr lang="de-CH" sz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e-CH" sz="1200" dirty="0" err="1">
                          <a:solidFill>
                            <a:schemeClr val="tx1"/>
                          </a:solidFill>
                        </a:rPr>
                        <a:t>matrix</a:t>
                      </a:r>
                      <a:endParaRPr lang="de-CH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CH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32870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mm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ø 2.5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ø 3.0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ø 3.5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ø 4.0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929917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5613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22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522052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de-CH" sz="1200" b="1" dirty="0">
                          <a:solidFill>
                            <a:schemeClr val="tx1"/>
                          </a:solidFill>
                        </a:rPr>
                        <a:t>30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_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de-CH" sz="1000" dirty="0">
                          <a:solidFill>
                            <a:schemeClr val="tx1"/>
                          </a:solidFill>
                        </a:rPr>
                        <a:t>_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776071"/>
                  </a:ext>
                </a:extLst>
              </a:tr>
            </a:tbl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26FA0B1E-4353-4675-B288-ACB964954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5020"/>
            <a:ext cx="8901719" cy="566738"/>
          </a:xfrm>
        </p:spPr>
        <p:txBody>
          <a:bodyPr vert="horz">
            <a:noAutofit/>
          </a:bodyPr>
          <a:lstStyle/>
          <a:p>
            <a:r>
              <a:rPr lang="de-CH" sz="3600" dirty="0" err="1"/>
              <a:t>Improvements</a:t>
            </a:r>
            <a:r>
              <a:rPr lang="de-CH" sz="3600" dirty="0"/>
              <a:t> </a:t>
            </a:r>
            <a:r>
              <a:rPr lang="de-CH" sz="3600" dirty="0" err="1"/>
              <a:t>of</a:t>
            </a:r>
            <a:r>
              <a:rPr lang="de-CH" sz="3600" dirty="0"/>
              <a:t> DREAMS 3G – </a:t>
            </a:r>
            <a:br>
              <a:rPr lang="de-CH" sz="3600" dirty="0"/>
            </a:br>
            <a:r>
              <a:rPr lang="de-CH" sz="3600" dirty="0"/>
              <a:t>Next Generation RMS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311802" y="1044845"/>
            <a:ext cx="3600000" cy="1726288"/>
            <a:chOff x="309561" y="851434"/>
            <a:chExt cx="3600000" cy="1726288"/>
          </a:xfrm>
        </p:grpSpPr>
        <p:sp>
          <p:nvSpPr>
            <p:cNvPr id="8" name="Rectangle 23">
              <a:extLst>
                <a:ext uri="{FF2B5EF4-FFF2-40B4-BE49-F238E27FC236}">
                  <a16:creationId xmlns:a16="http://schemas.microsoft.com/office/drawing/2014/main" id="{4CE7AAD1-59B2-4BC8-BCC0-3598E8530052}"/>
                </a:ext>
              </a:extLst>
            </p:cNvPr>
            <p:cNvSpPr/>
            <p:nvPr/>
          </p:nvSpPr>
          <p:spPr>
            <a:xfrm>
              <a:off x="309561" y="851434"/>
              <a:ext cx="2959568" cy="5400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  1. Increased durability of radial support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      while maintaining resorption time of</a:t>
              </a:r>
              <a:b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      12 months</a:t>
              </a:r>
            </a:p>
          </p:txBody>
        </p:sp>
        <p:sp>
          <p:nvSpPr>
            <p:cNvPr id="9" name="Rectangle 23">
              <a:extLst>
                <a:ext uri="{FF2B5EF4-FFF2-40B4-BE49-F238E27FC236}">
                  <a16:creationId xmlns:a16="http://schemas.microsoft.com/office/drawing/2014/main" id="{49497758-B6B6-45FB-81DB-28498CA5014F}"/>
                </a:ext>
              </a:extLst>
            </p:cNvPr>
            <p:cNvSpPr/>
            <p:nvPr/>
          </p:nvSpPr>
          <p:spPr>
            <a:xfrm>
              <a:off x="309561" y="1408562"/>
              <a:ext cx="3600000" cy="11691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IOmag</a:t>
              </a:r>
              <a:r>
                <a:rPr kumimoji="0" lang="en-US" sz="1200" b="1" i="0" u="none" strike="noStrike" kern="1200" cap="none" spc="0" normalizeH="0" baseline="3000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M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, 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Backbon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proprietary Magnesium alloy 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improved mechanical properti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BIOlute</a:t>
              </a:r>
              <a:r>
                <a:rPr kumimoji="0" lang="en-US" sz="1200" b="1" i="0" u="none" strike="noStrike" kern="1200" cap="none" spc="0" normalizeH="0" baseline="3000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M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Coatin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ea typeface="+mn-ea"/>
                  <a:cs typeface="+mn-cs"/>
                </a:rPr>
                <a:t>Sirolimus drug &amp; PLLA</a:t>
              </a:r>
            </a:p>
          </p:txBody>
        </p:sp>
      </p:grpSp>
      <p:sp>
        <p:nvSpPr>
          <p:cNvPr id="10" name="Rectangle 23">
            <a:extLst>
              <a:ext uri="{FF2B5EF4-FFF2-40B4-BE49-F238E27FC236}">
                <a16:creationId xmlns:a16="http://schemas.microsoft.com/office/drawing/2014/main" id="{5EE0EDC2-C1E9-445E-8B68-1F001E32D8D9}"/>
              </a:ext>
            </a:extLst>
          </p:cNvPr>
          <p:cNvSpPr/>
          <p:nvPr/>
        </p:nvSpPr>
        <p:spPr>
          <a:xfrm>
            <a:off x="311803" y="3067563"/>
            <a:ext cx="2959568" cy="36167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 2. Reduced strut thickness</a:t>
            </a:r>
            <a:r>
              <a:rPr lang="en-US" sz="1200" i="0" baseline="30000" dirty="0">
                <a:solidFill>
                  <a:schemeClr val="bg1"/>
                </a:solidFill>
              </a:rPr>
              <a:t>1</a:t>
            </a:r>
            <a:endParaRPr kumimoji="0" lang="en-US" sz="1200" b="1" i="0" u="none" strike="noStrike" kern="120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3" name="Rectangle 23">
            <a:extLst>
              <a:ext uri="{FF2B5EF4-FFF2-40B4-BE49-F238E27FC236}">
                <a16:creationId xmlns:a16="http://schemas.microsoft.com/office/drawing/2014/main" id="{52F58005-BF30-4C9F-8C7D-CE82610D46F7}"/>
              </a:ext>
            </a:extLst>
          </p:cNvPr>
          <p:cNvSpPr/>
          <p:nvPr/>
        </p:nvSpPr>
        <p:spPr>
          <a:xfrm>
            <a:off x="6153641" y="3060972"/>
            <a:ext cx="2897489" cy="32962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  4. Increased size portfolio</a:t>
            </a:r>
          </a:p>
        </p:txBody>
      </p:sp>
      <p:graphicFrame>
        <p:nvGraphicFramePr>
          <p:cNvPr id="16" name="Tabelle 13">
            <a:extLst>
              <a:ext uri="{FF2B5EF4-FFF2-40B4-BE49-F238E27FC236}">
                <a16:creationId xmlns:a16="http://schemas.microsoft.com/office/drawing/2014/main" id="{6F497C08-3451-4BAB-BDFA-D9348E091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142787"/>
              </p:ext>
            </p:extLst>
          </p:nvPr>
        </p:nvGraphicFramePr>
        <p:xfrm>
          <a:off x="359817" y="3461046"/>
          <a:ext cx="2911554" cy="82296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455777">
                  <a:extLst>
                    <a:ext uri="{9D8B030D-6E8A-4147-A177-3AD203B41FA5}">
                      <a16:colId xmlns:a16="http://schemas.microsoft.com/office/drawing/2014/main" val="2271146708"/>
                    </a:ext>
                  </a:extLst>
                </a:gridCol>
                <a:gridCol w="1455777">
                  <a:extLst>
                    <a:ext uri="{9D8B030D-6E8A-4147-A177-3AD203B41FA5}">
                      <a16:colId xmlns:a16="http://schemas.microsoft.com/office/drawing/2014/main" val="1918968030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</a:rPr>
                        <a:t>ø 2.5 mm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</a:rPr>
                        <a:t>99 µm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56137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</a:rPr>
                        <a:t>ø 3.0 &amp; 3.5 mm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</a:rPr>
                        <a:t>117 µm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791720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</a:rPr>
                        <a:t>ø 4.0 mm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200" b="0" dirty="0">
                          <a:solidFill>
                            <a:schemeClr val="tx1"/>
                          </a:solidFill>
                        </a:rPr>
                        <a:t>147 µm</a:t>
                      </a:r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522052"/>
                  </a:ext>
                </a:extLst>
              </a:tr>
            </a:tbl>
          </a:graphicData>
        </a:graphic>
      </p:graphicFrame>
      <p:pic>
        <p:nvPicPr>
          <p:cNvPr id="6" name="Grafik 5" descr="Ein Bild, das lila, dunkel enthält.&#10;&#10;Automatisch generierte Beschreibung">
            <a:extLst>
              <a:ext uri="{FF2B5EF4-FFF2-40B4-BE49-F238E27FC236}">
                <a16:creationId xmlns:a16="http://schemas.microsoft.com/office/drawing/2014/main" id="{0DEC8BC9-EE84-4EC6-81A6-B96582E59E4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155"/>
          <a:stretch/>
        </p:blipFill>
        <p:spPr>
          <a:xfrm rot="19382982">
            <a:off x="3055582" y="1632010"/>
            <a:ext cx="3516400" cy="1934667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4473855B-8A1C-4F7F-B6BC-C1DDFD2AFC6A}"/>
              </a:ext>
            </a:extLst>
          </p:cNvPr>
          <p:cNvSpPr txBox="1"/>
          <p:nvPr/>
        </p:nvSpPr>
        <p:spPr>
          <a:xfrm>
            <a:off x="0" y="4712485"/>
            <a:ext cx="765095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1.BIOTRONIK data on file, compared to </a:t>
            </a:r>
            <a:r>
              <a:rPr lang="en-US" sz="800" b="0" i="0" dirty="0" err="1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Magmaris</a:t>
            </a:r>
            <a: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; 2. BIOTRONIK data on file,  BIOMAG-I case angiogram, courtesy of Prof. M. Haude, </a:t>
            </a:r>
            <a:b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US" sz="800" b="0" i="0" dirty="0" err="1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Rheinland</a:t>
            </a:r>
            <a: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lang="en-US" sz="800" b="0" i="0" dirty="0" err="1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Klinikum</a:t>
            </a:r>
            <a: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, Neuss, Germany 2021. </a:t>
            </a:r>
            <a:r>
              <a:rPr lang="en-US" sz="800" b="0" i="0" dirty="0" err="1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BIOmag</a:t>
            </a:r>
            <a: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 and </a:t>
            </a:r>
            <a:r>
              <a:rPr lang="en-US" sz="800" b="0" i="0" dirty="0" err="1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BIOlute</a:t>
            </a:r>
            <a: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 are a trademark or registered trademark of the BIOTRONIK Group of Companies, </a:t>
            </a:r>
            <a:b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</a:br>
            <a:r>
              <a:rPr lang="en-US" sz="800" b="0" i="0" dirty="0">
                <a:solidFill>
                  <a:schemeClr val="bg1"/>
                </a:solidFill>
                <a:latin typeface="+mn-lt"/>
                <a:ea typeface="Roboto" panose="02000000000000000000" pitchFamily="2" charset="0"/>
                <a:cs typeface="Calibri" panose="020F0502020204030204" pitchFamily="34" charset="0"/>
              </a:rPr>
              <a:t>DREAMS 3G is the project name, the product is not CE marked.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7BB6526-3F02-4CD1-AC52-C82962B07589}"/>
              </a:ext>
            </a:extLst>
          </p:cNvPr>
          <p:cNvGrpSpPr/>
          <p:nvPr/>
        </p:nvGrpSpPr>
        <p:grpSpPr>
          <a:xfrm>
            <a:off x="6159914" y="1071355"/>
            <a:ext cx="2919560" cy="1914654"/>
            <a:chOff x="6159914" y="1071355"/>
            <a:chExt cx="2919560" cy="1914654"/>
          </a:xfrm>
        </p:grpSpPr>
        <p:sp>
          <p:nvSpPr>
            <p:cNvPr id="11" name="Rectangle 23">
              <a:extLst>
                <a:ext uri="{FF2B5EF4-FFF2-40B4-BE49-F238E27FC236}">
                  <a16:creationId xmlns:a16="http://schemas.microsoft.com/office/drawing/2014/main" id="{B57DCAFD-6EBB-4CBB-AE37-6CD4C8D741E2}"/>
                </a:ext>
              </a:extLst>
            </p:cNvPr>
            <p:cNvSpPr/>
            <p:nvPr/>
          </p:nvSpPr>
          <p:spPr>
            <a:xfrm>
              <a:off x="6159914" y="1071355"/>
              <a:ext cx="2897489" cy="32962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  3. Improved radiopacity</a:t>
              </a:r>
              <a:r>
                <a:rPr kumimoji="0" lang="en-US" sz="1200" b="1" i="0" u="none" strike="noStrike" kern="1200" cap="none" spc="0" normalizeH="0" baseline="3000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9E3538AF-A146-46D0-A2F4-D75522932EE3}"/>
                </a:ext>
              </a:extLst>
            </p:cNvPr>
            <p:cNvSpPr/>
            <p:nvPr/>
          </p:nvSpPr>
          <p:spPr>
            <a:xfrm>
              <a:off x="6181984" y="1459078"/>
              <a:ext cx="2897490" cy="2064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34C"/>
                  </a:solidFill>
                  <a:effectLst/>
                  <a:uLnTx/>
                  <a:uFillTx/>
                  <a:ea typeface="+mn-ea"/>
                  <a:cs typeface="+mn-cs"/>
                </a:rPr>
                <a:t>New marker concept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34C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2898F5F9-71E1-4CA4-91B3-97B103783713}"/>
                </a:ext>
              </a:extLst>
            </p:cNvPr>
            <p:cNvGrpSpPr/>
            <p:nvPr/>
          </p:nvGrpSpPr>
          <p:grpSpPr>
            <a:xfrm>
              <a:off x="6163221" y="1721605"/>
              <a:ext cx="2294979" cy="1264404"/>
              <a:chOff x="6512395" y="1721605"/>
              <a:chExt cx="2294979" cy="1264404"/>
            </a:xfrm>
          </p:grpSpPr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76ABE5D8-6CE6-4AA9-B244-1B81FB43E0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12395" y="1721605"/>
                <a:ext cx="2294979" cy="1264404"/>
              </a:xfrm>
              <a:prstGeom prst="rect">
                <a:avLst/>
              </a:prstGeom>
            </p:spPr>
          </p:pic>
          <p:cxnSp>
            <p:nvCxnSpPr>
              <p:cNvPr id="23" name="Gerade Verbindung mit Pfeil 22">
                <a:extLst>
                  <a:ext uri="{FF2B5EF4-FFF2-40B4-BE49-F238E27FC236}">
                    <a16:creationId xmlns:a16="http://schemas.microsoft.com/office/drawing/2014/main" id="{25E1129B-555C-40EE-9A79-F9A61097270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717730" y="2069828"/>
                <a:ext cx="108810" cy="501922"/>
              </a:xfrm>
              <a:prstGeom prst="straightConnector1">
                <a:avLst/>
              </a:prstGeom>
              <a:ln w="22225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mit Pfeil 26">
                <a:extLst>
                  <a:ext uri="{FF2B5EF4-FFF2-40B4-BE49-F238E27FC236}">
                    <a16:creationId xmlns:a16="http://schemas.microsoft.com/office/drawing/2014/main" id="{A2E6D1F9-AB02-4F8A-9CF3-57420004B4E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001000" y="2876550"/>
                <a:ext cx="525959" cy="32110"/>
              </a:xfrm>
              <a:prstGeom prst="straightConnector1">
                <a:avLst/>
              </a:prstGeom>
              <a:ln w="22225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38668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493F1E8-C12D-4678-8421-47FBA867BE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0606419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493F1E8-C12D-4678-8421-47FBA867B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29">
            <a:extLst>
              <a:ext uri="{FF2B5EF4-FFF2-40B4-BE49-F238E27FC236}">
                <a16:creationId xmlns:a16="http://schemas.microsoft.com/office/drawing/2014/main" id="{B9D1E1DA-7C84-4C99-9717-F0989E85DFF3}"/>
              </a:ext>
            </a:extLst>
          </p:cNvPr>
          <p:cNvSpPr txBox="1"/>
          <p:nvPr/>
        </p:nvSpPr>
        <p:spPr>
          <a:xfrm>
            <a:off x="93234" y="666750"/>
            <a:ext cx="8806622" cy="792404"/>
          </a:xfrm>
          <a:prstGeom prst="rect">
            <a:avLst/>
          </a:prstGeom>
          <a:solidFill>
            <a:schemeClr val="bg1"/>
          </a:solidFill>
        </p:spPr>
        <p:txBody>
          <a:bodyPr wrap="square" lIns="54000" tIns="54000" rIns="54000" bIns="54000" rtlCol="0" anchor="ctr">
            <a:noAutofit/>
          </a:bodyPr>
          <a:lstStyle/>
          <a:p>
            <a:pPr algn="ctr" defTabSz="914378">
              <a:lnSpc>
                <a:spcPts val="3300"/>
              </a:lnSpc>
              <a:spcAft>
                <a:spcPts val="300"/>
              </a:spcAft>
              <a:defRPr/>
            </a:pPr>
            <a:r>
              <a:rPr lang="en-US" sz="3600" dirty="0">
                <a:solidFill>
                  <a:prstClr val="black"/>
                </a:solidFill>
                <a:latin typeface="Calibri"/>
                <a:ea typeface="Roboto" panose="02000000000000000000" pitchFamily="2" charset="0"/>
                <a:cs typeface="Roboto" panose="02000000000000000000" pitchFamily="2" charset="0"/>
              </a:rPr>
              <a:t>Improved scaffolding performance of </a:t>
            </a:r>
            <a:br>
              <a:rPr lang="en-US" sz="3600" dirty="0">
                <a:solidFill>
                  <a:prstClr val="black"/>
                </a:solidFill>
                <a:latin typeface="Calibri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en-US" sz="3600" dirty="0">
                <a:solidFill>
                  <a:prstClr val="black"/>
                </a:solidFill>
                <a:latin typeface="Calibri"/>
                <a:ea typeface="Roboto" panose="02000000000000000000" pitchFamily="2" charset="0"/>
                <a:cs typeface="Roboto" panose="02000000000000000000" pitchFamily="2" charset="0"/>
              </a:rPr>
              <a:t>DREAMS 3G compared to DREAMS 2G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4B516CD-4D4A-496A-9958-01BD9C884A30}"/>
              </a:ext>
            </a:extLst>
          </p:cNvPr>
          <p:cNvSpPr txBox="1">
            <a:spLocks/>
          </p:cNvSpPr>
          <p:nvPr/>
        </p:nvSpPr>
        <p:spPr>
          <a:xfrm>
            <a:off x="90256" y="4684898"/>
            <a:ext cx="5929543" cy="4349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spcBef>
                <a:spcPts val="0"/>
              </a:spcBef>
              <a:buNone/>
              <a:defRPr/>
            </a:pPr>
            <a:r>
              <a:rPr lang="en-US" sz="800" dirty="0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Roboto" panose="02000000000000000000" pitchFamily="2" charset="0"/>
              </a:rPr>
              <a:t>Source: M. Seguchi, 2023: Preclinical evaluation of the degradation kinetics of third-generation resorbable magnesium scaffolds, </a:t>
            </a:r>
            <a:r>
              <a:rPr lang="en-US" sz="800" dirty="0" err="1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Roboto" panose="02000000000000000000" pitchFamily="2" charset="0"/>
              </a:rPr>
              <a:t>EuroIntervention</a:t>
            </a:r>
            <a:r>
              <a:rPr lang="en-US" sz="800" dirty="0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Roboto" panose="02000000000000000000" pitchFamily="2" charset="0"/>
              </a:rPr>
              <a:t> 2023;18-online publish-ahead-of-print January 2023 </a:t>
            </a:r>
          </a:p>
          <a:p>
            <a:pPr marL="0" indent="0" defTabSz="914378">
              <a:spcBef>
                <a:spcPts val="0"/>
              </a:spcBef>
              <a:buNone/>
              <a:defRPr/>
            </a:pPr>
            <a:r>
              <a:rPr lang="en-US" sz="800" dirty="0" err="1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Calibri" panose="020F0502020204030204" pitchFamily="34" charset="0"/>
              </a:rPr>
              <a:t>BIOmag</a:t>
            </a:r>
            <a:r>
              <a:rPr lang="en-US" sz="800" dirty="0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Calibri" panose="020F0502020204030204" pitchFamily="34" charset="0"/>
              </a:rPr>
              <a:t>  and </a:t>
            </a:r>
            <a:r>
              <a:rPr lang="en-US" sz="800" dirty="0" err="1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Calibri" panose="020F0502020204030204" pitchFamily="34" charset="0"/>
              </a:rPr>
              <a:t>Magmaris</a:t>
            </a:r>
            <a:r>
              <a:rPr lang="en-US" sz="800" dirty="0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Calibri" panose="020F0502020204030204" pitchFamily="34" charset="0"/>
              </a:rPr>
              <a:t> are trademarks or registered trademarks of the BIOTRONIK Group of Companies, </a:t>
            </a:r>
            <a:r>
              <a:rPr lang="en-US" sz="800" dirty="0">
                <a:solidFill>
                  <a:prstClr val="white"/>
                </a:solidFill>
                <a:latin typeface="Calibri"/>
                <a:ea typeface="Roboto" panose="02000000000000000000" pitchFamily="2" charset="0"/>
                <a:cs typeface="Roboto" panose="02000000000000000000" pitchFamily="2" charset="0"/>
              </a:rPr>
              <a:t>DREAMS 3G is the project name, the product is not CE marked</a:t>
            </a:r>
          </a:p>
          <a:p>
            <a:pPr marL="0" indent="0" algn="r" defTabSz="914378">
              <a:spcBef>
                <a:spcPts val="0"/>
              </a:spcBef>
              <a:buNone/>
              <a:defRPr/>
            </a:pPr>
            <a:endParaRPr lang="de-CH" sz="800" dirty="0">
              <a:solidFill>
                <a:prstClr val="white"/>
              </a:solidFill>
              <a:latin typeface="Calibri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185FAD2B-A67F-4F75-A734-1DD8EBFA1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8">
              <a:defRPr/>
            </a:pPr>
            <a:fld id="{00D77A4C-1148-E04A-AD7B-1CD19886DE0E}" type="slidenum">
              <a:rPr lang="fr-FR">
                <a:solidFill>
                  <a:prstClr val="black">
                    <a:tint val="75000"/>
                  </a:prstClr>
                </a:solidFill>
                <a:latin typeface="Calibri"/>
              </a:rPr>
              <a:pPr defTabSz="914378">
                <a:defRPr/>
              </a:pPr>
              <a:t>5</a:t>
            </a:fld>
            <a:endParaRPr lang="fr-FR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68" name="Grafik 67">
            <a:extLst>
              <a:ext uri="{FF2B5EF4-FFF2-40B4-BE49-F238E27FC236}">
                <a16:creationId xmlns:a16="http://schemas.microsoft.com/office/drawing/2014/main" id="{2441EA83-E03D-49E3-915B-75661F8D140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895" y="1588572"/>
            <a:ext cx="8655711" cy="288454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26FA843-1BB9-A882-456E-C09D2B4D6C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5432" y="2237259"/>
            <a:ext cx="3803168" cy="2341748"/>
          </a:xfrm>
          <a:prstGeom prst="rect">
            <a:avLst/>
          </a:prstGeom>
        </p:spPr>
      </p:pic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678C335B-C4D4-CFEA-CB36-B0E3C9B83EB3}"/>
              </a:ext>
            </a:extLst>
          </p:cNvPr>
          <p:cNvSpPr/>
          <p:nvPr/>
        </p:nvSpPr>
        <p:spPr>
          <a:xfrm>
            <a:off x="610345" y="2090619"/>
            <a:ext cx="3886200" cy="276541"/>
          </a:xfrm>
          <a:prstGeom prst="roundRect">
            <a:avLst/>
          </a:prstGeom>
          <a:solidFill>
            <a:srgbClr val="E1E7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05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creased</a:t>
            </a:r>
            <a:r>
              <a:rPr lang="de-CH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CH" sz="105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ability</a:t>
            </a:r>
            <a:r>
              <a:rPr lang="de-CH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and radial </a:t>
            </a:r>
            <a:r>
              <a:rPr lang="de-CH" sz="105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rength</a:t>
            </a:r>
            <a:r>
              <a:rPr lang="de-CH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CH" sz="105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f</a:t>
            </a:r>
            <a:r>
              <a:rPr lang="de-CH" sz="10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CH" sz="105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caffold</a:t>
            </a:r>
            <a:endParaRPr lang="de-CH" sz="105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477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0E35579-887F-454E-AA33-B43F87AA26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324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638FE1-B3D6-43B7-8A97-0E6CE55DF0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59069"/>
            <a:ext cx="8229600" cy="857250"/>
          </a:xfrm>
        </p:spPr>
        <p:txBody>
          <a:bodyPr vert="horz">
            <a:normAutofit/>
          </a:bodyPr>
          <a:lstStyle/>
          <a:p>
            <a:r>
              <a:rPr lang="en-US" sz="4000" dirty="0"/>
              <a:t>BIOMAG-I: Study Desig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4A398D-A376-465D-8CCF-605E345B67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GB" sz="1500" b="1" dirty="0"/>
              <a:t>Study objective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500" dirty="0"/>
              <a:t>Assessment of angiographic, clinical and safety performance of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500" dirty="0"/>
              <a:t>DREAMS 3G in patients with </a:t>
            </a:r>
            <a:r>
              <a:rPr lang="en-GB" sz="1500" i="1" dirty="0"/>
              <a:t>de novo </a:t>
            </a:r>
            <a:r>
              <a:rPr lang="en-GB" sz="1500" dirty="0"/>
              <a:t>coronary artery lesions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GB" sz="1500" b="1" dirty="0"/>
          </a:p>
          <a:p>
            <a:pPr marL="0" indent="0">
              <a:spcBef>
                <a:spcPts val="0"/>
              </a:spcBef>
              <a:buNone/>
            </a:pPr>
            <a:r>
              <a:rPr lang="en-GB" sz="1500" b="1" dirty="0"/>
              <a:t>Primary endpoint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500" dirty="0"/>
              <a:t>In-scaffold late lumen loss </a:t>
            </a:r>
            <a:r>
              <a:rPr lang="en-US" sz="1500" b="1" dirty="0"/>
              <a:t>(LLL) at 6-month </a:t>
            </a:r>
            <a:r>
              <a:rPr lang="en-US" sz="1500" dirty="0"/>
              <a:t>post-procedure</a:t>
            </a:r>
          </a:p>
          <a:p>
            <a:pPr marL="0" indent="0">
              <a:spcBef>
                <a:spcPts val="0"/>
              </a:spcBef>
              <a:buNone/>
            </a:pPr>
            <a:endParaRPr lang="en-US" sz="1500" dirty="0"/>
          </a:p>
          <a:p>
            <a:pPr marL="0" indent="0">
              <a:spcBef>
                <a:spcPts val="0"/>
              </a:spcBef>
              <a:buNone/>
            </a:pPr>
            <a:r>
              <a:rPr lang="de-CH" sz="1500" b="1" dirty="0"/>
              <a:t>Clinical </a:t>
            </a:r>
            <a:r>
              <a:rPr lang="de-CH" sz="1500" b="1" dirty="0" err="1"/>
              <a:t>endpoints</a:t>
            </a:r>
            <a:r>
              <a:rPr lang="de-CH" sz="1500" b="1" dirty="0"/>
              <a:t> at </a:t>
            </a:r>
            <a:r>
              <a:rPr lang="en-US" sz="1500" b="1" dirty="0"/>
              <a:t>1, 6, 12, 24, 36, 48 and 60 months</a:t>
            </a:r>
            <a:endParaRPr lang="de-CH" sz="1500" b="1" dirty="0"/>
          </a:p>
          <a:p>
            <a:pPr marL="182549" lvl="1" indent="174613">
              <a:lnSpc>
                <a:spcPct val="150000"/>
              </a:lnSpc>
              <a:buClrTx/>
            </a:pPr>
            <a:r>
              <a:rPr lang="en-US" sz="1500" dirty="0"/>
              <a:t>Target Lesion Failure (TLF*) </a:t>
            </a:r>
          </a:p>
          <a:p>
            <a:pPr marL="182549" lvl="1" indent="174613">
              <a:lnSpc>
                <a:spcPct val="150000"/>
              </a:lnSpc>
              <a:buClrTx/>
            </a:pPr>
            <a:r>
              <a:rPr lang="en-US" sz="1500" dirty="0"/>
              <a:t>Cardiac death</a:t>
            </a:r>
          </a:p>
          <a:p>
            <a:pPr marL="182549" lvl="1" indent="174613">
              <a:lnSpc>
                <a:spcPct val="150000"/>
              </a:lnSpc>
              <a:buClrTx/>
            </a:pPr>
            <a:r>
              <a:rPr lang="en-US" sz="1500" dirty="0"/>
              <a:t>Target vessel MI ** </a:t>
            </a:r>
          </a:p>
          <a:p>
            <a:pPr marL="182549" lvl="1" indent="174613">
              <a:lnSpc>
                <a:spcPct val="150000"/>
              </a:lnSpc>
              <a:buClrTx/>
            </a:pPr>
            <a:r>
              <a:rPr lang="en-US" sz="1500" dirty="0"/>
              <a:t>Clinically driven target lesion revascularization</a:t>
            </a:r>
          </a:p>
          <a:p>
            <a:pPr marL="182549" lvl="1" indent="174613">
              <a:lnSpc>
                <a:spcPct val="150000"/>
              </a:lnSpc>
              <a:buClrTx/>
            </a:pPr>
            <a:r>
              <a:rPr lang="en-US" sz="1500" dirty="0"/>
              <a:t>Clinically driven target vessel revascularization</a:t>
            </a:r>
          </a:p>
          <a:p>
            <a:pPr marL="182549" lvl="1" indent="174613">
              <a:buClrTx/>
            </a:pPr>
            <a:r>
              <a:rPr lang="en-US" sz="1500" dirty="0"/>
              <a:t>Definite/probable scaffold thrombosis (ARC-2 def.)</a:t>
            </a:r>
          </a:p>
          <a:p>
            <a:endParaRPr lang="en-US" sz="800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BD186D2-8DD2-46ED-AA3B-2842D1837DC2}"/>
              </a:ext>
            </a:extLst>
          </p:cNvPr>
          <p:cNvGrpSpPr/>
          <p:nvPr/>
        </p:nvGrpSpPr>
        <p:grpSpPr>
          <a:xfrm>
            <a:off x="5486400" y="1054612"/>
            <a:ext cx="3336234" cy="3540011"/>
            <a:chOff x="7587277" y="838201"/>
            <a:chExt cx="3499840" cy="4023939"/>
          </a:xfrm>
        </p:grpSpPr>
        <p:grpSp>
          <p:nvGrpSpPr>
            <p:cNvPr id="25" name="Gruppieren 9">
              <a:extLst>
                <a:ext uri="{FF2B5EF4-FFF2-40B4-BE49-F238E27FC236}">
                  <a16:creationId xmlns:a16="http://schemas.microsoft.com/office/drawing/2014/main" id="{E198077F-4689-4343-8D50-CAE7A79031B4}"/>
                </a:ext>
              </a:extLst>
            </p:cNvPr>
            <p:cNvGrpSpPr/>
            <p:nvPr/>
          </p:nvGrpSpPr>
          <p:grpSpPr>
            <a:xfrm>
              <a:off x="7587277" y="838201"/>
              <a:ext cx="3499840" cy="3838059"/>
              <a:chOff x="5500520" y="1441811"/>
              <a:chExt cx="3499840" cy="5117411"/>
            </a:xfrm>
          </p:grpSpPr>
          <p:cxnSp>
            <p:nvCxnSpPr>
              <p:cNvPr id="31" name="Straight Connector 7">
                <a:extLst>
                  <a:ext uri="{FF2B5EF4-FFF2-40B4-BE49-F238E27FC236}">
                    <a16:creationId xmlns:a16="http://schemas.microsoft.com/office/drawing/2014/main" id="{0D52DCF0-205C-4151-8750-D210AEEF5A94}"/>
                  </a:ext>
                </a:extLst>
              </p:cNvPr>
              <p:cNvCxnSpPr/>
              <p:nvPr/>
            </p:nvCxnSpPr>
            <p:spPr bwMode="auto">
              <a:xfrm>
                <a:off x="7162580" y="1931103"/>
                <a:ext cx="0" cy="4628119"/>
              </a:xfrm>
              <a:prstGeom prst="line">
                <a:avLst/>
              </a:prstGeom>
              <a:solidFill>
                <a:srgbClr val="8E9295"/>
              </a:solidFill>
              <a:ln w="28575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2" name="Rounded Rectangle 8">
                <a:extLst>
                  <a:ext uri="{FF2B5EF4-FFF2-40B4-BE49-F238E27FC236}">
                    <a16:creationId xmlns:a16="http://schemas.microsoft.com/office/drawing/2014/main" id="{DA8C50A8-BC5C-4B62-A432-7FEC6BDEC537}"/>
                  </a:ext>
                </a:extLst>
              </p:cNvPr>
              <p:cNvSpPr/>
              <p:nvPr/>
            </p:nvSpPr>
            <p:spPr bwMode="auto">
              <a:xfrm>
                <a:off x="5546083" y="2660450"/>
                <a:ext cx="3341687" cy="748761"/>
              </a:xfrm>
              <a:prstGeom prst="roundRect">
                <a:avLst>
                  <a:gd name="adj" fmla="val 9167"/>
                </a:avLst>
              </a:prstGeom>
              <a:solidFill>
                <a:srgbClr val="6699FF"/>
              </a:solidFill>
              <a:ln w="28575" cap="flat" cmpd="sng" algn="ctr">
                <a:solidFill>
                  <a:srgbClr val="6699FF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360000" rIns="91440" bIns="360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cs typeface="Arial" charset="0"/>
                </a:endParaRPr>
              </a:p>
            </p:txBody>
          </p:sp>
          <p:pic>
            <p:nvPicPr>
              <p:cNvPr id="33" name="Textfeld 11">
                <a:extLst>
                  <a:ext uri="{FF2B5EF4-FFF2-40B4-BE49-F238E27FC236}">
                    <a16:creationId xmlns:a16="http://schemas.microsoft.com/office/drawing/2014/main" id="{4ECB4A4F-0634-41B3-A7AB-CB87852EA1A0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06794" y="4537851"/>
                <a:ext cx="3429000" cy="542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Textfeld 11">
                <a:extLst>
                  <a:ext uri="{FF2B5EF4-FFF2-40B4-BE49-F238E27FC236}">
                    <a16:creationId xmlns:a16="http://schemas.microsoft.com/office/drawing/2014/main" id="{D6EAD752-3C31-4B31-B6B0-FF0367D05122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13167" y="3418805"/>
                <a:ext cx="3422650" cy="14730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Textfeld 11">
                <a:extLst>
                  <a:ext uri="{FF2B5EF4-FFF2-40B4-BE49-F238E27FC236}">
                    <a16:creationId xmlns:a16="http://schemas.microsoft.com/office/drawing/2014/main" id="{D993024B-A8DD-46E2-8636-CC5DABDD5EBE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13167" y="1441811"/>
                <a:ext cx="3429000" cy="8186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Textfeld 11">
                <a:extLst>
                  <a:ext uri="{FF2B5EF4-FFF2-40B4-BE49-F238E27FC236}">
                    <a16:creationId xmlns:a16="http://schemas.microsoft.com/office/drawing/2014/main" id="{D81DBDB5-961B-4BDD-9338-80233ACE0009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02427" y="2081108"/>
                <a:ext cx="3429000" cy="542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Textfeld 11">
                <a:extLst>
                  <a:ext uri="{FF2B5EF4-FFF2-40B4-BE49-F238E27FC236}">
                    <a16:creationId xmlns:a16="http://schemas.microsoft.com/office/drawing/2014/main" id="{682ECC5D-FF72-4EA8-88D9-B7E4DEBF9FE8}"/>
                  </a:ext>
                </a:extLst>
              </p:cNvPr>
              <p:cNvPicPr>
                <a:picLocks noChangeArrowheads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00520" y="5118460"/>
                <a:ext cx="3429000" cy="542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" name="Text Box 15">
                <a:extLst>
                  <a:ext uri="{FF2B5EF4-FFF2-40B4-BE49-F238E27FC236}">
                    <a16:creationId xmlns:a16="http://schemas.microsoft.com/office/drawing/2014/main" id="{90DA3B74-C17D-432B-84AB-44E6AE5C381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51055" y="1507749"/>
                <a:ext cx="3298825" cy="60640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E9295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54000" rIns="540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9pPr>
              </a:lstStyle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Up to 116 subjects with </a:t>
                </a:r>
              </a:p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1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de novo </a:t>
                </a: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coronary artery stenosis</a:t>
                </a:r>
              </a:p>
            </p:txBody>
          </p:sp>
          <p:sp>
            <p:nvSpPr>
              <p:cNvPr id="39" name="Text Box 16">
                <a:extLst>
                  <a:ext uri="{FF2B5EF4-FFF2-40B4-BE49-F238E27FC236}">
                    <a16:creationId xmlns:a16="http://schemas.microsoft.com/office/drawing/2014/main" id="{0F75FFEF-7038-4EE4-8A80-15D3606A55C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65555" y="2137091"/>
                <a:ext cx="3298825" cy="373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E9295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54000" rIns="540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9pPr>
              </a:lstStyle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1-month Clinical F/U</a:t>
                </a:r>
              </a:p>
            </p:txBody>
          </p:sp>
          <p:sp>
            <p:nvSpPr>
              <p:cNvPr id="40" name="Text Box 17">
                <a:extLst>
                  <a:ext uri="{FF2B5EF4-FFF2-40B4-BE49-F238E27FC236}">
                    <a16:creationId xmlns:a16="http://schemas.microsoft.com/office/drawing/2014/main" id="{4E17BC72-5ED6-454F-9599-DECA759507F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86192" y="3462019"/>
                <a:ext cx="3414168" cy="10728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E9295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54000" rIns="54000">
                <a:spAutoFit/>
              </a:bodyPr>
              <a:lstStyle>
                <a:lvl1pPr marL="177800" indent="-1778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9pPr>
              </a:lstStyle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12-month</a:t>
                </a:r>
              </a:p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Clinical and angiographic FUP</a:t>
                </a:r>
              </a:p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IVUS &amp; OCT </a:t>
                </a:r>
              </a:p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Vasomotion (if applicable and if subject consents)</a:t>
                </a:r>
              </a:p>
            </p:txBody>
          </p:sp>
          <p:sp>
            <p:nvSpPr>
              <p:cNvPr id="41" name="Text Box 16">
                <a:extLst>
                  <a:ext uri="{FF2B5EF4-FFF2-40B4-BE49-F238E27FC236}">
                    <a16:creationId xmlns:a16="http://schemas.microsoft.com/office/drawing/2014/main" id="{C079A5BA-6C0C-42F7-BCB1-933096A696B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39941" y="4560226"/>
                <a:ext cx="3298825" cy="373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E9295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54000" rIns="540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9pPr>
              </a:lstStyle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cs typeface="Arial" charset="0"/>
                  </a:rPr>
                  <a:t>2-year Clinical F/U</a:t>
                </a:r>
              </a:p>
            </p:txBody>
          </p:sp>
          <p:sp>
            <p:nvSpPr>
              <p:cNvPr id="42" name="Text Box 16">
                <a:extLst>
                  <a:ext uri="{FF2B5EF4-FFF2-40B4-BE49-F238E27FC236}">
                    <a16:creationId xmlns:a16="http://schemas.microsoft.com/office/drawing/2014/main" id="{801DD7C0-17D5-4AFE-96C7-7C399D5FA67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86192" y="3033179"/>
                <a:ext cx="3321050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8E9295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54000" rIns="5400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9pPr>
              </a:lstStyle>
              <a:p>
                <a:pPr marL="0" marR="0" lvl="0" indent="0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34C"/>
                    </a:solidFill>
                    <a:effectLst/>
                    <a:uLnTx/>
                    <a:uFillTx/>
                    <a:latin typeface="Verdana" pitchFamily="34" charset="0"/>
                    <a:cs typeface="Arial" charset="0"/>
                  </a:rPr>
                  <a:t>	</a:t>
                </a:r>
              </a:p>
            </p:txBody>
          </p:sp>
          <p:sp>
            <p:nvSpPr>
              <p:cNvPr id="43" name="Text Box 17">
                <a:extLst>
                  <a:ext uri="{FF2B5EF4-FFF2-40B4-BE49-F238E27FC236}">
                    <a16:creationId xmlns:a16="http://schemas.microsoft.com/office/drawing/2014/main" id="{8A7AF137-4016-44ED-B455-F805AE62C42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39941" y="2640523"/>
                <a:ext cx="3347829" cy="839641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54000" rIns="54000">
                <a:spAutoFit/>
              </a:bodyPr>
              <a:lstStyle>
                <a:lvl1pPr marL="177800" indent="-1778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Verdana" pitchFamily="34" charset="0"/>
                    <a:cs typeface="Arial" charset="0"/>
                  </a:defRPr>
                </a:lvl9pPr>
              </a:lstStyle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cs typeface="Arial" charset="0"/>
                  </a:rPr>
                  <a:t>6-month</a:t>
                </a:r>
              </a:p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cs typeface="Arial" charset="0"/>
                  </a:rPr>
                  <a:t>Clinical and angiographic F/U (mandatory) </a:t>
                </a:r>
              </a:p>
              <a:p>
                <a:pPr marL="0" marR="0" lvl="0" indent="0" algn="ctr" defTabSz="91343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cs typeface="Arial" charset="0"/>
                  </a:rPr>
                  <a:t>IVUS &amp; OCT </a:t>
                </a:r>
              </a:p>
            </p:txBody>
          </p:sp>
        </p:grpSp>
        <p:pic>
          <p:nvPicPr>
            <p:cNvPr id="26" name="Textfeld 11">
              <a:extLst>
                <a:ext uri="{FF2B5EF4-FFF2-40B4-BE49-F238E27FC236}">
                  <a16:creationId xmlns:a16="http://schemas.microsoft.com/office/drawing/2014/main" id="{4ED89790-CCC9-4C87-AD59-57278C2D2258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4913" y="4454946"/>
              <a:ext cx="3429000" cy="407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Text Box 16">
              <a:extLst>
                <a:ext uri="{FF2B5EF4-FFF2-40B4-BE49-F238E27FC236}">
                  <a16:creationId xmlns:a16="http://schemas.microsoft.com/office/drawing/2014/main" id="{682AECC6-3E70-4AB0-A587-CA58C658AB7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52313" y="4494573"/>
              <a:ext cx="3322214" cy="2798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54000" rIns="540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marL="0" marR="0" lvl="0" indent="0" algn="ctr" defTabSz="91343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cs typeface="Arial" charset="0"/>
                </a:rPr>
                <a:t>5-year Clinical F/U</a:t>
              </a:r>
            </a:p>
          </p:txBody>
        </p:sp>
        <p:sp>
          <p:nvSpPr>
            <p:cNvPr id="28" name="Text Box 16">
              <a:extLst>
                <a:ext uri="{FF2B5EF4-FFF2-40B4-BE49-F238E27FC236}">
                  <a16:creationId xmlns:a16="http://schemas.microsoft.com/office/drawing/2014/main" id="{F043435D-C3BD-4C3E-B871-F2D73850F5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26698" y="3651126"/>
              <a:ext cx="3298825" cy="2798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E9295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54000" rIns="540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marL="0" marR="0" lvl="0" indent="0" algn="ctr" defTabSz="91343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cs typeface="Arial" charset="0"/>
                </a:rPr>
                <a:t>3-year Clinical F/U</a:t>
              </a:r>
            </a:p>
          </p:txBody>
        </p:sp>
        <p:pic>
          <p:nvPicPr>
            <p:cNvPr id="29" name="Textfeld 11">
              <a:extLst>
                <a:ext uri="{FF2B5EF4-FFF2-40B4-BE49-F238E27FC236}">
                  <a16:creationId xmlns:a16="http://schemas.microsoft.com/office/drawing/2014/main" id="{C747409F-3714-4968-BCB5-1592D63F115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2706" y="4031146"/>
              <a:ext cx="3429000" cy="407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Text Box 16">
              <a:extLst>
                <a:ext uri="{FF2B5EF4-FFF2-40B4-BE49-F238E27FC236}">
                  <a16:creationId xmlns:a16="http://schemas.microsoft.com/office/drawing/2014/main" id="{F1E6EB3A-E130-4A1B-B58C-E57B898A45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40753" y="4069020"/>
              <a:ext cx="3320377" cy="27988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54000" rIns="540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marL="0" marR="0" lvl="0" indent="0" algn="ctr" defTabSz="91343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cs typeface="Arial" charset="0"/>
                </a:rPr>
                <a:t>4-year Clinical F/U</a:t>
              </a: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6200A637-9CC7-405F-AF34-911A323566FF}"/>
              </a:ext>
            </a:extLst>
          </p:cNvPr>
          <p:cNvSpPr txBox="1"/>
          <p:nvPr/>
        </p:nvSpPr>
        <p:spPr>
          <a:xfrm>
            <a:off x="0" y="4708773"/>
            <a:ext cx="6359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0" i="0" dirty="0">
                <a:solidFill>
                  <a:schemeClr val="bg1"/>
                </a:solidFill>
              </a:rPr>
              <a:t>* composite of cardiac death, </a:t>
            </a:r>
            <a:r>
              <a:rPr lang="en-AU" sz="800" b="0" i="0" dirty="0">
                <a:solidFill>
                  <a:schemeClr val="bg1"/>
                </a:solidFill>
              </a:rPr>
              <a:t>target vessel myocardial infarction, and clinically driven target lesion revascularization</a:t>
            </a:r>
          </a:p>
          <a:p>
            <a:r>
              <a:rPr lang="en-AU" sz="800" b="0" i="0" dirty="0">
                <a:solidFill>
                  <a:schemeClr val="bg1"/>
                </a:solidFill>
              </a:rPr>
              <a:t>** peri-procedural target vessel MI according to SCAI definition and non-peri-procedural target vessel MI according to </a:t>
            </a:r>
            <a:r>
              <a:rPr lang="en-AU" sz="800" dirty="0">
                <a:solidFill>
                  <a:schemeClr val="bg1"/>
                </a:solidFill>
              </a:rPr>
              <a:t>e</a:t>
            </a:r>
            <a:r>
              <a:rPr lang="en-AU" sz="800" b="0" i="0" dirty="0">
                <a:solidFill>
                  <a:schemeClr val="bg1"/>
                </a:solidFill>
              </a:rPr>
              <a:t>xtended historical definition</a:t>
            </a:r>
            <a:endParaRPr lang="en-US" sz="800" b="0" i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561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2865EBC-7CEE-485A-BA00-8A3DD88312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645856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7" progId="TCLayout.ActiveDocument.1">
                  <p:embed/>
                </p:oleObj>
              </mc:Choice>
              <mc:Fallback>
                <p:oleObj name="think-cell Folie" r:id="rId3" imgW="338" imgH="337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2865EBC-7CEE-485A-BA00-8A3DD88312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419ACE2-A2A7-4685-A731-65416BA95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4000" dirty="0"/>
              <a:t>BIOMAG-I: Clinical Sites</a:t>
            </a:r>
            <a:endParaRPr lang="de-CH" sz="400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FB75B68-76B1-467A-917E-C20D522147D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l" defTabSz="685800">
              <a:defRPr/>
            </a:pPr>
            <a:fld id="{DF09BF93-3748-4C85-A40E-6CE8D618504B}" type="slidenum">
              <a:rPr lang="en-US" sz="600">
                <a:solidFill>
                  <a:srgbClr val="8E9295"/>
                </a:solidFill>
                <a:latin typeface="Verdana"/>
              </a:rPr>
              <a:pPr algn="l" defTabSz="685800">
                <a:defRPr/>
              </a:pPr>
              <a:t>7</a:t>
            </a:fld>
            <a:endParaRPr lang="en-US" sz="600">
              <a:solidFill>
                <a:srgbClr val="8E9295"/>
              </a:solidFill>
              <a:latin typeface="Verdana"/>
            </a:endParaRPr>
          </a:p>
        </p:txBody>
      </p:sp>
      <p:sp>
        <p:nvSpPr>
          <p:cNvPr id="36" name="Freeform 20">
            <a:extLst>
              <a:ext uri="{FF2B5EF4-FFF2-40B4-BE49-F238E27FC236}">
                <a16:creationId xmlns:a16="http://schemas.microsoft.com/office/drawing/2014/main" id="{04C89851-9058-446A-AE18-0B62AFC0DBA3}"/>
              </a:ext>
            </a:extLst>
          </p:cNvPr>
          <p:cNvSpPr>
            <a:spLocks/>
          </p:cNvSpPr>
          <p:nvPr/>
        </p:nvSpPr>
        <p:spPr bwMode="gray">
          <a:xfrm>
            <a:off x="2131543" y="1285516"/>
            <a:ext cx="518102" cy="1124012"/>
          </a:xfrm>
          <a:custGeom>
            <a:avLst/>
            <a:gdLst>
              <a:gd name="T0" fmla="*/ 2147483647 w 137"/>
              <a:gd name="T1" fmla="*/ 2147483647 h 305"/>
              <a:gd name="T2" fmla="*/ 2147483647 w 137"/>
              <a:gd name="T3" fmla="*/ 2147483647 h 305"/>
              <a:gd name="T4" fmla="*/ 2147483647 w 137"/>
              <a:gd name="T5" fmla="*/ 2147483647 h 305"/>
              <a:gd name="T6" fmla="*/ 2147483647 w 137"/>
              <a:gd name="T7" fmla="*/ 2147483647 h 305"/>
              <a:gd name="T8" fmla="*/ 2147483647 w 137"/>
              <a:gd name="T9" fmla="*/ 2147483647 h 305"/>
              <a:gd name="T10" fmla="*/ 2147483647 w 137"/>
              <a:gd name="T11" fmla="*/ 2147483647 h 305"/>
              <a:gd name="T12" fmla="*/ 2147483647 w 137"/>
              <a:gd name="T13" fmla="*/ 2147483647 h 305"/>
              <a:gd name="T14" fmla="*/ 2147483647 w 137"/>
              <a:gd name="T15" fmla="*/ 2147483647 h 305"/>
              <a:gd name="T16" fmla="*/ 2147483647 w 137"/>
              <a:gd name="T17" fmla="*/ 2147483647 h 305"/>
              <a:gd name="T18" fmla="*/ 2147483647 w 137"/>
              <a:gd name="T19" fmla="*/ 2147483647 h 305"/>
              <a:gd name="T20" fmla="*/ 2147483647 w 137"/>
              <a:gd name="T21" fmla="*/ 2147483647 h 305"/>
              <a:gd name="T22" fmla="*/ 2147483647 w 137"/>
              <a:gd name="T23" fmla="*/ 2147483647 h 305"/>
              <a:gd name="T24" fmla="*/ 2147483647 w 137"/>
              <a:gd name="T25" fmla="*/ 2147483647 h 305"/>
              <a:gd name="T26" fmla="*/ 2147483647 w 137"/>
              <a:gd name="T27" fmla="*/ 2147483647 h 305"/>
              <a:gd name="T28" fmla="*/ 2147483647 w 137"/>
              <a:gd name="T29" fmla="*/ 2147483647 h 305"/>
              <a:gd name="T30" fmla="*/ 2147483647 w 137"/>
              <a:gd name="T31" fmla="*/ 2147483647 h 305"/>
              <a:gd name="T32" fmla="*/ 2147483647 w 137"/>
              <a:gd name="T33" fmla="*/ 2147483647 h 305"/>
              <a:gd name="T34" fmla="*/ 2147483647 w 137"/>
              <a:gd name="T35" fmla="*/ 2147483647 h 305"/>
              <a:gd name="T36" fmla="*/ 2147483647 w 137"/>
              <a:gd name="T37" fmla="*/ 2147483647 h 305"/>
              <a:gd name="T38" fmla="*/ 2147483647 w 137"/>
              <a:gd name="T39" fmla="*/ 2147483647 h 305"/>
              <a:gd name="T40" fmla="*/ 2147483647 w 137"/>
              <a:gd name="T41" fmla="*/ 2147483647 h 305"/>
              <a:gd name="T42" fmla="*/ 2147483647 w 137"/>
              <a:gd name="T43" fmla="*/ 2147483647 h 305"/>
              <a:gd name="T44" fmla="*/ 2147483647 w 137"/>
              <a:gd name="T45" fmla="*/ 2147483647 h 305"/>
              <a:gd name="T46" fmla="*/ 2147483647 w 137"/>
              <a:gd name="T47" fmla="*/ 2147483647 h 305"/>
              <a:gd name="T48" fmla="*/ 2147483647 w 137"/>
              <a:gd name="T49" fmla="*/ 2147483647 h 305"/>
              <a:gd name="T50" fmla="*/ 0 w 137"/>
              <a:gd name="T51" fmla="*/ 2147483647 h 305"/>
              <a:gd name="T52" fmla="*/ 2147483647 w 137"/>
              <a:gd name="T53" fmla="*/ 2147483647 h 305"/>
              <a:gd name="T54" fmla="*/ 2147483647 w 137"/>
              <a:gd name="T55" fmla="*/ 2147483647 h 305"/>
              <a:gd name="T56" fmla="*/ 2147483647 w 137"/>
              <a:gd name="T57" fmla="*/ 2147483647 h 305"/>
              <a:gd name="T58" fmla="*/ 2147483647 w 137"/>
              <a:gd name="T59" fmla="*/ 2147483647 h 305"/>
              <a:gd name="T60" fmla="*/ 2147483647 w 137"/>
              <a:gd name="T61" fmla="*/ 2147483647 h 305"/>
              <a:gd name="T62" fmla="*/ 2147483647 w 137"/>
              <a:gd name="T63" fmla="*/ 2147483647 h 305"/>
              <a:gd name="T64" fmla="*/ 2147483647 w 137"/>
              <a:gd name="T65" fmla="*/ 2147483647 h 305"/>
              <a:gd name="T66" fmla="*/ 2147483647 w 137"/>
              <a:gd name="T67" fmla="*/ 0 h 305"/>
              <a:gd name="T68" fmla="*/ 2147483647 w 137"/>
              <a:gd name="T69" fmla="*/ 2147483647 h 305"/>
              <a:gd name="T70" fmla="*/ 2147483647 w 137"/>
              <a:gd name="T71" fmla="*/ 2147483647 h 30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137"/>
              <a:gd name="T109" fmla="*/ 0 h 305"/>
              <a:gd name="T110" fmla="*/ 137 w 137"/>
              <a:gd name="T111" fmla="*/ 305 h 30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137" h="305">
                <a:moveTo>
                  <a:pt x="104" y="40"/>
                </a:moveTo>
                <a:lnTo>
                  <a:pt x="104" y="40"/>
                </a:lnTo>
                <a:lnTo>
                  <a:pt x="104" y="64"/>
                </a:lnTo>
                <a:lnTo>
                  <a:pt x="120" y="80"/>
                </a:lnTo>
                <a:lnTo>
                  <a:pt x="112" y="104"/>
                </a:lnTo>
                <a:lnTo>
                  <a:pt x="120" y="144"/>
                </a:lnTo>
                <a:lnTo>
                  <a:pt x="112" y="168"/>
                </a:lnTo>
                <a:lnTo>
                  <a:pt x="128" y="192"/>
                </a:lnTo>
                <a:lnTo>
                  <a:pt x="120" y="208"/>
                </a:lnTo>
                <a:lnTo>
                  <a:pt x="136" y="224"/>
                </a:lnTo>
                <a:lnTo>
                  <a:pt x="136" y="232"/>
                </a:lnTo>
                <a:lnTo>
                  <a:pt x="112" y="272"/>
                </a:lnTo>
                <a:lnTo>
                  <a:pt x="88" y="288"/>
                </a:lnTo>
                <a:lnTo>
                  <a:pt x="80" y="288"/>
                </a:lnTo>
                <a:lnTo>
                  <a:pt x="40" y="304"/>
                </a:lnTo>
                <a:lnTo>
                  <a:pt x="8" y="288"/>
                </a:lnTo>
                <a:lnTo>
                  <a:pt x="16" y="264"/>
                </a:lnTo>
                <a:lnTo>
                  <a:pt x="8" y="240"/>
                </a:lnTo>
                <a:lnTo>
                  <a:pt x="16" y="224"/>
                </a:lnTo>
                <a:lnTo>
                  <a:pt x="48" y="176"/>
                </a:lnTo>
                <a:lnTo>
                  <a:pt x="56" y="168"/>
                </a:lnTo>
                <a:lnTo>
                  <a:pt x="56" y="152"/>
                </a:lnTo>
                <a:lnTo>
                  <a:pt x="48" y="144"/>
                </a:lnTo>
                <a:lnTo>
                  <a:pt x="40" y="144"/>
                </a:lnTo>
                <a:lnTo>
                  <a:pt x="32" y="72"/>
                </a:lnTo>
                <a:lnTo>
                  <a:pt x="0" y="40"/>
                </a:lnTo>
                <a:lnTo>
                  <a:pt x="8" y="32"/>
                </a:lnTo>
                <a:lnTo>
                  <a:pt x="24" y="48"/>
                </a:lnTo>
                <a:lnTo>
                  <a:pt x="32" y="48"/>
                </a:lnTo>
                <a:lnTo>
                  <a:pt x="40" y="48"/>
                </a:lnTo>
                <a:lnTo>
                  <a:pt x="56" y="48"/>
                </a:lnTo>
                <a:lnTo>
                  <a:pt x="64" y="40"/>
                </a:lnTo>
                <a:lnTo>
                  <a:pt x="72" y="8"/>
                </a:lnTo>
                <a:lnTo>
                  <a:pt x="88" y="0"/>
                </a:lnTo>
                <a:lnTo>
                  <a:pt x="112" y="16"/>
                </a:lnTo>
                <a:lnTo>
                  <a:pt x="104" y="4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37" name="Freeform 56">
            <a:extLst>
              <a:ext uri="{FF2B5EF4-FFF2-40B4-BE49-F238E27FC236}">
                <a16:creationId xmlns:a16="http://schemas.microsoft.com/office/drawing/2014/main" id="{8FBC5D1F-DDA9-4474-903A-2D1D3D001721}"/>
              </a:ext>
            </a:extLst>
          </p:cNvPr>
          <p:cNvSpPr>
            <a:spLocks/>
          </p:cNvSpPr>
          <p:nvPr/>
        </p:nvSpPr>
        <p:spPr bwMode="gray">
          <a:xfrm>
            <a:off x="2162278" y="2589543"/>
            <a:ext cx="329300" cy="206362"/>
          </a:xfrm>
          <a:custGeom>
            <a:avLst/>
            <a:gdLst>
              <a:gd name="T0" fmla="*/ 2147483647 w 89"/>
              <a:gd name="T1" fmla="*/ 0 h 57"/>
              <a:gd name="T2" fmla="*/ 2147483647 w 89"/>
              <a:gd name="T3" fmla="*/ 0 h 57"/>
              <a:gd name="T4" fmla="*/ 2147483647 w 89"/>
              <a:gd name="T5" fmla="*/ 2147483647 h 57"/>
              <a:gd name="T6" fmla="*/ 2147483647 w 89"/>
              <a:gd name="T7" fmla="*/ 2147483647 h 57"/>
              <a:gd name="T8" fmla="*/ 2147483647 w 89"/>
              <a:gd name="T9" fmla="*/ 2147483647 h 57"/>
              <a:gd name="T10" fmla="*/ 2147483647 w 89"/>
              <a:gd name="T11" fmla="*/ 2147483647 h 57"/>
              <a:gd name="T12" fmla="*/ 2147483647 w 89"/>
              <a:gd name="T13" fmla="*/ 2147483647 h 57"/>
              <a:gd name="T14" fmla="*/ 0 w 89"/>
              <a:gd name="T15" fmla="*/ 2147483647 h 57"/>
              <a:gd name="T16" fmla="*/ 0 w 89"/>
              <a:gd name="T17" fmla="*/ 2147483647 h 57"/>
              <a:gd name="T18" fmla="*/ 2147483647 w 89"/>
              <a:gd name="T19" fmla="*/ 2147483647 h 57"/>
              <a:gd name="T20" fmla="*/ 2147483647 w 89"/>
              <a:gd name="T21" fmla="*/ 2147483647 h 57"/>
              <a:gd name="T22" fmla="*/ 2147483647 w 89"/>
              <a:gd name="T23" fmla="*/ 2147483647 h 57"/>
              <a:gd name="T24" fmla="*/ 2147483647 w 89"/>
              <a:gd name="T25" fmla="*/ 2147483647 h 57"/>
              <a:gd name="T26" fmla="*/ 2147483647 w 89"/>
              <a:gd name="T27" fmla="*/ 2147483647 h 57"/>
              <a:gd name="T28" fmla="*/ 2147483647 w 89"/>
              <a:gd name="T29" fmla="*/ 2147483647 h 57"/>
              <a:gd name="T30" fmla="*/ 2147483647 w 89"/>
              <a:gd name="T31" fmla="*/ 2147483647 h 57"/>
              <a:gd name="T32" fmla="*/ 2147483647 w 89"/>
              <a:gd name="T33" fmla="*/ 2147483647 h 57"/>
              <a:gd name="T34" fmla="*/ 2147483647 w 89"/>
              <a:gd name="T35" fmla="*/ 2147483647 h 57"/>
              <a:gd name="T36" fmla="*/ 2147483647 w 89"/>
              <a:gd name="T37" fmla="*/ 0 h 57"/>
              <a:gd name="T38" fmla="*/ 2147483647 w 89"/>
              <a:gd name="T39" fmla="*/ 0 h 5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9"/>
              <a:gd name="T61" fmla="*/ 0 h 57"/>
              <a:gd name="T62" fmla="*/ 89 w 89"/>
              <a:gd name="T63" fmla="*/ 57 h 5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9" h="57">
                <a:moveTo>
                  <a:pt x="40" y="0"/>
                </a:moveTo>
                <a:lnTo>
                  <a:pt x="40" y="0"/>
                </a:lnTo>
                <a:lnTo>
                  <a:pt x="40" y="24"/>
                </a:lnTo>
                <a:lnTo>
                  <a:pt x="32" y="24"/>
                </a:lnTo>
                <a:lnTo>
                  <a:pt x="24" y="24"/>
                </a:lnTo>
                <a:lnTo>
                  <a:pt x="16" y="8"/>
                </a:lnTo>
                <a:lnTo>
                  <a:pt x="8" y="16"/>
                </a:lnTo>
                <a:lnTo>
                  <a:pt x="0" y="32"/>
                </a:lnTo>
                <a:lnTo>
                  <a:pt x="0" y="48"/>
                </a:lnTo>
                <a:lnTo>
                  <a:pt x="8" y="40"/>
                </a:lnTo>
                <a:lnTo>
                  <a:pt x="40" y="40"/>
                </a:lnTo>
                <a:lnTo>
                  <a:pt x="48" y="40"/>
                </a:lnTo>
                <a:lnTo>
                  <a:pt x="72" y="56"/>
                </a:lnTo>
                <a:lnTo>
                  <a:pt x="88" y="40"/>
                </a:lnTo>
                <a:lnTo>
                  <a:pt x="80" y="24"/>
                </a:lnTo>
                <a:lnTo>
                  <a:pt x="80" y="16"/>
                </a:lnTo>
                <a:lnTo>
                  <a:pt x="80" y="8"/>
                </a:lnTo>
                <a:lnTo>
                  <a:pt x="64" y="8"/>
                </a:lnTo>
                <a:lnTo>
                  <a:pt x="48" y="0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38" name="Freeform 59">
            <a:extLst>
              <a:ext uri="{FF2B5EF4-FFF2-40B4-BE49-F238E27FC236}">
                <a16:creationId xmlns:a16="http://schemas.microsoft.com/office/drawing/2014/main" id="{C61DD7AC-54DE-4B8A-82F5-546922BD13C1}"/>
              </a:ext>
            </a:extLst>
          </p:cNvPr>
          <p:cNvSpPr>
            <a:spLocks/>
          </p:cNvSpPr>
          <p:nvPr/>
        </p:nvSpPr>
        <p:spPr bwMode="gray">
          <a:xfrm>
            <a:off x="2074466" y="2826640"/>
            <a:ext cx="149282" cy="92206"/>
          </a:xfrm>
          <a:custGeom>
            <a:avLst/>
            <a:gdLst>
              <a:gd name="T0" fmla="*/ 2147483647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0 w 41"/>
              <a:gd name="T9" fmla="*/ 2147483647 h 25"/>
              <a:gd name="T10" fmla="*/ 2147483647 w 41"/>
              <a:gd name="T11" fmla="*/ 2147483647 h 25"/>
              <a:gd name="T12" fmla="*/ 2147483647 w 41"/>
              <a:gd name="T13" fmla="*/ 0 h 25"/>
              <a:gd name="T14" fmla="*/ 2147483647 w 41"/>
              <a:gd name="T15" fmla="*/ 0 h 2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1"/>
              <a:gd name="T25" fmla="*/ 0 h 25"/>
              <a:gd name="T26" fmla="*/ 41 w 41"/>
              <a:gd name="T27" fmla="*/ 25 h 2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1" h="25">
                <a:moveTo>
                  <a:pt x="40" y="0"/>
                </a:moveTo>
                <a:lnTo>
                  <a:pt x="40" y="0"/>
                </a:lnTo>
                <a:lnTo>
                  <a:pt x="40" y="24"/>
                </a:lnTo>
                <a:lnTo>
                  <a:pt x="24" y="24"/>
                </a:lnTo>
                <a:lnTo>
                  <a:pt x="0" y="16"/>
                </a:lnTo>
                <a:lnTo>
                  <a:pt x="16" y="8"/>
                </a:lnTo>
                <a:lnTo>
                  <a:pt x="24" y="0"/>
                </a:lnTo>
                <a:lnTo>
                  <a:pt x="40" y="0"/>
                </a:lnTo>
              </a:path>
            </a:pathLst>
          </a:custGeom>
          <a:solidFill>
            <a:schemeClr val="accent2"/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39" name="Freeform 60">
            <a:extLst>
              <a:ext uri="{FF2B5EF4-FFF2-40B4-BE49-F238E27FC236}">
                <a16:creationId xmlns:a16="http://schemas.microsoft.com/office/drawing/2014/main" id="{E0CCECF0-301A-46B5-8BEF-75B86C19214F}"/>
              </a:ext>
            </a:extLst>
          </p:cNvPr>
          <p:cNvSpPr>
            <a:spLocks/>
          </p:cNvSpPr>
          <p:nvPr/>
        </p:nvSpPr>
        <p:spPr bwMode="gray">
          <a:xfrm>
            <a:off x="3018459" y="3678432"/>
            <a:ext cx="329302" cy="127330"/>
          </a:xfrm>
          <a:custGeom>
            <a:avLst/>
            <a:gdLst>
              <a:gd name="T0" fmla="*/ 2147483647 w 89"/>
              <a:gd name="T1" fmla="*/ 2147483647 h 33"/>
              <a:gd name="T2" fmla="*/ 2147483647 w 89"/>
              <a:gd name="T3" fmla="*/ 2147483647 h 33"/>
              <a:gd name="T4" fmla="*/ 2147483647 w 89"/>
              <a:gd name="T5" fmla="*/ 2147483647 h 33"/>
              <a:gd name="T6" fmla="*/ 2147483647 w 89"/>
              <a:gd name="T7" fmla="*/ 2147483647 h 33"/>
              <a:gd name="T8" fmla="*/ 0 w 89"/>
              <a:gd name="T9" fmla="*/ 0 h 33"/>
              <a:gd name="T10" fmla="*/ 2147483647 w 89"/>
              <a:gd name="T11" fmla="*/ 0 h 33"/>
              <a:gd name="T12" fmla="*/ 2147483647 w 89"/>
              <a:gd name="T13" fmla="*/ 2147483647 h 33"/>
              <a:gd name="T14" fmla="*/ 2147483647 w 89"/>
              <a:gd name="T15" fmla="*/ 2147483647 h 33"/>
              <a:gd name="T16" fmla="*/ 2147483647 w 89"/>
              <a:gd name="T17" fmla="*/ 2147483647 h 33"/>
              <a:gd name="T18" fmla="*/ 2147483647 w 89"/>
              <a:gd name="T19" fmla="*/ 2147483647 h 33"/>
              <a:gd name="T20" fmla="*/ 2147483647 w 89"/>
              <a:gd name="T21" fmla="*/ 2147483647 h 33"/>
              <a:gd name="T22" fmla="*/ 2147483647 w 89"/>
              <a:gd name="T23" fmla="*/ 2147483647 h 33"/>
              <a:gd name="T24" fmla="*/ 2147483647 w 89"/>
              <a:gd name="T25" fmla="*/ 2147483647 h 33"/>
              <a:gd name="T26" fmla="*/ 2147483647 w 89"/>
              <a:gd name="T27" fmla="*/ 2147483647 h 33"/>
              <a:gd name="T28" fmla="*/ 2147483647 w 89"/>
              <a:gd name="T29" fmla="*/ 2147483647 h 3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9"/>
              <a:gd name="T46" fmla="*/ 0 h 33"/>
              <a:gd name="T47" fmla="*/ 89 w 89"/>
              <a:gd name="T48" fmla="*/ 33 h 3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9" h="33">
                <a:moveTo>
                  <a:pt x="24" y="32"/>
                </a:moveTo>
                <a:lnTo>
                  <a:pt x="24" y="32"/>
                </a:lnTo>
                <a:lnTo>
                  <a:pt x="24" y="24"/>
                </a:lnTo>
                <a:lnTo>
                  <a:pt x="24" y="16"/>
                </a:lnTo>
                <a:lnTo>
                  <a:pt x="0" y="0"/>
                </a:lnTo>
                <a:lnTo>
                  <a:pt x="40" y="0"/>
                </a:lnTo>
                <a:lnTo>
                  <a:pt x="56" y="8"/>
                </a:lnTo>
                <a:lnTo>
                  <a:pt x="72" y="8"/>
                </a:lnTo>
                <a:lnTo>
                  <a:pt x="88" y="24"/>
                </a:lnTo>
                <a:lnTo>
                  <a:pt x="80" y="24"/>
                </a:lnTo>
                <a:lnTo>
                  <a:pt x="88" y="32"/>
                </a:lnTo>
                <a:lnTo>
                  <a:pt x="72" y="32"/>
                </a:lnTo>
                <a:lnTo>
                  <a:pt x="64" y="32"/>
                </a:lnTo>
                <a:lnTo>
                  <a:pt x="48" y="32"/>
                </a:lnTo>
                <a:lnTo>
                  <a:pt x="24" y="32"/>
                </a:lnTo>
              </a:path>
            </a:pathLst>
          </a:custGeom>
          <a:solidFill>
            <a:schemeClr val="accent2"/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40" name="Freeform 69">
            <a:extLst>
              <a:ext uri="{FF2B5EF4-FFF2-40B4-BE49-F238E27FC236}">
                <a16:creationId xmlns:a16="http://schemas.microsoft.com/office/drawing/2014/main" id="{BA82F8FF-FADB-48FE-A4C7-5BC05AA54AB8}"/>
              </a:ext>
            </a:extLst>
          </p:cNvPr>
          <p:cNvSpPr>
            <a:spLocks/>
          </p:cNvSpPr>
          <p:nvPr/>
        </p:nvSpPr>
        <p:spPr bwMode="gray">
          <a:xfrm>
            <a:off x="1688085" y="1426017"/>
            <a:ext cx="592741" cy="1405018"/>
          </a:xfrm>
          <a:custGeom>
            <a:avLst/>
            <a:gdLst>
              <a:gd name="T0" fmla="*/ 0 w 161"/>
              <a:gd name="T1" fmla="*/ 2147483647 h 377"/>
              <a:gd name="T2" fmla="*/ 0 w 161"/>
              <a:gd name="T3" fmla="*/ 2147483647 h 377"/>
              <a:gd name="T4" fmla="*/ 2147483647 w 161"/>
              <a:gd name="T5" fmla="*/ 2147483647 h 377"/>
              <a:gd name="T6" fmla="*/ 2147483647 w 161"/>
              <a:gd name="T7" fmla="*/ 2147483647 h 377"/>
              <a:gd name="T8" fmla="*/ 2147483647 w 161"/>
              <a:gd name="T9" fmla="*/ 2147483647 h 377"/>
              <a:gd name="T10" fmla="*/ 2147483647 w 161"/>
              <a:gd name="T11" fmla="*/ 2147483647 h 377"/>
              <a:gd name="T12" fmla="*/ 2147483647 w 161"/>
              <a:gd name="T13" fmla="*/ 2147483647 h 377"/>
              <a:gd name="T14" fmla="*/ 2147483647 w 161"/>
              <a:gd name="T15" fmla="*/ 2147483647 h 377"/>
              <a:gd name="T16" fmla="*/ 2147483647 w 161"/>
              <a:gd name="T17" fmla="*/ 2147483647 h 377"/>
              <a:gd name="T18" fmla="*/ 2147483647 w 161"/>
              <a:gd name="T19" fmla="*/ 2147483647 h 377"/>
              <a:gd name="T20" fmla="*/ 2147483647 w 161"/>
              <a:gd name="T21" fmla="*/ 2147483647 h 377"/>
              <a:gd name="T22" fmla="*/ 2147483647 w 161"/>
              <a:gd name="T23" fmla="*/ 2147483647 h 377"/>
              <a:gd name="T24" fmla="*/ 2147483647 w 161"/>
              <a:gd name="T25" fmla="*/ 2147483647 h 377"/>
              <a:gd name="T26" fmla="*/ 2147483647 w 161"/>
              <a:gd name="T27" fmla="*/ 2147483647 h 377"/>
              <a:gd name="T28" fmla="*/ 2147483647 w 161"/>
              <a:gd name="T29" fmla="*/ 2147483647 h 377"/>
              <a:gd name="T30" fmla="*/ 2147483647 w 161"/>
              <a:gd name="T31" fmla="*/ 2147483647 h 377"/>
              <a:gd name="T32" fmla="*/ 2147483647 w 161"/>
              <a:gd name="T33" fmla="*/ 2147483647 h 377"/>
              <a:gd name="T34" fmla="*/ 2147483647 w 161"/>
              <a:gd name="T35" fmla="*/ 2147483647 h 377"/>
              <a:gd name="T36" fmla="*/ 2147483647 w 161"/>
              <a:gd name="T37" fmla="*/ 2147483647 h 377"/>
              <a:gd name="T38" fmla="*/ 2147483647 w 161"/>
              <a:gd name="T39" fmla="*/ 2147483647 h 377"/>
              <a:gd name="T40" fmla="*/ 2147483647 w 161"/>
              <a:gd name="T41" fmla="*/ 2147483647 h 377"/>
              <a:gd name="T42" fmla="*/ 2147483647 w 161"/>
              <a:gd name="T43" fmla="*/ 2147483647 h 377"/>
              <a:gd name="T44" fmla="*/ 2147483647 w 161"/>
              <a:gd name="T45" fmla="*/ 2147483647 h 377"/>
              <a:gd name="T46" fmla="*/ 2147483647 w 161"/>
              <a:gd name="T47" fmla="*/ 0 h 377"/>
              <a:gd name="T48" fmla="*/ 2147483647 w 161"/>
              <a:gd name="T49" fmla="*/ 0 h 377"/>
              <a:gd name="T50" fmla="*/ 2147483647 w 161"/>
              <a:gd name="T51" fmla="*/ 2147483647 h 377"/>
              <a:gd name="T52" fmla="*/ 2147483647 w 161"/>
              <a:gd name="T53" fmla="*/ 2147483647 h 377"/>
              <a:gd name="T54" fmla="*/ 2147483647 w 161"/>
              <a:gd name="T55" fmla="*/ 2147483647 h 377"/>
              <a:gd name="T56" fmla="*/ 2147483647 w 161"/>
              <a:gd name="T57" fmla="*/ 2147483647 h 377"/>
              <a:gd name="T58" fmla="*/ 2147483647 w 161"/>
              <a:gd name="T59" fmla="*/ 2147483647 h 377"/>
              <a:gd name="T60" fmla="*/ 2147483647 w 161"/>
              <a:gd name="T61" fmla="*/ 2147483647 h 377"/>
              <a:gd name="T62" fmla="*/ 2147483647 w 161"/>
              <a:gd name="T63" fmla="*/ 2147483647 h 377"/>
              <a:gd name="T64" fmla="*/ 2147483647 w 161"/>
              <a:gd name="T65" fmla="*/ 2147483647 h 377"/>
              <a:gd name="T66" fmla="*/ 2147483647 w 161"/>
              <a:gd name="T67" fmla="*/ 2147483647 h 377"/>
              <a:gd name="T68" fmla="*/ 2147483647 w 161"/>
              <a:gd name="T69" fmla="*/ 2147483647 h 377"/>
              <a:gd name="T70" fmla="*/ 2147483647 w 161"/>
              <a:gd name="T71" fmla="*/ 2147483647 h 377"/>
              <a:gd name="T72" fmla="*/ 2147483647 w 161"/>
              <a:gd name="T73" fmla="*/ 2147483647 h 377"/>
              <a:gd name="T74" fmla="*/ 2147483647 w 161"/>
              <a:gd name="T75" fmla="*/ 2147483647 h 377"/>
              <a:gd name="T76" fmla="*/ 2147483647 w 161"/>
              <a:gd name="T77" fmla="*/ 2147483647 h 377"/>
              <a:gd name="T78" fmla="*/ 2147483647 w 161"/>
              <a:gd name="T79" fmla="*/ 2147483647 h 377"/>
              <a:gd name="T80" fmla="*/ 2147483647 w 161"/>
              <a:gd name="T81" fmla="*/ 2147483647 h 377"/>
              <a:gd name="T82" fmla="*/ 2147483647 w 161"/>
              <a:gd name="T83" fmla="*/ 2147483647 h 377"/>
              <a:gd name="T84" fmla="*/ 2147483647 w 161"/>
              <a:gd name="T85" fmla="*/ 2147483647 h 377"/>
              <a:gd name="T86" fmla="*/ 2147483647 w 161"/>
              <a:gd name="T87" fmla="*/ 2147483647 h 377"/>
              <a:gd name="T88" fmla="*/ 2147483647 w 161"/>
              <a:gd name="T89" fmla="*/ 2147483647 h 377"/>
              <a:gd name="T90" fmla="*/ 2147483647 w 161"/>
              <a:gd name="T91" fmla="*/ 2147483647 h 377"/>
              <a:gd name="T92" fmla="*/ 2147483647 w 161"/>
              <a:gd name="T93" fmla="*/ 2147483647 h 377"/>
              <a:gd name="T94" fmla="*/ 2147483647 w 161"/>
              <a:gd name="T95" fmla="*/ 2147483647 h 377"/>
              <a:gd name="T96" fmla="*/ 0 w 161"/>
              <a:gd name="T97" fmla="*/ 2147483647 h 37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61"/>
              <a:gd name="T148" fmla="*/ 0 h 377"/>
              <a:gd name="T149" fmla="*/ 161 w 161"/>
              <a:gd name="T150" fmla="*/ 377 h 37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61" h="377">
                <a:moveTo>
                  <a:pt x="0" y="296"/>
                </a:moveTo>
                <a:lnTo>
                  <a:pt x="0" y="296"/>
                </a:lnTo>
                <a:lnTo>
                  <a:pt x="8" y="296"/>
                </a:lnTo>
                <a:lnTo>
                  <a:pt x="8" y="272"/>
                </a:lnTo>
                <a:lnTo>
                  <a:pt x="16" y="264"/>
                </a:lnTo>
                <a:lnTo>
                  <a:pt x="16" y="240"/>
                </a:lnTo>
                <a:lnTo>
                  <a:pt x="16" y="232"/>
                </a:lnTo>
                <a:lnTo>
                  <a:pt x="8" y="200"/>
                </a:lnTo>
                <a:lnTo>
                  <a:pt x="16" y="168"/>
                </a:lnTo>
                <a:lnTo>
                  <a:pt x="24" y="160"/>
                </a:lnTo>
                <a:lnTo>
                  <a:pt x="40" y="152"/>
                </a:lnTo>
                <a:lnTo>
                  <a:pt x="32" y="136"/>
                </a:lnTo>
                <a:lnTo>
                  <a:pt x="40" y="120"/>
                </a:lnTo>
                <a:lnTo>
                  <a:pt x="48" y="96"/>
                </a:lnTo>
                <a:lnTo>
                  <a:pt x="64" y="72"/>
                </a:lnTo>
                <a:lnTo>
                  <a:pt x="64" y="64"/>
                </a:lnTo>
                <a:lnTo>
                  <a:pt x="64" y="56"/>
                </a:lnTo>
                <a:lnTo>
                  <a:pt x="72" y="40"/>
                </a:lnTo>
                <a:lnTo>
                  <a:pt x="80" y="32"/>
                </a:lnTo>
                <a:lnTo>
                  <a:pt x="88" y="32"/>
                </a:lnTo>
                <a:lnTo>
                  <a:pt x="88" y="16"/>
                </a:lnTo>
                <a:lnTo>
                  <a:pt x="96" y="16"/>
                </a:lnTo>
                <a:lnTo>
                  <a:pt x="112" y="16"/>
                </a:lnTo>
                <a:lnTo>
                  <a:pt x="112" y="0"/>
                </a:lnTo>
                <a:lnTo>
                  <a:pt x="120" y="0"/>
                </a:lnTo>
                <a:lnTo>
                  <a:pt x="152" y="32"/>
                </a:lnTo>
                <a:lnTo>
                  <a:pt x="160" y="104"/>
                </a:lnTo>
                <a:lnTo>
                  <a:pt x="144" y="104"/>
                </a:lnTo>
                <a:lnTo>
                  <a:pt x="128" y="120"/>
                </a:lnTo>
                <a:lnTo>
                  <a:pt x="128" y="128"/>
                </a:lnTo>
                <a:lnTo>
                  <a:pt x="128" y="136"/>
                </a:lnTo>
                <a:lnTo>
                  <a:pt x="136" y="144"/>
                </a:lnTo>
                <a:lnTo>
                  <a:pt x="120" y="160"/>
                </a:lnTo>
                <a:lnTo>
                  <a:pt x="96" y="184"/>
                </a:lnTo>
                <a:lnTo>
                  <a:pt x="80" y="208"/>
                </a:lnTo>
                <a:lnTo>
                  <a:pt x="80" y="248"/>
                </a:lnTo>
                <a:lnTo>
                  <a:pt x="96" y="272"/>
                </a:lnTo>
                <a:lnTo>
                  <a:pt x="88" y="280"/>
                </a:lnTo>
                <a:lnTo>
                  <a:pt x="88" y="288"/>
                </a:lnTo>
                <a:lnTo>
                  <a:pt x="72" y="304"/>
                </a:lnTo>
                <a:lnTo>
                  <a:pt x="64" y="360"/>
                </a:lnTo>
                <a:lnTo>
                  <a:pt x="48" y="360"/>
                </a:lnTo>
                <a:lnTo>
                  <a:pt x="40" y="368"/>
                </a:lnTo>
                <a:lnTo>
                  <a:pt x="40" y="376"/>
                </a:lnTo>
                <a:lnTo>
                  <a:pt x="24" y="376"/>
                </a:lnTo>
                <a:lnTo>
                  <a:pt x="16" y="360"/>
                </a:lnTo>
                <a:lnTo>
                  <a:pt x="24" y="352"/>
                </a:lnTo>
                <a:lnTo>
                  <a:pt x="16" y="344"/>
                </a:lnTo>
                <a:lnTo>
                  <a:pt x="0" y="296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41" name="Freeform 72">
            <a:extLst>
              <a:ext uri="{FF2B5EF4-FFF2-40B4-BE49-F238E27FC236}">
                <a16:creationId xmlns:a16="http://schemas.microsoft.com/office/drawing/2014/main" id="{A1D6E5FF-4654-41A8-932E-35EC1F5BEE59}"/>
              </a:ext>
            </a:extLst>
          </p:cNvPr>
          <p:cNvSpPr>
            <a:spLocks/>
          </p:cNvSpPr>
          <p:nvPr/>
        </p:nvSpPr>
        <p:spPr bwMode="gray">
          <a:xfrm>
            <a:off x="669443" y="2826640"/>
            <a:ext cx="215144" cy="294176"/>
          </a:xfrm>
          <a:custGeom>
            <a:avLst/>
            <a:gdLst>
              <a:gd name="T0" fmla="*/ 2147483647 w 57"/>
              <a:gd name="T1" fmla="*/ 0 h 81"/>
              <a:gd name="T2" fmla="*/ 2147483647 w 57"/>
              <a:gd name="T3" fmla="*/ 0 h 81"/>
              <a:gd name="T4" fmla="*/ 2147483647 w 57"/>
              <a:gd name="T5" fmla="*/ 2147483647 h 81"/>
              <a:gd name="T6" fmla="*/ 2147483647 w 57"/>
              <a:gd name="T7" fmla="*/ 2147483647 h 81"/>
              <a:gd name="T8" fmla="*/ 2147483647 w 57"/>
              <a:gd name="T9" fmla="*/ 2147483647 h 81"/>
              <a:gd name="T10" fmla="*/ 2147483647 w 57"/>
              <a:gd name="T11" fmla="*/ 2147483647 h 81"/>
              <a:gd name="T12" fmla="*/ 2147483647 w 57"/>
              <a:gd name="T13" fmla="*/ 2147483647 h 81"/>
              <a:gd name="T14" fmla="*/ 2147483647 w 57"/>
              <a:gd name="T15" fmla="*/ 2147483647 h 81"/>
              <a:gd name="T16" fmla="*/ 2147483647 w 57"/>
              <a:gd name="T17" fmla="*/ 2147483647 h 81"/>
              <a:gd name="T18" fmla="*/ 0 w 57"/>
              <a:gd name="T19" fmla="*/ 2147483647 h 81"/>
              <a:gd name="T20" fmla="*/ 2147483647 w 57"/>
              <a:gd name="T21" fmla="*/ 2147483647 h 81"/>
              <a:gd name="T22" fmla="*/ 2147483647 w 57"/>
              <a:gd name="T23" fmla="*/ 2147483647 h 81"/>
              <a:gd name="T24" fmla="*/ 2147483647 w 57"/>
              <a:gd name="T25" fmla="*/ 2147483647 h 81"/>
              <a:gd name="T26" fmla="*/ 2147483647 w 57"/>
              <a:gd name="T27" fmla="*/ 2147483647 h 81"/>
              <a:gd name="T28" fmla="*/ 2147483647 w 57"/>
              <a:gd name="T29" fmla="*/ 2147483647 h 81"/>
              <a:gd name="T30" fmla="*/ 2147483647 w 57"/>
              <a:gd name="T31" fmla="*/ 2147483647 h 81"/>
              <a:gd name="T32" fmla="*/ 2147483647 w 57"/>
              <a:gd name="T33" fmla="*/ 2147483647 h 81"/>
              <a:gd name="T34" fmla="*/ 2147483647 w 57"/>
              <a:gd name="T35" fmla="*/ 2147483647 h 81"/>
              <a:gd name="T36" fmla="*/ 2147483647 w 57"/>
              <a:gd name="T37" fmla="*/ 2147483647 h 81"/>
              <a:gd name="T38" fmla="*/ 2147483647 w 57"/>
              <a:gd name="T39" fmla="*/ 2147483647 h 81"/>
              <a:gd name="T40" fmla="*/ 2147483647 w 57"/>
              <a:gd name="T41" fmla="*/ 0 h 81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57"/>
              <a:gd name="T64" fmla="*/ 0 h 81"/>
              <a:gd name="T65" fmla="*/ 57 w 57"/>
              <a:gd name="T66" fmla="*/ 81 h 81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57" h="81">
                <a:moveTo>
                  <a:pt x="40" y="0"/>
                </a:moveTo>
                <a:lnTo>
                  <a:pt x="40" y="0"/>
                </a:lnTo>
                <a:lnTo>
                  <a:pt x="32" y="16"/>
                </a:lnTo>
                <a:lnTo>
                  <a:pt x="40" y="24"/>
                </a:lnTo>
                <a:lnTo>
                  <a:pt x="56" y="24"/>
                </a:lnTo>
                <a:lnTo>
                  <a:pt x="56" y="32"/>
                </a:lnTo>
                <a:lnTo>
                  <a:pt x="56" y="48"/>
                </a:lnTo>
                <a:lnTo>
                  <a:pt x="48" y="72"/>
                </a:lnTo>
                <a:lnTo>
                  <a:pt x="8" y="80"/>
                </a:lnTo>
                <a:lnTo>
                  <a:pt x="0" y="72"/>
                </a:lnTo>
                <a:lnTo>
                  <a:pt x="8" y="72"/>
                </a:lnTo>
                <a:lnTo>
                  <a:pt x="16" y="48"/>
                </a:lnTo>
                <a:lnTo>
                  <a:pt x="8" y="40"/>
                </a:lnTo>
                <a:lnTo>
                  <a:pt x="16" y="32"/>
                </a:lnTo>
                <a:lnTo>
                  <a:pt x="8" y="32"/>
                </a:lnTo>
                <a:lnTo>
                  <a:pt x="8" y="24"/>
                </a:lnTo>
                <a:lnTo>
                  <a:pt x="24" y="24"/>
                </a:lnTo>
                <a:lnTo>
                  <a:pt x="32" y="16"/>
                </a:lnTo>
                <a:lnTo>
                  <a:pt x="24" y="16"/>
                </a:lnTo>
                <a:lnTo>
                  <a:pt x="24" y="8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42" name="Freeform 77">
            <a:extLst>
              <a:ext uri="{FF2B5EF4-FFF2-40B4-BE49-F238E27FC236}">
                <a16:creationId xmlns:a16="http://schemas.microsoft.com/office/drawing/2014/main" id="{2D30325A-398A-45EC-B95E-F96BD9B2B45D}"/>
              </a:ext>
            </a:extLst>
          </p:cNvPr>
          <p:cNvSpPr>
            <a:spLocks/>
          </p:cNvSpPr>
          <p:nvPr/>
        </p:nvSpPr>
        <p:spPr bwMode="gray">
          <a:xfrm>
            <a:off x="1832974" y="2848596"/>
            <a:ext cx="447849" cy="443457"/>
          </a:xfrm>
          <a:custGeom>
            <a:avLst/>
            <a:gdLst>
              <a:gd name="T0" fmla="*/ 2147483647 w 121"/>
              <a:gd name="T1" fmla="*/ 2147483647 h 121"/>
              <a:gd name="T2" fmla="*/ 2147483647 w 121"/>
              <a:gd name="T3" fmla="*/ 2147483647 h 121"/>
              <a:gd name="T4" fmla="*/ 2147483647 w 121"/>
              <a:gd name="T5" fmla="*/ 2147483647 h 121"/>
              <a:gd name="T6" fmla="*/ 2147483647 w 121"/>
              <a:gd name="T7" fmla="*/ 2147483647 h 121"/>
              <a:gd name="T8" fmla="*/ 2147483647 w 121"/>
              <a:gd name="T9" fmla="*/ 2147483647 h 121"/>
              <a:gd name="T10" fmla="*/ 2147483647 w 121"/>
              <a:gd name="T11" fmla="*/ 2147483647 h 121"/>
              <a:gd name="T12" fmla="*/ 2147483647 w 121"/>
              <a:gd name="T13" fmla="*/ 2147483647 h 121"/>
              <a:gd name="T14" fmla="*/ 2147483647 w 121"/>
              <a:gd name="T15" fmla="*/ 2147483647 h 121"/>
              <a:gd name="T16" fmla="*/ 2147483647 w 121"/>
              <a:gd name="T17" fmla="*/ 2147483647 h 121"/>
              <a:gd name="T18" fmla="*/ 2147483647 w 121"/>
              <a:gd name="T19" fmla="*/ 2147483647 h 121"/>
              <a:gd name="T20" fmla="*/ 2147483647 w 121"/>
              <a:gd name="T21" fmla="*/ 2147483647 h 121"/>
              <a:gd name="T22" fmla="*/ 2147483647 w 121"/>
              <a:gd name="T23" fmla="*/ 2147483647 h 121"/>
              <a:gd name="T24" fmla="*/ 2147483647 w 121"/>
              <a:gd name="T25" fmla="*/ 2147483647 h 121"/>
              <a:gd name="T26" fmla="*/ 2147483647 w 121"/>
              <a:gd name="T27" fmla="*/ 0 h 121"/>
              <a:gd name="T28" fmla="*/ 0 w 121"/>
              <a:gd name="T29" fmla="*/ 2147483647 h 121"/>
              <a:gd name="T30" fmla="*/ 2147483647 w 121"/>
              <a:gd name="T31" fmla="*/ 2147483647 h 121"/>
              <a:gd name="T32" fmla="*/ 2147483647 w 121"/>
              <a:gd name="T33" fmla="*/ 2147483647 h 121"/>
              <a:gd name="T34" fmla="*/ 2147483647 w 121"/>
              <a:gd name="T35" fmla="*/ 2147483647 h 121"/>
              <a:gd name="T36" fmla="*/ 2147483647 w 121"/>
              <a:gd name="T37" fmla="*/ 2147483647 h 121"/>
              <a:gd name="T38" fmla="*/ 2147483647 w 121"/>
              <a:gd name="T39" fmla="*/ 2147483647 h 121"/>
              <a:gd name="T40" fmla="*/ 2147483647 w 121"/>
              <a:gd name="T41" fmla="*/ 2147483647 h 121"/>
              <a:gd name="T42" fmla="*/ 2147483647 w 121"/>
              <a:gd name="T43" fmla="*/ 2147483647 h 121"/>
              <a:gd name="T44" fmla="*/ 2147483647 w 121"/>
              <a:gd name="T45" fmla="*/ 2147483647 h 121"/>
              <a:gd name="T46" fmla="*/ 2147483647 w 121"/>
              <a:gd name="T47" fmla="*/ 2147483647 h 121"/>
              <a:gd name="T48" fmla="*/ 2147483647 w 121"/>
              <a:gd name="T49" fmla="*/ 2147483647 h 12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21"/>
              <a:gd name="T76" fmla="*/ 0 h 121"/>
              <a:gd name="T77" fmla="*/ 121 w 121"/>
              <a:gd name="T78" fmla="*/ 121 h 12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21" h="121">
                <a:moveTo>
                  <a:pt x="104" y="120"/>
                </a:moveTo>
                <a:lnTo>
                  <a:pt x="104" y="120"/>
                </a:lnTo>
                <a:lnTo>
                  <a:pt x="112" y="104"/>
                </a:lnTo>
                <a:lnTo>
                  <a:pt x="120" y="96"/>
                </a:lnTo>
                <a:lnTo>
                  <a:pt x="112" y="72"/>
                </a:lnTo>
                <a:lnTo>
                  <a:pt x="112" y="56"/>
                </a:lnTo>
                <a:lnTo>
                  <a:pt x="120" y="40"/>
                </a:lnTo>
                <a:lnTo>
                  <a:pt x="112" y="24"/>
                </a:lnTo>
                <a:lnTo>
                  <a:pt x="104" y="16"/>
                </a:lnTo>
                <a:lnTo>
                  <a:pt x="88" y="16"/>
                </a:lnTo>
                <a:lnTo>
                  <a:pt x="64" y="8"/>
                </a:lnTo>
                <a:lnTo>
                  <a:pt x="64" y="16"/>
                </a:lnTo>
                <a:lnTo>
                  <a:pt x="56" y="16"/>
                </a:lnTo>
                <a:lnTo>
                  <a:pt x="48" y="0"/>
                </a:lnTo>
                <a:lnTo>
                  <a:pt x="0" y="24"/>
                </a:lnTo>
                <a:lnTo>
                  <a:pt x="8" y="88"/>
                </a:lnTo>
                <a:lnTo>
                  <a:pt x="8" y="80"/>
                </a:lnTo>
                <a:lnTo>
                  <a:pt x="16" y="88"/>
                </a:lnTo>
                <a:lnTo>
                  <a:pt x="32" y="96"/>
                </a:lnTo>
                <a:lnTo>
                  <a:pt x="40" y="96"/>
                </a:lnTo>
                <a:lnTo>
                  <a:pt x="56" y="112"/>
                </a:lnTo>
                <a:lnTo>
                  <a:pt x="64" y="112"/>
                </a:lnTo>
                <a:lnTo>
                  <a:pt x="72" y="120"/>
                </a:lnTo>
                <a:lnTo>
                  <a:pt x="88" y="112"/>
                </a:lnTo>
                <a:lnTo>
                  <a:pt x="104" y="120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44" name="Freeform 79">
            <a:extLst>
              <a:ext uri="{FF2B5EF4-FFF2-40B4-BE49-F238E27FC236}">
                <a16:creationId xmlns:a16="http://schemas.microsoft.com/office/drawing/2014/main" id="{717C9B77-4A98-4B9B-A456-F7AC3F58ABB6}"/>
              </a:ext>
            </a:extLst>
          </p:cNvPr>
          <p:cNvSpPr>
            <a:spLocks/>
          </p:cNvSpPr>
          <p:nvPr/>
        </p:nvSpPr>
        <p:spPr bwMode="gray">
          <a:xfrm>
            <a:off x="1591488" y="3292051"/>
            <a:ext cx="364425" cy="180020"/>
          </a:xfrm>
          <a:custGeom>
            <a:avLst/>
            <a:gdLst>
              <a:gd name="T0" fmla="*/ 0 w 97"/>
              <a:gd name="T1" fmla="*/ 2147483647 h 49"/>
              <a:gd name="T2" fmla="*/ 0 w 97"/>
              <a:gd name="T3" fmla="*/ 2147483647 h 49"/>
              <a:gd name="T4" fmla="*/ 2147483647 w 97"/>
              <a:gd name="T5" fmla="*/ 2147483647 h 49"/>
              <a:gd name="T6" fmla="*/ 2147483647 w 97"/>
              <a:gd name="T7" fmla="*/ 2147483647 h 49"/>
              <a:gd name="T8" fmla="*/ 2147483647 w 97"/>
              <a:gd name="T9" fmla="*/ 2147483647 h 49"/>
              <a:gd name="T10" fmla="*/ 2147483647 w 97"/>
              <a:gd name="T11" fmla="*/ 2147483647 h 49"/>
              <a:gd name="T12" fmla="*/ 2147483647 w 97"/>
              <a:gd name="T13" fmla="*/ 2147483647 h 49"/>
              <a:gd name="T14" fmla="*/ 2147483647 w 97"/>
              <a:gd name="T15" fmla="*/ 0 h 49"/>
              <a:gd name="T16" fmla="*/ 2147483647 w 97"/>
              <a:gd name="T17" fmla="*/ 2147483647 h 49"/>
              <a:gd name="T18" fmla="*/ 2147483647 w 97"/>
              <a:gd name="T19" fmla="*/ 2147483647 h 49"/>
              <a:gd name="T20" fmla="*/ 2147483647 w 97"/>
              <a:gd name="T21" fmla="*/ 2147483647 h 49"/>
              <a:gd name="T22" fmla="*/ 2147483647 w 97"/>
              <a:gd name="T23" fmla="*/ 2147483647 h 49"/>
              <a:gd name="T24" fmla="*/ 2147483647 w 97"/>
              <a:gd name="T25" fmla="*/ 2147483647 h 49"/>
              <a:gd name="T26" fmla="*/ 2147483647 w 97"/>
              <a:gd name="T27" fmla="*/ 2147483647 h 49"/>
              <a:gd name="T28" fmla="*/ 2147483647 w 97"/>
              <a:gd name="T29" fmla="*/ 2147483647 h 49"/>
              <a:gd name="T30" fmla="*/ 0 w 97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7"/>
              <a:gd name="T49" fmla="*/ 0 h 49"/>
              <a:gd name="T50" fmla="*/ 97 w 97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7" h="49">
                <a:moveTo>
                  <a:pt x="0" y="32"/>
                </a:moveTo>
                <a:lnTo>
                  <a:pt x="0" y="32"/>
                </a:lnTo>
                <a:lnTo>
                  <a:pt x="16" y="32"/>
                </a:lnTo>
                <a:lnTo>
                  <a:pt x="48" y="24"/>
                </a:lnTo>
                <a:lnTo>
                  <a:pt x="48" y="16"/>
                </a:lnTo>
                <a:lnTo>
                  <a:pt x="56" y="8"/>
                </a:lnTo>
                <a:lnTo>
                  <a:pt x="72" y="8"/>
                </a:lnTo>
                <a:lnTo>
                  <a:pt x="72" y="0"/>
                </a:lnTo>
                <a:lnTo>
                  <a:pt x="96" y="8"/>
                </a:lnTo>
                <a:lnTo>
                  <a:pt x="96" y="24"/>
                </a:lnTo>
                <a:lnTo>
                  <a:pt x="88" y="40"/>
                </a:lnTo>
                <a:lnTo>
                  <a:pt x="56" y="48"/>
                </a:lnTo>
                <a:lnTo>
                  <a:pt x="40" y="40"/>
                </a:lnTo>
                <a:lnTo>
                  <a:pt x="16" y="40"/>
                </a:lnTo>
                <a:lnTo>
                  <a:pt x="8" y="40"/>
                </a:lnTo>
                <a:lnTo>
                  <a:pt x="0" y="32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0" name="Freeform 83">
            <a:extLst>
              <a:ext uri="{FF2B5EF4-FFF2-40B4-BE49-F238E27FC236}">
                <a16:creationId xmlns:a16="http://schemas.microsoft.com/office/drawing/2014/main" id="{FC13D221-893B-4506-85EF-09A796FCA828}"/>
              </a:ext>
            </a:extLst>
          </p:cNvPr>
          <p:cNvSpPr>
            <a:spLocks/>
          </p:cNvSpPr>
          <p:nvPr/>
        </p:nvSpPr>
        <p:spPr bwMode="gray">
          <a:xfrm>
            <a:off x="941666" y="3147161"/>
            <a:ext cx="597131" cy="592739"/>
          </a:xfrm>
          <a:custGeom>
            <a:avLst/>
            <a:gdLst>
              <a:gd name="T0" fmla="*/ 2147483647 w 161"/>
              <a:gd name="T1" fmla="*/ 0 h 161"/>
              <a:gd name="T2" fmla="*/ 2147483647 w 161"/>
              <a:gd name="T3" fmla="*/ 0 h 161"/>
              <a:gd name="T4" fmla="*/ 2147483647 w 161"/>
              <a:gd name="T5" fmla="*/ 2147483647 h 161"/>
              <a:gd name="T6" fmla="*/ 2147483647 w 161"/>
              <a:gd name="T7" fmla="*/ 2147483647 h 161"/>
              <a:gd name="T8" fmla="*/ 2147483647 w 161"/>
              <a:gd name="T9" fmla="*/ 2147483647 h 161"/>
              <a:gd name="T10" fmla="*/ 2147483647 w 161"/>
              <a:gd name="T11" fmla="*/ 2147483647 h 161"/>
              <a:gd name="T12" fmla="*/ 2147483647 w 161"/>
              <a:gd name="T13" fmla="*/ 2147483647 h 161"/>
              <a:gd name="T14" fmla="*/ 2147483647 w 161"/>
              <a:gd name="T15" fmla="*/ 2147483647 h 161"/>
              <a:gd name="T16" fmla="*/ 2147483647 w 161"/>
              <a:gd name="T17" fmla="*/ 2147483647 h 161"/>
              <a:gd name="T18" fmla="*/ 2147483647 w 161"/>
              <a:gd name="T19" fmla="*/ 2147483647 h 161"/>
              <a:gd name="T20" fmla="*/ 2147483647 w 161"/>
              <a:gd name="T21" fmla="*/ 2147483647 h 161"/>
              <a:gd name="T22" fmla="*/ 2147483647 w 161"/>
              <a:gd name="T23" fmla="*/ 2147483647 h 161"/>
              <a:gd name="T24" fmla="*/ 0 w 161"/>
              <a:gd name="T25" fmla="*/ 2147483647 h 161"/>
              <a:gd name="T26" fmla="*/ 0 w 161"/>
              <a:gd name="T27" fmla="*/ 2147483647 h 161"/>
              <a:gd name="T28" fmla="*/ 2147483647 w 161"/>
              <a:gd name="T29" fmla="*/ 2147483647 h 161"/>
              <a:gd name="T30" fmla="*/ 2147483647 w 161"/>
              <a:gd name="T31" fmla="*/ 2147483647 h 161"/>
              <a:gd name="T32" fmla="*/ 2147483647 w 161"/>
              <a:gd name="T33" fmla="*/ 2147483647 h 161"/>
              <a:gd name="T34" fmla="*/ 2147483647 w 161"/>
              <a:gd name="T35" fmla="*/ 2147483647 h 161"/>
              <a:gd name="T36" fmla="*/ 2147483647 w 161"/>
              <a:gd name="T37" fmla="*/ 2147483647 h 161"/>
              <a:gd name="T38" fmla="*/ 2147483647 w 161"/>
              <a:gd name="T39" fmla="*/ 2147483647 h 161"/>
              <a:gd name="T40" fmla="*/ 2147483647 w 161"/>
              <a:gd name="T41" fmla="*/ 2147483647 h 161"/>
              <a:gd name="T42" fmla="*/ 2147483647 w 161"/>
              <a:gd name="T43" fmla="*/ 2147483647 h 161"/>
              <a:gd name="T44" fmla="*/ 2147483647 w 161"/>
              <a:gd name="T45" fmla="*/ 2147483647 h 161"/>
              <a:gd name="T46" fmla="*/ 2147483647 w 161"/>
              <a:gd name="T47" fmla="*/ 2147483647 h 161"/>
              <a:gd name="T48" fmla="*/ 2147483647 w 161"/>
              <a:gd name="T49" fmla="*/ 2147483647 h 161"/>
              <a:gd name="T50" fmla="*/ 2147483647 w 161"/>
              <a:gd name="T51" fmla="*/ 2147483647 h 161"/>
              <a:gd name="T52" fmla="*/ 2147483647 w 161"/>
              <a:gd name="T53" fmla="*/ 2147483647 h 161"/>
              <a:gd name="T54" fmla="*/ 2147483647 w 161"/>
              <a:gd name="T55" fmla="*/ 2147483647 h 161"/>
              <a:gd name="T56" fmla="*/ 2147483647 w 161"/>
              <a:gd name="T57" fmla="*/ 2147483647 h 161"/>
              <a:gd name="T58" fmla="*/ 2147483647 w 161"/>
              <a:gd name="T59" fmla="*/ 2147483647 h 161"/>
              <a:gd name="T60" fmla="*/ 2147483647 w 161"/>
              <a:gd name="T61" fmla="*/ 2147483647 h 161"/>
              <a:gd name="T62" fmla="*/ 2147483647 w 161"/>
              <a:gd name="T63" fmla="*/ 2147483647 h 161"/>
              <a:gd name="T64" fmla="*/ 2147483647 w 161"/>
              <a:gd name="T65" fmla="*/ 2147483647 h 161"/>
              <a:gd name="T66" fmla="*/ 2147483647 w 161"/>
              <a:gd name="T67" fmla="*/ 2147483647 h 161"/>
              <a:gd name="T68" fmla="*/ 2147483647 w 161"/>
              <a:gd name="T69" fmla="*/ 2147483647 h 161"/>
              <a:gd name="T70" fmla="*/ 2147483647 w 161"/>
              <a:gd name="T71" fmla="*/ 2147483647 h 161"/>
              <a:gd name="T72" fmla="*/ 2147483647 w 161"/>
              <a:gd name="T73" fmla="*/ 2147483647 h 161"/>
              <a:gd name="T74" fmla="*/ 2147483647 w 161"/>
              <a:gd name="T75" fmla="*/ 2147483647 h 161"/>
              <a:gd name="T76" fmla="*/ 2147483647 w 161"/>
              <a:gd name="T77" fmla="*/ 2147483647 h 161"/>
              <a:gd name="T78" fmla="*/ 2147483647 w 161"/>
              <a:gd name="T79" fmla="*/ 2147483647 h 161"/>
              <a:gd name="T80" fmla="*/ 2147483647 w 161"/>
              <a:gd name="T81" fmla="*/ 0 h 16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61"/>
              <a:gd name="T124" fmla="*/ 0 h 161"/>
              <a:gd name="T125" fmla="*/ 161 w 161"/>
              <a:gd name="T126" fmla="*/ 161 h 16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61" h="161">
                <a:moveTo>
                  <a:pt x="96" y="0"/>
                </a:moveTo>
                <a:lnTo>
                  <a:pt x="96" y="0"/>
                </a:lnTo>
                <a:lnTo>
                  <a:pt x="80" y="8"/>
                </a:lnTo>
                <a:lnTo>
                  <a:pt x="80" y="24"/>
                </a:lnTo>
                <a:lnTo>
                  <a:pt x="64" y="32"/>
                </a:lnTo>
                <a:lnTo>
                  <a:pt x="56" y="40"/>
                </a:lnTo>
                <a:lnTo>
                  <a:pt x="48" y="40"/>
                </a:lnTo>
                <a:lnTo>
                  <a:pt x="40" y="32"/>
                </a:lnTo>
                <a:lnTo>
                  <a:pt x="32" y="32"/>
                </a:lnTo>
                <a:lnTo>
                  <a:pt x="40" y="48"/>
                </a:lnTo>
                <a:lnTo>
                  <a:pt x="24" y="56"/>
                </a:lnTo>
                <a:lnTo>
                  <a:pt x="24" y="48"/>
                </a:lnTo>
                <a:lnTo>
                  <a:pt x="0" y="56"/>
                </a:lnTo>
                <a:lnTo>
                  <a:pt x="0" y="64"/>
                </a:lnTo>
                <a:lnTo>
                  <a:pt x="32" y="72"/>
                </a:lnTo>
                <a:lnTo>
                  <a:pt x="48" y="96"/>
                </a:lnTo>
                <a:lnTo>
                  <a:pt x="48" y="104"/>
                </a:lnTo>
                <a:lnTo>
                  <a:pt x="40" y="144"/>
                </a:lnTo>
                <a:lnTo>
                  <a:pt x="56" y="152"/>
                </a:lnTo>
                <a:lnTo>
                  <a:pt x="96" y="160"/>
                </a:lnTo>
                <a:lnTo>
                  <a:pt x="96" y="152"/>
                </a:lnTo>
                <a:lnTo>
                  <a:pt x="112" y="144"/>
                </a:lnTo>
                <a:lnTo>
                  <a:pt x="136" y="152"/>
                </a:lnTo>
                <a:lnTo>
                  <a:pt x="144" y="152"/>
                </a:lnTo>
                <a:lnTo>
                  <a:pt x="152" y="136"/>
                </a:lnTo>
                <a:lnTo>
                  <a:pt x="144" y="120"/>
                </a:lnTo>
                <a:lnTo>
                  <a:pt x="144" y="104"/>
                </a:lnTo>
                <a:lnTo>
                  <a:pt x="144" y="88"/>
                </a:lnTo>
                <a:lnTo>
                  <a:pt x="136" y="96"/>
                </a:lnTo>
                <a:lnTo>
                  <a:pt x="136" y="88"/>
                </a:lnTo>
                <a:lnTo>
                  <a:pt x="144" y="72"/>
                </a:lnTo>
                <a:lnTo>
                  <a:pt x="152" y="72"/>
                </a:lnTo>
                <a:lnTo>
                  <a:pt x="160" y="48"/>
                </a:lnTo>
                <a:lnTo>
                  <a:pt x="136" y="32"/>
                </a:lnTo>
                <a:lnTo>
                  <a:pt x="128" y="32"/>
                </a:lnTo>
                <a:lnTo>
                  <a:pt x="120" y="32"/>
                </a:lnTo>
                <a:lnTo>
                  <a:pt x="120" y="24"/>
                </a:lnTo>
                <a:lnTo>
                  <a:pt x="112" y="24"/>
                </a:lnTo>
                <a:lnTo>
                  <a:pt x="112" y="16"/>
                </a:lnTo>
                <a:lnTo>
                  <a:pt x="96" y="8"/>
                </a:lnTo>
                <a:lnTo>
                  <a:pt x="96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2" name="Freeform 84">
            <a:extLst>
              <a:ext uri="{FF2B5EF4-FFF2-40B4-BE49-F238E27FC236}">
                <a16:creationId xmlns:a16="http://schemas.microsoft.com/office/drawing/2014/main" id="{58BED44D-11B8-470E-98E3-905A55FFE865}"/>
              </a:ext>
            </a:extLst>
          </p:cNvPr>
          <p:cNvSpPr>
            <a:spLocks/>
          </p:cNvSpPr>
          <p:nvPr/>
        </p:nvSpPr>
        <p:spPr bwMode="gray">
          <a:xfrm>
            <a:off x="730916" y="3647698"/>
            <a:ext cx="570789" cy="482975"/>
          </a:xfrm>
          <a:custGeom>
            <a:avLst/>
            <a:gdLst>
              <a:gd name="T0" fmla="*/ 2147483647 w 153"/>
              <a:gd name="T1" fmla="*/ 2147483647 h 129"/>
              <a:gd name="T2" fmla="*/ 2147483647 w 153"/>
              <a:gd name="T3" fmla="*/ 2147483647 h 129"/>
              <a:gd name="T4" fmla="*/ 2147483647 w 153"/>
              <a:gd name="T5" fmla="*/ 2147483647 h 129"/>
              <a:gd name="T6" fmla="*/ 2147483647 w 153"/>
              <a:gd name="T7" fmla="*/ 2147483647 h 129"/>
              <a:gd name="T8" fmla="*/ 2147483647 w 153"/>
              <a:gd name="T9" fmla="*/ 2147483647 h 129"/>
              <a:gd name="T10" fmla="*/ 2147483647 w 153"/>
              <a:gd name="T11" fmla="*/ 2147483647 h 129"/>
              <a:gd name="T12" fmla="*/ 2147483647 w 153"/>
              <a:gd name="T13" fmla="*/ 2147483647 h 129"/>
              <a:gd name="T14" fmla="*/ 2147483647 w 153"/>
              <a:gd name="T15" fmla="*/ 2147483647 h 129"/>
              <a:gd name="T16" fmla="*/ 2147483647 w 153"/>
              <a:gd name="T17" fmla="*/ 2147483647 h 129"/>
              <a:gd name="T18" fmla="*/ 2147483647 w 153"/>
              <a:gd name="T19" fmla="*/ 2147483647 h 129"/>
              <a:gd name="T20" fmla="*/ 2147483647 w 153"/>
              <a:gd name="T21" fmla="*/ 2147483647 h 129"/>
              <a:gd name="T22" fmla="*/ 2147483647 w 153"/>
              <a:gd name="T23" fmla="*/ 2147483647 h 129"/>
              <a:gd name="T24" fmla="*/ 2147483647 w 153"/>
              <a:gd name="T25" fmla="*/ 2147483647 h 129"/>
              <a:gd name="T26" fmla="*/ 2147483647 w 153"/>
              <a:gd name="T27" fmla="*/ 2147483647 h 129"/>
              <a:gd name="T28" fmla="*/ 2147483647 w 153"/>
              <a:gd name="T29" fmla="*/ 2147483647 h 129"/>
              <a:gd name="T30" fmla="*/ 2147483647 w 153"/>
              <a:gd name="T31" fmla="*/ 2147483647 h 129"/>
              <a:gd name="T32" fmla="*/ 2147483647 w 153"/>
              <a:gd name="T33" fmla="*/ 2147483647 h 129"/>
              <a:gd name="T34" fmla="*/ 2147483647 w 153"/>
              <a:gd name="T35" fmla="*/ 2147483647 h 129"/>
              <a:gd name="T36" fmla="*/ 2147483647 w 153"/>
              <a:gd name="T37" fmla="*/ 2147483647 h 129"/>
              <a:gd name="T38" fmla="*/ 2147483647 w 153"/>
              <a:gd name="T39" fmla="*/ 2147483647 h 129"/>
              <a:gd name="T40" fmla="*/ 2147483647 w 153"/>
              <a:gd name="T41" fmla="*/ 2147483647 h 129"/>
              <a:gd name="T42" fmla="*/ 2147483647 w 153"/>
              <a:gd name="T43" fmla="*/ 2147483647 h 129"/>
              <a:gd name="T44" fmla="*/ 2147483647 w 153"/>
              <a:gd name="T45" fmla="*/ 0 h 129"/>
              <a:gd name="T46" fmla="*/ 2147483647 w 153"/>
              <a:gd name="T47" fmla="*/ 2147483647 h 129"/>
              <a:gd name="T48" fmla="*/ 0 w 153"/>
              <a:gd name="T49" fmla="*/ 2147483647 h 129"/>
              <a:gd name="T50" fmla="*/ 0 w 153"/>
              <a:gd name="T51" fmla="*/ 2147483647 h 129"/>
              <a:gd name="T52" fmla="*/ 2147483647 w 153"/>
              <a:gd name="T53" fmla="*/ 2147483647 h 129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53"/>
              <a:gd name="T82" fmla="*/ 0 h 129"/>
              <a:gd name="T83" fmla="*/ 153 w 153"/>
              <a:gd name="T84" fmla="*/ 129 h 129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53" h="129">
                <a:moveTo>
                  <a:pt x="8" y="32"/>
                </a:moveTo>
                <a:lnTo>
                  <a:pt x="8" y="32"/>
                </a:lnTo>
                <a:lnTo>
                  <a:pt x="40" y="32"/>
                </a:lnTo>
                <a:lnTo>
                  <a:pt x="40" y="40"/>
                </a:lnTo>
                <a:lnTo>
                  <a:pt x="32" y="48"/>
                </a:lnTo>
                <a:lnTo>
                  <a:pt x="32" y="64"/>
                </a:lnTo>
                <a:lnTo>
                  <a:pt x="24" y="72"/>
                </a:lnTo>
                <a:lnTo>
                  <a:pt x="32" y="96"/>
                </a:lnTo>
                <a:lnTo>
                  <a:pt x="24" y="112"/>
                </a:lnTo>
                <a:lnTo>
                  <a:pt x="48" y="128"/>
                </a:lnTo>
                <a:lnTo>
                  <a:pt x="56" y="120"/>
                </a:lnTo>
                <a:lnTo>
                  <a:pt x="88" y="120"/>
                </a:lnTo>
                <a:lnTo>
                  <a:pt x="120" y="88"/>
                </a:lnTo>
                <a:lnTo>
                  <a:pt x="112" y="72"/>
                </a:lnTo>
                <a:lnTo>
                  <a:pt x="128" y="48"/>
                </a:lnTo>
                <a:lnTo>
                  <a:pt x="152" y="32"/>
                </a:lnTo>
                <a:lnTo>
                  <a:pt x="152" y="24"/>
                </a:lnTo>
                <a:lnTo>
                  <a:pt x="112" y="16"/>
                </a:lnTo>
                <a:lnTo>
                  <a:pt x="96" y="8"/>
                </a:lnTo>
                <a:lnTo>
                  <a:pt x="88" y="8"/>
                </a:lnTo>
                <a:lnTo>
                  <a:pt x="72" y="8"/>
                </a:lnTo>
                <a:lnTo>
                  <a:pt x="64" y="8"/>
                </a:lnTo>
                <a:lnTo>
                  <a:pt x="16" y="0"/>
                </a:lnTo>
                <a:lnTo>
                  <a:pt x="8" y="8"/>
                </a:lnTo>
                <a:lnTo>
                  <a:pt x="0" y="8"/>
                </a:lnTo>
                <a:lnTo>
                  <a:pt x="0" y="16"/>
                </a:lnTo>
                <a:lnTo>
                  <a:pt x="8" y="32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4" name="Freeform 85">
            <a:extLst>
              <a:ext uri="{FF2B5EF4-FFF2-40B4-BE49-F238E27FC236}">
                <a16:creationId xmlns:a16="http://schemas.microsoft.com/office/drawing/2014/main" id="{87A32681-792E-494E-855F-1921191657C2}"/>
              </a:ext>
            </a:extLst>
          </p:cNvPr>
          <p:cNvSpPr>
            <a:spLocks/>
          </p:cNvSpPr>
          <p:nvPr/>
        </p:nvSpPr>
        <p:spPr bwMode="gray">
          <a:xfrm>
            <a:off x="730916" y="3766998"/>
            <a:ext cx="153671" cy="302955"/>
          </a:xfrm>
          <a:custGeom>
            <a:avLst/>
            <a:gdLst>
              <a:gd name="T0" fmla="*/ 2147483647 w 41"/>
              <a:gd name="T1" fmla="*/ 2147483647 h 81"/>
              <a:gd name="T2" fmla="*/ 2147483647 w 41"/>
              <a:gd name="T3" fmla="*/ 2147483647 h 81"/>
              <a:gd name="T4" fmla="*/ 2147483647 w 41"/>
              <a:gd name="T5" fmla="*/ 2147483647 h 81"/>
              <a:gd name="T6" fmla="*/ 2147483647 w 41"/>
              <a:gd name="T7" fmla="*/ 2147483647 h 81"/>
              <a:gd name="T8" fmla="*/ 2147483647 w 41"/>
              <a:gd name="T9" fmla="*/ 2147483647 h 81"/>
              <a:gd name="T10" fmla="*/ 2147483647 w 41"/>
              <a:gd name="T11" fmla="*/ 2147483647 h 81"/>
              <a:gd name="T12" fmla="*/ 2147483647 w 41"/>
              <a:gd name="T13" fmla="*/ 2147483647 h 81"/>
              <a:gd name="T14" fmla="*/ 2147483647 w 41"/>
              <a:gd name="T15" fmla="*/ 0 h 81"/>
              <a:gd name="T16" fmla="*/ 2147483647 w 41"/>
              <a:gd name="T17" fmla="*/ 0 h 81"/>
              <a:gd name="T18" fmla="*/ 2147483647 w 41"/>
              <a:gd name="T19" fmla="*/ 2147483647 h 81"/>
              <a:gd name="T20" fmla="*/ 0 w 41"/>
              <a:gd name="T21" fmla="*/ 2147483647 h 81"/>
              <a:gd name="T22" fmla="*/ 2147483647 w 41"/>
              <a:gd name="T23" fmla="*/ 2147483647 h 81"/>
              <a:gd name="T24" fmla="*/ 0 w 41"/>
              <a:gd name="T25" fmla="*/ 2147483647 h 81"/>
              <a:gd name="T26" fmla="*/ 2147483647 w 41"/>
              <a:gd name="T27" fmla="*/ 2147483647 h 8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1"/>
              <a:gd name="T43" fmla="*/ 0 h 81"/>
              <a:gd name="T44" fmla="*/ 41 w 41"/>
              <a:gd name="T45" fmla="*/ 81 h 8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1" h="81">
                <a:moveTo>
                  <a:pt x="24" y="80"/>
                </a:moveTo>
                <a:lnTo>
                  <a:pt x="24" y="80"/>
                </a:lnTo>
                <a:lnTo>
                  <a:pt x="32" y="64"/>
                </a:lnTo>
                <a:lnTo>
                  <a:pt x="24" y="40"/>
                </a:lnTo>
                <a:lnTo>
                  <a:pt x="32" y="32"/>
                </a:lnTo>
                <a:lnTo>
                  <a:pt x="32" y="16"/>
                </a:lnTo>
                <a:lnTo>
                  <a:pt x="40" y="8"/>
                </a:lnTo>
                <a:lnTo>
                  <a:pt x="40" y="0"/>
                </a:lnTo>
                <a:lnTo>
                  <a:pt x="8" y="0"/>
                </a:lnTo>
                <a:lnTo>
                  <a:pt x="8" y="16"/>
                </a:lnTo>
                <a:lnTo>
                  <a:pt x="0" y="56"/>
                </a:lnTo>
                <a:lnTo>
                  <a:pt x="8" y="56"/>
                </a:lnTo>
                <a:lnTo>
                  <a:pt x="0" y="80"/>
                </a:lnTo>
                <a:lnTo>
                  <a:pt x="24" y="8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5" name="Freeform 86">
            <a:extLst>
              <a:ext uri="{FF2B5EF4-FFF2-40B4-BE49-F238E27FC236}">
                <a16:creationId xmlns:a16="http://schemas.microsoft.com/office/drawing/2014/main" id="{B87FBF24-DD25-4BF5-B870-725933FC221D}"/>
              </a:ext>
            </a:extLst>
          </p:cNvPr>
          <p:cNvSpPr>
            <a:spLocks/>
          </p:cNvSpPr>
          <p:nvPr/>
        </p:nvSpPr>
        <p:spPr bwMode="gray">
          <a:xfrm>
            <a:off x="1481722" y="3441335"/>
            <a:ext cx="562007" cy="566399"/>
          </a:xfrm>
          <a:custGeom>
            <a:avLst/>
            <a:gdLst>
              <a:gd name="T0" fmla="*/ 2147483647 w 153"/>
              <a:gd name="T1" fmla="*/ 2147483647 h 153"/>
              <a:gd name="T2" fmla="*/ 2147483647 w 153"/>
              <a:gd name="T3" fmla="*/ 2147483647 h 153"/>
              <a:gd name="T4" fmla="*/ 2147483647 w 153"/>
              <a:gd name="T5" fmla="*/ 2147483647 h 153"/>
              <a:gd name="T6" fmla="*/ 2147483647 w 153"/>
              <a:gd name="T7" fmla="*/ 2147483647 h 153"/>
              <a:gd name="T8" fmla="*/ 2147483647 w 153"/>
              <a:gd name="T9" fmla="*/ 2147483647 h 153"/>
              <a:gd name="T10" fmla="*/ 2147483647 w 153"/>
              <a:gd name="T11" fmla="*/ 2147483647 h 153"/>
              <a:gd name="T12" fmla="*/ 2147483647 w 153"/>
              <a:gd name="T13" fmla="*/ 2147483647 h 153"/>
              <a:gd name="T14" fmla="*/ 2147483647 w 153"/>
              <a:gd name="T15" fmla="*/ 2147483647 h 153"/>
              <a:gd name="T16" fmla="*/ 2147483647 w 153"/>
              <a:gd name="T17" fmla="*/ 2147483647 h 153"/>
              <a:gd name="T18" fmla="*/ 2147483647 w 153"/>
              <a:gd name="T19" fmla="*/ 2147483647 h 153"/>
              <a:gd name="T20" fmla="*/ 2147483647 w 153"/>
              <a:gd name="T21" fmla="*/ 2147483647 h 153"/>
              <a:gd name="T22" fmla="*/ 2147483647 w 153"/>
              <a:gd name="T23" fmla="*/ 2147483647 h 153"/>
              <a:gd name="T24" fmla="*/ 2147483647 w 153"/>
              <a:gd name="T25" fmla="*/ 2147483647 h 153"/>
              <a:gd name="T26" fmla="*/ 2147483647 w 153"/>
              <a:gd name="T27" fmla="*/ 2147483647 h 153"/>
              <a:gd name="T28" fmla="*/ 2147483647 w 153"/>
              <a:gd name="T29" fmla="*/ 2147483647 h 153"/>
              <a:gd name="T30" fmla="*/ 2147483647 w 153"/>
              <a:gd name="T31" fmla="*/ 2147483647 h 153"/>
              <a:gd name="T32" fmla="*/ 2147483647 w 153"/>
              <a:gd name="T33" fmla="*/ 2147483647 h 153"/>
              <a:gd name="T34" fmla="*/ 2147483647 w 153"/>
              <a:gd name="T35" fmla="*/ 2147483647 h 153"/>
              <a:gd name="T36" fmla="*/ 2147483647 w 153"/>
              <a:gd name="T37" fmla="*/ 2147483647 h 153"/>
              <a:gd name="T38" fmla="*/ 2147483647 w 153"/>
              <a:gd name="T39" fmla="*/ 2147483647 h 153"/>
              <a:gd name="T40" fmla="*/ 2147483647 w 153"/>
              <a:gd name="T41" fmla="*/ 2147483647 h 153"/>
              <a:gd name="T42" fmla="*/ 2147483647 w 153"/>
              <a:gd name="T43" fmla="*/ 2147483647 h 153"/>
              <a:gd name="T44" fmla="*/ 2147483647 w 153"/>
              <a:gd name="T45" fmla="*/ 2147483647 h 153"/>
              <a:gd name="T46" fmla="*/ 2147483647 w 153"/>
              <a:gd name="T47" fmla="*/ 2147483647 h 153"/>
              <a:gd name="T48" fmla="*/ 2147483647 w 153"/>
              <a:gd name="T49" fmla="*/ 2147483647 h 153"/>
              <a:gd name="T50" fmla="*/ 2147483647 w 153"/>
              <a:gd name="T51" fmla="*/ 2147483647 h 153"/>
              <a:gd name="T52" fmla="*/ 2147483647 w 153"/>
              <a:gd name="T53" fmla="*/ 2147483647 h 153"/>
              <a:gd name="T54" fmla="*/ 2147483647 w 153"/>
              <a:gd name="T55" fmla="*/ 2147483647 h 153"/>
              <a:gd name="T56" fmla="*/ 2147483647 w 153"/>
              <a:gd name="T57" fmla="*/ 2147483647 h 153"/>
              <a:gd name="T58" fmla="*/ 2147483647 w 153"/>
              <a:gd name="T59" fmla="*/ 2147483647 h 153"/>
              <a:gd name="T60" fmla="*/ 2147483647 w 153"/>
              <a:gd name="T61" fmla="*/ 0 h 153"/>
              <a:gd name="T62" fmla="*/ 2147483647 w 153"/>
              <a:gd name="T63" fmla="*/ 0 h 153"/>
              <a:gd name="T64" fmla="*/ 2147483647 w 153"/>
              <a:gd name="T65" fmla="*/ 2147483647 h 153"/>
              <a:gd name="T66" fmla="*/ 2147483647 w 153"/>
              <a:gd name="T67" fmla="*/ 2147483647 h 153"/>
              <a:gd name="T68" fmla="*/ 2147483647 w 153"/>
              <a:gd name="T69" fmla="*/ 2147483647 h 153"/>
              <a:gd name="T70" fmla="*/ 2147483647 w 153"/>
              <a:gd name="T71" fmla="*/ 2147483647 h 153"/>
              <a:gd name="T72" fmla="*/ 2147483647 w 153"/>
              <a:gd name="T73" fmla="*/ 2147483647 h 153"/>
              <a:gd name="T74" fmla="*/ 0 w 153"/>
              <a:gd name="T75" fmla="*/ 2147483647 h 153"/>
              <a:gd name="T76" fmla="*/ 0 w 153"/>
              <a:gd name="T77" fmla="*/ 2147483647 h 153"/>
              <a:gd name="T78" fmla="*/ 2147483647 w 153"/>
              <a:gd name="T79" fmla="*/ 2147483647 h 153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53"/>
              <a:gd name="T121" fmla="*/ 0 h 153"/>
              <a:gd name="T122" fmla="*/ 153 w 153"/>
              <a:gd name="T123" fmla="*/ 153 h 153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53" h="153">
                <a:moveTo>
                  <a:pt x="8" y="56"/>
                </a:moveTo>
                <a:lnTo>
                  <a:pt x="8" y="56"/>
                </a:lnTo>
                <a:lnTo>
                  <a:pt x="24" y="48"/>
                </a:lnTo>
                <a:lnTo>
                  <a:pt x="40" y="56"/>
                </a:lnTo>
                <a:lnTo>
                  <a:pt x="56" y="80"/>
                </a:lnTo>
                <a:lnTo>
                  <a:pt x="64" y="80"/>
                </a:lnTo>
                <a:lnTo>
                  <a:pt x="72" y="96"/>
                </a:lnTo>
                <a:lnTo>
                  <a:pt x="88" y="104"/>
                </a:lnTo>
                <a:lnTo>
                  <a:pt x="104" y="120"/>
                </a:lnTo>
                <a:lnTo>
                  <a:pt x="112" y="120"/>
                </a:lnTo>
                <a:lnTo>
                  <a:pt x="120" y="144"/>
                </a:lnTo>
                <a:lnTo>
                  <a:pt x="112" y="152"/>
                </a:lnTo>
                <a:lnTo>
                  <a:pt x="120" y="152"/>
                </a:lnTo>
                <a:lnTo>
                  <a:pt x="128" y="144"/>
                </a:lnTo>
                <a:lnTo>
                  <a:pt x="128" y="136"/>
                </a:lnTo>
                <a:lnTo>
                  <a:pt x="128" y="128"/>
                </a:lnTo>
                <a:lnTo>
                  <a:pt x="128" y="112"/>
                </a:lnTo>
                <a:lnTo>
                  <a:pt x="144" y="128"/>
                </a:lnTo>
                <a:lnTo>
                  <a:pt x="152" y="120"/>
                </a:lnTo>
                <a:lnTo>
                  <a:pt x="112" y="96"/>
                </a:lnTo>
                <a:lnTo>
                  <a:pt x="120" y="88"/>
                </a:lnTo>
                <a:lnTo>
                  <a:pt x="112" y="88"/>
                </a:lnTo>
                <a:lnTo>
                  <a:pt x="96" y="80"/>
                </a:lnTo>
                <a:lnTo>
                  <a:pt x="88" y="64"/>
                </a:lnTo>
                <a:lnTo>
                  <a:pt x="72" y="48"/>
                </a:lnTo>
                <a:lnTo>
                  <a:pt x="72" y="24"/>
                </a:lnTo>
                <a:lnTo>
                  <a:pt x="80" y="24"/>
                </a:lnTo>
                <a:lnTo>
                  <a:pt x="88" y="24"/>
                </a:lnTo>
                <a:lnTo>
                  <a:pt x="88" y="16"/>
                </a:lnTo>
                <a:lnTo>
                  <a:pt x="88" y="8"/>
                </a:lnTo>
                <a:lnTo>
                  <a:pt x="72" y="0"/>
                </a:lnTo>
                <a:lnTo>
                  <a:pt x="48" y="0"/>
                </a:lnTo>
                <a:lnTo>
                  <a:pt x="40" y="16"/>
                </a:lnTo>
                <a:lnTo>
                  <a:pt x="32" y="8"/>
                </a:lnTo>
                <a:lnTo>
                  <a:pt x="32" y="16"/>
                </a:lnTo>
                <a:lnTo>
                  <a:pt x="24" y="16"/>
                </a:lnTo>
                <a:lnTo>
                  <a:pt x="8" y="24"/>
                </a:lnTo>
                <a:lnTo>
                  <a:pt x="0" y="24"/>
                </a:lnTo>
                <a:lnTo>
                  <a:pt x="0" y="40"/>
                </a:lnTo>
                <a:lnTo>
                  <a:pt x="8" y="5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6" name="Freeform 88">
            <a:extLst>
              <a:ext uri="{FF2B5EF4-FFF2-40B4-BE49-F238E27FC236}">
                <a16:creationId xmlns:a16="http://schemas.microsoft.com/office/drawing/2014/main" id="{FB29C3D1-A323-4D4D-A029-02C843C1D577}"/>
              </a:ext>
            </a:extLst>
          </p:cNvPr>
          <p:cNvSpPr>
            <a:spLocks/>
          </p:cNvSpPr>
          <p:nvPr/>
        </p:nvSpPr>
        <p:spPr bwMode="gray">
          <a:xfrm>
            <a:off x="2373031" y="3770636"/>
            <a:ext cx="895699" cy="360035"/>
          </a:xfrm>
          <a:custGeom>
            <a:avLst/>
            <a:gdLst>
              <a:gd name="T0" fmla="*/ 2147483647 w 241"/>
              <a:gd name="T1" fmla="*/ 2147483647 h 97"/>
              <a:gd name="T2" fmla="*/ 2147483647 w 241"/>
              <a:gd name="T3" fmla="*/ 2147483647 h 97"/>
              <a:gd name="T4" fmla="*/ 2147483647 w 241"/>
              <a:gd name="T5" fmla="*/ 2147483647 h 97"/>
              <a:gd name="T6" fmla="*/ 2147483647 w 241"/>
              <a:gd name="T7" fmla="*/ 2147483647 h 97"/>
              <a:gd name="T8" fmla="*/ 2147483647 w 241"/>
              <a:gd name="T9" fmla="*/ 2147483647 h 97"/>
              <a:gd name="T10" fmla="*/ 2147483647 w 241"/>
              <a:gd name="T11" fmla="*/ 2147483647 h 97"/>
              <a:gd name="T12" fmla="*/ 2147483647 w 241"/>
              <a:gd name="T13" fmla="*/ 2147483647 h 97"/>
              <a:gd name="T14" fmla="*/ 2147483647 w 241"/>
              <a:gd name="T15" fmla="*/ 0 h 97"/>
              <a:gd name="T16" fmla="*/ 2147483647 w 241"/>
              <a:gd name="T17" fmla="*/ 0 h 97"/>
              <a:gd name="T18" fmla="*/ 2147483647 w 241"/>
              <a:gd name="T19" fmla="*/ 2147483647 h 97"/>
              <a:gd name="T20" fmla="*/ 2147483647 w 241"/>
              <a:gd name="T21" fmla="*/ 2147483647 h 97"/>
              <a:gd name="T22" fmla="*/ 2147483647 w 241"/>
              <a:gd name="T23" fmla="*/ 2147483647 h 97"/>
              <a:gd name="T24" fmla="*/ 2147483647 w 241"/>
              <a:gd name="T25" fmla="*/ 0 h 97"/>
              <a:gd name="T26" fmla="*/ 2147483647 w 241"/>
              <a:gd name="T27" fmla="*/ 0 h 97"/>
              <a:gd name="T28" fmla="*/ 2147483647 w 241"/>
              <a:gd name="T29" fmla="*/ 2147483647 h 97"/>
              <a:gd name="T30" fmla="*/ 0 w 241"/>
              <a:gd name="T31" fmla="*/ 2147483647 h 97"/>
              <a:gd name="T32" fmla="*/ 2147483647 w 241"/>
              <a:gd name="T33" fmla="*/ 2147483647 h 97"/>
              <a:gd name="T34" fmla="*/ 2147483647 w 241"/>
              <a:gd name="T35" fmla="*/ 2147483647 h 97"/>
              <a:gd name="T36" fmla="*/ 2147483647 w 241"/>
              <a:gd name="T37" fmla="*/ 2147483647 h 97"/>
              <a:gd name="T38" fmla="*/ 2147483647 w 241"/>
              <a:gd name="T39" fmla="*/ 2147483647 h 97"/>
              <a:gd name="T40" fmla="*/ 2147483647 w 241"/>
              <a:gd name="T41" fmla="*/ 2147483647 h 97"/>
              <a:gd name="T42" fmla="*/ 2147483647 w 241"/>
              <a:gd name="T43" fmla="*/ 2147483647 h 97"/>
              <a:gd name="T44" fmla="*/ 2147483647 w 241"/>
              <a:gd name="T45" fmla="*/ 2147483647 h 97"/>
              <a:gd name="T46" fmla="*/ 2147483647 w 241"/>
              <a:gd name="T47" fmla="*/ 2147483647 h 97"/>
              <a:gd name="T48" fmla="*/ 2147483647 w 241"/>
              <a:gd name="T49" fmla="*/ 2147483647 h 97"/>
              <a:gd name="T50" fmla="*/ 2147483647 w 241"/>
              <a:gd name="T51" fmla="*/ 2147483647 h 97"/>
              <a:gd name="T52" fmla="*/ 2147483647 w 241"/>
              <a:gd name="T53" fmla="*/ 2147483647 h 97"/>
              <a:gd name="T54" fmla="*/ 2147483647 w 241"/>
              <a:gd name="T55" fmla="*/ 2147483647 h 97"/>
              <a:gd name="T56" fmla="*/ 2147483647 w 241"/>
              <a:gd name="T57" fmla="*/ 2147483647 h 97"/>
              <a:gd name="T58" fmla="*/ 2147483647 w 241"/>
              <a:gd name="T59" fmla="*/ 2147483647 h 97"/>
              <a:gd name="T60" fmla="*/ 2147483647 w 241"/>
              <a:gd name="T61" fmla="*/ 2147483647 h 97"/>
              <a:gd name="T62" fmla="*/ 2147483647 w 241"/>
              <a:gd name="T63" fmla="*/ 2147483647 h 97"/>
              <a:gd name="T64" fmla="*/ 2147483647 w 241"/>
              <a:gd name="T65" fmla="*/ 2147483647 h 97"/>
              <a:gd name="T66" fmla="*/ 2147483647 w 241"/>
              <a:gd name="T67" fmla="*/ 2147483647 h 97"/>
              <a:gd name="T68" fmla="*/ 2147483647 w 241"/>
              <a:gd name="T69" fmla="*/ 2147483647 h 97"/>
              <a:gd name="T70" fmla="*/ 2147483647 w 241"/>
              <a:gd name="T71" fmla="*/ 2147483647 h 97"/>
              <a:gd name="T72" fmla="*/ 2147483647 w 241"/>
              <a:gd name="T73" fmla="*/ 2147483647 h 97"/>
              <a:gd name="T74" fmla="*/ 2147483647 w 241"/>
              <a:gd name="T75" fmla="*/ 2147483647 h 97"/>
              <a:gd name="T76" fmla="*/ 2147483647 w 241"/>
              <a:gd name="T77" fmla="*/ 2147483647 h 97"/>
              <a:gd name="T78" fmla="*/ 2147483647 w 241"/>
              <a:gd name="T79" fmla="*/ 2147483647 h 97"/>
              <a:gd name="T80" fmla="*/ 2147483647 w 241"/>
              <a:gd name="T81" fmla="*/ 2147483647 h 97"/>
              <a:gd name="T82" fmla="*/ 2147483647 w 241"/>
              <a:gd name="T83" fmla="*/ 2147483647 h 97"/>
              <a:gd name="T84" fmla="*/ 2147483647 w 241"/>
              <a:gd name="T85" fmla="*/ 2147483647 h 97"/>
              <a:gd name="T86" fmla="*/ 2147483647 w 241"/>
              <a:gd name="T87" fmla="*/ 2147483647 h 97"/>
              <a:gd name="T88" fmla="*/ 2147483647 w 241"/>
              <a:gd name="T89" fmla="*/ 2147483647 h 97"/>
              <a:gd name="T90" fmla="*/ 2147483647 w 241"/>
              <a:gd name="T91" fmla="*/ 2147483647 h 97"/>
              <a:gd name="T92" fmla="*/ 2147483647 w 241"/>
              <a:gd name="T93" fmla="*/ 2147483647 h 97"/>
              <a:gd name="T94" fmla="*/ 2147483647 w 241"/>
              <a:gd name="T95" fmla="*/ 2147483647 h 97"/>
              <a:gd name="T96" fmla="*/ 2147483647 w 241"/>
              <a:gd name="T97" fmla="*/ 2147483647 h 97"/>
              <a:gd name="T98" fmla="*/ 2147483647 w 241"/>
              <a:gd name="T99" fmla="*/ 2147483647 h 97"/>
              <a:gd name="T100" fmla="*/ 2147483647 w 241"/>
              <a:gd name="T101" fmla="*/ 2147483647 h 97"/>
              <a:gd name="T102" fmla="*/ 2147483647 w 241"/>
              <a:gd name="T103" fmla="*/ 2147483647 h 97"/>
              <a:gd name="T104" fmla="*/ 2147483647 w 241"/>
              <a:gd name="T105" fmla="*/ 2147483647 h 97"/>
              <a:gd name="T106" fmla="*/ 2147483647 w 241"/>
              <a:gd name="T107" fmla="*/ 2147483647 h 97"/>
              <a:gd name="T108" fmla="*/ 2147483647 w 241"/>
              <a:gd name="T109" fmla="*/ 2147483647 h 9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41"/>
              <a:gd name="T166" fmla="*/ 0 h 97"/>
              <a:gd name="T167" fmla="*/ 241 w 241"/>
              <a:gd name="T168" fmla="*/ 97 h 9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41" h="97">
                <a:moveTo>
                  <a:pt x="240" y="32"/>
                </a:moveTo>
                <a:lnTo>
                  <a:pt x="240" y="32"/>
                </a:lnTo>
                <a:lnTo>
                  <a:pt x="232" y="32"/>
                </a:lnTo>
                <a:lnTo>
                  <a:pt x="224" y="8"/>
                </a:lnTo>
                <a:lnTo>
                  <a:pt x="200" y="8"/>
                </a:lnTo>
                <a:lnTo>
                  <a:pt x="176" y="16"/>
                </a:lnTo>
                <a:lnTo>
                  <a:pt x="144" y="16"/>
                </a:lnTo>
                <a:lnTo>
                  <a:pt x="120" y="0"/>
                </a:lnTo>
                <a:lnTo>
                  <a:pt x="96" y="0"/>
                </a:lnTo>
                <a:lnTo>
                  <a:pt x="72" y="16"/>
                </a:lnTo>
                <a:lnTo>
                  <a:pt x="56" y="16"/>
                </a:lnTo>
                <a:lnTo>
                  <a:pt x="40" y="16"/>
                </a:lnTo>
                <a:lnTo>
                  <a:pt x="32" y="0"/>
                </a:lnTo>
                <a:lnTo>
                  <a:pt x="16" y="0"/>
                </a:lnTo>
                <a:lnTo>
                  <a:pt x="8" y="8"/>
                </a:lnTo>
                <a:lnTo>
                  <a:pt x="0" y="24"/>
                </a:lnTo>
                <a:lnTo>
                  <a:pt x="8" y="24"/>
                </a:lnTo>
                <a:lnTo>
                  <a:pt x="8" y="32"/>
                </a:lnTo>
                <a:lnTo>
                  <a:pt x="24" y="16"/>
                </a:lnTo>
                <a:lnTo>
                  <a:pt x="40" y="16"/>
                </a:lnTo>
                <a:lnTo>
                  <a:pt x="48" y="24"/>
                </a:lnTo>
                <a:lnTo>
                  <a:pt x="40" y="24"/>
                </a:lnTo>
                <a:lnTo>
                  <a:pt x="40" y="32"/>
                </a:lnTo>
                <a:lnTo>
                  <a:pt x="16" y="32"/>
                </a:lnTo>
                <a:lnTo>
                  <a:pt x="8" y="32"/>
                </a:lnTo>
                <a:lnTo>
                  <a:pt x="8" y="48"/>
                </a:lnTo>
                <a:lnTo>
                  <a:pt x="16" y="40"/>
                </a:lnTo>
                <a:lnTo>
                  <a:pt x="16" y="56"/>
                </a:lnTo>
                <a:lnTo>
                  <a:pt x="8" y="56"/>
                </a:lnTo>
                <a:lnTo>
                  <a:pt x="8" y="64"/>
                </a:lnTo>
                <a:lnTo>
                  <a:pt x="16" y="64"/>
                </a:lnTo>
                <a:lnTo>
                  <a:pt x="16" y="72"/>
                </a:lnTo>
                <a:lnTo>
                  <a:pt x="24" y="80"/>
                </a:lnTo>
                <a:lnTo>
                  <a:pt x="16" y="80"/>
                </a:lnTo>
                <a:lnTo>
                  <a:pt x="32" y="80"/>
                </a:lnTo>
                <a:lnTo>
                  <a:pt x="32" y="88"/>
                </a:lnTo>
                <a:lnTo>
                  <a:pt x="48" y="96"/>
                </a:lnTo>
                <a:lnTo>
                  <a:pt x="64" y="88"/>
                </a:lnTo>
                <a:lnTo>
                  <a:pt x="72" y="88"/>
                </a:lnTo>
                <a:lnTo>
                  <a:pt x="88" y="96"/>
                </a:lnTo>
                <a:lnTo>
                  <a:pt x="96" y="96"/>
                </a:lnTo>
                <a:lnTo>
                  <a:pt x="112" y="88"/>
                </a:lnTo>
                <a:lnTo>
                  <a:pt x="128" y="88"/>
                </a:lnTo>
                <a:lnTo>
                  <a:pt x="128" y="80"/>
                </a:lnTo>
                <a:lnTo>
                  <a:pt x="128" y="96"/>
                </a:lnTo>
                <a:lnTo>
                  <a:pt x="136" y="96"/>
                </a:lnTo>
                <a:lnTo>
                  <a:pt x="136" y="88"/>
                </a:lnTo>
                <a:lnTo>
                  <a:pt x="160" y="80"/>
                </a:lnTo>
                <a:lnTo>
                  <a:pt x="168" y="88"/>
                </a:lnTo>
                <a:lnTo>
                  <a:pt x="192" y="80"/>
                </a:lnTo>
                <a:lnTo>
                  <a:pt x="216" y="80"/>
                </a:lnTo>
                <a:lnTo>
                  <a:pt x="216" y="72"/>
                </a:lnTo>
                <a:lnTo>
                  <a:pt x="240" y="80"/>
                </a:lnTo>
                <a:lnTo>
                  <a:pt x="232" y="40"/>
                </a:lnTo>
                <a:lnTo>
                  <a:pt x="240" y="3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7" name="Freeform 89">
            <a:extLst>
              <a:ext uri="{FF2B5EF4-FFF2-40B4-BE49-F238E27FC236}">
                <a16:creationId xmlns:a16="http://schemas.microsoft.com/office/drawing/2014/main" id="{A1A945B2-582F-4AC2-9BE6-20780C0BB73E}"/>
              </a:ext>
            </a:extLst>
          </p:cNvPr>
          <p:cNvSpPr>
            <a:spLocks/>
          </p:cNvSpPr>
          <p:nvPr/>
        </p:nvSpPr>
        <p:spPr bwMode="gray">
          <a:xfrm>
            <a:off x="2100808" y="3796980"/>
            <a:ext cx="302955" cy="237100"/>
          </a:xfrm>
          <a:custGeom>
            <a:avLst/>
            <a:gdLst>
              <a:gd name="T0" fmla="*/ 2147483647 w 81"/>
              <a:gd name="T1" fmla="*/ 2147483647 h 65"/>
              <a:gd name="T2" fmla="*/ 2147483647 w 81"/>
              <a:gd name="T3" fmla="*/ 2147483647 h 65"/>
              <a:gd name="T4" fmla="*/ 2147483647 w 81"/>
              <a:gd name="T5" fmla="*/ 0 h 65"/>
              <a:gd name="T6" fmla="*/ 2147483647 w 81"/>
              <a:gd name="T7" fmla="*/ 0 h 65"/>
              <a:gd name="T8" fmla="*/ 2147483647 w 81"/>
              <a:gd name="T9" fmla="*/ 2147483647 h 65"/>
              <a:gd name="T10" fmla="*/ 2147483647 w 81"/>
              <a:gd name="T11" fmla="*/ 0 h 65"/>
              <a:gd name="T12" fmla="*/ 2147483647 w 81"/>
              <a:gd name="T13" fmla="*/ 2147483647 h 65"/>
              <a:gd name="T14" fmla="*/ 2147483647 w 81"/>
              <a:gd name="T15" fmla="*/ 2147483647 h 65"/>
              <a:gd name="T16" fmla="*/ 2147483647 w 81"/>
              <a:gd name="T17" fmla="*/ 2147483647 h 65"/>
              <a:gd name="T18" fmla="*/ 2147483647 w 81"/>
              <a:gd name="T19" fmla="*/ 2147483647 h 65"/>
              <a:gd name="T20" fmla="*/ 2147483647 w 81"/>
              <a:gd name="T21" fmla="*/ 2147483647 h 65"/>
              <a:gd name="T22" fmla="*/ 2147483647 w 81"/>
              <a:gd name="T23" fmla="*/ 2147483647 h 65"/>
              <a:gd name="T24" fmla="*/ 2147483647 w 81"/>
              <a:gd name="T25" fmla="*/ 2147483647 h 65"/>
              <a:gd name="T26" fmla="*/ 2147483647 w 81"/>
              <a:gd name="T27" fmla="*/ 2147483647 h 65"/>
              <a:gd name="T28" fmla="*/ 2147483647 w 81"/>
              <a:gd name="T29" fmla="*/ 2147483647 h 65"/>
              <a:gd name="T30" fmla="*/ 2147483647 w 81"/>
              <a:gd name="T31" fmla="*/ 2147483647 h 65"/>
              <a:gd name="T32" fmla="*/ 2147483647 w 81"/>
              <a:gd name="T33" fmla="*/ 2147483647 h 65"/>
              <a:gd name="T34" fmla="*/ 2147483647 w 81"/>
              <a:gd name="T35" fmla="*/ 2147483647 h 65"/>
              <a:gd name="T36" fmla="*/ 2147483647 w 81"/>
              <a:gd name="T37" fmla="*/ 2147483647 h 65"/>
              <a:gd name="T38" fmla="*/ 0 w 81"/>
              <a:gd name="T39" fmla="*/ 2147483647 h 65"/>
              <a:gd name="T40" fmla="*/ 2147483647 w 81"/>
              <a:gd name="T41" fmla="*/ 2147483647 h 65"/>
              <a:gd name="T42" fmla="*/ 2147483647 w 81"/>
              <a:gd name="T43" fmla="*/ 2147483647 h 6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81"/>
              <a:gd name="T67" fmla="*/ 0 h 65"/>
              <a:gd name="T68" fmla="*/ 81 w 81"/>
              <a:gd name="T69" fmla="*/ 65 h 6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81" h="65">
                <a:moveTo>
                  <a:pt x="16" y="8"/>
                </a:moveTo>
                <a:lnTo>
                  <a:pt x="16" y="8"/>
                </a:lnTo>
                <a:lnTo>
                  <a:pt x="40" y="0"/>
                </a:lnTo>
                <a:lnTo>
                  <a:pt x="56" y="0"/>
                </a:lnTo>
                <a:lnTo>
                  <a:pt x="72" y="8"/>
                </a:lnTo>
                <a:lnTo>
                  <a:pt x="80" y="0"/>
                </a:lnTo>
                <a:lnTo>
                  <a:pt x="72" y="16"/>
                </a:lnTo>
                <a:lnTo>
                  <a:pt x="56" y="8"/>
                </a:lnTo>
                <a:lnTo>
                  <a:pt x="48" y="16"/>
                </a:lnTo>
                <a:lnTo>
                  <a:pt x="48" y="24"/>
                </a:lnTo>
                <a:lnTo>
                  <a:pt x="40" y="24"/>
                </a:lnTo>
                <a:lnTo>
                  <a:pt x="32" y="16"/>
                </a:lnTo>
                <a:lnTo>
                  <a:pt x="32" y="24"/>
                </a:lnTo>
                <a:lnTo>
                  <a:pt x="40" y="40"/>
                </a:lnTo>
                <a:lnTo>
                  <a:pt x="56" y="56"/>
                </a:lnTo>
                <a:lnTo>
                  <a:pt x="48" y="56"/>
                </a:lnTo>
                <a:lnTo>
                  <a:pt x="48" y="64"/>
                </a:lnTo>
                <a:lnTo>
                  <a:pt x="32" y="56"/>
                </a:lnTo>
                <a:lnTo>
                  <a:pt x="16" y="56"/>
                </a:lnTo>
                <a:lnTo>
                  <a:pt x="0" y="32"/>
                </a:lnTo>
                <a:lnTo>
                  <a:pt x="16" y="16"/>
                </a:lnTo>
                <a:lnTo>
                  <a:pt x="16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8" name="Freeform 219">
            <a:extLst>
              <a:ext uri="{FF2B5EF4-FFF2-40B4-BE49-F238E27FC236}">
                <a16:creationId xmlns:a16="http://schemas.microsoft.com/office/drawing/2014/main" id="{809B692B-77F5-450D-9EB6-F524C5777B09}"/>
              </a:ext>
            </a:extLst>
          </p:cNvPr>
          <p:cNvSpPr>
            <a:spLocks/>
          </p:cNvSpPr>
          <p:nvPr/>
        </p:nvSpPr>
        <p:spPr bwMode="gray">
          <a:xfrm>
            <a:off x="1560754" y="3709168"/>
            <a:ext cx="39518" cy="127328"/>
          </a:xfrm>
          <a:custGeom>
            <a:avLst/>
            <a:gdLst>
              <a:gd name="T0" fmla="*/ 0 w 9"/>
              <a:gd name="T1" fmla="*/ 2147483647 h 33"/>
              <a:gd name="T2" fmla="*/ 0 w 9"/>
              <a:gd name="T3" fmla="*/ 2147483647 h 33"/>
              <a:gd name="T4" fmla="*/ 0 w 9"/>
              <a:gd name="T5" fmla="*/ 2147483647 h 33"/>
              <a:gd name="T6" fmla="*/ 2147483647 w 9"/>
              <a:gd name="T7" fmla="*/ 2147483647 h 33"/>
              <a:gd name="T8" fmla="*/ 2147483647 w 9"/>
              <a:gd name="T9" fmla="*/ 0 h 33"/>
              <a:gd name="T10" fmla="*/ 0 w 9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33"/>
              <a:gd name="T20" fmla="*/ 9 w 9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33">
                <a:moveTo>
                  <a:pt x="0" y="8"/>
                </a:moveTo>
                <a:lnTo>
                  <a:pt x="0" y="8"/>
                </a:lnTo>
                <a:lnTo>
                  <a:pt x="0" y="24"/>
                </a:lnTo>
                <a:lnTo>
                  <a:pt x="8" y="32"/>
                </a:lnTo>
                <a:lnTo>
                  <a:pt x="8" y="0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59" name="Freeform 220">
            <a:extLst>
              <a:ext uri="{FF2B5EF4-FFF2-40B4-BE49-F238E27FC236}">
                <a16:creationId xmlns:a16="http://schemas.microsoft.com/office/drawing/2014/main" id="{FB45FB1E-4ED7-407F-B5E8-DF205FD1F352}"/>
              </a:ext>
            </a:extLst>
          </p:cNvPr>
          <p:cNvSpPr>
            <a:spLocks/>
          </p:cNvSpPr>
          <p:nvPr/>
        </p:nvSpPr>
        <p:spPr bwMode="gray">
          <a:xfrm>
            <a:off x="1538800" y="3827715"/>
            <a:ext cx="87812" cy="158063"/>
          </a:xfrm>
          <a:custGeom>
            <a:avLst/>
            <a:gdLst>
              <a:gd name="T0" fmla="*/ 0 w 25"/>
              <a:gd name="T1" fmla="*/ 0 h 41"/>
              <a:gd name="T2" fmla="*/ 0 w 25"/>
              <a:gd name="T3" fmla="*/ 0 h 41"/>
              <a:gd name="T4" fmla="*/ 2147483647 w 25"/>
              <a:gd name="T5" fmla="*/ 2147483647 h 41"/>
              <a:gd name="T6" fmla="*/ 2147483647 w 25"/>
              <a:gd name="T7" fmla="*/ 2147483647 h 41"/>
              <a:gd name="T8" fmla="*/ 2147483647 w 25"/>
              <a:gd name="T9" fmla="*/ 2147483647 h 41"/>
              <a:gd name="T10" fmla="*/ 2147483647 w 25"/>
              <a:gd name="T11" fmla="*/ 2147483647 h 41"/>
              <a:gd name="T12" fmla="*/ 2147483647 w 25"/>
              <a:gd name="T13" fmla="*/ 0 h 41"/>
              <a:gd name="T14" fmla="*/ 0 w 25"/>
              <a:gd name="T15" fmla="*/ 0 h 4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5"/>
              <a:gd name="T25" fmla="*/ 0 h 41"/>
              <a:gd name="T26" fmla="*/ 25 w 25"/>
              <a:gd name="T27" fmla="*/ 41 h 4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5" h="41">
                <a:moveTo>
                  <a:pt x="0" y="0"/>
                </a:moveTo>
                <a:lnTo>
                  <a:pt x="0" y="0"/>
                </a:lnTo>
                <a:lnTo>
                  <a:pt x="8" y="32"/>
                </a:lnTo>
                <a:lnTo>
                  <a:pt x="8" y="40"/>
                </a:lnTo>
                <a:lnTo>
                  <a:pt x="16" y="32"/>
                </a:lnTo>
                <a:lnTo>
                  <a:pt x="24" y="8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61" name="Freeform 225">
            <a:extLst>
              <a:ext uri="{FF2B5EF4-FFF2-40B4-BE49-F238E27FC236}">
                <a16:creationId xmlns:a16="http://schemas.microsoft.com/office/drawing/2014/main" id="{B2333D21-3072-4E51-A35C-729095751649}"/>
              </a:ext>
            </a:extLst>
          </p:cNvPr>
          <p:cNvSpPr>
            <a:spLocks/>
          </p:cNvSpPr>
          <p:nvPr/>
        </p:nvSpPr>
        <p:spPr bwMode="gray">
          <a:xfrm>
            <a:off x="1266579" y="3880402"/>
            <a:ext cx="70249" cy="70249"/>
          </a:xfrm>
          <a:custGeom>
            <a:avLst/>
            <a:gdLst>
              <a:gd name="T0" fmla="*/ 0 w 17"/>
              <a:gd name="T1" fmla="*/ 2147483647 h 17"/>
              <a:gd name="T2" fmla="*/ 0 w 17"/>
              <a:gd name="T3" fmla="*/ 2147483647 h 17"/>
              <a:gd name="T4" fmla="*/ 2147483647 w 17"/>
              <a:gd name="T5" fmla="*/ 2147483647 h 17"/>
              <a:gd name="T6" fmla="*/ 2147483647 w 17"/>
              <a:gd name="T7" fmla="*/ 2147483647 h 17"/>
              <a:gd name="T8" fmla="*/ 2147483647 w 17"/>
              <a:gd name="T9" fmla="*/ 0 h 17"/>
              <a:gd name="T10" fmla="*/ 0 w 17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7"/>
              <a:gd name="T20" fmla="*/ 17 w 17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7">
                <a:moveTo>
                  <a:pt x="0" y="8"/>
                </a:moveTo>
                <a:lnTo>
                  <a:pt x="0" y="8"/>
                </a:lnTo>
                <a:lnTo>
                  <a:pt x="8" y="16"/>
                </a:lnTo>
                <a:lnTo>
                  <a:pt x="16" y="8"/>
                </a:lnTo>
                <a:lnTo>
                  <a:pt x="8" y="0"/>
                </a:lnTo>
                <a:lnTo>
                  <a:pt x="0" y="8"/>
                </a:lnTo>
              </a:path>
            </a:pathLst>
          </a:custGeom>
          <a:pattFill prst="dkDnDiag">
            <a:fgClr>
              <a:schemeClr val="accent6"/>
            </a:fgClr>
            <a:bgClr>
              <a:schemeClr val="bg1"/>
            </a:bgClr>
          </a:patt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62" name="Freeform 292">
            <a:extLst>
              <a:ext uri="{FF2B5EF4-FFF2-40B4-BE49-F238E27FC236}">
                <a16:creationId xmlns:a16="http://schemas.microsoft.com/office/drawing/2014/main" id="{651A72CB-8DBD-4130-8E99-9B86246CB164}"/>
              </a:ext>
            </a:extLst>
          </p:cNvPr>
          <p:cNvSpPr>
            <a:spLocks/>
          </p:cNvSpPr>
          <p:nvPr/>
        </p:nvSpPr>
        <p:spPr bwMode="gray">
          <a:xfrm>
            <a:off x="2219355" y="3621355"/>
            <a:ext cx="298568" cy="215144"/>
          </a:xfrm>
          <a:custGeom>
            <a:avLst/>
            <a:gdLst>
              <a:gd name="T0" fmla="*/ 2147483647 w 81"/>
              <a:gd name="T1" fmla="*/ 2147483647 h 57"/>
              <a:gd name="T2" fmla="*/ 2147483647 w 81"/>
              <a:gd name="T3" fmla="*/ 2147483647 h 57"/>
              <a:gd name="T4" fmla="*/ 2147483647 w 81"/>
              <a:gd name="T5" fmla="*/ 2147483647 h 57"/>
              <a:gd name="T6" fmla="*/ 2147483647 w 81"/>
              <a:gd name="T7" fmla="*/ 2147483647 h 57"/>
              <a:gd name="T8" fmla="*/ 2147483647 w 81"/>
              <a:gd name="T9" fmla="*/ 2147483647 h 57"/>
              <a:gd name="T10" fmla="*/ 2147483647 w 81"/>
              <a:gd name="T11" fmla="*/ 2147483647 h 57"/>
              <a:gd name="T12" fmla="*/ 2147483647 w 81"/>
              <a:gd name="T13" fmla="*/ 2147483647 h 57"/>
              <a:gd name="T14" fmla="*/ 2147483647 w 81"/>
              <a:gd name="T15" fmla="*/ 2147483647 h 57"/>
              <a:gd name="T16" fmla="*/ 2147483647 w 81"/>
              <a:gd name="T17" fmla="*/ 2147483647 h 57"/>
              <a:gd name="T18" fmla="*/ 2147483647 w 81"/>
              <a:gd name="T19" fmla="*/ 2147483647 h 57"/>
              <a:gd name="T20" fmla="*/ 2147483647 w 81"/>
              <a:gd name="T21" fmla="*/ 2147483647 h 57"/>
              <a:gd name="T22" fmla="*/ 2147483647 w 81"/>
              <a:gd name="T23" fmla="*/ 2147483647 h 57"/>
              <a:gd name="T24" fmla="*/ 0 w 81"/>
              <a:gd name="T25" fmla="*/ 2147483647 h 57"/>
              <a:gd name="T26" fmla="*/ 2147483647 w 81"/>
              <a:gd name="T27" fmla="*/ 2147483647 h 57"/>
              <a:gd name="T28" fmla="*/ 0 w 81"/>
              <a:gd name="T29" fmla="*/ 2147483647 h 57"/>
              <a:gd name="T30" fmla="*/ 0 w 81"/>
              <a:gd name="T31" fmla="*/ 0 h 57"/>
              <a:gd name="T32" fmla="*/ 2147483647 w 81"/>
              <a:gd name="T33" fmla="*/ 2147483647 h 57"/>
              <a:gd name="T34" fmla="*/ 2147483647 w 81"/>
              <a:gd name="T35" fmla="*/ 2147483647 h 57"/>
              <a:gd name="T36" fmla="*/ 2147483647 w 81"/>
              <a:gd name="T37" fmla="*/ 2147483647 h 57"/>
              <a:gd name="T38" fmla="*/ 2147483647 w 81"/>
              <a:gd name="T39" fmla="*/ 0 h 57"/>
              <a:gd name="T40" fmla="*/ 2147483647 w 81"/>
              <a:gd name="T41" fmla="*/ 2147483647 h 5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1"/>
              <a:gd name="T64" fmla="*/ 0 h 57"/>
              <a:gd name="T65" fmla="*/ 81 w 81"/>
              <a:gd name="T66" fmla="*/ 57 h 5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1" h="57">
                <a:moveTo>
                  <a:pt x="80" y="8"/>
                </a:moveTo>
                <a:lnTo>
                  <a:pt x="80" y="8"/>
                </a:lnTo>
                <a:lnTo>
                  <a:pt x="80" y="16"/>
                </a:lnTo>
                <a:lnTo>
                  <a:pt x="72" y="16"/>
                </a:lnTo>
                <a:lnTo>
                  <a:pt x="64" y="32"/>
                </a:lnTo>
                <a:lnTo>
                  <a:pt x="72" y="40"/>
                </a:lnTo>
                <a:lnTo>
                  <a:pt x="56" y="40"/>
                </a:lnTo>
                <a:lnTo>
                  <a:pt x="48" y="48"/>
                </a:lnTo>
                <a:lnTo>
                  <a:pt x="40" y="56"/>
                </a:lnTo>
                <a:lnTo>
                  <a:pt x="24" y="48"/>
                </a:lnTo>
                <a:lnTo>
                  <a:pt x="8" y="48"/>
                </a:lnTo>
                <a:lnTo>
                  <a:pt x="8" y="40"/>
                </a:lnTo>
                <a:lnTo>
                  <a:pt x="0" y="32"/>
                </a:lnTo>
                <a:lnTo>
                  <a:pt x="8" y="24"/>
                </a:lnTo>
                <a:lnTo>
                  <a:pt x="0" y="8"/>
                </a:lnTo>
                <a:lnTo>
                  <a:pt x="0" y="0"/>
                </a:lnTo>
                <a:lnTo>
                  <a:pt x="8" y="8"/>
                </a:lnTo>
                <a:lnTo>
                  <a:pt x="16" y="8"/>
                </a:lnTo>
                <a:lnTo>
                  <a:pt x="40" y="16"/>
                </a:lnTo>
                <a:lnTo>
                  <a:pt x="56" y="0"/>
                </a:lnTo>
                <a:lnTo>
                  <a:pt x="8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63" name="Freeform 293">
            <a:extLst>
              <a:ext uri="{FF2B5EF4-FFF2-40B4-BE49-F238E27FC236}">
                <a16:creationId xmlns:a16="http://schemas.microsoft.com/office/drawing/2014/main" id="{BF695122-68FB-496E-9B4C-8104F08B070C}"/>
              </a:ext>
            </a:extLst>
          </p:cNvPr>
          <p:cNvSpPr>
            <a:spLocks/>
          </p:cNvSpPr>
          <p:nvPr/>
        </p:nvSpPr>
        <p:spPr bwMode="gray">
          <a:xfrm>
            <a:off x="1925179" y="3322789"/>
            <a:ext cx="298568" cy="210752"/>
          </a:xfrm>
          <a:custGeom>
            <a:avLst/>
            <a:gdLst>
              <a:gd name="T0" fmla="*/ 2147483647 w 81"/>
              <a:gd name="T1" fmla="*/ 2147483647 h 57"/>
              <a:gd name="T2" fmla="*/ 2147483647 w 81"/>
              <a:gd name="T3" fmla="*/ 2147483647 h 57"/>
              <a:gd name="T4" fmla="*/ 2147483647 w 81"/>
              <a:gd name="T5" fmla="*/ 2147483647 h 57"/>
              <a:gd name="T6" fmla="*/ 2147483647 w 81"/>
              <a:gd name="T7" fmla="*/ 2147483647 h 57"/>
              <a:gd name="T8" fmla="*/ 2147483647 w 81"/>
              <a:gd name="T9" fmla="*/ 2147483647 h 57"/>
              <a:gd name="T10" fmla="*/ 2147483647 w 81"/>
              <a:gd name="T11" fmla="*/ 2147483647 h 57"/>
              <a:gd name="T12" fmla="*/ 2147483647 w 81"/>
              <a:gd name="T13" fmla="*/ 2147483647 h 57"/>
              <a:gd name="T14" fmla="*/ 2147483647 w 81"/>
              <a:gd name="T15" fmla="*/ 0 h 57"/>
              <a:gd name="T16" fmla="*/ 2147483647 w 81"/>
              <a:gd name="T17" fmla="*/ 2147483647 h 57"/>
              <a:gd name="T18" fmla="*/ 2147483647 w 81"/>
              <a:gd name="T19" fmla="*/ 2147483647 h 57"/>
              <a:gd name="T20" fmla="*/ 0 w 81"/>
              <a:gd name="T21" fmla="*/ 2147483647 h 57"/>
              <a:gd name="T22" fmla="*/ 0 w 81"/>
              <a:gd name="T23" fmla="*/ 2147483647 h 57"/>
              <a:gd name="T24" fmla="*/ 2147483647 w 81"/>
              <a:gd name="T25" fmla="*/ 2147483647 h 57"/>
              <a:gd name="T26" fmla="*/ 2147483647 w 81"/>
              <a:gd name="T27" fmla="*/ 2147483647 h 5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81"/>
              <a:gd name="T43" fmla="*/ 0 h 57"/>
              <a:gd name="T44" fmla="*/ 81 w 81"/>
              <a:gd name="T45" fmla="*/ 57 h 5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81" h="57">
                <a:moveTo>
                  <a:pt x="32" y="56"/>
                </a:moveTo>
                <a:lnTo>
                  <a:pt x="32" y="56"/>
                </a:lnTo>
                <a:lnTo>
                  <a:pt x="48" y="48"/>
                </a:lnTo>
                <a:lnTo>
                  <a:pt x="64" y="48"/>
                </a:lnTo>
                <a:lnTo>
                  <a:pt x="72" y="16"/>
                </a:lnTo>
                <a:lnTo>
                  <a:pt x="80" y="16"/>
                </a:lnTo>
                <a:lnTo>
                  <a:pt x="72" y="8"/>
                </a:lnTo>
                <a:lnTo>
                  <a:pt x="56" y="0"/>
                </a:lnTo>
                <a:lnTo>
                  <a:pt x="24" y="16"/>
                </a:lnTo>
                <a:lnTo>
                  <a:pt x="8" y="16"/>
                </a:lnTo>
                <a:lnTo>
                  <a:pt x="0" y="32"/>
                </a:lnTo>
                <a:lnTo>
                  <a:pt x="0" y="40"/>
                </a:lnTo>
                <a:lnTo>
                  <a:pt x="24" y="56"/>
                </a:lnTo>
                <a:lnTo>
                  <a:pt x="32" y="5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64" name="Freeform 294">
            <a:extLst>
              <a:ext uri="{FF2B5EF4-FFF2-40B4-BE49-F238E27FC236}">
                <a16:creationId xmlns:a16="http://schemas.microsoft.com/office/drawing/2014/main" id="{2567369E-A1E8-404E-9E5F-C25320295620}"/>
              </a:ext>
            </a:extLst>
          </p:cNvPr>
          <p:cNvSpPr>
            <a:spLocks/>
          </p:cNvSpPr>
          <p:nvPr/>
        </p:nvSpPr>
        <p:spPr bwMode="gray">
          <a:xfrm>
            <a:off x="1806631" y="3441335"/>
            <a:ext cx="118550" cy="92206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0 w 33"/>
              <a:gd name="T11" fmla="*/ 2147483647 h 25"/>
              <a:gd name="T12" fmla="*/ 0 w 33"/>
              <a:gd name="T13" fmla="*/ 2147483647 h 25"/>
              <a:gd name="T14" fmla="*/ 0 w 33"/>
              <a:gd name="T15" fmla="*/ 2147483647 h 25"/>
              <a:gd name="T16" fmla="*/ 2147483647 w 33"/>
              <a:gd name="T17" fmla="*/ 0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25"/>
              <a:gd name="T32" fmla="*/ 33 w 33"/>
              <a:gd name="T33" fmla="*/ 25 h 2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25">
                <a:moveTo>
                  <a:pt x="32" y="8"/>
                </a:moveTo>
                <a:lnTo>
                  <a:pt x="32" y="8"/>
                </a:lnTo>
                <a:lnTo>
                  <a:pt x="24" y="8"/>
                </a:lnTo>
                <a:lnTo>
                  <a:pt x="16" y="24"/>
                </a:lnTo>
                <a:lnTo>
                  <a:pt x="8" y="24"/>
                </a:lnTo>
                <a:lnTo>
                  <a:pt x="0" y="24"/>
                </a:lnTo>
                <a:lnTo>
                  <a:pt x="0" y="16"/>
                </a:lnTo>
                <a:lnTo>
                  <a:pt x="0" y="8"/>
                </a:lnTo>
                <a:lnTo>
                  <a:pt x="32" y="0"/>
                </a:lnTo>
                <a:lnTo>
                  <a:pt x="32" y="8"/>
                </a:lnTo>
              </a:path>
            </a:pathLst>
          </a:custGeom>
          <a:solidFill>
            <a:schemeClr val="accent2"/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65" name="Freeform 295">
            <a:extLst>
              <a:ext uri="{FF2B5EF4-FFF2-40B4-BE49-F238E27FC236}">
                <a16:creationId xmlns:a16="http://schemas.microsoft.com/office/drawing/2014/main" id="{23826A3A-6E6F-46EC-882D-2ADCD403241B}"/>
              </a:ext>
            </a:extLst>
          </p:cNvPr>
          <p:cNvSpPr>
            <a:spLocks/>
          </p:cNvSpPr>
          <p:nvPr/>
        </p:nvSpPr>
        <p:spPr bwMode="gray">
          <a:xfrm>
            <a:off x="1806632" y="3472068"/>
            <a:ext cx="267832" cy="267830"/>
          </a:xfrm>
          <a:custGeom>
            <a:avLst/>
            <a:gdLst>
              <a:gd name="T0" fmla="*/ 2147483647 w 73"/>
              <a:gd name="T1" fmla="*/ 0 h 73"/>
              <a:gd name="T2" fmla="*/ 2147483647 w 73"/>
              <a:gd name="T3" fmla="*/ 0 h 73"/>
              <a:gd name="T4" fmla="*/ 2147483647 w 73"/>
              <a:gd name="T5" fmla="*/ 2147483647 h 73"/>
              <a:gd name="T6" fmla="*/ 2147483647 w 73"/>
              <a:gd name="T7" fmla="*/ 2147483647 h 73"/>
              <a:gd name="T8" fmla="*/ 2147483647 w 73"/>
              <a:gd name="T9" fmla="*/ 2147483647 h 73"/>
              <a:gd name="T10" fmla="*/ 2147483647 w 73"/>
              <a:gd name="T11" fmla="*/ 2147483647 h 73"/>
              <a:gd name="T12" fmla="*/ 2147483647 w 73"/>
              <a:gd name="T13" fmla="*/ 2147483647 h 73"/>
              <a:gd name="T14" fmla="*/ 2147483647 w 73"/>
              <a:gd name="T15" fmla="*/ 2147483647 h 73"/>
              <a:gd name="T16" fmla="*/ 2147483647 w 73"/>
              <a:gd name="T17" fmla="*/ 2147483647 h 73"/>
              <a:gd name="T18" fmla="*/ 2147483647 w 73"/>
              <a:gd name="T19" fmla="*/ 2147483647 h 73"/>
              <a:gd name="T20" fmla="*/ 2147483647 w 73"/>
              <a:gd name="T21" fmla="*/ 2147483647 h 73"/>
              <a:gd name="T22" fmla="*/ 2147483647 w 73"/>
              <a:gd name="T23" fmla="*/ 2147483647 h 73"/>
              <a:gd name="T24" fmla="*/ 2147483647 w 73"/>
              <a:gd name="T25" fmla="*/ 2147483647 h 73"/>
              <a:gd name="T26" fmla="*/ 2147483647 w 73"/>
              <a:gd name="T27" fmla="*/ 2147483647 h 73"/>
              <a:gd name="T28" fmla="*/ 2147483647 w 73"/>
              <a:gd name="T29" fmla="*/ 2147483647 h 73"/>
              <a:gd name="T30" fmla="*/ 2147483647 w 73"/>
              <a:gd name="T31" fmla="*/ 2147483647 h 73"/>
              <a:gd name="T32" fmla="*/ 2147483647 w 73"/>
              <a:gd name="T33" fmla="*/ 2147483647 h 73"/>
              <a:gd name="T34" fmla="*/ 2147483647 w 73"/>
              <a:gd name="T35" fmla="*/ 2147483647 h 73"/>
              <a:gd name="T36" fmla="*/ 2147483647 w 73"/>
              <a:gd name="T37" fmla="*/ 2147483647 h 73"/>
              <a:gd name="T38" fmla="*/ 2147483647 w 73"/>
              <a:gd name="T39" fmla="*/ 2147483647 h 73"/>
              <a:gd name="T40" fmla="*/ 2147483647 w 73"/>
              <a:gd name="T41" fmla="*/ 2147483647 h 73"/>
              <a:gd name="T42" fmla="*/ 2147483647 w 73"/>
              <a:gd name="T43" fmla="*/ 2147483647 h 73"/>
              <a:gd name="T44" fmla="*/ 2147483647 w 73"/>
              <a:gd name="T45" fmla="*/ 2147483647 h 73"/>
              <a:gd name="T46" fmla="*/ 0 w 73"/>
              <a:gd name="T47" fmla="*/ 2147483647 h 73"/>
              <a:gd name="T48" fmla="*/ 0 w 73"/>
              <a:gd name="T49" fmla="*/ 2147483647 h 73"/>
              <a:gd name="T50" fmla="*/ 0 w 73"/>
              <a:gd name="T51" fmla="*/ 2147483647 h 73"/>
              <a:gd name="T52" fmla="*/ 2147483647 w 73"/>
              <a:gd name="T53" fmla="*/ 2147483647 h 73"/>
              <a:gd name="T54" fmla="*/ 2147483647 w 73"/>
              <a:gd name="T55" fmla="*/ 2147483647 h 73"/>
              <a:gd name="T56" fmla="*/ 2147483647 w 73"/>
              <a:gd name="T57" fmla="*/ 0 h 73"/>
              <a:gd name="T58" fmla="*/ 2147483647 w 73"/>
              <a:gd name="T59" fmla="*/ 0 h 7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73"/>
              <a:gd name="T91" fmla="*/ 0 h 73"/>
              <a:gd name="T92" fmla="*/ 73 w 73"/>
              <a:gd name="T93" fmla="*/ 73 h 7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73" h="73">
                <a:moveTo>
                  <a:pt x="32" y="0"/>
                </a:moveTo>
                <a:lnTo>
                  <a:pt x="32" y="0"/>
                </a:lnTo>
                <a:lnTo>
                  <a:pt x="56" y="16"/>
                </a:lnTo>
                <a:lnTo>
                  <a:pt x="64" y="16"/>
                </a:lnTo>
                <a:lnTo>
                  <a:pt x="72" y="24"/>
                </a:lnTo>
                <a:lnTo>
                  <a:pt x="72" y="32"/>
                </a:lnTo>
                <a:lnTo>
                  <a:pt x="64" y="32"/>
                </a:lnTo>
                <a:lnTo>
                  <a:pt x="64" y="24"/>
                </a:lnTo>
                <a:lnTo>
                  <a:pt x="40" y="16"/>
                </a:lnTo>
                <a:lnTo>
                  <a:pt x="32" y="24"/>
                </a:lnTo>
                <a:lnTo>
                  <a:pt x="32" y="16"/>
                </a:lnTo>
                <a:lnTo>
                  <a:pt x="24" y="24"/>
                </a:lnTo>
                <a:lnTo>
                  <a:pt x="32" y="32"/>
                </a:lnTo>
                <a:lnTo>
                  <a:pt x="48" y="56"/>
                </a:lnTo>
                <a:lnTo>
                  <a:pt x="64" y="64"/>
                </a:lnTo>
                <a:lnTo>
                  <a:pt x="56" y="72"/>
                </a:lnTo>
                <a:lnTo>
                  <a:pt x="40" y="56"/>
                </a:lnTo>
                <a:lnTo>
                  <a:pt x="32" y="56"/>
                </a:lnTo>
                <a:lnTo>
                  <a:pt x="16" y="40"/>
                </a:lnTo>
                <a:lnTo>
                  <a:pt x="24" y="40"/>
                </a:lnTo>
                <a:lnTo>
                  <a:pt x="16" y="40"/>
                </a:lnTo>
                <a:lnTo>
                  <a:pt x="16" y="24"/>
                </a:lnTo>
                <a:lnTo>
                  <a:pt x="8" y="24"/>
                </a:lnTo>
                <a:lnTo>
                  <a:pt x="0" y="32"/>
                </a:lnTo>
                <a:lnTo>
                  <a:pt x="0" y="24"/>
                </a:lnTo>
                <a:lnTo>
                  <a:pt x="0" y="16"/>
                </a:lnTo>
                <a:lnTo>
                  <a:pt x="8" y="16"/>
                </a:lnTo>
                <a:lnTo>
                  <a:pt x="16" y="16"/>
                </a:lnTo>
                <a:lnTo>
                  <a:pt x="24" y="0"/>
                </a:lnTo>
                <a:lnTo>
                  <a:pt x="32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66" name="Freeform 298">
            <a:extLst>
              <a:ext uri="{FF2B5EF4-FFF2-40B4-BE49-F238E27FC236}">
                <a16:creationId xmlns:a16="http://schemas.microsoft.com/office/drawing/2014/main" id="{600CB17E-E3B5-464D-8151-39E6ABE1B488}"/>
              </a:ext>
            </a:extLst>
          </p:cNvPr>
          <p:cNvSpPr>
            <a:spLocks/>
          </p:cNvSpPr>
          <p:nvPr/>
        </p:nvSpPr>
        <p:spPr bwMode="gray">
          <a:xfrm>
            <a:off x="2034945" y="3511584"/>
            <a:ext cx="215146" cy="259052"/>
          </a:xfrm>
          <a:custGeom>
            <a:avLst/>
            <a:gdLst>
              <a:gd name="T0" fmla="*/ 2147483647 w 57"/>
              <a:gd name="T1" fmla="*/ 2147483647 h 73"/>
              <a:gd name="T2" fmla="*/ 2147483647 w 57"/>
              <a:gd name="T3" fmla="*/ 2147483647 h 73"/>
              <a:gd name="T4" fmla="*/ 2147483647 w 57"/>
              <a:gd name="T5" fmla="*/ 2147483647 h 73"/>
              <a:gd name="T6" fmla="*/ 0 w 57"/>
              <a:gd name="T7" fmla="*/ 2147483647 h 73"/>
              <a:gd name="T8" fmla="*/ 2147483647 w 57"/>
              <a:gd name="T9" fmla="*/ 0 h 73"/>
              <a:gd name="T10" fmla="*/ 2147483647 w 57"/>
              <a:gd name="T11" fmla="*/ 2147483647 h 73"/>
              <a:gd name="T12" fmla="*/ 2147483647 w 57"/>
              <a:gd name="T13" fmla="*/ 2147483647 h 73"/>
              <a:gd name="T14" fmla="*/ 2147483647 w 57"/>
              <a:gd name="T15" fmla="*/ 2147483647 h 73"/>
              <a:gd name="T16" fmla="*/ 2147483647 w 57"/>
              <a:gd name="T17" fmla="*/ 2147483647 h 73"/>
              <a:gd name="T18" fmla="*/ 2147483647 w 57"/>
              <a:gd name="T19" fmla="*/ 2147483647 h 73"/>
              <a:gd name="T20" fmla="*/ 2147483647 w 57"/>
              <a:gd name="T21" fmla="*/ 2147483647 h 73"/>
              <a:gd name="T22" fmla="*/ 2147483647 w 57"/>
              <a:gd name="T23" fmla="*/ 2147483647 h 73"/>
              <a:gd name="T24" fmla="*/ 2147483647 w 57"/>
              <a:gd name="T25" fmla="*/ 2147483647 h 73"/>
              <a:gd name="T26" fmla="*/ 2147483647 w 57"/>
              <a:gd name="T27" fmla="*/ 2147483647 h 73"/>
              <a:gd name="T28" fmla="*/ 2147483647 w 57"/>
              <a:gd name="T29" fmla="*/ 2147483647 h 73"/>
              <a:gd name="T30" fmla="*/ 2147483647 w 57"/>
              <a:gd name="T31" fmla="*/ 2147483647 h 73"/>
              <a:gd name="T32" fmla="*/ 2147483647 w 57"/>
              <a:gd name="T33" fmla="*/ 2147483647 h 73"/>
              <a:gd name="T34" fmla="*/ 2147483647 w 57"/>
              <a:gd name="T35" fmla="*/ 2147483647 h 73"/>
              <a:gd name="T36" fmla="*/ 2147483647 w 57"/>
              <a:gd name="T37" fmla="*/ 2147483647 h 73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57"/>
              <a:gd name="T58" fmla="*/ 0 h 73"/>
              <a:gd name="T59" fmla="*/ 57 w 57"/>
              <a:gd name="T60" fmla="*/ 73 h 73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57" h="73">
                <a:moveTo>
                  <a:pt x="8" y="24"/>
                </a:moveTo>
                <a:lnTo>
                  <a:pt x="8" y="24"/>
                </a:lnTo>
                <a:lnTo>
                  <a:pt x="8" y="16"/>
                </a:lnTo>
                <a:lnTo>
                  <a:pt x="0" y="8"/>
                </a:lnTo>
                <a:lnTo>
                  <a:pt x="16" y="0"/>
                </a:lnTo>
                <a:lnTo>
                  <a:pt x="32" y="24"/>
                </a:lnTo>
                <a:lnTo>
                  <a:pt x="48" y="24"/>
                </a:lnTo>
                <a:lnTo>
                  <a:pt x="48" y="32"/>
                </a:lnTo>
                <a:lnTo>
                  <a:pt x="48" y="40"/>
                </a:lnTo>
                <a:lnTo>
                  <a:pt x="56" y="56"/>
                </a:lnTo>
                <a:lnTo>
                  <a:pt x="48" y="64"/>
                </a:lnTo>
                <a:lnTo>
                  <a:pt x="32" y="64"/>
                </a:lnTo>
                <a:lnTo>
                  <a:pt x="24" y="72"/>
                </a:lnTo>
                <a:lnTo>
                  <a:pt x="16" y="64"/>
                </a:lnTo>
                <a:lnTo>
                  <a:pt x="16" y="56"/>
                </a:lnTo>
                <a:lnTo>
                  <a:pt x="8" y="48"/>
                </a:lnTo>
                <a:lnTo>
                  <a:pt x="8" y="40"/>
                </a:lnTo>
                <a:lnTo>
                  <a:pt x="8" y="32"/>
                </a:lnTo>
                <a:lnTo>
                  <a:pt x="8" y="2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72" name="Freeform 300">
            <a:extLst>
              <a:ext uri="{FF2B5EF4-FFF2-40B4-BE49-F238E27FC236}">
                <a16:creationId xmlns:a16="http://schemas.microsoft.com/office/drawing/2014/main" id="{E740D0B0-1207-4473-B9B0-A96ADA6D4846}"/>
              </a:ext>
            </a:extLst>
          </p:cNvPr>
          <p:cNvSpPr>
            <a:spLocks/>
          </p:cNvSpPr>
          <p:nvPr/>
        </p:nvSpPr>
        <p:spPr bwMode="gray">
          <a:xfrm>
            <a:off x="1718815" y="3147161"/>
            <a:ext cx="324909" cy="175628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0 h 49"/>
              <a:gd name="T12" fmla="*/ 2147483647 w 89"/>
              <a:gd name="T13" fmla="*/ 2147483647 h 49"/>
              <a:gd name="T14" fmla="*/ 2147483647 w 89"/>
              <a:gd name="T15" fmla="*/ 0 h 49"/>
              <a:gd name="T16" fmla="*/ 2147483647 w 89"/>
              <a:gd name="T17" fmla="*/ 2147483647 h 49"/>
              <a:gd name="T18" fmla="*/ 0 w 89"/>
              <a:gd name="T19" fmla="*/ 2147483647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2147483647 w 89"/>
              <a:gd name="T25" fmla="*/ 2147483647 h 49"/>
              <a:gd name="T26" fmla="*/ 2147483647 w 89"/>
              <a:gd name="T27" fmla="*/ 2147483647 h 49"/>
              <a:gd name="T28" fmla="*/ 2147483647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9"/>
              <a:gd name="T49" fmla="*/ 0 h 49"/>
              <a:gd name="T50" fmla="*/ 89 w 89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9" h="49">
                <a:moveTo>
                  <a:pt x="88" y="32"/>
                </a:moveTo>
                <a:lnTo>
                  <a:pt x="88" y="32"/>
                </a:lnTo>
                <a:lnTo>
                  <a:pt x="72" y="16"/>
                </a:lnTo>
                <a:lnTo>
                  <a:pt x="64" y="16"/>
                </a:lnTo>
                <a:lnTo>
                  <a:pt x="48" y="8"/>
                </a:lnTo>
                <a:lnTo>
                  <a:pt x="40" y="0"/>
                </a:lnTo>
                <a:lnTo>
                  <a:pt x="40" y="8"/>
                </a:lnTo>
                <a:lnTo>
                  <a:pt x="32" y="0"/>
                </a:lnTo>
                <a:lnTo>
                  <a:pt x="16" y="8"/>
                </a:lnTo>
                <a:lnTo>
                  <a:pt x="0" y="16"/>
                </a:lnTo>
                <a:lnTo>
                  <a:pt x="8" y="32"/>
                </a:lnTo>
                <a:lnTo>
                  <a:pt x="24" y="48"/>
                </a:lnTo>
                <a:lnTo>
                  <a:pt x="40" y="48"/>
                </a:lnTo>
                <a:lnTo>
                  <a:pt x="40" y="40"/>
                </a:lnTo>
                <a:lnTo>
                  <a:pt x="64" y="48"/>
                </a:lnTo>
                <a:lnTo>
                  <a:pt x="88" y="3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73" name="Freeform 301">
            <a:extLst>
              <a:ext uri="{FF2B5EF4-FFF2-40B4-BE49-F238E27FC236}">
                <a16:creationId xmlns:a16="http://schemas.microsoft.com/office/drawing/2014/main" id="{17B869CB-CA30-4827-8252-EFEE991CDB71}"/>
              </a:ext>
            </a:extLst>
          </p:cNvPr>
          <p:cNvSpPr>
            <a:spLocks/>
          </p:cNvSpPr>
          <p:nvPr/>
        </p:nvSpPr>
        <p:spPr bwMode="gray">
          <a:xfrm>
            <a:off x="1951525" y="3265706"/>
            <a:ext cx="272222" cy="122940"/>
          </a:xfrm>
          <a:custGeom>
            <a:avLst/>
            <a:gdLst>
              <a:gd name="T0" fmla="*/ 0 w 73"/>
              <a:gd name="T1" fmla="*/ 2147483647 h 33"/>
              <a:gd name="T2" fmla="*/ 0 w 73"/>
              <a:gd name="T3" fmla="*/ 2147483647 h 33"/>
              <a:gd name="T4" fmla="*/ 0 w 73"/>
              <a:gd name="T5" fmla="*/ 2147483647 h 33"/>
              <a:gd name="T6" fmla="*/ 2147483647 w 73"/>
              <a:gd name="T7" fmla="*/ 2147483647 h 33"/>
              <a:gd name="T8" fmla="*/ 2147483647 w 73"/>
              <a:gd name="T9" fmla="*/ 2147483647 h 33"/>
              <a:gd name="T10" fmla="*/ 2147483647 w 73"/>
              <a:gd name="T11" fmla="*/ 2147483647 h 33"/>
              <a:gd name="T12" fmla="*/ 2147483647 w 73"/>
              <a:gd name="T13" fmla="*/ 2147483647 h 33"/>
              <a:gd name="T14" fmla="*/ 2147483647 w 73"/>
              <a:gd name="T15" fmla="*/ 0 h 33"/>
              <a:gd name="T16" fmla="*/ 2147483647 w 73"/>
              <a:gd name="T17" fmla="*/ 2147483647 h 33"/>
              <a:gd name="T18" fmla="*/ 2147483647 w 73"/>
              <a:gd name="T19" fmla="*/ 0 h 33"/>
              <a:gd name="T20" fmla="*/ 2147483647 w 73"/>
              <a:gd name="T21" fmla="*/ 0 h 33"/>
              <a:gd name="T22" fmla="*/ 0 w 73"/>
              <a:gd name="T23" fmla="*/ 2147483647 h 3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3"/>
              <a:gd name="T37" fmla="*/ 0 h 33"/>
              <a:gd name="T38" fmla="*/ 73 w 73"/>
              <a:gd name="T39" fmla="*/ 33 h 3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3" h="33">
                <a:moveTo>
                  <a:pt x="0" y="16"/>
                </a:moveTo>
                <a:lnTo>
                  <a:pt x="0" y="16"/>
                </a:lnTo>
                <a:lnTo>
                  <a:pt x="0" y="32"/>
                </a:lnTo>
                <a:lnTo>
                  <a:pt x="16" y="32"/>
                </a:lnTo>
                <a:lnTo>
                  <a:pt x="48" y="16"/>
                </a:lnTo>
                <a:lnTo>
                  <a:pt x="64" y="24"/>
                </a:lnTo>
                <a:lnTo>
                  <a:pt x="72" y="8"/>
                </a:lnTo>
                <a:lnTo>
                  <a:pt x="56" y="0"/>
                </a:lnTo>
                <a:lnTo>
                  <a:pt x="40" y="8"/>
                </a:lnTo>
                <a:lnTo>
                  <a:pt x="32" y="0"/>
                </a:lnTo>
                <a:lnTo>
                  <a:pt x="24" y="0"/>
                </a:lnTo>
                <a:lnTo>
                  <a:pt x="0" y="1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75" name="Freeform 335">
            <a:extLst>
              <a:ext uri="{FF2B5EF4-FFF2-40B4-BE49-F238E27FC236}">
                <a16:creationId xmlns:a16="http://schemas.microsoft.com/office/drawing/2014/main" id="{DFB618FD-2ABE-45C4-B49F-698DACDAE1CC}"/>
              </a:ext>
            </a:extLst>
          </p:cNvPr>
          <p:cNvSpPr>
            <a:spLocks/>
          </p:cNvSpPr>
          <p:nvPr/>
        </p:nvSpPr>
        <p:spPr bwMode="gray">
          <a:xfrm>
            <a:off x="2575002" y="2260245"/>
            <a:ext cx="127328" cy="184408"/>
          </a:xfrm>
          <a:custGeom>
            <a:avLst/>
            <a:gdLst>
              <a:gd name="T0" fmla="*/ 0 w 33"/>
              <a:gd name="T1" fmla="*/ 2147483647 h 49"/>
              <a:gd name="T2" fmla="*/ 0 w 33"/>
              <a:gd name="T3" fmla="*/ 2147483647 h 49"/>
              <a:gd name="T4" fmla="*/ 2147483647 w 33"/>
              <a:gd name="T5" fmla="*/ 2147483647 h 49"/>
              <a:gd name="T6" fmla="*/ 2147483647 w 33"/>
              <a:gd name="T7" fmla="*/ 2147483647 h 49"/>
              <a:gd name="T8" fmla="*/ 2147483647 w 33"/>
              <a:gd name="T9" fmla="*/ 2147483647 h 49"/>
              <a:gd name="T10" fmla="*/ 2147483647 w 33"/>
              <a:gd name="T11" fmla="*/ 2147483647 h 49"/>
              <a:gd name="T12" fmla="*/ 2147483647 w 33"/>
              <a:gd name="T13" fmla="*/ 2147483647 h 49"/>
              <a:gd name="T14" fmla="*/ 2147483647 w 33"/>
              <a:gd name="T15" fmla="*/ 0 h 49"/>
              <a:gd name="T16" fmla="*/ 2147483647 w 33"/>
              <a:gd name="T17" fmla="*/ 0 h 49"/>
              <a:gd name="T18" fmla="*/ 0 w 33"/>
              <a:gd name="T19" fmla="*/ 2147483647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49"/>
              <a:gd name="T32" fmla="*/ 33 w 33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49">
                <a:moveTo>
                  <a:pt x="0" y="16"/>
                </a:moveTo>
                <a:lnTo>
                  <a:pt x="0" y="16"/>
                </a:lnTo>
                <a:lnTo>
                  <a:pt x="8" y="24"/>
                </a:lnTo>
                <a:lnTo>
                  <a:pt x="16" y="48"/>
                </a:lnTo>
                <a:lnTo>
                  <a:pt x="24" y="40"/>
                </a:lnTo>
                <a:lnTo>
                  <a:pt x="32" y="40"/>
                </a:lnTo>
                <a:lnTo>
                  <a:pt x="32" y="24"/>
                </a:lnTo>
                <a:lnTo>
                  <a:pt x="16" y="0"/>
                </a:lnTo>
                <a:lnTo>
                  <a:pt x="8" y="0"/>
                </a:lnTo>
                <a:lnTo>
                  <a:pt x="0" y="16"/>
                </a:lnTo>
              </a:path>
            </a:pathLst>
          </a:custGeom>
          <a:solidFill>
            <a:schemeClr val="accent2"/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76" name="Freeform 336">
            <a:extLst>
              <a:ext uri="{FF2B5EF4-FFF2-40B4-BE49-F238E27FC236}">
                <a16:creationId xmlns:a16="http://schemas.microsoft.com/office/drawing/2014/main" id="{9D7466C0-E31A-47F9-97C9-9F51C6F7723C}"/>
              </a:ext>
            </a:extLst>
          </p:cNvPr>
          <p:cNvSpPr>
            <a:spLocks/>
          </p:cNvSpPr>
          <p:nvPr/>
        </p:nvSpPr>
        <p:spPr bwMode="gray">
          <a:xfrm>
            <a:off x="2781362" y="2137305"/>
            <a:ext cx="105378" cy="188798"/>
          </a:xfrm>
          <a:custGeom>
            <a:avLst/>
            <a:gdLst>
              <a:gd name="T0" fmla="*/ 0 w 25"/>
              <a:gd name="T1" fmla="*/ 2147483647 h 49"/>
              <a:gd name="T2" fmla="*/ 0 w 25"/>
              <a:gd name="T3" fmla="*/ 2147483647 h 49"/>
              <a:gd name="T4" fmla="*/ 2147483647 w 25"/>
              <a:gd name="T5" fmla="*/ 2147483647 h 49"/>
              <a:gd name="T6" fmla="*/ 2147483647 w 25"/>
              <a:gd name="T7" fmla="*/ 2147483647 h 49"/>
              <a:gd name="T8" fmla="*/ 2147483647 w 25"/>
              <a:gd name="T9" fmla="*/ 2147483647 h 49"/>
              <a:gd name="T10" fmla="*/ 2147483647 w 25"/>
              <a:gd name="T11" fmla="*/ 2147483647 h 49"/>
              <a:gd name="T12" fmla="*/ 2147483647 w 25"/>
              <a:gd name="T13" fmla="*/ 2147483647 h 49"/>
              <a:gd name="T14" fmla="*/ 2147483647 w 25"/>
              <a:gd name="T15" fmla="*/ 2147483647 h 49"/>
              <a:gd name="T16" fmla="*/ 0 w 25"/>
              <a:gd name="T17" fmla="*/ 0 h 49"/>
              <a:gd name="T18" fmla="*/ 2147483647 w 25"/>
              <a:gd name="T19" fmla="*/ 2147483647 h 49"/>
              <a:gd name="T20" fmla="*/ 2147483647 w 25"/>
              <a:gd name="T21" fmla="*/ 2147483647 h 49"/>
              <a:gd name="T22" fmla="*/ 0 w 25"/>
              <a:gd name="T23" fmla="*/ 2147483647 h 49"/>
              <a:gd name="T24" fmla="*/ 0 w 25"/>
              <a:gd name="T25" fmla="*/ 2147483647 h 4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5"/>
              <a:gd name="T40" fmla="*/ 0 h 49"/>
              <a:gd name="T41" fmla="*/ 25 w 25"/>
              <a:gd name="T42" fmla="*/ 49 h 4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5" h="49">
                <a:moveTo>
                  <a:pt x="0" y="32"/>
                </a:moveTo>
                <a:lnTo>
                  <a:pt x="0" y="32"/>
                </a:lnTo>
                <a:lnTo>
                  <a:pt x="16" y="40"/>
                </a:lnTo>
                <a:lnTo>
                  <a:pt x="16" y="48"/>
                </a:lnTo>
                <a:lnTo>
                  <a:pt x="24" y="48"/>
                </a:lnTo>
                <a:lnTo>
                  <a:pt x="16" y="24"/>
                </a:lnTo>
                <a:lnTo>
                  <a:pt x="16" y="8"/>
                </a:lnTo>
                <a:lnTo>
                  <a:pt x="8" y="8"/>
                </a:lnTo>
                <a:lnTo>
                  <a:pt x="0" y="0"/>
                </a:lnTo>
                <a:lnTo>
                  <a:pt x="8" y="8"/>
                </a:lnTo>
                <a:lnTo>
                  <a:pt x="8" y="16"/>
                </a:lnTo>
                <a:lnTo>
                  <a:pt x="0" y="16"/>
                </a:lnTo>
                <a:lnTo>
                  <a:pt x="0" y="32"/>
                </a:lnTo>
              </a:path>
            </a:pathLst>
          </a:custGeom>
          <a:solidFill>
            <a:schemeClr val="accent2"/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77" name="Freeform 221">
            <a:extLst>
              <a:ext uri="{FF2B5EF4-FFF2-40B4-BE49-F238E27FC236}">
                <a16:creationId xmlns:a16="http://schemas.microsoft.com/office/drawing/2014/main" id="{431DBBDB-BB62-4922-BFFB-0D3135233A46}"/>
              </a:ext>
            </a:extLst>
          </p:cNvPr>
          <p:cNvSpPr>
            <a:spLocks/>
          </p:cNvSpPr>
          <p:nvPr/>
        </p:nvSpPr>
        <p:spPr bwMode="gray">
          <a:xfrm>
            <a:off x="1749553" y="4003342"/>
            <a:ext cx="149282" cy="100988"/>
          </a:xfrm>
          <a:custGeom>
            <a:avLst/>
            <a:gdLst>
              <a:gd name="T0" fmla="*/ 0 w 41"/>
              <a:gd name="T1" fmla="*/ 0 h 25"/>
              <a:gd name="T2" fmla="*/ 0 w 41"/>
              <a:gd name="T3" fmla="*/ 0 h 25"/>
              <a:gd name="T4" fmla="*/ 0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0 h 25"/>
              <a:gd name="T10" fmla="*/ 2147483647 w 41"/>
              <a:gd name="T11" fmla="*/ 0 h 25"/>
              <a:gd name="T12" fmla="*/ 2147483647 w 41"/>
              <a:gd name="T13" fmla="*/ 0 h 25"/>
              <a:gd name="T14" fmla="*/ 0 w 41"/>
              <a:gd name="T15" fmla="*/ 0 h 2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1"/>
              <a:gd name="T25" fmla="*/ 0 h 25"/>
              <a:gd name="T26" fmla="*/ 41 w 41"/>
              <a:gd name="T27" fmla="*/ 25 h 2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1" h="25">
                <a:moveTo>
                  <a:pt x="0" y="0"/>
                </a:moveTo>
                <a:lnTo>
                  <a:pt x="0" y="0"/>
                </a:lnTo>
                <a:lnTo>
                  <a:pt x="0" y="8"/>
                </a:lnTo>
                <a:lnTo>
                  <a:pt x="32" y="24"/>
                </a:lnTo>
                <a:lnTo>
                  <a:pt x="40" y="0"/>
                </a:lnTo>
                <a:lnTo>
                  <a:pt x="24" y="0"/>
                </a:lnTo>
                <a:lnTo>
                  <a:pt x="8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78" name="Freeform 222">
            <a:extLst>
              <a:ext uri="{FF2B5EF4-FFF2-40B4-BE49-F238E27FC236}">
                <a16:creationId xmlns:a16="http://schemas.microsoft.com/office/drawing/2014/main" id="{31F73147-D827-432E-A76D-40E4D93ADED1}"/>
              </a:ext>
            </a:extLst>
          </p:cNvPr>
          <p:cNvSpPr>
            <a:spLocks/>
          </p:cNvSpPr>
          <p:nvPr/>
        </p:nvSpPr>
        <p:spPr bwMode="gray">
          <a:xfrm>
            <a:off x="2153494" y="4003342"/>
            <a:ext cx="96596" cy="100988"/>
          </a:xfrm>
          <a:custGeom>
            <a:avLst/>
            <a:gdLst>
              <a:gd name="T0" fmla="*/ 0 w 25"/>
              <a:gd name="T1" fmla="*/ 2147483647 h 25"/>
              <a:gd name="T2" fmla="*/ 0 w 25"/>
              <a:gd name="T3" fmla="*/ 2147483647 h 25"/>
              <a:gd name="T4" fmla="*/ 2147483647 w 25"/>
              <a:gd name="T5" fmla="*/ 2147483647 h 25"/>
              <a:gd name="T6" fmla="*/ 2147483647 w 25"/>
              <a:gd name="T7" fmla="*/ 2147483647 h 25"/>
              <a:gd name="T8" fmla="*/ 2147483647 w 25"/>
              <a:gd name="T9" fmla="*/ 2147483647 h 25"/>
              <a:gd name="T10" fmla="*/ 2147483647 w 25"/>
              <a:gd name="T11" fmla="*/ 2147483647 h 25"/>
              <a:gd name="T12" fmla="*/ 2147483647 w 25"/>
              <a:gd name="T13" fmla="*/ 2147483647 h 25"/>
              <a:gd name="T14" fmla="*/ 2147483647 w 25"/>
              <a:gd name="T15" fmla="*/ 2147483647 h 25"/>
              <a:gd name="T16" fmla="*/ 2147483647 w 25"/>
              <a:gd name="T17" fmla="*/ 2147483647 h 25"/>
              <a:gd name="T18" fmla="*/ 2147483647 w 25"/>
              <a:gd name="T19" fmla="*/ 0 h 25"/>
              <a:gd name="T20" fmla="*/ 0 w 25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"/>
              <a:gd name="T34" fmla="*/ 0 h 25"/>
              <a:gd name="T35" fmla="*/ 25 w 25"/>
              <a:gd name="T36" fmla="*/ 25 h 2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" h="25">
                <a:moveTo>
                  <a:pt x="0" y="8"/>
                </a:moveTo>
                <a:lnTo>
                  <a:pt x="0" y="8"/>
                </a:lnTo>
                <a:lnTo>
                  <a:pt x="8" y="8"/>
                </a:lnTo>
                <a:lnTo>
                  <a:pt x="8" y="24"/>
                </a:lnTo>
                <a:lnTo>
                  <a:pt x="16" y="24"/>
                </a:lnTo>
                <a:lnTo>
                  <a:pt x="24" y="24"/>
                </a:lnTo>
                <a:lnTo>
                  <a:pt x="16" y="8"/>
                </a:lnTo>
                <a:lnTo>
                  <a:pt x="24" y="16"/>
                </a:lnTo>
                <a:lnTo>
                  <a:pt x="24" y="8"/>
                </a:lnTo>
                <a:lnTo>
                  <a:pt x="8" y="0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82" name="Freeform 78">
            <a:extLst>
              <a:ext uri="{FF2B5EF4-FFF2-40B4-BE49-F238E27FC236}">
                <a16:creationId xmlns:a16="http://schemas.microsoft.com/office/drawing/2014/main" id="{30C05CA7-9C4F-4552-A979-8642E44E37C8}"/>
              </a:ext>
            </a:extLst>
          </p:cNvPr>
          <p:cNvSpPr>
            <a:spLocks/>
          </p:cNvSpPr>
          <p:nvPr/>
        </p:nvSpPr>
        <p:spPr bwMode="gray">
          <a:xfrm>
            <a:off x="1446592" y="2848597"/>
            <a:ext cx="417117" cy="575177"/>
          </a:xfrm>
          <a:custGeom>
            <a:avLst/>
            <a:gdLst>
              <a:gd name="T0" fmla="*/ 2147483647 w 113"/>
              <a:gd name="T1" fmla="*/ 2147483647 h 153"/>
              <a:gd name="T2" fmla="*/ 2147483647 w 113"/>
              <a:gd name="T3" fmla="*/ 2147483647 h 153"/>
              <a:gd name="T4" fmla="*/ 2147483647 w 113"/>
              <a:gd name="T5" fmla="*/ 2147483647 h 153"/>
              <a:gd name="T6" fmla="*/ 2147483647 w 113"/>
              <a:gd name="T7" fmla="*/ 2147483647 h 153"/>
              <a:gd name="T8" fmla="*/ 2147483647 w 113"/>
              <a:gd name="T9" fmla="*/ 2147483647 h 153"/>
              <a:gd name="T10" fmla="*/ 2147483647 w 113"/>
              <a:gd name="T11" fmla="*/ 2147483647 h 153"/>
              <a:gd name="T12" fmla="*/ 2147483647 w 113"/>
              <a:gd name="T13" fmla="*/ 2147483647 h 153"/>
              <a:gd name="T14" fmla="*/ 2147483647 w 113"/>
              <a:gd name="T15" fmla="*/ 2147483647 h 153"/>
              <a:gd name="T16" fmla="*/ 2147483647 w 113"/>
              <a:gd name="T17" fmla="*/ 2147483647 h 153"/>
              <a:gd name="T18" fmla="*/ 2147483647 w 113"/>
              <a:gd name="T19" fmla="*/ 2147483647 h 153"/>
              <a:gd name="T20" fmla="*/ 2147483647 w 113"/>
              <a:gd name="T21" fmla="*/ 2147483647 h 153"/>
              <a:gd name="T22" fmla="*/ 2147483647 w 113"/>
              <a:gd name="T23" fmla="*/ 2147483647 h 153"/>
              <a:gd name="T24" fmla="*/ 2147483647 w 113"/>
              <a:gd name="T25" fmla="*/ 2147483647 h 153"/>
              <a:gd name="T26" fmla="*/ 2147483647 w 113"/>
              <a:gd name="T27" fmla="*/ 2147483647 h 153"/>
              <a:gd name="T28" fmla="*/ 2147483647 w 113"/>
              <a:gd name="T29" fmla="*/ 2147483647 h 153"/>
              <a:gd name="T30" fmla="*/ 2147483647 w 113"/>
              <a:gd name="T31" fmla="*/ 2147483647 h 153"/>
              <a:gd name="T32" fmla="*/ 2147483647 w 113"/>
              <a:gd name="T33" fmla="*/ 2147483647 h 153"/>
              <a:gd name="T34" fmla="*/ 2147483647 w 113"/>
              <a:gd name="T35" fmla="*/ 2147483647 h 153"/>
              <a:gd name="T36" fmla="*/ 0 w 113"/>
              <a:gd name="T37" fmla="*/ 2147483647 h 153"/>
              <a:gd name="T38" fmla="*/ 0 w 113"/>
              <a:gd name="T39" fmla="*/ 2147483647 h 153"/>
              <a:gd name="T40" fmla="*/ 0 w 113"/>
              <a:gd name="T41" fmla="*/ 2147483647 h 153"/>
              <a:gd name="T42" fmla="*/ 0 w 113"/>
              <a:gd name="T43" fmla="*/ 2147483647 h 153"/>
              <a:gd name="T44" fmla="*/ 2147483647 w 113"/>
              <a:gd name="T45" fmla="*/ 2147483647 h 153"/>
              <a:gd name="T46" fmla="*/ 2147483647 w 113"/>
              <a:gd name="T47" fmla="*/ 2147483647 h 153"/>
              <a:gd name="T48" fmla="*/ 2147483647 w 113"/>
              <a:gd name="T49" fmla="*/ 2147483647 h 153"/>
              <a:gd name="T50" fmla="*/ 2147483647 w 113"/>
              <a:gd name="T51" fmla="*/ 2147483647 h 153"/>
              <a:gd name="T52" fmla="*/ 2147483647 w 113"/>
              <a:gd name="T53" fmla="*/ 2147483647 h 153"/>
              <a:gd name="T54" fmla="*/ 2147483647 w 113"/>
              <a:gd name="T55" fmla="*/ 2147483647 h 153"/>
              <a:gd name="T56" fmla="*/ 2147483647 w 113"/>
              <a:gd name="T57" fmla="*/ 0 h 153"/>
              <a:gd name="T58" fmla="*/ 2147483647 w 113"/>
              <a:gd name="T59" fmla="*/ 0 h 153"/>
              <a:gd name="T60" fmla="*/ 2147483647 w 113"/>
              <a:gd name="T61" fmla="*/ 0 h 153"/>
              <a:gd name="T62" fmla="*/ 2147483647 w 113"/>
              <a:gd name="T63" fmla="*/ 2147483647 h 153"/>
              <a:gd name="T64" fmla="*/ 2147483647 w 113"/>
              <a:gd name="T65" fmla="*/ 2147483647 h 153"/>
              <a:gd name="T66" fmla="*/ 2147483647 w 113"/>
              <a:gd name="T67" fmla="*/ 2147483647 h 153"/>
              <a:gd name="T68" fmla="*/ 2147483647 w 113"/>
              <a:gd name="T69" fmla="*/ 2147483647 h 15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13"/>
              <a:gd name="T106" fmla="*/ 0 h 153"/>
              <a:gd name="T107" fmla="*/ 113 w 113"/>
              <a:gd name="T108" fmla="*/ 153 h 153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13" h="153">
                <a:moveTo>
                  <a:pt x="64" y="24"/>
                </a:moveTo>
                <a:lnTo>
                  <a:pt x="64" y="24"/>
                </a:lnTo>
                <a:lnTo>
                  <a:pt x="96" y="8"/>
                </a:lnTo>
                <a:lnTo>
                  <a:pt x="96" y="16"/>
                </a:lnTo>
                <a:lnTo>
                  <a:pt x="88" y="16"/>
                </a:lnTo>
                <a:lnTo>
                  <a:pt x="104" y="24"/>
                </a:lnTo>
                <a:lnTo>
                  <a:pt x="112" y="88"/>
                </a:lnTo>
                <a:lnTo>
                  <a:pt x="104" y="80"/>
                </a:lnTo>
                <a:lnTo>
                  <a:pt x="88" y="88"/>
                </a:lnTo>
                <a:lnTo>
                  <a:pt x="72" y="96"/>
                </a:lnTo>
                <a:lnTo>
                  <a:pt x="80" y="112"/>
                </a:lnTo>
                <a:lnTo>
                  <a:pt x="96" y="128"/>
                </a:lnTo>
                <a:lnTo>
                  <a:pt x="88" y="136"/>
                </a:lnTo>
                <a:lnTo>
                  <a:pt x="88" y="144"/>
                </a:lnTo>
                <a:lnTo>
                  <a:pt x="56" y="152"/>
                </a:lnTo>
                <a:lnTo>
                  <a:pt x="40" y="152"/>
                </a:lnTo>
                <a:lnTo>
                  <a:pt x="16" y="152"/>
                </a:lnTo>
                <a:lnTo>
                  <a:pt x="24" y="128"/>
                </a:lnTo>
                <a:lnTo>
                  <a:pt x="0" y="112"/>
                </a:lnTo>
                <a:lnTo>
                  <a:pt x="0" y="104"/>
                </a:lnTo>
                <a:lnTo>
                  <a:pt x="0" y="88"/>
                </a:lnTo>
                <a:lnTo>
                  <a:pt x="0" y="64"/>
                </a:lnTo>
                <a:lnTo>
                  <a:pt x="8" y="56"/>
                </a:lnTo>
                <a:lnTo>
                  <a:pt x="16" y="32"/>
                </a:lnTo>
                <a:lnTo>
                  <a:pt x="32" y="32"/>
                </a:lnTo>
                <a:lnTo>
                  <a:pt x="40" y="16"/>
                </a:lnTo>
                <a:lnTo>
                  <a:pt x="32" y="16"/>
                </a:lnTo>
                <a:lnTo>
                  <a:pt x="40" y="8"/>
                </a:lnTo>
                <a:lnTo>
                  <a:pt x="32" y="0"/>
                </a:lnTo>
                <a:lnTo>
                  <a:pt x="40" y="0"/>
                </a:lnTo>
                <a:lnTo>
                  <a:pt x="48" y="0"/>
                </a:lnTo>
                <a:lnTo>
                  <a:pt x="48" y="8"/>
                </a:lnTo>
                <a:lnTo>
                  <a:pt x="64" y="16"/>
                </a:lnTo>
                <a:lnTo>
                  <a:pt x="56" y="24"/>
                </a:lnTo>
                <a:lnTo>
                  <a:pt x="64" y="24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84" name="Freeform 82" descr="Diagonal weit nach oben">
            <a:extLst>
              <a:ext uri="{FF2B5EF4-FFF2-40B4-BE49-F238E27FC236}">
                <a16:creationId xmlns:a16="http://schemas.microsoft.com/office/drawing/2014/main" id="{C2FF6761-1356-40F9-BFE2-41DD54915498}"/>
              </a:ext>
            </a:extLst>
          </p:cNvPr>
          <p:cNvSpPr>
            <a:spLocks/>
          </p:cNvSpPr>
          <p:nvPr/>
        </p:nvSpPr>
        <p:spPr bwMode="gray">
          <a:xfrm>
            <a:off x="1446592" y="3410603"/>
            <a:ext cx="215146" cy="122940"/>
          </a:xfrm>
          <a:custGeom>
            <a:avLst/>
            <a:gdLst>
              <a:gd name="T0" fmla="*/ 2147483647 w 57"/>
              <a:gd name="T1" fmla="*/ 2147483647 h 33"/>
              <a:gd name="T2" fmla="*/ 2147483647 w 57"/>
              <a:gd name="T3" fmla="*/ 2147483647 h 33"/>
              <a:gd name="T4" fmla="*/ 2147483647 w 57"/>
              <a:gd name="T5" fmla="*/ 2147483647 h 33"/>
              <a:gd name="T6" fmla="*/ 2147483647 w 57"/>
              <a:gd name="T7" fmla="*/ 2147483647 h 33"/>
              <a:gd name="T8" fmla="*/ 2147483647 w 57"/>
              <a:gd name="T9" fmla="*/ 2147483647 h 33"/>
              <a:gd name="T10" fmla="*/ 2147483647 w 57"/>
              <a:gd name="T11" fmla="*/ 2147483647 h 33"/>
              <a:gd name="T12" fmla="*/ 2147483647 w 57"/>
              <a:gd name="T13" fmla="*/ 2147483647 h 33"/>
              <a:gd name="T14" fmla="*/ 2147483647 w 57"/>
              <a:gd name="T15" fmla="*/ 2147483647 h 33"/>
              <a:gd name="T16" fmla="*/ 2147483647 w 57"/>
              <a:gd name="T17" fmla="*/ 0 h 33"/>
              <a:gd name="T18" fmla="*/ 2147483647 w 57"/>
              <a:gd name="T19" fmla="*/ 0 h 33"/>
              <a:gd name="T20" fmla="*/ 2147483647 w 57"/>
              <a:gd name="T21" fmla="*/ 0 h 33"/>
              <a:gd name="T22" fmla="*/ 0 w 57"/>
              <a:gd name="T23" fmla="*/ 2147483647 h 33"/>
              <a:gd name="T24" fmla="*/ 0 w 57"/>
              <a:gd name="T25" fmla="*/ 2147483647 h 33"/>
              <a:gd name="T26" fmla="*/ 2147483647 w 57"/>
              <a:gd name="T27" fmla="*/ 2147483647 h 33"/>
              <a:gd name="T28" fmla="*/ 2147483647 w 57"/>
              <a:gd name="T29" fmla="*/ 2147483647 h 33"/>
              <a:gd name="T30" fmla="*/ 2147483647 w 57"/>
              <a:gd name="T31" fmla="*/ 2147483647 h 3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7"/>
              <a:gd name="T49" fmla="*/ 0 h 33"/>
              <a:gd name="T50" fmla="*/ 57 w 57"/>
              <a:gd name="T51" fmla="*/ 33 h 3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7" h="33">
                <a:moveTo>
                  <a:pt x="16" y="32"/>
                </a:moveTo>
                <a:lnTo>
                  <a:pt x="16" y="32"/>
                </a:lnTo>
                <a:lnTo>
                  <a:pt x="32" y="24"/>
                </a:lnTo>
                <a:lnTo>
                  <a:pt x="40" y="24"/>
                </a:lnTo>
                <a:lnTo>
                  <a:pt x="40" y="16"/>
                </a:lnTo>
                <a:lnTo>
                  <a:pt x="48" y="24"/>
                </a:lnTo>
                <a:lnTo>
                  <a:pt x="56" y="8"/>
                </a:lnTo>
                <a:lnTo>
                  <a:pt x="48" y="8"/>
                </a:lnTo>
                <a:lnTo>
                  <a:pt x="40" y="0"/>
                </a:lnTo>
                <a:lnTo>
                  <a:pt x="16" y="0"/>
                </a:lnTo>
                <a:lnTo>
                  <a:pt x="8" y="0"/>
                </a:lnTo>
                <a:lnTo>
                  <a:pt x="0" y="16"/>
                </a:lnTo>
                <a:lnTo>
                  <a:pt x="0" y="24"/>
                </a:lnTo>
                <a:lnTo>
                  <a:pt x="8" y="16"/>
                </a:lnTo>
                <a:lnTo>
                  <a:pt x="8" y="32"/>
                </a:lnTo>
                <a:lnTo>
                  <a:pt x="16" y="32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85" name="Freeform 126">
            <a:extLst>
              <a:ext uri="{FF2B5EF4-FFF2-40B4-BE49-F238E27FC236}">
                <a16:creationId xmlns:a16="http://schemas.microsoft.com/office/drawing/2014/main" id="{3C5E9214-BDAA-411A-9904-26D9359338A1}"/>
              </a:ext>
            </a:extLst>
          </p:cNvPr>
          <p:cNvSpPr>
            <a:spLocks/>
          </p:cNvSpPr>
          <p:nvPr/>
        </p:nvSpPr>
        <p:spPr bwMode="gray">
          <a:xfrm>
            <a:off x="2311558" y="4354592"/>
            <a:ext cx="472868" cy="181652"/>
          </a:xfrm>
          <a:custGeom>
            <a:avLst/>
            <a:gdLst>
              <a:gd name="T0" fmla="*/ 2147483647 w 145"/>
              <a:gd name="T1" fmla="*/ 2147483647 h 145"/>
              <a:gd name="T2" fmla="*/ 2147483647 w 145"/>
              <a:gd name="T3" fmla="*/ 2147483647 h 145"/>
              <a:gd name="T4" fmla="*/ 2147483647 w 145"/>
              <a:gd name="T5" fmla="*/ 2147483647 h 145"/>
              <a:gd name="T6" fmla="*/ 2147483647 w 145"/>
              <a:gd name="T7" fmla="*/ 2147483647 h 145"/>
              <a:gd name="T8" fmla="*/ 2147483647 w 145"/>
              <a:gd name="T9" fmla="*/ 2147483647 h 145"/>
              <a:gd name="T10" fmla="*/ 2147483647 w 145"/>
              <a:gd name="T11" fmla="*/ 2147483647 h 145"/>
              <a:gd name="T12" fmla="*/ 0 w 145"/>
              <a:gd name="T13" fmla="*/ 2147483647 h 145"/>
              <a:gd name="T14" fmla="*/ 2147483647 w 145"/>
              <a:gd name="T15" fmla="*/ 0 h 145"/>
              <a:gd name="T16" fmla="*/ 2147483647 w 145"/>
              <a:gd name="T17" fmla="*/ 2147483647 h 145"/>
              <a:gd name="T18" fmla="*/ 2147483647 w 145"/>
              <a:gd name="T19" fmla="*/ 2147483647 h 145"/>
              <a:gd name="T20" fmla="*/ 2147483647 w 145"/>
              <a:gd name="T21" fmla="*/ 2147483647 h 145"/>
              <a:gd name="T22" fmla="*/ 2147483647 w 145"/>
              <a:gd name="T23" fmla="*/ 2147483647 h 145"/>
              <a:gd name="T24" fmla="*/ 2147483647 w 145"/>
              <a:gd name="T25" fmla="*/ 2147483647 h 145"/>
              <a:gd name="T26" fmla="*/ 2147483647 w 145"/>
              <a:gd name="T27" fmla="*/ 2147483647 h 145"/>
              <a:gd name="T28" fmla="*/ 2147483647 w 145"/>
              <a:gd name="T29" fmla="*/ 2147483647 h 145"/>
              <a:gd name="T30" fmla="*/ 2147483647 w 145"/>
              <a:gd name="T31" fmla="*/ 2147483647 h 145"/>
              <a:gd name="T32" fmla="*/ 2147483647 w 145"/>
              <a:gd name="T33" fmla="*/ 2147483647 h 145"/>
              <a:gd name="T34" fmla="*/ 2147483647 w 145"/>
              <a:gd name="T35" fmla="*/ 2147483647 h 145"/>
              <a:gd name="T36" fmla="*/ 2147483647 w 145"/>
              <a:gd name="T37" fmla="*/ 2147483647 h 145"/>
              <a:gd name="T38" fmla="*/ 2147483647 w 145"/>
              <a:gd name="T39" fmla="*/ 2147483647 h 145"/>
              <a:gd name="T40" fmla="*/ 2147483647 w 145"/>
              <a:gd name="T41" fmla="*/ 2147483647 h 145"/>
              <a:gd name="T42" fmla="*/ 2147483647 w 145"/>
              <a:gd name="T43" fmla="*/ 2147483647 h 145"/>
              <a:gd name="T44" fmla="*/ 2147483647 w 145"/>
              <a:gd name="T45" fmla="*/ 2147483647 h 145"/>
              <a:gd name="T46" fmla="*/ 2147483647 w 145"/>
              <a:gd name="T47" fmla="*/ 2147483647 h 14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45"/>
              <a:gd name="T73" fmla="*/ 0 h 145"/>
              <a:gd name="T74" fmla="*/ 145 w 145"/>
              <a:gd name="T75" fmla="*/ 145 h 145"/>
              <a:gd name="connsiteX0" fmla="*/ 9931 w 9931"/>
              <a:gd name="connsiteY0" fmla="*/ 8828 h 9379"/>
              <a:gd name="connsiteX1" fmla="*/ 9931 w 9931"/>
              <a:gd name="connsiteY1" fmla="*/ 8828 h 9379"/>
              <a:gd name="connsiteX2" fmla="*/ 7724 w 9931"/>
              <a:gd name="connsiteY2" fmla="*/ 9379 h 9379"/>
              <a:gd name="connsiteX3" fmla="*/ 552 w 9931"/>
              <a:gd name="connsiteY3" fmla="*/ 9379 h 9379"/>
              <a:gd name="connsiteX4" fmla="*/ 552 w 9931"/>
              <a:gd name="connsiteY4" fmla="*/ 3310 h 9379"/>
              <a:gd name="connsiteX5" fmla="*/ 0 w 9931"/>
              <a:gd name="connsiteY5" fmla="*/ 2207 h 9379"/>
              <a:gd name="connsiteX6" fmla="*/ 552 w 9931"/>
              <a:gd name="connsiteY6" fmla="*/ 0 h 9379"/>
              <a:gd name="connsiteX7" fmla="*/ 552 w 9931"/>
              <a:gd name="connsiteY7" fmla="*/ 552 h 9379"/>
              <a:gd name="connsiteX8" fmla="*/ 2207 w 9931"/>
              <a:gd name="connsiteY8" fmla="*/ 552 h 9379"/>
              <a:gd name="connsiteX9" fmla="*/ 3862 w 9931"/>
              <a:gd name="connsiteY9" fmla="*/ 1103 h 9379"/>
              <a:gd name="connsiteX10" fmla="*/ 6069 w 9931"/>
              <a:gd name="connsiteY10" fmla="*/ 552 h 9379"/>
              <a:gd name="connsiteX11" fmla="*/ 6621 w 9931"/>
              <a:gd name="connsiteY11" fmla="*/ 552 h 9379"/>
              <a:gd name="connsiteX12" fmla="*/ 6621 w 9931"/>
              <a:gd name="connsiteY12" fmla="*/ 1103 h 9379"/>
              <a:gd name="connsiteX13" fmla="*/ 7172 w 9931"/>
              <a:gd name="connsiteY13" fmla="*/ 552 h 9379"/>
              <a:gd name="connsiteX14" fmla="*/ 7172 w 9931"/>
              <a:gd name="connsiteY14" fmla="*/ 1103 h 9379"/>
              <a:gd name="connsiteX15" fmla="*/ 8276 w 9931"/>
              <a:gd name="connsiteY15" fmla="*/ 552 h 9379"/>
              <a:gd name="connsiteX16" fmla="*/ 8828 w 9931"/>
              <a:gd name="connsiteY16" fmla="*/ 2759 h 9379"/>
              <a:gd name="connsiteX17" fmla="*/ 8276 w 9931"/>
              <a:gd name="connsiteY17" fmla="*/ 4414 h 9379"/>
              <a:gd name="connsiteX18" fmla="*/ 7724 w 9931"/>
              <a:gd name="connsiteY18" fmla="*/ 3310 h 9379"/>
              <a:gd name="connsiteX19" fmla="*/ 7172 w 9931"/>
              <a:gd name="connsiteY19" fmla="*/ 1655 h 9379"/>
              <a:gd name="connsiteX20" fmla="*/ 7172 w 9931"/>
              <a:gd name="connsiteY20" fmla="*/ 2207 h 9379"/>
              <a:gd name="connsiteX21" fmla="*/ 7172 w 9931"/>
              <a:gd name="connsiteY21" fmla="*/ 2759 h 9379"/>
              <a:gd name="connsiteX22" fmla="*/ 9931 w 9931"/>
              <a:gd name="connsiteY22" fmla="*/ 8828 h 9379"/>
              <a:gd name="connsiteX0" fmla="*/ 10000 w 10000"/>
              <a:gd name="connsiteY0" fmla="*/ 9413 h 10000"/>
              <a:gd name="connsiteX1" fmla="*/ 10000 w 10000"/>
              <a:gd name="connsiteY1" fmla="*/ 9413 h 10000"/>
              <a:gd name="connsiteX2" fmla="*/ 556 w 10000"/>
              <a:gd name="connsiteY2" fmla="*/ 10000 h 10000"/>
              <a:gd name="connsiteX3" fmla="*/ 556 w 10000"/>
              <a:gd name="connsiteY3" fmla="*/ 3529 h 10000"/>
              <a:gd name="connsiteX4" fmla="*/ 0 w 10000"/>
              <a:gd name="connsiteY4" fmla="*/ 2353 h 10000"/>
              <a:gd name="connsiteX5" fmla="*/ 556 w 10000"/>
              <a:gd name="connsiteY5" fmla="*/ 0 h 10000"/>
              <a:gd name="connsiteX6" fmla="*/ 556 w 10000"/>
              <a:gd name="connsiteY6" fmla="*/ 589 h 10000"/>
              <a:gd name="connsiteX7" fmla="*/ 2222 w 10000"/>
              <a:gd name="connsiteY7" fmla="*/ 589 h 10000"/>
              <a:gd name="connsiteX8" fmla="*/ 3889 w 10000"/>
              <a:gd name="connsiteY8" fmla="*/ 1176 h 10000"/>
              <a:gd name="connsiteX9" fmla="*/ 6111 w 10000"/>
              <a:gd name="connsiteY9" fmla="*/ 589 h 10000"/>
              <a:gd name="connsiteX10" fmla="*/ 6667 w 10000"/>
              <a:gd name="connsiteY10" fmla="*/ 589 h 10000"/>
              <a:gd name="connsiteX11" fmla="*/ 6667 w 10000"/>
              <a:gd name="connsiteY11" fmla="*/ 1176 h 10000"/>
              <a:gd name="connsiteX12" fmla="*/ 7222 w 10000"/>
              <a:gd name="connsiteY12" fmla="*/ 589 h 10000"/>
              <a:gd name="connsiteX13" fmla="*/ 7222 w 10000"/>
              <a:gd name="connsiteY13" fmla="*/ 1176 h 10000"/>
              <a:gd name="connsiteX14" fmla="*/ 8334 w 10000"/>
              <a:gd name="connsiteY14" fmla="*/ 589 h 10000"/>
              <a:gd name="connsiteX15" fmla="*/ 8889 w 10000"/>
              <a:gd name="connsiteY15" fmla="*/ 2942 h 10000"/>
              <a:gd name="connsiteX16" fmla="*/ 8334 w 10000"/>
              <a:gd name="connsiteY16" fmla="*/ 4706 h 10000"/>
              <a:gd name="connsiteX17" fmla="*/ 7778 w 10000"/>
              <a:gd name="connsiteY17" fmla="*/ 3529 h 10000"/>
              <a:gd name="connsiteX18" fmla="*/ 7222 w 10000"/>
              <a:gd name="connsiteY18" fmla="*/ 1765 h 10000"/>
              <a:gd name="connsiteX19" fmla="*/ 7222 w 10000"/>
              <a:gd name="connsiteY19" fmla="*/ 2353 h 10000"/>
              <a:gd name="connsiteX20" fmla="*/ 7222 w 10000"/>
              <a:gd name="connsiteY20" fmla="*/ 2942 h 10000"/>
              <a:gd name="connsiteX21" fmla="*/ 10000 w 10000"/>
              <a:gd name="connsiteY21" fmla="*/ 9413 h 10000"/>
              <a:gd name="connsiteX0" fmla="*/ 10000 w 10000"/>
              <a:gd name="connsiteY0" fmla="*/ 9413 h 9413"/>
              <a:gd name="connsiteX1" fmla="*/ 10000 w 10000"/>
              <a:gd name="connsiteY1" fmla="*/ 9413 h 9413"/>
              <a:gd name="connsiteX2" fmla="*/ 556 w 10000"/>
              <a:gd name="connsiteY2" fmla="*/ 3529 h 9413"/>
              <a:gd name="connsiteX3" fmla="*/ 0 w 10000"/>
              <a:gd name="connsiteY3" fmla="*/ 2353 h 9413"/>
              <a:gd name="connsiteX4" fmla="*/ 556 w 10000"/>
              <a:gd name="connsiteY4" fmla="*/ 0 h 9413"/>
              <a:gd name="connsiteX5" fmla="*/ 556 w 10000"/>
              <a:gd name="connsiteY5" fmla="*/ 589 h 9413"/>
              <a:gd name="connsiteX6" fmla="*/ 2222 w 10000"/>
              <a:gd name="connsiteY6" fmla="*/ 589 h 9413"/>
              <a:gd name="connsiteX7" fmla="*/ 3889 w 10000"/>
              <a:gd name="connsiteY7" fmla="*/ 1176 h 9413"/>
              <a:gd name="connsiteX8" fmla="*/ 6111 w 10000"/>
              <a:gd name="connsiteY8" fmla="*/ 589 h 9413"/>
              <a:gd name="connsiteX9" fmla="*/ 6667 w 10000"/>
              <a:gd name="connsiteY9" fmla="*/ 589 h 9413"/>
              <a:gd name="connsiteX10" fmla="*/ 6667 w 10000"/>
              <a:gd name="connsiteY10" fmla="*/ 1176 h 9413"/>
              <a:gd name="connsiteX11" fmla="*/ 7222 w 10000"/>
              <a:gd name="connsiteY11" fmla="*/ 589 h 9413"/>
              <a:gd name="connsiteX12" fmla="*/ 7222 w 10000"/>
              <a:gd name="connsiteY12" fmla="*/ 1176 h 9413"/>
              <a:gd name="connsiteX13" fmla="*/ 8334 w 10000"/>
              <a:gd name="connsiteY13" fmla="*/ 589 h 9413"/>
              <a:gd name="connsiteX14" fmla="*/ 8889 w 10000"/>
              <a:gd name="connsiteY14" fmla="*/ 2942 h 9413"/>
              <a:gd name="connsiteX15" fmla="*/ 8334 w 10000"/>
              <a:gd name="connsiteY15" fmla="*/ 4706 h 9413"/>
              <a:gd name="connsiteX16" fmla="*/ 7778 w 10000"/>
              <a:gd name="connsiteY16" fmla="*/ 3529 h 9413"/>
              <a:gd name="connsiteX17" fmla="*/ 7222 w 10000"/>
              <a:gd name="connsiteY17" fmla="*/ 1765 h 9413"/>
              <a:gd name="connsiteX18" fmla="*/ 7222 w 10000"/>
              <a:gd name="connsiteY18" fmla="*/ 2353 h 9413"/>
              <a:gd name="connsiteX19" fmla="*/ 7222 w 10000"/>
              <a:gd name="connsiteY19" fmla="*/ 2942 h 9413"/>
              <a:gd name="connsiteX20" fmla="*/ 10000 w 10000"/>
              <a:gd name="connsiteY20" fmla="*/ 9413 h 9413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556 w 10000"/>
              <a:gd name="connsiteY2" fmla="*/ 3749 h 10000"/>
              <a:gd name="connsiteX3" fmla="*/ 0 w 10000"/>
              <a:gd name="connsiteY3" fmla="*/ 2500 h 10000"/>
              <a:gd name="connsiteX4" fmla="*/ 556 w 10000"/>
              <a:gd name="connsiteY4" fmla="*/ 0 h 10000"/>
              <a:gd name="connsiteX5" fmla="*/ 556 w 10000"/>
              <a:gd name="connsiteY5" fmla="*/ 626 h 10000"/>
              <a:gd name="connsiteX6" fmla="*/ 2222 w 10000"/>
              <a:gd name="connsiteY6" fmla="*/ 626 h 10000"/>
              <a:gd name="connsiteX7" fmla="*/ 3889 w 10000"/>
              <a:gd name="connsiteY7" fmla="*/ 1249 h 10000"/>
              <a:gd name="connsiteX8" fmla="*/ 6111 w 10000"/>
              <a:gd name="connsiteY8" fmla="*/ 626 h 10000"/>
              <a:gd name="connsiteX9" fmla="*/ 6667 w 10000"/>
              <a:gd name="connsiteY9" fmla="*/ 626 h 10000"/>
              <a:gd name="connsiteX10" fmla="*/ 6667 w 10000"/>
              <a:gd name="connsiteY10" fmla="*/ 1249 h 10000"/>
              <a:gd name="connsiteX11" fmla="*/ 7222 w 10000"/>
              <a:gd name="connsiteY11" fmla="*/ 626 h 10000"/>
              <a:gd name="connsiteX12" fmla="*/ 7222 w 10000"/>
              <a:gd name="connsiteY12" fmla="*/ 1249 h 10000"/>
              <a:gd name="connsiteX13" fmla="*/ 8334 w 10000"/>
              <a:gd name="connsiteY13" fmla="*/ 626 h 10000"/>
              <a:gd name="connsiteX14" fmla="*/ 8889 w 10000"/>
              <a:gd name="connsiteY14" fmla="*/ 3125 h 10000"/>
              <a:gd name="connsiteX15" fmla="*/ 8334 w 10000"/>
              <a:gd name="connsiteY15" fmla="*/ 4999 h 10000"/>
              <a:gd name="connsiteX16" fmla="*/ 7778 w 10000"/>
              <a:gd name="connsiteY16" fmla="*/ 3749 h 10000"/>
              <a:gd name="connsiteX17" fmla="*/ 7222 w 10000"/>
              <a:gd name="connsiteY17" fmla="*/ 1875 h 10000"/>
              <a:gd name="connsiteX18" fmla="*/ 7222 w 10000"/>
              <a:gd name="connsiteY18" fmla="*/ 2500 h 10000"/>
              <a:gd name="connsiteX19" fmla="*/ 7222 w 10000"/>
              <a:gd name="connsiteY19" fmla="*/ 3125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556 w 10000"/>
              <a:gd name="connsiteY2" fmla="*/ 3749 h 10000"/>
              <a:gd name="connsiteX3" fmla="*/ 0 w 10000"/>
              <a:gd name="connsiteY3" fmla="*/ 2500 h 10000"/>
              <a:gd name="connsiteX4" fmla="*/ 556 w 10000"/>
              <a:gd name="connsiteY4" fmla="*/ 0 h 10000"/>
              <a:gd name="connsiteX5" fmla="*/ 556 w 10000"/>
              <a:gd name="connsiteY5" fmla="*/ 626 h 10000"/>
              <a:gd name="connsiteX6" fmla="*/ 2222 w 10000"/>
              <a:gd name="connsiteY6" fmla="*/ 626 h 10000"/>
              <a:gd name="connsiteX7" fmla="*/ 3889 w 10000"/>
              <a:gd name="connsiteY7" fmla="*/ 1249 h 10000"/>
              <a:gd name="connsiteX8" fmla="*/ 6111 w 10000"/>
              <a:gd name="connsiteY8" fmla="*/ 626 h 10000"/>
              <a:gd name="connsiteX9" fmla="*/ 6667 w 10000"/>
              <a:gd name="connsiteY9" fmla="*/ 626 h 10000"/>
              <a:gd name="connsiteX10" fmla="*/ 6667 w 10000"/>
              <a:gd name="connsiteY10" fmla="*/ 1249 h 10000"/>
              <a:gd name="connsiteX11" fmla="*/ 7222 w 10000"/>
              <a:gd name="connsiteY11" fmla="*/ 626 h 10000"/>
              <a:gd name="connsiteX12" fmla="*/ 7222 w 10000"/>
              <a:gd name="connsiteY12" fmla="*/ 1249 h 10000"/>
              <a:gd name="connsiteX13" fmla="*/ 8334 w 10000"/>
              <a:gd name="connsiteY13" fmla="*/ 626 h 10000"/>
              <a:gd name="connsiteX14" fmla="*/ 8889 w 10000"/>
              <a:gd name="connsiteY14" fmla="*/ 3125 h 10000"/>
              <a:gd name="connsiteX15" fmla="*/ 7778 w 10000"/>
              <a:gd name="connsiteY15" fmla="*/ 3749 h 10000"/>
              <a:gd name="connsiteX16" fmla="*/ 7222 w 10000"/>
              <a:gd name="connsiteY16" fmla="*/ 1875 h 10000"/>
              <a:gd name="connsiteX17" fmla="*/ 7222 w 10000"/>
              <a:gd name="connsiteY17" fmla="*/ 2500 h 10000"/>
              <a:gd name="connsiteX18" fmla="*/ 7222 w 10000"/>
              <a:gd name="connsiteY18" fmla="*/ 3125 h 10000"/>
              <a:gd name="connsiteX0" fmla="*/ 10000 w 10000"/>
              <a:gd name="connsiteY0" fmla="*/ 10000 h 10000"/>
              <a:gd name="connsiteX1" fmla="*/ 556 w 10000"/>
              <a:gd name="connsiteY1" fmla="*/ 3749 h 10000"/>
              <a:gd name="connsiteX2" fmla="*/ 0 w 10000"/>
              <a:gd name="connsiteY2" fmla="*/ 2500 h 10000"/>
              <a:gd name="connsiteX3" fmla="*/ 556 w 10000"/>
              <a:gd name="connsiteY3" fmla="*/ 0 h 10000"/>
              <a:gd name="connsiteX4" fmla="*/ 556 w 10000"/>
              <a:gd name="connsiteY4" fmla="*/ 626 h 10000"/>
              <a:gd name="connsiteX5" fmla="*/ 2222 w 10000"/>
              <a:gd name="connsiteY5" fmla="*/ 626 h 10000"/>
              <a:gd name="connsiteX6" fmla="*/ 3889 w 10000"/>
              <a:gd name="connsiteY6" fmla="*/ 1249 h 10000"/>
              <a:gd name="connsiteX7" fmla="*/ 6111 w 10000"/>
              <a:gd name="connsiteY7" fmla="*/ 626 h 10000"/>
              <a:gd name="connsiteX8" fmla="*/ 6667 w 10000"/>
              <a:gd name="connsiteY8" fmla="*/ 626 h 10000"/>
              <a:gd name="connsiteX9" fmla="*/ 6667 w 10000"/>
              <a:gd name="connsiteY9" fmla="*/ 1249 h 10000"/>
              <a:gd name="connsiteX10" fmla="*/ 7222 w 10000"/>
              <a:gd name="connsiteY10" fmla="*/ 626 h 10000"/>
              <a:gd name="connsiteX11" fmla="*/ 7222 w 10000"/>
              <a:gd name="connsiteY11" fmla="*/ 1249 h 10000"/>
              <a:gd name="connsiteX12" fmla="*/ 8334 w 10000"/>
              <a:gd name="connsiteY12" fmla="*/ 626 h 10000"/>
              <a:gd name="connsiteX13" fmla="*/ 8889 w 10000"/>
              <a:gd name="connsiteY13" fmla="*/ 3125 h 10000"/>
              <a:gd name="connsiteX14" fmla="*/ 7778 w 10000"/>
              <a:gd name="connsiteY14" fmla="*/ 3749 h 10000"/>
              <a:gd name="connsiteX15" fmla="*/ 7222 w 10000"/>
              <a:gd name="connsiteY15" fmla="*/ 1875 h 10000"/>
              <a:gd name="connsiteX16" fmla="*/ 7222 w 10000"/>
              <a:gd name="connsiteY16" fmla="*/ 2500 h 10000"/>
              <a:gd name="connsiteX17" fmla="*/ 7222 w 10000"/>
              <a:gd name="connsiteY17" fmla="*/ 3125 h 10000"/>
              <a:gd name="connsiteX0" fmla="*/ 556 w 8889"/>
              <a:gd name="connsiteY0" fmla="*/ 3749 h 3749"/>
              <a:gd name="connsiteX1" fmla="*/ 0 w 8889"/>
              <a:gd name="connsiteY1" fmla="*/ 2500 h 3749"/>
              <a:gd name="connsiteX2" fmla="*/ 556 w 8889"/>
              <a:gd name="connsiteY2" fmla="*/ 0 h 3749"/>
              <a:gd name="connsiteX3" fmla="*/ 556 w 8889"/>
              <a:gd name="connsiteY3" fmla="*/ 626 h 3749"/>
              <a:gd name="connsiteX4" fmla="*/ 2222 w 8889"/>
              <a:gd name="connsiteY4" fmla="*/ 626 h 3749"/>
              <a:gd name="connsiteX5" fmla="*/ 3889 w 8889"/>
              <a:gd name="connsiteY5" fmla="*/ 1249 h 3749"/>
              <a:gd name="connsiteX6" fmla="*/ 6111 w 8889"/>
              <a:gd name="connsiteY6" fmla="*/ 626 h 3749"/>
              <a:gd name="connsiteX7" fmla="*/ 6667 w 8889"/>
              <a:gd name="connsiteY7" fmla="*/ 626 h 3749"/>
              <a:gd name="connsiteX8" fmla="*/ 6667 w 8889"/>
              <a:gd name="connsiteY8" fmla="*/ 1249 h 3749"/>
              <a:gd name="connsiteX9" fmla="*/ 7222 w 8889"/>
              <a:gd name="connsiteY9" fmla="*/ 626 h 3749"/>
              <a:gd name="connsiteX10" fmla="*/ 7222 w 8889"/>
              <a:gd name="connsiteY10" fmla="*/ 1249 h 3749"/>
              <a:gd name="connsiteX11" fmla="*/ 8334 w 8889"/>
              <a:gd name="connsiteY11" fmla="*/ 626 h 3749"/>
              <a:gd name="connsiteX12" fmla="*/ 8889 w 8889"/>
              <a:gd name="connsiteY12" fmla="*/ 3125 h 3749"/>
              <a:gd name="connsiteX13" fmla="*/ 7778 w 8889"/>
              <a:gd name="connsiteY13" fmla="*/ 3749 h 3749"/>
              <a:gd name="connsiteX14" fmla="*/ 7222 w 8889"/>
              <a:gd name="connsiteY14" fmla="*/ 1875 h 3749"/>
              <a:gd name="connsiteX15" fmla="*/ 7222 w 8889"/>
              <a:gd name="connsiteY15" fmla="*/ 2500 h 3749"/>
              <a:gd name="connsiteX16" fmla="*/ 7222 w 8889"/>
              <a:gd name="connsiteY16" fmla="*/ 3125 h 3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889" h="3749">
                <a:moveTo>
                  <a:pt x="556" y="3749"/>
                </a:moveTo>
                <a:lnTo>
                  <a:pt x="0" y="2500"/>
                </a:lnTo>
                <a:lnTo>
                  <a:pt x="556" y="0"/>
                </a:lnTo>
                <a:lnTo>
                  <a:pt x="556" y="626"/>
                </a:lnTo>
                <a:lnTo>
                  <a:pt x="2222" y="626"/>
                </a:lnTo>
                <a:lnTo>
                  <a:pt x="3889" y="1249"/>
                </a:lnTo>
                <a:lnTo>
                  <a:pt x="6111" y="626"/>
                </a:lnTo>
                <a:lnTo>
                  <a:pt x="6667" y="626"/>
                </a:lnTo>
                <a:lnTo>
                  <a:pt x="6667" y="1249"/>
                </a:lnTo>
                <a:lnTo>
                  <a:pt x="7222" y="626"/>
                </a:lnTo>
                <a:lnTo>
                  <a:pt x="7222" y="1249"/>
                </a:lnTo>
                <a:lnTo>
                  <a:pt x="8334" y="626"/>
                </a:lnTo>
                <a:lnTo>
                  <a:pt x="8889" y="3125"/>
                </a:lnTo>
                <a:lnTo>
                  <a:pt x="7778" y="3749"/>
                </a:lnTo>
                <a:lnTo>
                  <a:pt x="7222" y="1875"/>
                </a:lnTo>
                <a:lnTo>
                  <a:pt x="7222" y="2500"/>
                </a:lnTo>
                <a:lnTo>
                  <a:pt x="7222" y="3125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87" name="Freeform 90">
            <a:extLst>
              <a:ext uri="{FF2B5EF4-FFF2-40B4-BE49-F238E27FC236}">
                <a16:creationId xmlns:a16="http://schemas.microsoft.com/office/drawing/2014/main" id="{612C5CB1-CC58-4C27-A354-10675191DB30}"/>
              </a:ext>
            </a:extLst>
          </p:cNvPr>
          <p:cNvSpPr>
            <a:spLocks/>
          </p:cNvSpPr>
          <p:nvPr/>
        </p:nvSpPr>
        <p:spPr bwMode="gray">
          <a:xfrm>
            <a:off x="2812097" y="4064809"/>
            <a:ext cx="360038" cy="276616"/>
          </a:xfrm>
          <a:custGeom>
            <a:avLst/>
            <a:gdLst>
              <a:gd name="T0" fmla="*/ 0 w 97"/>
              <a:gd name="T1" fmla="*/ 2147483647 h 73"/>
              <a:gd name="T2" fmla="*/ 0 w 97"/>
              <a:gd name="T3" fmla="*/ 2147483647 h 73"/>
              <a:gd name="T4" fmla="*/ 2147483647 w 97"/>
              <a:gd name="T5" fmla="*/ 2147483647 h 73"/>
              <a:gd name="T6" fmla="*/ 2147483647 w 97"/>
              <a:gd name="T7" fmla="*/ 2147483647 h 73"/>
              <a:gd name="T8" fmla="*/ 2147483647 w 97"/>
              <a:gd name="T9" fmla="*/ 2147483647 h 73"/>
              <a:gd name="T10" fmla="*/ 2147483647 w 97"/>
              <a:gd name="T11" fmla="*/ 2147483647 h 73"/>
              <a:gd name="T12" fmla="*/ 2147483647 w 97"/>
              <a:gd name="T13" fmla="*/ 2147483647 h 73"/>
              <a:gd name="T14" fmla="*/ 2147483647 w 97"/>
              <a:gd name="T15" fmla="*/ 2147483647 h 73"/>
              <a:gd name="T16" fmla="*/ 2147483647 w 97"/>
              <a:gd name="T17" fmla="*/ 0 h 73"/>
              <a:gd name="T18" fmla="*/ 2147483647 w 97"/>
              <a:gd name="T19" fmla="*/ 2147483647 h 73"/>
              <a:gd name="T20" fmla="*/ 2147483647 w 97"/>
              <a:gd name="T21" fmla="*/ 0 h 73"/>
              <a:gd name="T22" fmla="*/ 2147483647 w 97"/>
              <a:gd name="T23" fmla="*/ 0 h 73"/>
              <a:gd name="T24" fmla="*/ 2147483647 w 97"/>
              <a:gd name="T25" fmla="*/ 2147483647 h 73"/>
              <a:gd name="T26" fmla="*/ 2147483647 w 97"/>
              <a:gd name="T27" fmla="*/ 2147483647 h 73"/>
              <a:gd name="T28" fmla="*/ 2147483647 w 97"/>
              <a:gd name="T29" fmla="*/ 2147483647 h 73"/>
              <a:gd name="T30" fmla="*/ 2147483647 w 97"/>
              <a:gd name="T31" fmla="*/ 2147483647 h 73"/>
              <a:gd name="T32" fmla="*/ 2147483647 w 97"/>
              <a:gd name="T33" fmla="*/ 2147483647 h 73"/>
              <a:gd name="T34" fmla="*/ 0 w 97"/>
              <a:gd name="T35" fmla="*/ 2147483647 h 7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97"/>
              <a:gd name="T55" fmla="*/ 0 h 73"/>
              <a:gd name="T56" fmla="*/ 97 w 97"/>
              <a:gd name="T57" fmla="*/ 73 h 7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97" h="73">
                <a:moveTo>
                  <a:pt x="0" y="72"/>
                </a:moveTo>
                <a:lnTo>
                  <a:pt x="0" y="72"/>
                </a:lnTo>
                <a:lnTo>
                  <a:pt x="8" y="64"/>
                </a:lnTo>
                <a:lnTo>
                  <a:pt x="16" y="48"/>
                </a:lnTo>
                <a:lnTo>
                  <a:pt x="8" y="40"/>
                </a:lnTo>
                <a:lnTo>
                  <a:pt x="8" y="16"/>
                </a:lnTo>
                <a:lnTo>
                  <a:pt x="16" y="16"/>
                </a:lnTo>
                <a:lnTo>
                  <a:pt x="16" y="8"/>
                </a:lnTo>
                <a:lnTo>
                  <a:pt x="40" y="0"/>
                </a:lnTo>
                <a:lnTo>
                  <a:pt x="48" y="8"/>
                </a:lnTo>
                <a:lnTo>
                  <a:pt x="72" y="0"/>
                </a:lnTo>
                <a:lnTo>
                  <a:pt x="96" y="0"/>
                </a:lnTo>
                <a:lnTo>
                  <a:pt x="80" y="8"/>
                </a:lnTo>
                <a:lnTo>
                  <a:pt x="72" y="40"/>
                </a:lnTo>
                <a:lnTo>
                  <a:pt x="48" y="56"/>
                </a:lnTo>
                <a:lnTo>
                  <a:pt x="40" y="56"/>
                </a:lnTo>
                <a:lnTo>
                  <a:pt x="16" y="72"/>
                </a:lnTo>
                <a:lnTo>
                  <a:pt x="0" y="7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88" name="Freeform 91">
            <a:extLst>
              <a:ext uri="{FF2B5EF4-FFF2-40B4-BE49-F238E27FC236}">
                <a16:creationId xmlns:a16="http://schemas.microsoft.com/office/drawing/2014/main" id="{970DF0B3-CDC3-400C-A833-4BD66D4F4230}"/>
              </a:ext>
            </a:extLst>
          </p:cNvPr>
          <p:cNvSpPr>
            <a:spLocks/>
          </p:cNvSpPr>
          <p:nvPr/>
        </p:nvSpPr>
        <p:spPr bwMode="gray">
          <a:xfrm>
            <a:off x="2781362" y="4266781"/>
            <a:ext cx="210752" cy="245878"/>
          </a:xfrm>
          <a:custGeom>
            <a:avLst/>
            <a:gdLst>
              <a:gd name="T0" fmla="*/ 2147483647 w 57"/>
              <a:gd name="T1" fmla="*/ 2147483647 h 65"/>
              <a:gd name="T2" fmla="*/ 2147483647 w 57"/>
              <a:gd name="T3" fmla="*/ 2147483647 h 65"/>
              <a:gd name="T4" fmla="*/ 2147483647 w 57"/>
              <a:gd name="T5" fmla="*/ 0 h 65"/>
              <a:gd name="T6" fmla="*/ 2147483647 w 57"/>
              <a:gd name="T7" fmla="*/ 0 h 65"/>
              <a:gd name="T8" fmla="*/ 2147483647 w 57"/>
              <a:gd name="T9" fmla="*/ 2147483647 h 65"/>
              <a:gd name="T10" fmla="*/ 2147483647 w 57"/>
              <a:gd name="T11" fmla="*/ 2147483647 h 65"/>
              <a:gd name="T12" fmla="*/ 2147483647 w 57"/>
              <a:gd name="T13" fmla="*/ 2147483647 h 65"/>
              <a:gd name="T14" fmla="*/ 2147483647 w 57"/>
              <a:gd name="T15" fmla="*/ 2147483647 h 65"/>
              <a:gd name="T16" fmla="*/ 0 w 57"/>
              <a:gd name="T17" fmla="*/ 2147483647 h 65"/>
              <a:gd name="T18" fmla="*/ 2147483647 w 57"/>
              <a:gd name="T19" fmla="*/ 2147483647 h 65"/>
              <a:gd name="T20" fmla="*/ 2147483647 w 57"/>
              <a:gd name="T21" fmla="*/ 2147483647 h 65"/>
              <a:gd name="T22" fmla="*/ 2147483647 w 57"/>
              <a:gd name="T23" fmla="*/ 2147483647 h 65"/>
              <a:gd name="T24" fmla="*/ 2147483647 w 57"/>
              <a:gd name="T25" fmla="*/ 2147483647 h 65"/>
              <a:gd name="T26" fmla="*/ 2147483647 w 57"/>
              <a:gd name="T27" fmla="*/ 2147483647 h 65"/>
              <a:gd name="T28" fmla="*/ 2147483647 w 57"/>
              <a:gd name="T29" fmla="*/ 2147483647 h 6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57"/>
              <a:gd name="T46" fmla="*/ 0 h 65"/>
              <a:gd name="T47" fmla="*/ 57 w 57"/>
              <a:gd name="T48" fmla="*/ 65 h 6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57" h="65">
                <a:moveTo>
                  <a:pt x="56" y="16"/>
                </a:moveTo>
                <a:lnTo>
                  <a:pt x="56" y="16"/>
                </a:lnTo>
                <a:lnTo>
                  <a:pt x="56" y="0"/>
                </a:lnTo>
                <a:lnTo>
                  <a:pt x="48" y="0"/>
                </a:lnTo>
                <a:lnTo>
                  <a:pt x="24" y="16"/>
                </a:lnTo>
                <a:lnTo>
                  <a:pt x="8" y="16"/>
                </a:lnTo>
                <a:lnTo>
                  <a:pt x="8" y="24"/>
                </a:lnTo>
                <a:lnTo>
                  <a:pt x="8" y="40"/>
                </a:lnTo>
                <a:lnTo>
                  <a:pt x="0" y="64"/>
                </a:lnTo>
                <a:lnTo>
                  <a:pt x="16" y="64"/>
                </a:lnTo>
                <a:lnTo>
                  <a:pt x="24" y="56"/>
                </a:lnTo>
                <a:lnTo>
                  <a:pt x="32" y="56"/>
                </a:lnTo>
                <a:lnTo>
                  <a:pt x="40" y="40"/>
                </a:lnTo>
                <a:lnTo>
                  <a:pt x="32" y="32"/>
                </a:lnTo>
                <a:lnTo>
                  <a:pt x="56" y="1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89" name="Freeform 92">
            <a:extLst>
              <a:ext uri="{FF2B5EF4-FFF2-40B4-BE49-F238E27FC236}">
                <a16:creationId xmlns:a16="http://schemas.microsoft.com/office/drawing/2014/main" id="{937FC072-5FFA-40A1-8831-F61B98C7AFD9}"/>
              </a:ext>
            </a:extLst>
          </p:cNvPr>
          <p:cNvSpPr>
            <a:spLocks/>
          </p:cNvSpPr>
          <p:nvPr/>
        </p:nvSpPr>
        <p:spPr bwMode="gray">
          <a:xfrm>
            <a:off x="2812098" y="4205311"/>
            <a:ext cx="74639" cy="96596"/>
          </a:xfrm>
          <a:custGeom>
            <a:avLst/>
            <a:gdLst>
              <a:gd name="T0" fmla="*/ 2147483647 w 17"/>
              <a:gd name="T1" fmla="*/ 2147483647 h 25"/>
              <a:gd name="T2" fmla="*/ 2147483647 w 17"/>
              <a:gd name="T3" fmla="*/ 2147483647 h 25"/>
              <a:gd name="T4" fmla="*/ 0 w 17"/>
              <a:gd name="T5" fmla="*/ 2147483647 h 25"/>
              <a:gd name="T6" fmla="*/ 2147483647 w 17"/>
              <a:gd name="T7" fmla="*/ 0 h 25"/>
              <a:gd name="T8" fmla="*/ 2147483647 w 17"/>
              <a:gd name="T9" fmla="*/ 2147483647 h 25"/>
              <a:gd name="T10" fmla="*/ 2147483647 w 17"/>
              <a:gd name="T11" fmla="*/ 2147483647 h 2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25"/>
              <a:gd name="T20" fmla="*/ 17 w 17"/>
              <a:gd name="T21" fmla="*/ 25 h 2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25">
                <a:moveTo>
                  <a:pt x="8" y="24"/>
                </a:moveTo>
                <a:lnTo>
                  <a:pt x="8" y="24"/>
                </a:lnTo>
                <a:lnTo>
                  <a:pt x="0" y="24"/>
                </a:lnTo>
                <a:lnTo>
                  <a:pt x="8" y="0"/>
                </a:lnTo>
                <a:lnTo>
                  <a:pt x="16" y="8"/>
                </a:lnTo>
                <a:lnTo>
                  <a:pt x="8" y="2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2" name="Freeform 93">
            <a:extLst>
              <a:ext uri="{FF2B5EF4-FFF2-40B4-BE49-F238E27FC236}">
                <a16:creationId xmlns:a16="http://schemas.microsoft.com/office/drawing/2014/main" id="{E127A521-E5CD-404F-A494-7C57465A1563}"/>
              </a:ext>
            </a:extLst>
          </p:cNvPr>
          <p:cNvSpPr>
            <a:spLocks/>
          </p:cNvSpPr>
          <p:nvPr/>
        </p:nvSpPr>
        <p:spPr bwMode="gray">
          <a:xfrm>
            <a:off x="2750628" y="4301907"/>
            <a:ext cx="96596" cy="210752"/>
          </a:xfrm>
          <a:custGeom>
            <a:avLst/>
            <a:gdLst>
              <a:gd name="T0" fmla="*/ 2147483647 w 25"/>
              <a:gd name="T1" fmla="*/ 2147483647 h 57"/>
              <a:gd name="T2" fmla="*/ 2147483647 w 25"/>
              <a:gd name="T3" fmla="*/ 2147483647 h 57"/>
              <a:gd name="T4" fmla="*/ 2147483647 w 25"/>
              <a:gd name="T5" fmla="*/ 2147483647 h 57"/>
              <a:gd name="T6" fmla="*/ 2147483647 w 25"/>
              <a:gd name="T7" fmla="*/ 2147483647 h 57"/>
              <a:gd name="T8" fmla="*/ 2147483647 w 25"/>
              <a:gd name="T9" fmla="*/ 2147483647 h 57"/>
              <a:gd name="T10" fmla="*/ 0 w 25"/>
              <a:gd name="T11" fmla="*/ 2147483647 h 57"/>
              <a:gd name="T12" fmla="*/ 2147483647 w 25"/>
              <a:gd name="T13" fmla="*/ 2147483647 h 57"/>
              <a:gd name="T14" fmla="*/ 2147483647 w 25"/>
              <a:gd name="T15" fmla="*/ 0 h 57"/>
              <a:gd name="T16" fmla="*/ 2147483647 w 25"/>
              <a:gd name="T17" fmla="*/ 0 h 57"/>
              <a:gd name="T18" fmla="*/ 2147483647 w 25"/>
              <a:gd name="T19" fmla="*/ 2147483647 h 5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5"/>
              <a:gd name="T31" fmla="*/ 0 h 57"/>
              <a:gd name="T32" fmla="*/ 25 w 25"/>
              <a:gd name="T33" fmla="*/ 57 h 5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5" h="57">
                <a:moveTo>
                  <a:pt x="16" y="8"/>
                </a:moveTo>
                <a:lnTo>
                  <a:pt x="16" y="8"/>
                </a:lnTo>
                <a:lnTo>
                  <a:pt x="16" y="16"/>
                </a:lnTo>
                <a:lnTo>
                  <a:pt x="16" y="32"/>
                </a:lnTo>
                <a:lnTo>
                  <a:pt x="8" y="56"/>
                </a:lnTo>
                <a:lnTo>
                  <a:pt x="0" y="24"/>
                </a:lnTo>
                <a:lnTo>
                  <a:pt x="8" y="16"/>
                </a:lnTo>
                <a:lnTo>
                  <a:pt x="16" y="0"/>
                </a:lnTo>
                <a:lnTo>
                  <a:pt x="24" y="0"/>
                </a:lnTo>
                <a:lnTo>
                  <a:pt x="16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3" name="Freeform 94">
            <a:extLst>
              <a:ext uri="{FF2B5EF4-FFF2-40B4-BE49-F238E27FC236}">
                <a16:creationId xmlns:a16="http://schemas.microsoft.com/office/drawing/2014/main" id="{B3356F75-0640-4EA2-81B5-4E08FA0BB905}"/>
              </a:ext>
            </a:extLst>
          </p:cNvPr>
          <p:cNvSpPr>
            <a:spLocks/>
          </p:cNvSpPr>
          <p:nvPr/>
        </p:nvSpPr>
        <p:spPr bwMode="gray">
          <a:xfrm>
            <a:off x="2992114" y="4029684"/>
            <a:ext cx="452242" cy="518101"/>
          </a:xfrm>
          <a:custGeom>
            <a:avLst/>
            <a:gdLst>
              <a:gd name="T0" fmla="*/ 2147483647 w 148"/>
              <a:gd name="T1" fmla="*/ 2147483647 h 170"/>
              <a:gd name="T2" fmla="*/ 2147483647 w 148"/>
              <a:gd name="T3" fmla="*/ 2147483647 h 170"/>
              <a:gd name="T4" fmla="*/ 2147483647 w 148"/>
              <a:gd name="T5" fmla="*/ 2147483647 h 170"/>
              <a:gd name="T6" fmla="*/ 2147483647 w 148"/>
              <a:gd name="T7" fmla="*/ 2147483647 h 170"/>
              <a:gd name="T8" fmla="*/ 2147483647 w 148"/>
              <a:gd name="T9" fmla="*/ 2147483647 h 170"/>
              <a:gd name="T10" fmla="*/ 2147483647 w 148"/>
              <a:gd name="T11" fmla="*/ 2147483647 h 170"/>
              <a:gd name="T12" fmla="*/ 2147483647 w 148"/>
              <a:gd name="T13" fmla="*/ 2147483647 h 170"/>
              <a:gd name="T14" fmla="*/ 2147483647 w 148"/>
              <a:gd name="T15" fmla="*/ 2147483647 h 170"/>
              <a:gd name="T16" fmla="*/ 2147483647 w 148"/>
              <a:gd name="T17" fmla="*/ 2147483647 h 170"/>
              <a:gd name="T18" fmla="*/ 2147483647 w 148"/>
              <a:gd name="T19" fmla="*/ 2147483647 h 170"/>
              <a:gd name="T20" fmla="*/ 2147483647 w 148"/>
              <a:gd name="T21" fmla="*/ 2147483647 h 170"/>
              <a:gd name="T22" fmla="*/ 2147483647 w 148"/>
              <a:gd name="T23" fmla="*/ 2147483647 h 170"/>
              <a:gd name="T24" fmla="*/ 2147483647 w 148"/>
              <a:gd name="T25" fmla="*/ 2147483647 h 170"/>
              <a:gd name="T26" fmla="*/ 2147483647 w 148"/>
              <a:gd name="T27" fmla="*/ 2147483647 h 170"/>
              <a:gd name="T28" fmla="*/ 2147483647 w 148"/>
              <a:gd name="T29" fmla="*/ 2147483647 h 170"/>
              <a:gd name="T30" fmla="*/ 2147483647 w 148"/>
              <a:gd name="T31" fmla="*/ 2147483647 h 170"/>
              <a:gd name="T32" fmla="*/ 2147483647 w 148"/>
              <a:gd name="T33" fmla="*/ 2147483647 h 170"/>
              <a:gd name="T34" fmla="*/ 2147483647 w 148"/>
              <a:gd name="T35" fmla="*/ 2147483647 h 170"/>
              <a:gd name="T36" fmla="*/ 2147483647 w 148"/>
              <a:gd name="T37" fmla="*/ 2147483647 h 170"/>
              <a:gd name="T38" fmla="*/ 0 w 148"/>
              <a:gd name="T39" fmla="*/ 2147483647 h 170"/>
              <a:gd name="T40" fmla="*/ 0 w 148"/>
              <a:gd name="T41" fmla="*/ 2147483647 h 170"/>
              <a:gd name="T42" fmla="*/ 2147483647 w 148"/>
              <a:gd name="T43" fmla="*/ 2147483647 h 170"/>
              <a:gd name="T44" fmla="*/ 2147483647 w 148"/>
              <a:gd name="T45" fmla="*/ 2147483647 h 170"/>
              <a:gd name="T46" fmla="*/ 2147483647 w 148"/>
              <a:gd name="T47" fmla="*/ 2147483647 h 170"/>
              <a:gd name="T48" fmla="*/ 2147483647 w 148"/>
              <a:gd name="T49" fmla="*/ 0 h 170"/>
              <a:gd name="T50" fmla="*/ 2147483647 w 148"/>
              <a:gd name="T51" fmla="*/ 2147483647 h 17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48"/>
              <a:gd name="T79" fmla="*/ 0 h 170"/>
              <a:gd name="T80" fmla="*/ 148 w 148"/>
              <a:gd name="T81" fmla="*/ 170 h 17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48" h="170">
                <a:moveTo>
                  <a:pt x="89" y="10"/>
                </a:moveTo>
                <a:lnTo>
                  <a:pt x="89" y="10"/>
                </a:lnTo>
                <a:lnTo>
                  <a:pt x="99" y="30"/>
                </a:lnTo>
                <a:lnTo>
                  <a:pt x="108" y="30"/>
                </a:lnTo>
                <a:lnTo>
                  <a:pt x="108" y="49"/>
                </a:lnTo>
                <a:lnTo>
                  <a:pt x="99" y="69"/>
                </a:lnTo>
                <a:lnTo>
                  <a:pt x="108" y="89"/>
                </a:lnTo>
                <a:lnTo>
                  <a:pt x="128" y="99"/>
                </a:lnTo>
                <a:lnTo>
                  <a:pt x="138" y="128"/>
                </a:lnTo>
                <a:lnTo>
                  <a:pt x="148" y="138"/>
                </a:lnTo>
                <a:lnTo>
                  <a:pt x="148" y="148"/>
                </a:lnTo>
                <a:lnTo>
                  <a:pt x="128" y="148"/>
                </a:lnTo>
                <a:lnTo>
                  <a:pt x="118" y="158"/>
                </a:lnTo>
                <a:lnTo>
                  <a:pt x="103" y="170"/>
                </a:lnTo>
                <a:lnTo>
                  <a:pt x="89" y="158"/>
                </a:lnTo>
                <a:lnTo>
                  <a:pt x="69" y="148"/>
                </a:lnTo>
                <a:lnTo>
                  <a:pt x="69" y="138"/>
                </a:lnTo>
                <a:lnTo>
                  <a:pt x="59" y="128"/>
                </a:lnTo>
                <a:lnTo>
                  <a:pt x="30" y="108"/>
                </a:lnTo>
                <a:lnTo>
                  <a:pt x="0" y="99"/>
                </a:lnTo>
                <a:lnTo>
                  <a:pt x="0" y="79"/>
                </a:lnTo>
                <a:lnTo>
                  <a:pt x="30" y="59"/>
                </a:lnTo>
                <a:lnTo>
                  <a:pt x="39" y="20"/>
                </a:lnTo>
                <a:lnTo>
                  <a:pt x="59" y="10"/>
                </a:lnTo>
                <a:lnTo>
                  <a:pt x="59" y="0"/>
                </a:lnTo>
                <a:lnTo>
                  <a:pt x="89" y="1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4" name="Freeform 95">
            <a:extLst>
              <a:ext uri="{FF2B5EF4-FFF2-40B4-BE49-F238E27FC236}">
                <a16:creationId xmlns:a16="http://schemas.microsoft.com/office/drawing/2014/main" id="{6929E6CD-924C-4FEF-B1C6-442F2B566CD6}"/>
              </a:ext>
            </a:extLst>
          </p:cNvPr>
          <p:cNvSpPr>
            <a:spLocks/>
          </p:cNvSpPr>
          <p:nvPr/>
        </p:nvSpPr>
        <p:spPr bwMode="gray">
          <a:xfrm>
            <a:off x="2781359" y="4328249"/>
            <a:ext cx="495491" cy="198142"/>
          </a:xfrm>
          <a:custGeom>
            <a:avLst/>
            <a:gdLst>
              <a:gd name="T0" fmla="*/ 2147483647 w 281"/>
              <a:gd name="T1" fmla="*/ 2147483647 h 257"/>
              <a:gd name="T2" fmla="*/ 2147483647 w 281"/>
              <a:gd name="T3" fmla="*/ 2147483647 h 257"/>
              <a:gd name="T4" fmla="*/ 2147483647 w 281"/>
              <a:gd name="T5" fmla="*/ 2147483647 h 257"/>
              <a:gd name="T6" fmla="*/ 2147483647 w 281"/>
              <a:gd name="T7" fmla="*/ 2147483647 h 257"/>
              <a:gd name="T8" fmla="*/ 2147483647 w 281"/>
              <a:gd name="T9" fmla="*/ 2147483647 h 257"/>
              <a:gd name="T10" fmla="*/ 2147483647 w 281"/>
              <a:gd name="T11" fmla="*/ 2147483647 h 257"/>
              <a:gd name="T12" fmla="*/ 2147483647 w 281"/>
              <a:gd name="T13" fmla="*/ 2147483647 h 257"/>
              <a:gd name="T14" fmla="*/ 2147483647 w 281"/>
              <a:gd name="T15" fmla="*/ 2147483647 h 257"/>
              <a:gd name="T16" fmla="*/ 2147483647 w 281"/>
              <a:gd name="T17" fmla="*/ 2147483647 h 257"/>
              <a:gd name="T18" fmla="*/ 2147483647 w 281"/>
              <a:gd name="T19" fmla="*/ 2147483647 h 257"/>
              <a:gd name="T20" fmla="*/ 2147483647 w 281"/>
              <a:gd name="T21" fmla="*/ 2147483647 h 257"/>
              <a:gd name="T22" fmla="*/ 2147483647 w 281"/>
              <a:gd name="T23" fmla="*/ 2147483647 h 257"/>
              <a:gd name="T24" fmla="*/ 2147483647 w 281"/>
              <a:gd name="T25" fmla="*/ 2147483647 h 257"/>
              <a:gd name="T26" fmla="*/ 2147483647 w 281"/>
              <a:gd name="T27" fmla="*/ 2147483647 h 257"/>
              <a:gd name="T28" fmla="*/ 2147483647 w 281"/>
              <a:gd name="T29" fmla="*/ 2147483647 h 257"/>
              <a:gd name="T30" fmla="*/ 2147483647 w 281"/>
              <a:gd name="T31" fmla="*/ 2147483647 h 257"/>
              <a:gd name="T32" fmla="*/ 2147483647 w 281"/>
              <a:gd name="T33" fmla="*/ 2147483647 h 257"/>
              <a:gd name="T34" fmla="*/ 2147483647 w 281"/>
              <a:gd name="T35" fmla="*/ 2147483647 h 257"/>
              <a:gd name="T36" fmla="*/ 2147483647 w 281"/>
              <a:gd name="T37" fmla="*/ 2147483647 h 257"/>
              <a:gd name="T38" fmla="*/ 2147483647 w 281"/>
              <a:gd name="T39" fmla="*/ 2147483647 h 257"/>
              <a:gd name="T40" fmla="*/ 2147483647 w 281"/>
              <a:gd name="T41" fmla="*/ 2147483647 h 257"/>
              <a:gd name="T42" fmla="*/ 2147483647 w 281"/>
              <a:gd name="T43" fmla="*/ 2147483647 h 257"/>
              <a:gd name="T44" fmla="*/ 2147483647 w 281"/>
              <a:gd name="T45" fmla="*/ 2147483647 h 257"/>
              <a:gd name="T46" fmla="*/ 2147483647 w 281"/>
              <a:gd name="T47" fmla="*/ 2147483647 h 257"/>
              <a:gd name="T48" fmla="*/ 2147483647 w 281"/>
              <a:gd name="T49" fmla="*/ 2147483647 h 257"/>
              <a:gd name="T50" fmla="*/ 2147483647 w 281"/>
              <a:gd name="T51" fmla="*/ 2147483647 h 257"/>
              <a:gd name="T52" fmla="*/ 2147483647 w 281"/>
              <a:gd name="T53" fmla="*/ 2147483647 h 257"/>
              <a:gd name="T54" fmla="*/ 2147483647 w 281"/>
              <a:gd name="T55" fmla="*/ 2147483647 h 257"/>
              <a:gd name="T56" fmla="*/ 2147483647 w 281"/>
              <a:gd name="T57" fmla="*/ 2147483647 h 257"/>
              <a:gd name="T58" fmla="*/ 2147483647 w 281"/>
              <a:gd name="T59" fmla="*/ 2147483647 h 257"/>
              <a:gd name="T60" fmla="*/ 2147483647 w 281"/>
              <a:gd name="T61" fmla="*/ 2147483647 h 257"/>
              <a:gd name="T62" fmla="*/ 2147483647 w 281"/>
              <a:gd name="T63" fmla="*/ 2147483647 h 257"/>
              <a:gd name="T64" fmla="*/ 2147483647 w 281"/>
              <a:gd name="T65" fmla="*/ 2147483647 h 257"/>
              <a:gd name="T66" fmla="*/ 2147483647 w 281"/>
              <a:gd name="T67" fmla="*/ 0 h 257"/>
              <a:gd name="T68" fmla="*/ 2147483647 w 281"/>
              <a:gd name="T69" fmla="*/ 2147483647 h 257"/>
              <a:gd name="T70" fmla="*/ 2147483647 w 281"/>
              <a:gd name="T71" fmla="*/ 2147483647 h 257"/>
              <a:gd name="T72" fmla="*/ 2147483647 w 281"/>
              <a:gd name="T73" fmla="*/ 2147483647 h 257"/>
              <a:gd name="T74" fmla="*/ 2147483647 w 281"/>
              <a:gd name="T75" fmla="*/ 2147483647 h 257"/>
              <a:gd name="T76" fmla="*/ 2147483647 w 281"/>
              <a:gd name="T77" fmla="*/ 2147483647 h 257"/>
              <a:gd name="T78" fmla="*/ 0 w 281"/>
              <a:gd name="T79" fmla="*/ 2147483647 h 257"/>
              <a:gd name="T80" fmla="*/ 0 w 281"/>
              <a:gd name="T81" fmla="*/ 2147483647 h 257"/>
              <a:gd name="T82" fmla="*/ 2147483647 w 281"/>
              <a:gd name="T83" fmla="*/ 2147483647 h 257"/>
              <a:gd name="T84" fmla="*/ 2147483647 w 281"/>
              <a:gd name="T85" fmla="*/ 2147483647 h 257"/>
              <a:gd name="T86" fmla="*/ 2147483647 w 281"/>
              <a:gd name="T87" fmla="*/ 2147483647 h 257"/>
              <a:gd name="T88" fmla="*/ 2147483647 w 281"/>
              <a:gd name="T89" fmla="*/ 2147483647 h 257"/>
              <a:gd name="T90" fmla="*/ 2147483647 w 281"/>
              <a:gd name="T91" fmla="*/ 2147483647 h 257"/>
              <a:gd name="T92" fmla="*/ 2147483647 w 281"/>
              <a:gd name="T93" fmla="*/ 2147483647 h 257"/>
              <a:gd name="T94" fmla="*/ 2147483647 w 281"/>
              <a:gd name="T95" fmla="*/ 2147483647 h 257"/>
              <a:gd name="T96" fmla="*/ 2147483647 w 281"/>
              <a:gd name="T97" fmla="*/ 2147483647 h 257"/>
              <a:gd name="T98" fmla="*/ 2147483647 w 281"/>
              <a:gd name="T99" fmla="*/ 2147483647 h 257"/>
              <a:gd name="T100" fmla="*/ 2147483647 w 281"/>
              <a:gd name="T101" fmla="*/ 2147483647 h 257"/>
              <a:gd name="T102" fmla="*/ 2147483647 w 281"/>
              <a:gd name="T103" fmla="*/ 2147483647 h 257"/>
              <a:gd name="T104" fmla="*/ 2147483647 w 281"/>
              <a:gd name="T105" fmla="*/ 2147483647 h 257"/>
              <a:gd name="T106" fmla="*/ 2147483647 w 281"/>
              <a:gd name="T107" fmla="*/ 2147483647 h 25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81"/>
              <a:gd name="T163" fmla="*/ 0 h 257"/>
              <a:gd name="T164" fmla="*/ 281 w 281"/>
              <a:gd name="T165" fmla="*/ 257 h 257"/>
              <a:gd name="connsiteX0" fmla="*/ 8256 w 9964"/>
              <a:gd name="connsiteY0" fmla="*/ 8093 h 9339"/>
              <a:gd name="connsiteX1" fmla="*/ 8256 w 9964"/>
              <a:gd name="connsiteY1" fmla="*/ 8093 h 9339"/>
              <a:gd name="connsiteX2" fmla="*/ 8541 w 9964"/>
              <a:gd name="connsiteY2" fmla="*/ 7782 h 9339"/>
              <a:gd name="connsiteX3" fmla="*/ 8826 w 9964"/>
              <a:gd name="connsiteY3" fmla="*/ 7471 h 9339"/>
              <a:gd name="connsiteX4" fmla="*/ 9110 w 9964"/>
              <a:gd name="connsiteY4" fmla="*/ 7160 h 9339"/>
              <a:gd name="connsiteX5" fmla="*/ 9395 w 9964"/>
              <a:gd name="connsiteY5" fmla="*/ 6848 h 9339"/>
              <a:gd name="connsiteX6" fmla="*/ 9680 w 9964"/>
              <a:gd name="connsiteY6" fmla="*/ 6537 h 9339"/>
              <a:gd name="connsiteX7" fmla="*/ 9964 w 9964"/>
              <a:gd name="connsiteY7" fmla="*/ 6537 h 9339"/>
              <a:gd name="connsiteX8" fmla="*/ 9964 w 9964"/>
              <a:gd name="connsiteY8" fmla="*/ 6226 h 9339"/>
              <a:gd name="connsiteX9" fmla="*/ 9964 w 9964"/>
              <a:gd name="connsiteY9" fmla="*/ 5914 h 9339"/>
              <a:gd name="connsiteX10" fmla="*/ 9964 w 9964"/>
              <a:gd name="connsiteY10" fmla="*/ 5603 h 9339"/>
              <a:gd name="connsiteX11" fmla="*/ 9680 w 9964"/>
              <a:gd name="connsiteY11" fmla="*/ 5292 h 9339"/>
              <a:gd name="connsiteX12" fmla="*/ 9395 w 9964"/>
              <a:gd name="connsiteY12" fmla="*/ 4981 h 9339"/>
              <a:gd name="connsiteX13" fmla="*/ 9110 w 9964"/>
              <a:gd name="connsiteY13" fmla="*/ 4981 h 9339"/>
              <a:gd name="connsiteX14" fmla="*/ 8826 w 9964"/>
              <a:gd name="connsiteY14" fmla="*/ 4981 h 9339"/>
              <a:gd name="connsiteX15" fmla="*/ 8826 w 9964"/>
              <a:gd name="connsiteY15" fmla="*/ 5292 h 9339"/>
              <a:gd name="connsiteX16" fmla="*/ 8541 w 9964"/>
              <a:gd name="connsiteY16" fmla="*/ 5292 h 9339"/>
              <a:gd name="connsiteX17" fmla="*/ 8256 w 9964"/>
              <a:gd name="connsiteY17" fmla="*/ 5292 h 9339"/>
              <a:gd name="connsiteX18" fmla="*/ 7972 w 9964"/>
              <a:gd name="connsiteY18" fmla="*/ 5292 h 9339"/>
              <a:gd name="connsiteX19" fmla="*/ 7687 w 9964"/>
              <a:gd name="connsiteY19" fmla="*/ 5292 h 9339"/>
              <a:gd name="connsiteX20" fmla="*/ 7402 w 9964"/>
              <a:gd name="connsiteY20" fmla="*/ 5292 h 9339"/>
              <a:gd name="connsiteX21" fmla="*/ 7117 w 9964"/>
              <a:gd name="connsiteY21" fmla="*/ 4981 h 9339"/>
              <a:gd name="connsiteX22" fmla="*/ 7402 w 9964"/>
              <a:gd name="connsiteY22" fmla="*/ 4669 h 9339"/>
              <a:gd name="connsiteX23" fmla="*/ 7117 w 9964"/>
              <a:gd name="connsiteY23" fmla="*/ 4047 h 9339"/>
              <a:gd name="connsiteX24" fmla="*/ 7117 w 9964"/>
              <a:gd name="connsiteY24" fmla="*/ 3113 h 9339"/>
              <a:gd name="connsiteX25" fmla="*/ 6263 w 9964"/>
              <a:gd name="connsiteY25" fmla="*/ 2179 h 9339"/>
              <a:gd name="connsiteX26" fmla="*/ 5409 w 9964"/>
              <a:gd name="connsiteY26" fmla="*/ 1868 h 9339"/>
              <a:gd name="connsiteX27" fmla="*/ 4840 w 9964"/>
              <a:gd name="connsiteY27" fmla="*/ 2179 h 9339"/>
              <a:gd name="connsiteX28" fmla="*/ 4555 w 9964"/>
              <a:gd name="connsiteY28" fmla="*/ 1868 h 9339"/>
              <a:gd name="connsiteX29" fmla="*/ 3986 w 9964"/>
              <a:gd name="connsiteY29" fmla="*/ 1556 h 9339"/>
              <a:gd name="connsiteX30" fmla="*/ 3986 w 9964"/>
              <a:gd name="connsiteY30" fmla="*/ 1245 h 9339"/>
              <a:gd name="connsiteX31" fmla="*/ 3701 w 9964"/>
              <a:gd name="connsiteY31" fmla="*/ 934 h 9339"/>
              <a:gd name="connsiteX32" fmla="*/ 2847 w 9964"/>
              <a:gd name="connsiteY32" fmla="*/ 311 h 9339"/>
              <a:gd name="connsiteX33" fmla="*/ 1993 w 9964"/>
              <a:gd name="connsiteY33" fmla="*/ 0 h 9339"/>
              <a:gd name="connsiteX34" fmla="*/ 1139 w 9964"/>
              <a:gd name="connsiteY34" fmla="*/ 623 h 9339"/>
              <a:gd name="connsiteX35" fmla="*/ 1423 w 9964"/>
              <a:gd name="connsiteY35" fmla="*/ 934 h 9339"/>
              <a:gd name="connsiteX36" fmla="*/ 1139 w 9964"/>
              <a:gd name="connsiteY36" fmla="*/ 1556 h 9339"/>
              <a:gd name="connsiteX37" fmla="*/ 854 w 9964"/>
              <a:gd name="connsiteY37" fmla="*/ 1556 h 9339"/>
              <a:gd name="connsiteX38" fmla="*/ 569 w 9964"/>
              <a:gd name="connsiteY38" fmla="*/ 1868 h 9339"/>
              <a:gd name="connsiteX39" fmla="*/ 0 w 9964"/>
              <a:gd name="connsiteY39" fmla="*/ 1868 h 9339"/>
              <a:gd name="connsiteX40" fmla="*/ 0 w 9964"/>
              <a:gd name="connsiteY40" fmla="*/ 2490 h 9339"/>
              <a:gd name="connsiteX41" fmla="*/ 285 w 9964"/>
              <a:gd name="connsiteY41" fmla="*/ 2490 h 9339"/>
              <a:gd name="connsiteX42" fmla="*/ 1423 w 9964"/>
              <a:gd name="connsiteY42" fmla="*/ 4358 h 9339"/>
              <a:gd name="connsiteX43" fmla="*/ 1708 w 9964"/>
              <a:gd name="connsiteY43" fmla="*/ 4669 h 9339"/>
              <a:gd name="connsiteX44" fmla="*/ 1993 w 9964"/>
              <a:gd name="connsiteY44" fmla="*/ 5292 h 9339"/>
              <a:gd name="connsiteX45" fmla="*/ 1993 w 9964"/>
              <a:gd name="connsiteY45" fmla="*/ 6226 h 9339"/>
              <a:gd name="connsiteX46" fmla="*/ 2847 w 9964"/>
              <a:gd name="connsiteY46" fmla="*/ 6848 h 9339"/>
              <a:gd name="connsiteX47" fmla="*/ 3416 w 9964"/>
              <a:gd name="connsiteY47" fmla="*/ 8405 h 9339"/>
              <a:gd name="connsiteX48" fmla="*/ 3701 w 9964"/>
              <a:gd name="connsiteY48" fmla="*/ 8716 h 9339"/>
              <a:gd name="connsiteX49" fmla="*/ 3986 w 9964"/>
              <a:gd name="connsiteY49" fmla="*/ 8405 h 9339"/>
              <a:gd name="connsiteX50" fmla="*/ 4840 w 9964"/>
              <a:gd name="connsiteY50" fmla="*/ 9339 h 9339"/>
              <a:gd name="connsiteX51" fmla="*/ 7117 w 9964"/>
              <a:gd name="connsiteY51" fmla="*/ 8405 h 9339"/>
              <a:gd name="connsiteX52" fmla="*/ 8256 w 9964"/>
              <a:gd name="connsiteY52" fmla="*/ 8093 h 9339"/>
              <a:gd name="connsiteX0" fmla="*/ 8286 w 10000"/>
              <a:gd name="connsiteY0" fmla="*/ 8666 h 9333"/>
              <a:gd name="connsiteX1" fmla="*/ 8286 w 10000"/>
              <a:gd name="connsiteY1" fmla="*/ 8666 h 9333"/>
              <a:gd name="connsiteX2" fmla="*/ 8572 w 10000"/>
              <a:gd name="connsiteY2" fmla="*/ 8333 h 9333"/>
              <a:gd name="connsiteX3" fmla="*/ 8858 w 10000"/>
              <a:gd name="connsiteY3" fmla="*/ 8000 h 9333"/>
              <a:gd name="connsiteX4" fmla="*/ 9143 w 10000"/>
              <a:gd name="connsiteY4" fmla="*/ 7667 h 9333"/>
              <a:gd name="connsiteX5" fmla="*/ 9429 w 10000"/>
              <a:gd name="connsiteY5" fmla="*/ 7333 h 9333"/>
              <a:gd name="connsiteX6" fmla="*/ 9715 w 10000"/>
              <a:gd name="connsiteY6" fmla="*/ 7000 h 9333"/>
              <a:gd name="connsiteX7" fmla="*/ 10000 w 10000"/>
              <a:gd name="connsiteY7" fmla="*/ 7000 h 9333"/>
              <a:gd name="connsiteX8" fmla="*/ 10000 w 10000"/>
              <a:gd name="connsiteY8" fmla="*/ 6667 h 9333"/>
              <a:gd name="connsiteX9" fmla="*/ 10000 w 10000"/>
              <a:gd name="connsiteY9" fmla="*/ 6333 h 9333"/>
              <a:gd name="connsiteX10" fmla="*/ 10000 w 10000"/>
              <a:gd name="connsiteY10" fmla="*/ 6000 h 9333"/>
              <a:gd name="connsiteX11" fmla="*/ 9715 w 10000"/>
              <a:gd name="connsiteY11" fmla="*/ 5667 h 9333"/>
              <a:gd name="connsiteX12" fmla="*/ 9429 w 10000"/>
              <a:gd name="connsiteY12" fmla="*/ 5334 h 9333"/>
              <a:gd name="connsiteX13" fmla="*/ 9143 w 10000"/>
              <a:gd name="connsiteY13" fmla="*/ 5334 h 9333"/>
              <a:gd name="connsiteX14" fmla="*/ 8858 w 10000"/>
              <a:gd name="connsiteY14" fmla="*/ 5334 h 9333"/>
              <a:gd name="connsiteX15" fmla="*/ 8858 w 10000"/>
              <a:gd name="connsiteY15" fmla="*/ 5667 h 9333"/>
              <a:gd name="connsiteX16" fmla="*/ 8572 w 10000"/>
              <a:gd name="connsiteY16" fmla="*/ 5667 h 9333"/>
              <a:gd name="connsiteX17" fmla="*/ 8286 w 10000"/>
              <a:gd name="connsiteY17" fmla="*/ 5667 h 9333"/>
              <a:gd name="connsiteX18" fmla="*/ 8001 w 10000"/>
              <a:gd name="connsiteY18" fmla="*/ 5667 h 9333"/>
              <a:gd name="connsiteX19" fmla="*/ 7715 w 10000"/>
              <a:gd name="connsiteY19" fmla="*/ 5667 h 9333"/>
              <a:gd name="connsiteX20" fmla="*/ 7429 w 10000"/>
              <a:gd name="connsiteY20" fmla="*/ 5667 h 9333"/>
              <a:gd name="connsiteX21" fmla="*/ 7143 w 10000"/>
              <a:gd name="connsiteY21" fmla="*/ 5334 h 9333"/>
              <a:gd name="connsiteX22" fmla="*/ 7429 w 10000"/>
              <a:gd name="connsiteY22" fmla="*/ 4999 h 9333"/>
              <a:gd name="connsiteX23" fmla="*/ 7143 w 10000"/>
              <a:gd name="connsiteY23" fmla="*/ 4333 h 9333"/>
              <a:gd name="connsiteX24" fmla="*/ 7143 w 10000"/>
              <a:gd name="connsiteY24" fmla="*/ 3333 h 9333"/>
              <a:gd name="connsiteX25" fmla="*/ 6286 w 10000"/>
              <a:gd name="connsiteY25" fmla="*/ 2333 h 9333"/>
              <a:gd name="connsiteX26" fmla="*/ 5429 w 10000"/>
              <a:gd name="connsiteY26" fmla="*/ 2000 h 9333"/>
              <a:gd name="connsiteX27" fmla="*/ 4857 w 10000"/>
              <a:gd name="connsiteY27" fmla="*/ 2333 h 9333"/>
              <a:gd name="connsiteX28" fmla="*/ 4571 w 10000"/>
              <a:gd name="connsiteY28" fmla="*/ 2000 h 9333"/>
              <a:gd name="connsiteX29" fmla="*/ 4000 w 10000"/>
              <a:gd name="connsiteY29" fmla="*/ 1666 h 9333"/>
              <a:gd name="connsiteX30" fmla="*/ 4000 w 10000"/>
              <a:gd name="connsiteY30" fmla="*/ 1333 h 9333"/>
              <a:gd name="connsiteX31" fmla="*/ 3714 w 10000"/>
              <a:gd name="connsiteY31" fmla="*/ 1000 h 9333"/>
              <a:gd name="connsiteX32" fmla="*/ 2857 w 10000"/>
              <a:gd name="connsiteY32" fmla="*/ 333 h 9333"/>
              <a:gd name="connsiteX33" fmla="*/ 2000 w 10000"/>
              <a:gd name="connsiteY33" fmla="*/ 0 h 9333"/>
              <a:gd name="connsiteX34" fmla="*/ 1143 w 10000"/>
              <a:gd name="connsiteY34" fmla="*/ 667 h 9333"/>
              <a:gd name="connsiteX35" fmla="*/ 1428 w 10000"/>
              <a:gd name="connsiteY35" fmla="*/ 1000 h 9333"/>
              <a:gd name="connsiteX36" fmla="*/ 1143 w 10000"/>
              <a:gd name="connsiteY36" fmla="*/ 1666 h 9333"/>
              <a:gd name="connsiteX37" fmla="*/ 857 w 10000"/>
              <a:gd name="connsiteY37" fmla="*/ 1666 h 9333"/>
              <a:gd name="connsiteX38" fmla="*/ 571 w 10000"/>
              <a:gd name="connsiteY38" fmla="*/ 2000 h 9333"/>
              <a:gd name="connsiteX39" fmla="*/ 0 w 10000"/>
              <a:gd name="connsiteY39" fmla="*/ 2000 h 9333"/>
              <a:gd name="connsiteX40" fmla="*/ 0 w 10000"/>
              <a:gd name="connsiteY40" fmla="*/ 2666 h 9333"/>
              <a:gd name="connsiteX41" fmla="*/ 286 w 10000"/>
              <a:gd name="connsiteY41" fmla="*/ 2666 h 9333"/>
              <a:gd name="connsiteX42" fmla="*/ 1428 w 10000"/>
              <a:gd name="connsiteY42" fmla="*/ 4666 h 9333"/>
              <a:gd name="connsiteX43" fmla="*/ 1714 w 10000"/>
              <a:gd name="connsiteY43" fmla="*/ 4999 h 9333"/>
              <a:gd name="connsiteX44" fmla="*/ 2000 w 10000"/>
              <a:gd name="connsiteY44" fmla="*/ 5667 h 9333"/>
              <a:gd name="connsiteX45" fmla="*/ 2000 w 10000"/>
              <a:gd name="connsiteY45" fmla="*/ 6667 h 9333"/>
              <a:gd name="connsiteX46" fmla="*/ 2857 w 10000"/>
              <a:gd name="connsiteY46" fmla="*/ 7333 h 9333"/>
              <a:gd name="connsiteX47" fmla="*/ 3428 w 10000"/>
              <a:gd name="connsiteY47" fmla="*/ 9000 h 9333"/>
              <a:gd name="connsiteX48" fmla="*/ 3714 w 10000"/>
              <a:gd name="connsiteY48" fmla="*/ 9333 h 9333"/>
              <a:gd name="connsiteX49" fmla="*/ 4000 w 10000"/>
              <a:gd name="connsiteY49" fmla="*/ 9000 h 9333"/>
              <a:gd name="connsiteX50" fmla="*/ 7143 w 10000"/>
              <a:gd name="connsiteY50" fmla="*/ 9000 h 9333"/>
              <a:gd name="connsiteX51" fmla="*/ 8286 w 10000"/>
              <a:gd name="connsiteY51" fmla="*/ 8666 h 9333"/>
              <a:gd name="connsiteX0" fmla="*/ 8286 w 10000"/>
              <a:gd name="connsiteY0" fmla="*/ 9285 h 10000"/>
              <a:gd name="connsiteX1" fmla="*/ 8286 w 10000"/>
              <a:gd name="connsiteY1" fmla="*/ 9285 h 10000"/>
              <a:gd name="connsiteX2" fmla="*/ 8572 w 10000"/>
              <a:gd name="connsiteY2" fmla="*/ 8929 h 10000"/>
              <a:gd name="connsiteX3" fmla="*/ 8858 w 10000"/>
              <a:gd name="connsiteY3" fmla="*/ 8572 h 10000"/>
              <a:gd name="connsiteX4" fmla="*/ 9143 w 10000"/>
              <a:gd name="connsiteY4" fmla="*/ 8215 h 10000"/>
              <a:gd name="connsiteX5" fmla="*/ 9429 w 10000"/>
              <a:gd name="connsiteY5" fmla="*/ 7857 h 10000"/>
              <a:gd name="connsiteX6" fmla="*/ 9715 w 10000"/>
              <a:gd name="connsiteY6" fmla="*/ 7500 h 10000"/>
              <a:gd name="connsiteX7" fmla="*/ 10000 w 10000"/>
              <a:gd name="connsiteY7" fmla="*/ 7500 h 10000"/>
              <a:gd name="connsiteX8" fmla="*/ 10000 w 10000"/>
              <a:gd name="connsiteY8" fmla="*/ 7143 h 10000"/>
              <a:gd name="connsiteX9" fmla="*/ 10000 w 10000"/>
              <a:gd name="connsiteY9" fmla="*/ 6786 h 10000"/>
              <a:gd name="connsiteX10" fmla="*/ 10000 w 10000"/>
              <a:gd name="connsiteY10" fmla="*/ 6429 h 10000"/>
              <a:gd name="connsiteX11" fmla="*/ 9715 w 10000"/>
              <a:gd name="connsiteY11" fmla="*/ 6072 h 10000"/>
              <a:gd name="connsiteX12" fmla="*/ 9429 w 10000"/>
              <a:gd name="connsiteY12" fmla="*/ 5715 h 10000"/>
              <a:gd name="connsiteX13" fmla="*/ 9143 w 10000"/>
              <a:gd name="connsiteY13" fmla="*/ 5715 h 10000"/>
              <a:gd name="connsiteX14" fmla="*/ 8858 w 10000"/>
              <a:gd name="connsiteY14" fmla="*/ 5715 h 10000"/>
              <a:gd name="connsiteX15" fmla="*/ 8858 w 10000"/>
              <a:gd name="connsiteY15" fmla="*/ 6072 h 10000"/>
              <a:gd name="connsiteX16" fmla="*/ 8572 w 10000"/>
              <a:gd name="connsiteY16" fmla="*/ 6072 h 10000"/>
              <a:gd name="connsiteX17" fmla="*/ 8286 w 10000"/>
              <a:gd name="connsiteY17" fmla="*/ 6072 h 10000"/>
              <a:gd name="connsiteX18" fmla="*/ 8001 w 10000"/>
              <a:gd name="connsiteY18" fmla="*/ 6072 h 10000"/>
              <a:gd name="connsiteX19" fmla="*/ 7715 w 10000"/>
              <a:gd name="connsiteY19" fmla="*/ 6072 h 10000"/>
              <a:gd name="connsiteX20" fmla="*/ 7429 w 10000"/>
              <a:gd name="connsiteY20" fmla="*/ 6072 h 10000"/>
              <a:gd name="connsiteX21" fmla="*/ 7143 w 10000"/>
              <a:gd name="connsiteY21" fmla="*/ 5715 h 10000"/>
              <a:gd name="connsiteX22" fmla="*/ 7429 w 10000"/>
              <a:gd name="connsiteY22" fmla="*/ 5356 h 10000"/>
              <a:gd name="connsiteX23" fmla="*/ 7143 w 10000"/>
              <a:gd name="connsiteY23" fmla="*/ 4643 h 10000"/>
              <a:gd name="connsiteX24" fmla="*/ 7143 w 10000"/>
              <a:gd name="connsiteY24" fmla="*/ 3571 h 10000"/>
              <a:gd name="connsiteX25" fmla="*/ 6286 w 10000"/>
              <a:gd name="connsiteY25" fmla="*/ 2500 h 10000"/>
              <a:gd name="connsiteX26" fmla="*/ 5429 w 10000"/>
              <a:gd name="connsiteY26" fmla="*/ 2143 h 10000"/>
              <a:gd name="connsiteX27" fmla="*/ 4857 w 10000"/>
              <a:gd name="connsiteY27" fmla="*/ 2500 h 10000"/>
              <a:gd name="connsiteX28" fmla="*/ 4571 w 10000"/>
              <a:gd name="connsiteY28" fmla="*/ 2143 h 10000"/>
              <a:gd name="connsiteX29" fmla="*/ 4000 w 10000"/>
              <a:gd name="connsiteY29" fmla="*/ 1785 h 10000"/>
              <a:gd name="connsiteX30" fmla="*/ 4000 w 10000"/>
              <a:gd name="connsiteY30" fmla="*/ 1428 h 10000"/>
              <a:gd name="connsiteX31" fmla="*/ 3714 w 10000"/>
              <a:gd name="connsiteY31" fmla="*/ 1071 h 10000"/>
              <a:gd name="connsiteX32" fmla="*/ 2857 w 10000"/>
              <a:gd name="connsiteY32" fmla="*/ 357 h 10000"/>
              <a:gd name="connsiteX33" fmla="*/ 2000 w 10000"/>
              <a:gd name="connsiteY33" fmla="*/ 0 h 10000"/>
              <a:gd name="connsiteX34" fmla="*/ 1143 w 10000"/>
              <a:gd name="connsiteY34" fmla="*/ 715 h 10000"/>
              <a:gd name="connsiteX35" fmla="*/ 1428 w 10000"/>
              <a:gd name="connsiteY35" fmla="*/ 1071 h 10000"/>
              <a:gd name="connsiteX36" fmla="*/ 1143 w 10000"/>
              <a:gd name="connsiteY36" fmla="*/ 1785 h 10000"/>
              <a:gd name="connsiteX37" fmla="*/ 857 w 10000"/>
              <a:gd name="connsiteY37" fmla="*/ 1785 h 10000"/>
              <a:gd name="connsiteX38" fmla="*/ 571 w 10000"/>
              <a:gd name="connsiteY38" fmla="*/ 2143 h 10000"/>
              <a:gd name="connsiteX39" fmla="*/ 0 w 10000"/>
              <a:gd name="connsiteY39" fmla="*/ 2143 h 10000"/>
              <a:gd name="connsiteX40" fmla="*/ 0 w 10000"/>
              <a:gd name="connsiteY40" fmla="*/ 2857 h 10000"/>
              <a:gd name="connsiteX41" fmla="*/ 286 w 10000"/>
              <a:gd name="connsiteY41" fmla="*/ 2857 h 10000"/>
              <a:gd name="connsiteX42" fmla="*/ 1428 w 10000"/>
              <a:gd name="connsiteY42" fmla="*/ 4999 h 10000"/>
              <a:gd name="connsiteX43" fmla="*/ 1714 w 10000"/>
              <a:gd name="connsiteY43" fmla="*/ 5356 h 10000"/>
              <a:gd name="connsiteX44" fmla="*/ 2000 w 10000"/>
              <a:gd name="connsiteY44" fmla="*/ 6072 h 10000"/>
              <a:gd name="connsiteX45" fmla="*/ 2000 w 10000"/>
              <a:gd name="connsiteY45" fmla="*/ 7143 h 10000"/>
              <a:gd name="connsiteX46" fmla="*/ 2857 w 10000"/>
              <a:gd name="connsiteY46" fmla="*/ 7857 h 10000"/>
              <a:gd name="connsiteX47" fmla="*/ 3428 w 10000"/>
              <a:gd name="connsiteY47" fmla="*/ 9643 h 10000"/>
              <a:gd name="connsiteX48" fmla="*/ 3714 w 10000"/>
              <a:gd name="connsiteY48" fmla="*/ 10000 h 10000"/>
              <a:gd name="connsiteX49" fmla="*/ 7143 w 10000"/>
              <a:gd name="connsiteY49" fmla="*/ 9643 h 10000"/>
              <a:gd name="connsiteX50" fmla="*/ 8286 w 10000"/>
              <a:gd name="connsiteY50" fmla="*/ 9285 h 10000"/>
              <a:gd name="connsiteX0" fmla="*/ 8286 w 10000"/>
              <a:gd name="connsiteY0" fmla="*/ 9285 h 9643"/>
              <a:gd name="connsiteX1" fmla="*/ 8286 w 10000"/>
              <a:gd name="connsiteY1" fmla="*/ 9285 h 9643"/>
              <a:gd name="connsiteX2" fmla="*/ 8572 w 10000"/>
              <a:gd name="connsiteY2" fmla="*/ 8929 h 9643"/>
              <a:gd name="connsiteX3" fmla="*/ 8858 w 10000"/>
              <a:gd name="connsiteY3" fmla="*/ 8572 h 9643"/>
              <a:gd name="connsiteX4" fmla="*/ 9143 w 10000"/>
              <a:gd name="connsiteY4" fmla="*/ 8215 h 9643"/>
              <a:gd name="connsiteX5" fmla="*/ 9429 w 10000"/>
              <a:gd name="connsiteY5" fmla="*/ 7857 h 9643"/>
              <a:gd name="connsiteX6" fmla="*/ 9715 w 10000"/>
              <a:gd name="connsiteY6" fmla="*/ 7500 h 9643"/>
              <a:gd name="connsiteX7" fmla="*/ 10000 w 10000"/>
              <a:gd name="connsiteY7" fmla="*/ 7500 h 9643"/>
              <a:gd name="connsiteX8" fmla="*/ 10000 w 10000"/>
              <a:gd name="connsiteY8" fmla="*/ 7143 h 9643"/>
              <a:gd name="connsiteX9" fmla="*/ 10000 w 10000"/>
              <a:gd name="connsiteY9" fmla="*/ 6786 h 9643"/>
              <a:gd name="connsiteX10" fmla="*/ 10000 w 10000"/>
              <a:gd name="connsiteY10" fmla="*/ 6429 h 9643"/>
              <a:gd name="connsiteX11" fmla="*/ 9715 w 10000"/>
              <a:gd name="connsiteY11" fmla="*/ 6072 h 9643"/>
              <a:gd name="connsiteX12" fmla="*/ 9429 w 10000"/>
              <a:gd name="connsiteY12" fmla="*/ 5715 h 9643"/>
              <a:gd name="connsiteX13" fmla="*/ 9143 w 10000"/>
              <a:gd name="connsiteY13" fmla="*/ 5715 h 9643"/>
              <a:gd name="connsiteX14" fmla="*/ 8858 w 10000"/>
              <a:gd name="connsiteY14" fmla="*/ 5715 h 9643"/>
              <a:gd name="connsiteX15" fmla="*/ 8858 w 10000"/>
              <a:gd name="connsiteY15" fmla="*/ 6072 h 9643"/>
              <a:gd name="connsiteX16" fmla="*/ 8572 w 10000"/>
              <a:gd name="connsiteY16" fmla="*/ 6072 h 9643"/>
              <a:gd name="connsiteX17" fmla="*/ 8286 w 10000"/>
              <a:gd name="connsiteY17" fmla="*/ 6072 h 9643"/>
              <a:gd name="connsiteX18" fmla="*/ 8001 w 10000"/>
              <a:gd name="connsiteY18" fmla="*/ 6072 h 9643"/>
              <a:gd name="connsiteX19" fmla="*/ 7715 w 10000"/>
              <a:gd name="connsiteY19" fmla="*/ 6072 h 9643"/>
              <a:gd name="connsiteX20" fmla="*/ 7429 w 10000"/>
              <a:gd name="connsiteY20" fmla="*/ 6072 h 9643"/>
              <a:gd name="connsiteX21" fmla="*/ 7143 w 10000"/>
              <a:gd name="connsiteY21" fmla="*/ 5715 h 9643"/>
              <a:gd name="connsiteX22" fmla="*/ 7429 w 10000"/>
              <a:gd name="connsiteY22" fmla="*/ 5356 h 9643"/>
              <a:gd name="connsiteX23" fmla="*/ 7143 w 10000"/>
              <a:gd name="connsiteY23" fmla="*/ 4643 h 9643"/>
              <a:gd name="connsiteX24" fmla="*/ 7143 w 10000"/>
              <a:gd name="connsiteY24" fmla="*/ 3571 h 9643"/>
              <a:gd name="connsiteX25" fmla="*/ 6286 w 10000"/>
              <a:gd name="connsiteY25" fmla="*/ 2500 h 9643"/>
              <a:gd name="connsiteX26" fmla="*/ 5429 w 10000"/>
              <a:gd name="connsiteY26" fmla="*/ 2143 h 9643"/>
              <a:gd name="connsiteX27" fmla="*/ 4857 w 10000"/>
              <a:gd name="connsiteY27" fmla="*/ 2500 h 9643"/>
              <a:gd name="connsiteX28" fmla="*/ 4571 w 10000"/>
              <a:gd name="connsiteY28" fmla="*/ 2143 h 9643"/>
              <a:gd name="connsiteX29" fmla="*/ 4000 w 10000"/>
              <a:gd name="connsiteY29" fmla="*/ 1785 h 9643"/>
              <a:gd name="connsiteX30" fmla="*/ 4000 w 10000"/>
              <a:gd name="connsiteY30" fmla="*/ 1428 h 9643"/>
              <a:gd name="connsiteX31" fmla="*/ 3714 w 10000"/>
              <a:gd name="connsiteY31" fmla="*/ 1071 h 9643"/>
              <a:gd name="connsiteX32" fmla="*/ 2857 w 10000"/>
              <a:gd name="connsiteY32" fmla="*/ 357 h 9643"/>
              <a:gd name="connsiteX33" fmla="*/ 2000 w 10000"/>
              <a:gd name="connsiteY33" fmla="*/ 0 h 9643"/>
              <a:gd name="connsiteX34" fmla="*/ 1143 w 10000"/>
              <a:gd name="connsiteY34" fmla="*/ 715 h 9643"/>
              <a:gd name="connsiteX35" fmla="*/ 1428 w 10000"/>
              <a:gd name="connsiteY35" fmla="*/ 1071 h 9643"/>
              <a:gd name="connsiteX36" fmla="*/ 1143 w 10000"/>
              <a:gd name="connsiteY36" fmla="*/ 1785 h 9643"/>
              <a:gd name="connsiteX37" fmla="*/ 857 w 10000"/>
              <a:gd name="connsiteY37" fmla="*/ 1785 h 9643"/>
              <a:gd name="connsiteX38" fmla="*/ 571 w 10000"/>
              <a:gd name="connsiteY38" fmla="*/ 2143 h 9643"/>
              <a:gd name="connsiteX39" fmla="*/ 0 w 10000"/>
              <a:gd name="connsiteY39" fmla="*/ 2143 h 9643"/>
              <a:gd name="connsiteX40" fmla="*/ 0 w 10000"/>
              <a:gd name="connsiteY40" fmla="*/ 2857 h 9643"/>
              <a:gd name="connsiteX41" fmla="*/ 286 w 10000"/>
              <a:gd name="connsiteY41" fmla="*/ 2857 h 9643"/>
              <a:gd name="connsiteX42" fmla="*/ 1428 w 10000"/>
              <a:gd name="connsiteY42" fmla="*/ 4999 h 9643"/>
              <a:gd name="connsiteX43" fmla="*/ 1714 w 10000"/>
              <a:gd name="connsiteY43" fmla="*/ 5356 h 9643"/>
              <a:gd name="connsiteX44" fmla="*/ 2000 w 10000"/>
              <a:gd name="connsiteY44" fmla="*/ 6072 h 9643"/>
              <a:gd name="connsiteX45" fmla="*/ 2000 w 10000"/>
              <a:gd name="connsiteY45" fmla="*/ 7143 h 9643"/>
              <a:gd name="connsiteX46" fmla="*/ 2857 w 10000"/>
              <a:gd name="connsiteY46" fmla="*/ 7857 h 9643"/>
              <a:gd name="connsiteX47" fmla="*/ 3428 w 10000"/>
              <a:gd name="connsiteY47" fmla="*/ 9643 h 9643"/>
              <a:gd name="connsiteX48" fmla="*/ 7143 w 10000"/>
              <a:gd name="connsiteY48" fmla="*/ 9643 h 9643"/>
              <a:gd name="connsiteX49" fmla="*/ 8286 w 10000"/>
              <a:gd name="connsiteY49" fmla="*/ 9285 h 9643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10000 w 10000"/>
              <a:gd name="connsiteY10" fmla="*/ 6667 h 10000"/>
              <a:gd name="connsiteX11" fmla="*/ 9715 w 10000"/>
              <a:gd name="connsiteY11" fmla="*/ 6297 h 10000"/>
              <a:gd name="connsiteX12" fmla="*/ 9429 w 10000"/>
              <a:gd name="connsiteY12" fmla="*/ 5927 h 10000"/>
              <a:gd name="connsiteX13" fmla="*/ 9143 w 10000"/>
              <a:gd name="connsiteY13" fmla="*/ 5927 h 10000"/>
              <a:gd name="connsiteX14" fmla="*/ 8858 w 10000"/>
              <a:gd name="connsiteY14" fmla="*/ 5927 h 10000"/>
              <a:gd name="connsiteX15" fmla="*/ 8858 w 10000"/>
              <a:gd name="connsiteY15" fmla="*/ 6297 h 10000"/>
              <a:gd name="connsiteX16" fmla="*/ 8572 w 10000"/>
              <a:gd name="connsiteY16" fmla="*/ 6297 h 10000"/>
              <a:gd name="connsiteX17" fmla="*/ 8286 w 10000"/>
              <a:gd name="connsiteY17" fmla="*/ 6297 h 10000"/>
              <a:gd name="connsiteX18" fmla="*/ 8001 w 10000"/>
              <a:gd name="connsiteY18" fmla="*/ 6297 h 10000"/>
              <a:gd name="connsiteX19" fmla="*/ 7715 w 10000"/>
              <a:gd name="connsiteY19" fmla="*/ 6297 h 10000"/>
              <a:gd name="connsiteX20" fmla="*/ 7429 w 10000"/>
              <a:gd name="connsiteY20" fmla="*/ 6297 h 10000"/>
              <a:gd name="connsiteX21" fmla="*/ 7143 w 10000"/>
              <a:gd name="connsiteY21" fmla="*/ 5927 h 10000"/>
              <a:gd name="connsiteX22" fmla="*/ 7429 w 10000"/>
              <a:gd name="connsiteY22" fmla="*/ 5554 h 10000"/>
              <a:gd name="connsiteX23" fmla="*/ 7143 w 10000"/>
              <a:gd name="connsiteY23" fmla="*/ 4815 h 10000"/>
              <a:gd name="connsiteX24" fmla="*/ 7143 w 10000"/>
              <a:gd name="connsiteY24" fmla="*/ 3703 h 10000"/>
              <a:gd name="connsiteX25" fmla="*/ 6286 w 10000"/>
              <a:gd name="connsiteY25" fmla="*/ 2593 h 10000"/>
              <a:gd name="connsiteX26" fmla="*/ 5429 w 10000"/>
              <a:gd name="connsiteY26" fmla="*/ 2222 h 10000"/>
              <a:gd name="connsiteX27" fmla="*/ 4857 w 10000"/>
              <a:gd name="connsiteY27" fmla="*/ 2593 h 10000"/>
              <a:gd name="connsiteX28" fmla="*/ 4571 w 10000"/>
              <a:gd name="connsiteY28" fmla="*/ 2222 h 10000"/>
              <a:gd name="connsiteX29" fmla="*/ 4000 w 10000"/>
              <a:gd name="connsiteY29" fmla="*/ 1851 h 10000"/>
              <a:gd name="connsiteX30" fmla="*/ 4000 w 10000"/>
              <a:gd name="connsiteY30" fmla="*/ 1481 h 10000"/>
              <a:gd name="connsiteX31" fmla="*/ 3714 w 10000"/>
              <a:gd name="connsiteY31" fmla="*/ 1111 h 10000"/>
              <a:gd name="connsiteX32" fmla="*/ 2857 w 10000"/>
              <a:gd name="connsiteY32" fmla="*/ 370 h 10000"/>
              <a:gd name="connsiteX33" fmla="*/ 2000 w 10000"/>
              <a:gd name="connsiteY33" fmla="*/ 0 h 10000"/>
              <a:gd name="connsiteX34" fmla="*/ 1143 w 10000"/>
              <a:gd name="connsiteY34" fmla="*/ 741 h 10000"/>
              <a:gd name="connsiteX35" fmla="*/ 1428 w 10000"/>
              <a:gd name="connsiteY35" fmla="*/ 1111 h 10000"/>
              <a:gd name="connsiteX36" fmla="*/ 1143 w 10000"/>
              <a:gd name="connsiteY36" fmla="*/ 1851 h 10000"/>
              <a:gd name="connsiteX37" fmla="*/ 857 w 10000"/>
              <a:gd name="connsiteY37" fmla="*/ 1851 h 10000"/>
              <a:gd name="connsiteX38" fmla="*/ 571 w 10000"/>
              <a:gd name="connsiteY38" fmla="*/ 2222 h 10000"/>
              <a:gd name="connsiteX39" fmla="*/ 0 w 10000"/>
              <a:gd name="connsiteY39" fmla="*/ 2222 h 10000"/>
              <a:gd name="connsiteX40" fmla="*/ 0 w 10000"/>
              <a:gd name="connsiteY40" fmla="*/ 2963 h 10000"/>
              <a:gd name="connsiteX41" fmla="*/ 286 w 10000"/>
              <a:gd name="connsiteY41" fmla="*/ 2963 h 10000"/>
              <a:gd name="connsiteX42" fmla="*/ 1428 w 10000"/>
              <a:gd name="connsiteY42" fmla="*/ 5184 h 10000"/>
              <a:gd name="connsiteX43" fmla="*/ 1714 w 10000"/>
              <a:gd name="connsiteY43" fmla="*/ 5554 h 10000"/>
              <a:gd name="connsiteX44" fmla="*/ 2000 w 10000"/>
              <a:gd name="connsiteY44" fmla="*/ 6297 h 10000"/>
              <a:gd name="connsiteX45" fmla="*/ 2000 w 10000"/>
              <a:gd name="connsiteY45" fmla="*/ 7407 h 10000"/>
              <a:gd name="connsiteX46" fmla="*/ 2857 w 10000"/>
              <a:gd name="connsiteY46" fmla="*/ 8148 h 10000"/>
              <a:gd name="connsiteX47" fmla="*/ 7143 w 10000"/>
              <a:gd name="connsiteY47" fmla="*/ 10000 h 10000"/>
              <a:gd name="connsiteX48" fmla="*/ 8286 w 10000"/>
              <a:gd name="connsiteY48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10000 w 10000"/>
              <a:gd name="connsiteY10" fmla="*/ 6667 h 10000"/>
              <a:gd name="connsiteX11" fmla="*/ 9715 w 10000"/>
              <a:gd name="connsiteY11" fmla="*/ 6297 h 10000"/>
              <a:gd name="connsiteX12" fmla="*/ 9429 w 10000"/>
              <a:gd name="connsiteY12" fmla="*/ 5927 h 10000"/>
              <a:gd name="connsiteX13" fmla="*/ 9143 w 10000"/>
              <a:gd name="connsiteY13" fmla="*/ 5927 h 10000"/>
              <a:gd name="connsiteX14" fmla="*/ 8858 w 10000"/>
              <a:gd name="connsiteY14" fmla="*/ 5927 h 10000"/>
              <a:gd name="connsiteX15" fmla="*/ 8858 w 10000"/>
              <a:gd name="connsiteY15" fmla="*/ 6297 h 10000"/>
              <a:gd name="connsiteX16" fmla="*/ 8572 w 10000"/>
              <a:gd name="connsiteY16" fmla="*/ 6297 h 10000"/>
              <a:gd name="connsiteX17" fmla="*/ 8286 w 10000"/>
              <a:gd name="connsiteY17" fmla="*/ 6297 h 10000"/>
              <a:gd name="connsiteX18" fmla="*/ 8001 w 10000"/>
              <a:gd name="connsiteY18" fmla="*/ 6297 h 10000"/>
              <a:gd name="connsiteX19" fmla="*/ 7715 w 10000"/>
              <a:gd name="connsiteY19" fmla="*/ 6297 h 10000"/>
              <a:gd name="connsiteX20" fmla="*/ 7429 w 10000"/>
              <a:gd name="connsiteY20" fmla="*/ 6297 h 10000"/>
              <a:gd name="connsiteX21" fmla="*/ 7143 w 10000"/>
              <a:gd name="connsiteY21" fmla="*/ 5927 h 10000"/>
              <a:gd name="connsiteX22" fmla="*/ 7429 w 10000"/>
              <a:gd name="connsiteY22" fmla="*/ 5554 h 10000"/>
              <a:gd name="connsiteX23" fmla="*/ 7143 w 10000"/>
              <a:gd name="connsiteY23" fmla="*/ 4815 h 10000"/>
              <a:gd name="connsiteX24" fmla="*/ 7143 w 10000"/>
              <a:gd name="connsiteY24" fmla="*/ 3703 h 10000"/>
              <a:gd name="connsiteX25" fmla="*/ 6286 w 10000"/>
              <a:gd name="connsiteY25" fmla="*/ 2593 h 10000"/>
              <a:gd name="connsiteX26" fmla="*/ 5429 w 10000"/>
              <a:gd name="connsiteY26" fmla="*/ 2222 h 10000"/>
              <a:gd name="connsiteX27" fmla="*/ 4857 w 10000"/>
              <a:gd name="connsiteY27" fmla="*/ 2593 h 10000"/>
              <a:gd name="connsiteX28" fmla="*/ 4571 w 10000"/>
              <a:gd name="connsiteY28" fmla="*/ 2222 h 10000"/>
              <a:gd name="connsiteX29" fmla="*/ 4000 w 10000"/>
              <a:gd name="connsiteY29" fmla="*/ 1851 h 10000"/>
              <a:gd name="connsiteX30" fmla="*/ 4000 w 10000"/>
              <a:gd name="connsiteY30" fmla="*/ 1481 h 10000"/>
              <a:gd name="connsiteX31" fmla="*/ 3714 w 10000"/>
              <a:gd name="connsiteY31" fmla="*/ 1111 h 10000"/>
              <a:gd name="connsiteX32" fmla="*/ 2857 w 10000"/>
              <a:gd name="connsiteY32" fmla="*/ 370 h 10000"/>
              <a:gd name="connsiteX33" fmla="*/ 2000 w 10000"/>
              <a:gd name="connsiteY33" fmla="*/ 0 h 10000"/>
              <a:gd name="connsiteX34" fmla="*/ 1143 w 10000"/>
              <a:gd name="connsiteY34" fmla="*/ 741 h 10000"/>
              <a:gd name="connsiteX35" fmla="*/ 1428 w 10000"/>
              <a:gd name="connsiteY35" fmla="*/ 1111 h 10000"/>
              <a:gd name="connsiteX36" fmla="*/ 1143 w 10000"/>
              <a:gd name="connsiteY36" fmla="*/ 1851 h 10000"/>
              <a:gd name="connsiteX37" fmla="*/ 857 w 10000"/>
              <a:gd name="connsiteY37" fmla="*/ 1851 h 10000"/>
              <a:gd name="connsiteX38" fmla="*/ 571 w 10000"/>
              <a:gd name="connsiteY38" fmla="*/ 2222 h 10000"/>
              <a:gd name="connsiteX39" fmla="*/ 0 w 10000"/>
              <a:gd name="connsiteY39" fmla="*/ 2222 h 10000"/>
              <a:gd name="connsiteX40" fmla="*/ 0 w 10000"/>
              <a:gd name="connsiteY40" fmla="*/ 2963 h 10000"/>
              <a:gd name="connsiteX41" fmla="*/ 286 w 10000"/>
              <a:gd name="connsiteY41" fmla="*/ 2963 h 10000"/>
              <a:gd name="connsiteX42" fmla="*/ 1428 w 10000"/>
              <a:gd name="connsiteY42" fmla="*/ 5184 h 10000"/>
              <a:gd name="connsiteX43" fmla="*/ 1714 w 10000"/>
              <a:gd name="connsiteY43" fmla="*/ 5554 h 10000"/>
              <a:gd name="connsiteX44" fmla="*/ 2000 w 10000"/>
              <a:gd name="connsiteY44" fmla="*/ 6297 h 10000"/>
              <a:gd name="connsiteX45" fmla="*/ 2000 w 10000"/>
              <a:gd name="connsiteY45" fmla="*/ 7407 h 10000"/>
              <a:gd name="connsiteX46" fmla="*/ 7143 w 10000"/>
              <a:gd name="connsiteY46" fmla="*/ 10000 h 10000"/>
              <a:gd name="connsiteX47" fmla="*/ 8286 w 10000"/>
              <a:gd name="connsiteY47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10000 w 10000"/>
              <a:gd name="connsiteY10" fmla="*/ 6667 h 10000"/>
              <a:gd name="connsiteX11" fmla="*/ 9715 w 10000"/>
              <a:gd name="connsiteY11" fmla="*/ 6297 h 10000"/>
              <a:gd name="connsiteX12" fmla="*/ 9429 w 10000"/>
              <a:gd name="connsiteY12" fmla="*/ 5927 h 10000"/>
              <a:gd name="connsiteX13" fmla="*/ 9143 w 10000"/>
              <a:gd name="connsiteY13" fmla="*/ 5927 h 10000"/>
              <a:gd name="connsiteX14" fmla="*/ 8858 w 10000"/>
              <a:gd name="connsiteY14" fmla="*/ 5927 h 10000"/>
              <a:gd name="connsiteX15" fmla="*/ 8858 w 10000"/>
              <a:gd name="connsiteY15" fmla="*/ 6297 h 10000"/>
              <a:gd name="connsiteX16" fmla="*/ 8572 w 10000"/>
              <a:gd name="connsiteY16" fmla="*/ 6297 h 10000"/>
              <a:gd name="connsiteX17" fmla="*/ 8001 w 10000"/>
              <a:gd name="connsiteY17" fmla="*/ 6297 h 10000"/>
              <a:gd name="connsiteX18" fmla="*/ 7715 w 10000"/>
              <a:gd name="connsiteY18" fmla="*/ 6297 h 10000"/>
              <a:gd name="connsiteX19" fmla="*/ 7429 w 10000"/>
              <a:gd name="connsiteY19" fmla="*/ 6297 h 10000"/>
              <a:gd name="connsiteX20" fmla="*/ 7143 w 10000"/>
              <a:gd name="connsiteY20" fmla="*/ 5927 h 10000"/>
              <a:gd name="connsiteX21" fmla="*/ 7429 w 10000"/>
              <a:gd name="connsiteY21" fmla="*/ 5554 h 10000"/>
              <a:gd name="connsiteX22" fmla="*/ 7143 w 10000"/>
              <a:gd name="connsiteY22" fmla="*/ 4815 h 10000"/>
              <a:gd name="connsiteX23" fmla="*/ 7143 w 10000"/>
              <a:gd name="connsiteY23" fmla="*/ 3703 h 10000"/>
              <a:gd name="connsiteX24" fmla="*/ 6286 w 10000"/>
              <a:gd name="connsiteY24" fmla="*/ 2593 h 10000"/>
              <a:gd name="connsiteX25" fmla="*/ 5429 w 10000"/>
              <a:gd name="connsiteY25" fmla="*/ 2222 h 10000"/>
              <a:gd name="connsiteX26" fmla="*/ 4857 w 10000"/>
              <a:gd name="connsiteY26" fmla="*/ 2593 h 10000"/>
              <a:gd name="connsiteX27" fmla="*/ 4571 w 10000"/>
              <a:gd name="connsiteY27" fmla="*/ 2222 h 10000"/>
              <a:gd name="connsiteX28" fmla="*/ 4000 w 10000"/>
              <a:gd name="connsiteY28" fmla="*/ 1851 h 10000"/>
              <a:gd name="connsiteX29" fmla="*/ 4000 w 10000"/>
              <a:gd name="connsiteY29" fmla="*/ 1481 h 10000"/>
              <a:gd name="connsiteX30" fmla="*/ 3714 w 10000"/>
              <a:gd name="connsiteY30" fmla="*/ 1111 h 10000"/>
              <a:gd name="connsiteX31" fmla="*/ 2857 w 10000"/>
              <a:gd name="connsiteY31" fmla="*/ 370 h 10000"/>
              <a:gd name="connsiteX32" fmla="*/ 2000 w 10000"/>
              <a:gd name="connsiteY32" fmla="*/ 0 h 10000"/>
              <a:gd name="connsiteX33" fmla="*/ 1143 w 10000"/>
              <a:gd name="connsiteY33" fmla="*/ 741 h 10000"/>
              <a:gd name="connsiteX34" fmla="*/ 1428 w 10000"/>
              <a:gd name="connsiteY34" fmla="*/ 1111 h 10000"/>
              <a:gd name="connsiteX35" fmla="*/ 1143 w 10000"/>
              <a:gd name="connsiteY35" fmla="*/ 1851 h 10000"/>
              <a:gd name="connsiteX36" fmla="*/ 857 w 10000"/>
              <a:gd name="connsiteY36" fmla="*/ 1851 h 10000"/>
              <a:gd name="connsiteX37" fmla="*/ 571 w 10000"/>
              <a:gd name="connsiteY37" fmla="*/ 2222 h 10000"/>
              <a:gd name="connsiteX38" fmla="*/ 0 w 10000"/>
              <a:gd name="connsiteY38" fmla="*/ 2222 h 10000"/>
              <a:gd name="connsiteX39" fmla="*/ 0 w 10000"/>
              <a:gd name="connsiteY39" fmla="*/ 2963 h 10000"/>
              <a:gd name="connsiteX40" fmla="*/ 286 w 10000"/>
              <a:gd name="connsiteY40" fmla="*/ 2963 h 10000"/>
              <a:gd name="connsiteX41" fmla="*/ 1428 w 10000"/>
              <a:gd name="connsiteY41" fmla="*/ 5184 h 10000"/>
              <a:gd name="connsiteX42" fmla="*/ 1714 w 10000"/>
              <a:gd name="connsiteY42" fmla="*/ 5554 h 10000"/>
              <a:gd name="connsiteX43" fmla="*/ 2000 w 10000"/>
              <a:gd name="connsiteY43" fmla="*/ 6297 h 10000"/>
              <a:gd name="connsiteX44" fmla="*/ 2000 w 10000"/>
              <a:gd name="connsiteY44" fmla="*/ 7407 h 10000"/>
              <a:gd name="connsiteX45" fmla="*/ 7143 w 10000"/>
              <a:gd name="connsiteY45" fmla="*/ 10000 h 10000"/>
              <a:gd name="connsiteX46" fmla="*/ 8286 w 10000"/>
              <a:gd name="connsiteY46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10000 w 10000"/>
              <a:gd name="connsiteY10" fmla="*/ 6667 h 10000"/>
              <a:gd name="connsiteX11" fmla="*/ 9715 w 10000"/>
              <a:gd name="connsiteY11" fmla="*/ 6297 h 10000"/>
              <a:gd name="connsiteX12" fmla="*/ 9429 w 10000"/>
              <a:gd name="connsiteY12" fmla="*/ 5927 h 10000"/>
              <a:gd name="connsiteX13" fmla="*/ 9143 w 10000"/>
              <a:gd name="connsiteY13" fmla="*/ 5927 h 10000"/>
              <a:gd name="connsiteX14" fmla="*/ 8858 w 10000"/>
              <a:gd name="connsiteY14" fmla="*/ 5927 h 10000"/>
              <a:gd name="connsiteX15" fmla="*/ 8858 w 10000"/>
              <a:gd name="connsiteY15" fmla="*/ 6297 h 10000"/>
              <a:gd name="connsiteX16" fmla="*/ 8001 w 10000"/>
              <a:gd name="connsiteY16" fmla="*/ 6297 h 10000"/>
              <a:gd name="connsiteX17" fmla="*/ 7715 w 10000"/>
              <a:gd name="connsiteY17" fmla="*/ 6297 h 10000"/>
              <a:gd name="connsiteX18" fmla="*/ 7429 w 10000"/>
              <a:gd name="connsiteY18" fmla="*/ 6297 h 10000"/>
              <a:gd name="connsiteX19" fmla="*/ 7143 w 10000"/>
              <a:gd name="connsiteY19" fmla="*/ 5927 h 10000"/>
              <a:gd name="connsiteX20" fmla="*/ 7429 w 10000"/>
              <a:gd name="connsiteY20" fmla="*/ 5554 h 10000"/>
              <a:gd name="connsiteX21" fmla="*/ 7143 w 10000"/>
              <a:gd name="connsiteY21" fmla="*/ 4815 h 10000"/>
              <a:gd name="connsiteX22" fmla="*/ 7143 w 10000"/>
              <a:gd name="connsiteY22" fmla="*/ 3703 h 10000"/>
              <a:gd name="connsiteX23" fmla="*/ 6286 w 10000"/>
              <a:gd name="connsiteY23" fmla="*/ 2593 h 10000"/>
              <a:gd name="connsiteX24" fmla="*/ 5429 w 10000"/>
              <a:gd name="connsiteY24" fmla="*/ 2222 h 10000"/>
              <a:gd name="connsiteX25" fmla="*/ 4857 w 10000"/>
              <a:gd name="connsiteY25" fmla="*/ 2593 h 10000"/>
              <a:gd name="connsiteX26" fmla="*/ 4571 w 10000"/>
              <a:gd name="connsiteY26" fmla="*/ 2222 h 10000"/>
              <a:gd name="connsiteX27" fmla="*/ 4000 w 10000"/>
              <a:gd name="connsiteY27" fmla="*/ 1851 h 10000"/>
              <a:gd name="connsiteX28" fmla="*/ 4000 w 10000"/>
              <a:gd name="connsiteY28" fmla="*/ 1481 h 10000"/>
              <a:gd name="connsiteX29" fmla="*/ 3714 w 10000"/>
              <a:gd name="connsiteY29" fmla="*/ 1111 h 10000"/>
              <a:gd name="connsiteX30" fmla="*/ 2857 w 10000"/>
              <a:gd name="connsiteY30" fmla="*/ 370 h 10000"/>
              <a:gd name="connsiteX31" fmla="*/ 2000 w 10000"/>
              <a:gd name="connsiteY31" fmla="*/ 0 h 10000"/>
              <a:gd name="connsiteX32" fmla="*/ 1143 w 10000"/>
              <a:gd name="connsiteY32" fmla="*/ 741 h 10000"/>
              <a:gd name="connsiteX33" fmla="*/ 1428 w 10000"/>
              <a:gd name="connsiteY33" fmla="*/ 1111 h 10000"/>
              <a:gd name="connsiteX34" fmla="*/ 1143 w 10000"/>
              <a:gd name="connsiteY34" fmla="*/ 1851 h 10000"/>
              <a:gd name="connsiteX35" fmla="*/ 857 w 10000"/>
              <a:gd name="connsiteY35" fmla="*/ 1851 h 10000"/>
              <a:gd name="connsiteX36" fmla="*/ 571 w 10000"/>
              <a:gd name="connsiteY36" fmla="*/ 2222 h 10000"/>
              <a:gd name="connsiteX37" fmla="*/ 0 w 10000"/>
              <a:gd name="connsiteY37" fmla="*/ 2222 h 10000"/>
              <a:gd name="connsiteX38" fmla="*/ 0 w 10000"/>
              <a:gd name="connsiteY38" fmla="*/ 2963 h 10000"/>
              <a:gd name="connsiteX39" fmla="*/ 286 w 10000"/>
              <a:gd name="connsiteY39" fmla="*/ 2963 h 10000"/>
              <a:gd name="connsiteX40" fmla="*/ 1428 w 10000"/>
              <a:gd name="connsiteY40" fmla="*/ 5184 h 10000"/>
              <a:gd name="connsiteX41" fmla="*/ 1714 w 10000"/>
              <a:gd name="connsiteY41" fmla="*/ 5554 h 10000"/>
              <a:gd name="connsiteX42" fmla="*/ 2000 w 10000"/>
              <a:gd name="connsiteY42" fmla="*/ 6297 h 10000"/>
              <a:gd name="connsiteX43" fmla="*/ 2000 w 10000"/>
              <a:gd name="connsiteY43" fmla="*/ 7407 h 10000"/>
              <a:gd name="connsiteX44" fmla="*/ 7143 w 10000"/>
              <a:gd name="connsiteY44" fmla="*/ 10000 h 10000"/>
              <a:gd name="connsiteX45" fmla="*/ 8286 w 10000"/>
              <a:gd name="connsiteY45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10000 w 10000"/>
              <a:gd name="connsiteY10" fmla="*/ 6667 h 10000"/>
              <a:gd name="connsiteX11" fmla="*/ 9715 w 10000"/>
              <a:gd name="connsiteY11" fmla="*/ 6297 h 10000"/>
              <a:gd name="connsiteX12" fmla="*/ 9429 w 10000"/>
              <a:gd name="connsiteY12" fmla="*/ 5927 h 10000"/>
              <a:gd name="connsiteX13" fmla="*/ 9143 w 10000"/>
              <a:gd name="connsiteY13" fmla="*/ 5927 h 10000"/>
              <a:gd name="connsiteX14" fmla="*/ 8858 w 10000"/>
              <a:gd name="connsiteY14" fmla="*/ 5927 h 10000"/>
              <a:gd name="connsiteX15" fmla="*/ 8001 w 10000"/>
              <a:gd name="connsiteY15" fmla="*/ 6297 h 10000"/>
              <a:gd name="connsiteX16" fmla="*/ 7715 w 10000"/>
              <a:gd name="connsiteY16" fmla="*/ 6297 h 10000"/>
              <a:gd name="connsiteX17" fmla="*/ 7429 w 10000"/>
              <a:gd name="connsiteY17" fmla="*/ 6297 h 10000"/>
              <a:gd name="connsiteX18" fmla="*/ 7143 w 10000"/>
              <a:gd name="connsiteY18" fmla="*/ 5927 h 10000"/>
              <a:gd name="connsiteX19" fmla="*/ 7429 w 10000"/>
              <a:gd name="connsiteY19" fmla="*/ 5554 h 10000"/>
              <a:gd name="connsiteX20" fmla="*/ 7143 w 10000"/>
              <a:gd name="connsiteY20" fmla="*/ 4815 h 10000"/>
              <a:gd name="connsiteX21" fmla="*/ 7143 w 10000"/>
              <a:gd name="connsiteY21" fmla="*/ 3703 h 10000"/>
              <a:gd name="connsiteX22" fmla="*/ 6286 w 10000"/>
              <a:gd name="connsiteY22" fmla="*/ 2593 h 10000"/>
              <a:gd name="connsiteX23" fmla="*/ 5429 w 10000"/>
              <a:gd name="connsiteY23" fmla="*/ 2222 h 10000"/>
              <a:gd name="connsiteX24" fmla="*/ 4857 w 10000"/>
              <a:gd name="connsiteY24" fmla="*/ 2593 h 10000"/>
              <a:gd name="connsiteX25" fmla="*/ 4571 w 10000"/>
              <a:gd name="connsiteY25" fmla="*/ 2222 h 10000"/>
              <a:gd name="connsiteX26" fmla="*/ 4000 w 10000"/>
              <a:gd name="connsiteY26" fmla="*/ 1851 h 10000"/>
              <a:gd name="connsiteX27" fmla="*/ 4000 w 10000"/>
              <a:gd name="connsiteY27" fmla="*/ 1481 h 10000"/>
              <a:gd name="connsiteX28" fmla="*/ 3714 w 10000"/>
              <a:gd name="connsiteY28" fmla="*/ 1111 h 10000"/>
              <a:gd name="connsiteX29" fmla="*/ 2857 w 10000"/>
              <a:gd name="connsiteY29" fmla="*/ 370 h 10000"/>
              <a:gd name="connsiteX30" fmla="*/ 2000 w 10000"/>
              <a:gd name="connsiteY30" fmla="*/ 0 h 10000"/>
              <a:gd name="connsiteX31" fmla="*/ 1143 w 10000"/>
              <a:gd name="connsiteY31" fmla="*/ 741 h 10000"/>
              <a:gd name="connsiteX32" fmla="*/ 1428 w 10000"/>
              <a:gd name="connsiteY32" fmla="*/ 1111 h 10000"/>
              <a:gd name="connsiteX33" fmla="*/ 1143 w 10000"/>
              <a:gd name="connsiteY33" fmla="*/ 1851 h 10000"/>
              <a:gd name="connsiteX34" fmla="*/ 857 w 10000"/>
              <a:gd name="connsiteY34" fmla="*/ 1851 h 10000"/>
              <a:gd name="connsiteX35" fmla="*/ 571 w 10000"/>
              <a:gd name="connsiteY35" fmla="*/ 2222 h 10000"/>
              <a:gd name="connsiteX36" fmla="*/ 0 w 10000"/>
              <a:gd name="connsiteY36" fmla="*/ 2222 h 10000"/>
              <a:gd name="connsiteX37" fmla="*/ 0 w 10000"/>
              <a:gd name="connsiteY37" fmla="*/ 2963 h 10000"/>
              <a:gd name="connsiteX38" fmla="*/ 286 w 10000"/>
              <a:gd name="connsiteY38" fmla="*/ 2963 h 10000"/>
              <a:gd name="connsiteX39" fmla="*/ 1428 w 10000"/>
              <a:gd name="connsiteY39" fmla="*/ 5184 h 10000"/>
              <a:gd name="connsiteX40" fmla="*/ 1714 w 10000"/>
              <a:gd name="connsiteY40" fmla="*/ 5554 h 10000"/>
              <a:gd name="connsiteX41" fmla="*/ 2000 w 10000"/>
              <a:gd name="connsiteY41" fmla="*/ 6297 h 10000"/>
              <a:gd name="connsiteX42" fmla="*/ 2000 w 10000"/>
              <a:gd name="connsiteY42" fmla="*/ 7407 h 10000"/>
              <a:gd name="connsiteX43" fmla="*/ 7143 w 10000"/>
              <a:gd name="connsiteY43" fmla="*/ 10000 h 10000"/>
              <a:gd name="connsiteX44" fmla="*/ 8286 w 10000"/>
              <a:gd name="connsiteY44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10000 w 10000"/>
              <a:gd name="connsiteY10" fmla="*/ 6667 h 10000"/>
              <a:gd name="connsiteX11" fmla="*/ 9715 w 10000"/>
              <a:gd name="connsiteY11" fmla="*/ 6297 h 10000"/>
              <a:gd name="connsiteX12" fmla="*/ 9429 w 10000"/>
              <a:gd name="connsiteY12" fmla="*/ 5927 h 10000"/>
              <a:gd name="connsiteX13" fmla="*/ 9143 w 10000"/>
              <a:gd name="connsiteY13" fmla="*/ 5927 h 10000"/>
              <a:gd name="connsiteX14" fmla="*/ 8001 w 10000"/>
              <a:gd name="connsiteY14" fmla="*/ 6297 h 10000"/>
              <a:gd name="connsiteX15" fmla="*/ 7715 w 10000"/>
              <a:gd name="connsiteY15" fmla="*/ 6297 h 10000"/>
              <a:gd name="connsiteX16" fmla="*/ 7429 w 10000"/>
              <a:gd name="connsiteY16" fmla="*/ 6297 h 10000"/>
              <a:gd name="connsiteX17" fmla="*/ 7143 w 10000"/>
              <a:gd name="connsiteY17" fmla="*/ 5927 h 10000"/>
              <a:gd name="connsiteX18" fmla="*/ 7429 w 10000"/>
              <a:gd name="connsiteY18" fmla="*/ 5554 h 10000"/>
              <a:gd name="connsiteX19" fmla="*/ 7143 w 10000"/>
              <a:gd name="connsiteY19" fmla="*/ 4815 h 10000"/>
              <a:gd name="connsiteX20" fmla="*/ 7143 w 10000"/>
              <a:gd name="connsiteY20" fmla="*/ 3703 h 10000"/>
              <a:gd name="connsiteX21" fmla="*/ 6286 w 10000"/>
              <a:gd name="connsiteY21" fmla="*/ 2593 h 10000"/>
              <a:gd name="connsiteX22" fmla="*/ 5429 w 10000"/>
              <a:gd name="connsiteY22" fmla="*/ 2222 h 10000"/>
              <a:gd name="connsiteX23" fmla="*/ 4857 w 10000"/>
              <a:gd name="connsiteY23" fmla="*/ 2593 h 10000"/>
              <a:gd name="connsiteX24" fmla="*/ 4571 w 10000"/>
              <a:gd name="connsiteY24" fmla="*/ 2222 h 10000"/>
              <a:gd name="connsiteX25" fmla="*/ 4000 w 10000"/>
              <a:gd name="connsiteY25" fmla="*/ 1851 h 10000"/>
              <a:gd name="connsiteX26" fmla="*/ 4000 w 10000"/>
              <a:gd name="connsiteY26" fmla="*/ 1481 h 10000"/>
              <a:gd name="connsiteX27" fmla="*/ 3714 w 10000"/>
              <a:gd name="connsiteY27" fmla="*/ 1111 h 10000"/>
              <a:gd name="connsiteX28" fmla="*/ 2857 w 10000"/>
              <a:gd name="connsiteY28" fmla="*/ 370 h 10000"/>
              <a:gd name="connsiteX29" fmla="*/ 2000 w 10000"/>
              <a:gd name="connsiteY29" fmla="*/ 0 h 10000"/>
              <a:gd name="connsiteX30" fmla="*/ 1143 w 10000"/>
              <a:gd name="connsiteY30" fmla="*/ 741 h 10000"/>
              <a:gd name="connsiteX31" fmla="*/ 1428 w 10000"/>
              <a:gd name="connsiteY31" fmla="*/ 1111 h 10000"/>
              <a:gd name="connsiteX32" fmla="*/ 1143 w 10000"/>
              <a:gd name="connsiteY32" fmla="*/ 1851 h 10000"/>
              <a:gd name="connsiteX33" fmla="*/ 857 w 10000"/>
              <a:gd name="connsiteY33" fmla="*/ 1851 h 10000"/>
              <a:gd name="connsiteX34" fmla="*/ 571 w 10000"/>
              <a:gd name="connsiteY34" fmla="*/ 2222 h 10000"/>
              <a:gd name="connsiteX35" fmla="*/ 0 w 10000"/>
              <a:gd name="connsiteY35" fmla="*/ 2222 h 10000"/>
              <a:gd name="connsiteX36" fmla="*/ 0 w 10000"/>
              <a:gd name="connsiteY36" fmla="*/ 2963 h 10000"/>
              <a:gd name="connsiteX37" fmla="*/ 286 w 10000"/>
              <a:gd name="connsiteY37" fmla="*/ 2963 h 10000"/>
              <a:gd name="connsiteX38" fmla="*/ 1428 w 10000"/>
              <a:gd name="connsiteY38" fmla="*/ 5184 h 10000"/>
              <a:gd name="connsiteX39" fmla="*/ 1714 w 10000"/>
              <a:gd name="connsiteY39" fmla="*/ 5554 h 10000"/>
              <a:gd name="connsiteX40" fmla="*/ 2000 w 10000"/>
              <a:gd name="connsiteY40" fmla="*/ 6297 h 10000"/>
              <a:gd name="connsiteX41" fmla="*/ 2000 w 10000"/>
              <a:gd name="connsiteY41" fmla="*/ 7407 h 10000"/>
              <a:gd name="connsiteX42" fmla="*/ 7143 w 10000"/>
              <a:gd name="connsiteY42" fmla="*/ 10000 h 10000"/>
              <a:gd name="connsiteX43" fmla="*/ 8286 w 10000"/>
              <a:gd name="connsiteY43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10000 w 10000"/>
              <a:gd name="connsiteY10" fmla="*/ 6667 h 10000"/>
              <a:gd name="connsiteX11" fmla="*/ 9715 w 10000"/>
              <a:gd name="connsiteY11" fmla="*/ 6297 h 10000"/>
              <a:gd name="connsiteX12" fmla="*/ 9429 w 10000"/>
              <a:gd name="connsiteY12" fmla="*/ 5927 h 10000"/>
              <a:gd name="connsiteX13" fmla="*/ 8001 w 10000"/>
              <a:gd name="connsiteY13" fmla="*/ 6297 h 10000"/>
              <a:gd name="connsiteX14" fmla="*/ 7715 w 10000"/>
              <a:gd name="connsiteY14" fmla="*/ 6297 h 10000"/>
              <a:gd name="connsiteX15" fmla="*/ 7429 w 10000"/>
              <a:gd name="connsiteY15" fmla="*/ 6297 h 10000"/>
              <a:gd name="connsiteX16" fmla="*/ 7143 w 10000"/>
              <a:gd name="connsiteY16" fmla="*/ 5927 h 10000"/>
              <a:gd name="connsiteX17" fmla="*/ 7429 w 10000"/>
              <a:gd name="connsiteY17" fmla="*/ 5554 h 10000"/>
              <a:gd name="connsiteX18" fmla="*/ 7143 w 10000"/>
              <a:gd name="connsiteY18" fmla="*/ 4815 h 10000"/>
              <a:gd name="connsiteX19" fmla="*/ 7143 w 10000"/>
              <a:gd name="connsiteY19" fmla="*/ 3703 h 10000"/>
              <a:gd name="connsiteX20" fmla="*/ 6286 w 10000"/>
              <a:gd name="connsiteY20" fmla="*/ 2593 h 10000"/>
              <a:gd name="connsiteX21" fmla="*/ 5429 w 10000"/>
              <a:gd name="connsiteY21" fmla="*/ 2222 h 10000"/>
              <a:gd name="connsiteX22" fmla="*/ 4857 w 10000"/>
              <a:gd name="connsiteY22" fmla="*/ 2593 h 10000"/>
              <a:gd name="connsiteX23" fmla="*/ 4571 w 10000"/>
              <a:gd name="connsiteY23" fmla="*/ 2222 h 10000"/>
              <a:gd name="connsiteX24" fmla="*/ 4000 w 10000"/>
              <a:gd name="connsiteY24" fmla="*/ 1851 h 10000"/>
              <a:gd name="connsiteX25" fmla="*/ 4000 w 10000"/>
              <a:gd name="connsiteY25" fmla="*/ 1481 h 10000"/>
              <a:gd name="connsiteX26" fmla="*/ 3714 w 10000"/>
              <a:gd name="connsiteY26" fmla="*/ 1111 h 10000"/>
              <a:gd name="connsiteX27" fmla="*/ 2857 w 10000"/>
              <a:gd name="connsiteY27" fmla="*/ 370 h 10000"/>
              <a:gd name="connsiteX28" fmla="*/ 2000 w 10000"/>
              <a:gd name="connsiteY28" fmla="*/ 0 h 10000"/>
              <a:gd name="connsiteX29" fmla="*/ 1143 w 10000"/>
              <a:gd name="connsiteY29" fmla="*/ 741 h 10000"/>
              <a:gd name="connsiteX30" fmla="*/ 1428 w 10000"/>
              <a:gd name="connsiteY30" fmla="*/ 1111 h 10000"/>
              <a:gd name="connsiteX31" fmla="*/ 1143 w 10000"/>
              <a:gd name="connsiteY31" fmla="*/ 1851 h 10000"/>
              <a:gd name="connsiteX32" fmla="*/ 857 w 10000"/>
              <a:gd name="connsiteY32" fmla="*/ 1851 h 10000"/>
              <a:gd name="connsiteX33" fmla="*/ 571 w 10000"/>
              <a:gd name="connsiteY33" fmla="*/ 2222 h 10000"/>
              <a:gd name="connsiteX34" fmla="*/ 0 w 10000"/>
              <a:gd name="connsiteY34" fmla="*/ 2222 h 10000"/>
              <a:gd name="connsiteX35" fmla="*/ 0 w 10000"/>
              <a:gd name="connsiteY35" fmla="*/ 2963 h 10000"/>
              <a:gd name="connsiteX36" fmla="*/ 286 w 10000"/>
              <a:gd name="connsiteY36" fmla="*/ 2963 h 10000"/>
              <a:gd name="connsiteX37" fmla="*/ 1428 w 10000"/>
              <a:gd name="connsiteY37" fmla="*/ 5184 h 10000"/>
              <a:gd name="connsiteX38" fmla="*/ 1714 w 10000"/>
              <a:gd name="connsiteY38" fmla="*/ 5554 h 10000"/>
              <a:gd name="connsiteX39" fmla="*/ 2000 w 10000"/>
              <a:gd name="connsiteY39" fmla="*/ 6297 h 10000"/>
              <a:gd name="connsiteX40" fmla="*/ 2000 w 10000"/>
              <a:gd name="connsiteY40" fmla="*/ 7407 h 10000"/>
              <a:gd name="connsiteX41" fmla="*/ 7143 w 10000"/>
              <a:gd name="connsiteY41" fmla="*/ 10000 h 10000"/>
              <a:gd name="connsiteX42" fmla="*/ 8286 w 10000"/>
              <a:gd name="connsiteY42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9715 w 10000"/>
              <a:gd name="connsiteY10" fmla="*/ 6297 h 10000"/>
              <a:gd name="connsiteX11" fmla="*/ 9429 w 10000"/>
              <a:gd name="connsiteY11" fmla="*/ 5927 h 10000"/>
              <a:gd name="connsiteX12" fmla="*/ 8001 w 10000"/>
              <a:gd name="connsiteY12" fmla="*/ 6297 h 10000"/>
              <a:gd name="connsiteX13" fmla="*/ 7715 w 10000"/>
              <a:gd name="connsiteY13" fmla="*/ 6297 h 10000"/>
              <a:gd name="connsiteX14" fmla="*/ 7429 w 10000"/>
              <a:gd name="connsiteY14" fmla="*/ 6297 h 10000"/>
              <a:gd name="connsiteX15" fmla="*/ 7143 w 10000"/>
              <a:gd name="connsiteY15" fmla="*/ 5927 h 10000"/>
              <a:gd name="connsiteX16" fmla="*/ 7429 w 10000"/>
              <a:gd name="connsiteY16" fmla="*/ 5554 h 10000"/>
              <a:gd name="connsiteX17" fmla="*/ 7143 w 10000"/>
              <a:gd name="connsiteY17" fmla="*/ 4815 h 10000"/>
              <a:gd name="connsiteX18" fmla="*/ 7143 w 10000"/>
              <a:gd name="connsiteY18" fmla="*/ 3703 h 10000"/>
              <a:gd name="connsiteX19" fmla="*/ 6286 w 10000"/>
              <a:gd name="connsiteY19" fmla="*/ 2593 h 10000"/>
              <a:gd name="connsiteX20" fmla="*/ 5429 w 10000"/>
              <a:gd name="connsiteY20" fmla="*/ 2222 h 10000"/>
              <a:gd name="connsiteX21" fmla="*/ 4857 w 10000"/>
              <a:gd name="connsiteY21" fmla="*/ 2593 h 10000"/>
              <a:gd name="connsiteX22" fmla="*/ 4571 w 10000"/>
              <a:gd name="connsiteY22" fmla="*/ 2222 h 10000"/>
              <a:gd name="connsiteX23" fmla="*/ 4000 w 10000"/>
              <a:gd name="connsiteY23" fmla="*/ 1851 h 10000"/>
              <a:gd name="connsiteX24" fmla="*/ 4000 w 10000"/>
              <a:gd name="connsiteY24" fmla="*/ 1481 h 10000"/>
              <a:gd name="connsiteX25" fmla="*/ 3714 w 10000"/>
              <a:gd name="connsiteY25" fmla="*/ 1111 h 10000"/>
              <a:gd name="connsiteX26" fmla="*/ 2857 w 10000"/>
              <a:gd name="connsiteY26" fmla="*/ 370 h 10000"/>
              <a:gd name="connsiteX27" fmla="*/ 2000 w 10000"/>
              <a:gd name="connsiteY27" fmla="*/ 0 h 10000"/>
              <a:gd name="connsiteX28" fmla="*/ 1143 w 10000"/>
              <a:gd name="connsiteY28" fmla="*/ 741 h 10000"/>
              <a:gd name="connsiteX29" fmla="*/ 1428 w 10000"/>
              <a:gd name="connsiteY29" fmla="*/ 1111 h 10000"/>
              <a:gd name="connsiteX30" fmla="*/ 1143 w 10000"/>
              <a:gd name="connsiteY30" fmla="*/ 1851 h 10000"/>
              <a:gd name="connsiteX31" fmla="*/ 857 w 10000"/>
              <a:gd name="connsiteY31" fmla="*/ 1851 h 10000"/>
              <a:gd name="connsiteX32" fmla="*/ 571 w 10000"/>
              <a:gd name="connsiteY32" fmla="*/ 2222 h 10000"/>
              <a:gd name="connsiteX33" fmla="*/ 0 w 10000"/>
              <a:gd name="connsiteY33" fmla="*/ 2222 h 10000"/>
              <a:gd name="connsiteX34" fmla="*/ 0 w 10000"/>
              <a:gd name="connsiteY34" fmla="*/ 2963 h 10000"/>
              <a:gd name="connsiteX35" fmla="*/ 286 w 10000"/>
              <a:gd name="connsiteY35" fmla="*/ 2963 h 10000"/>
              <a:gd name="connsiteX36" fmla="*/ 1428 w 10000"/>
              <a:gd name="connsiteY36" fmla="*/ 5184 h 10000"/>
              <a:gd name="connsiteX37" fmla="*/ 1714 w 10000"/>
              <a:gd name="connsiteY37" fmla="*/ 5554 h 10000"/>
              <a:gd name="connsiteX38" fmla="*/ 2000 w 10000"/>
              <a:gd name="connsiteY38" fmla="*/ 6297 h 10000"/>
              <a:gd name="connsiteX39" fmla="*/ 2000 w 10000"/>
              <a:gd name="connsiteY39" fmla="*/ 7407 h 10000"/>
              <a:gd name="connsiteX40" fmla="*/ 7143 w 10000"/>
              <a:gd name="connsiteY40" fmla="*/ 10000 h 10000"/>
              <a:gd name="connsiteX41" fmla="*/ 8286 w 10000"/>
              <a:gd name="connsiteY41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9429 w 10000"/>
              <a:gd name="connsiteY10" fmla="*/ 5927 h 10000"/>
              <a:gd name="connsiteX11" fmla="*/ 8001 w 10000"/>
              <a:gd name="connsiteY11" fmla="*/ 6297 h 10000"/>
              <a:gd name="connsiteX12" fmla="*/ 7715 w 10000"/>
              <a:gd name="connsiteY12" fmla="*/ 6297 h 10000"/>
              <a:gd name="connsiteX13" fmla="*/ 7429 w 10000"/>
              <a:gd name="connsiteY13" fmla="*/ 6297 h 10000"/>
              <a:gd name="connsiteX14" fmla="*/ 7143 w 10000"/>
              <a:gd name="connsiteY14" fmla="*/ 5927 h 10000"/>
              <a:gd name="connsiteX15" fmla="*/ 7429 w 10000"/>
              <a:gd name="connsiteY15" fmla="*/ 5554 h 10000"/>
              <a:gd name="connsiteX16" fmla="*/ 7143 w 10000"/>
              <a:gd name="connsiteY16" fmla="*/ 4815 h 10000"/>
              <a:gd name="connsiteX17" fmla="*/ 7143 w 10000"/>
              <a:gd name="connsiteY17" fmla="*/ 3703 h 10000"/>
              <a:gd name="connsiteX18" fmla="*/ 6286 w 10000"/>
              <a:gd name="connsiteY18" fmla="*/ 2593 h 10000"/>
              <a:gd name="connsiteX19" fmla="*/ 5429 w 10000"/>
              <a:gd name="connsiteY19" fmla="*/ 2222 h 10000"/>
              <a:gd name="connsiteX20" fmla="*/ 4857 w 10000"/>
              <a:gd name="connsiteY20" fmla="*/ 2593 h 10000"/>
              <a:gd name="connsiteX21" fmla="*/ 4571 w 10000"/>
              <a:gd name="connsiteY21" fmla="*/ 2222 h 10000"/>
              <a:gd name="connsiteX22" fmla="*/ 4000 w 10000"/>
              <a:gd name="connsiteY22" fmla="*/ 1851 h 10000"/>
              <a:gd name="connsiteX23" fmla="*/ 4000 w 10000"/>
              <a:gd name="connsiteY23" fmla="*/ 1481 h 10000"/>
              <a:gd name="connsiteX24" fmla="*/ 3714 w 10000"/>
              <a:gd name="connsiteY24" fmla="*/ 1111 h 10000"/>
              <a:gd name="connsiteX25" fmla="*/ 2857 w 10000"/>
              <a:gd name="connsiteY25" fmla="*/ 370 h 10000"/>
              <a:gd name="connsiteX26" fmla="*/ 2000 w 10000"/>
              <a:gd name="connsiteY26" fmla="*/ 0 h 10000"/>
              <a:gd name="connsiteX27" fmla="*/ 1143 w 10000"/>
              <a:gd name="connsiteY27" fmla="*/ 741 h 10000"/>
              <a:gd name="connsiteX28" fmla="*/ 1428 w 10000"/>
              <a:gd name="connsiteY28" fmla="*/ 1111 h 10000"/>
              <a:gd name="connsiteX29" fmla="*/ 1143 w 10000"/>
              <a:gd name="connsiteY29" fmla="*/ 1851 h 10000"/>
              <a:gd name="connsiteX30" fmla="*/ 857 w 10000"/>
              <a:gd name="connsiteY30" fmla="*/ 1851 h 10000"/>
              <a:gd name="connsiteX31" fmla="*/ 571 w 10000"/>
              <a:gd name="connsiteY31" fmla="*/ 2222 h 10000"/>
              <a:gd name="connsiteX32" fmla="*/ 0 w 10000"/>
              <a:gd name="connsiteY32" fmla="*/ 2222 h 10000"/>
              <a:gd name="connsiteX33" fmla="*/ 0 w 10000"/>
              <a:gd name="connsiteY33" fmla="*/ 2963 h 10000"/>
              <a:gd name="connsiteX34" fmla="*/ 286 w 10000"/>
              <a:gd name="connsiteY34" fmla="*/ 2963 h 10000"/>
              <a:gd name="connsiteX35" fmla="*/ 1428 w 10000"/>
              <a:gd name="connsiteY35" fmla="*/ 5184 h 10000"/>
              <a:gd name="connsiteX36" fmla="*/ 1714 w 10000"/>
              <a:gd name="connsiteY36" fmla="*/ 5554 h 10000"/>
              <a:gd name="connsiteX37" fmla="*/ 2000 w 10000"/>
              <a:gd name="connsiteY37" fmla="*/ 6297 h 10000"/>
              <a:gd name="connsiteX38" fmla="*/ 2000 w 10000"/>
              <a:gd name="connsiteY38" fmla="*/ 7407 h 10000"/>
              <a:gd name="connsiteX39" fmla="*/ 7143 w 10000"/>
              <a:gd name="connsiteY39" fmla="*/ 10000 h 10000"/>
              <a:gd name="connsiteX40" fmla="*/ 8286 w 10000"/>
              <a:gd name="connsiteY40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8001 w 10000"/>
              <a:gd name="connsiteY10" fmla="*/ 6297 h 10000"/>
              <a:gd name="connsiteX11" fmla="*/ 7715 w 10000"/>
              <a:gd name="connsiteY11" fmla="*/ 6297 h 10000"/>
              <a:gd name="connsiteX12" fmla="*/ 7429 w 10000"/>
              <a:gd name="connsiteY12" fmla="*/ 6297 h 10000"/>
              <a:gd name="connsiteX13" fmla="*/ 7143 w 10000"/>
              <a:gd name="connsiteY13" fmla="*/ 5927 h 10000"/>
              <a:gd name="connsiteX14" fmla="*/ 7429 w 10000"/>
              <a:gd name="connsiteY14" fmla="*/ 5554 h 10000"/>
              <a:gd name="connsiteX15" fmla="*/ 7143 w 10000"/>
              <a:gd name="connsiteY15" fmla="*/ 4815 h 10000"/>
              <a:gd name="connsiteX16" fmla="*/ 7143 w 10000"/>
              <a:gd name="connsiteY16" fmla="*/ 3703 h 10000"/>
              <a:gd name="connsiteX17" fmla="*/ 6286 w 10000"/>
              <a:gd name="connsiteY17" fmla="*/ 2593 h 10000"/>
              <a:gd name="connsiteX18" fmla="*/ 5429 w 10000"/>
              <a:gd name="connsiteY18" fmla="*/ 2222 h 10000"/>
              <a:gd name="connsiteX19" fmla="*/ 4857 w 10000"/>
              <a:gd name="connsiteY19" fmla="*/ 2593 h 10000"/>
              <a:gd name="connsiteX20" fmla="*/ 4571 w 10000"/>
              <a:gd name="connsiteY20" fmla="*/ 2222 h 10000"/>
              <a:gd name="connsiteX21" fmla="*/ 4000 w 10000"/>
              <a:gd name="connsiteY21" fmla="*/ 1851 h 10000"/>
              <a:gd name="connsiteX22" fmla="*/ 4000 w 10000"/>
              <a:gd name="connsiteY22" fmla="*/ 1481 h 10000"/>
              <a:gd name="connsiteX23" fmla="*/ 3714 w 10000"/>
              <a:gd name="connsiteY23" fmla="*/ 1111 h 10000"/>
              <a:gd name="connsiteX24" fmla="*/ 2857 w 10000"/>
              <a:gd name="connsiteY24" fmla="*/ 370 h 10000"/>
              <a:gd name="connsiteX25" fmla="*/ 2000 w 10000"/>
              <a:gd name="connsiteY25" fmla="*/ 0 h 10000"/>
              <a:gd name="connsiteX26" fmla="*/ 1143 w 10000"/>
              <a:gd name="connsiteY26" fmla="*/ 741 h 10000"/>
              <a:gd name="connsiteX27" fmla="*/ 1428 w 10000"/>
              <a:gd name="connsiteY27" fmla="*/ 1111 h 10000"/>
              <a:gd name="connsiteX28" fmla="*/ 1143 w 10000"/>
              <a:gd name="connsiteY28" fmla="*/ 1851 h 10000"/>
              <a:gd name="connsiteX29" fmla="*/ 857 w 10000"/>
              <a:gd name="connsiteY29" fmla="*/ 1851 h 10000"/>
              <a:gd name="connsiteX30" fmla="*/ 571 w 10000"/>
              <a:gd name="connsiteY30" fmla="*/ 2222 h 10000"/>
              <a:gd name="connsiteX31" fmla="*/ 0 w 10000"/>
              <a:gd name="connsiteY31" fmla="*/ 2222 h 10000"/>
              <a:gd name="connsiteX32" fmla="*/ 0 w 10000"/>
              <a:gd name="connsiteY32" fmla="*/ 2963 h 10000"/>
              <a:gd name="connsiteX33" fmla="*/ 286 w 10000"/>
              <a:gd name="connsiteY33" fmla="*/ 2963 h 10000"/>
              <a:gd name="connsiteX34" fmla="*/ 1428 w 10000"/>
              <a:gd name="connsiteY34" fmla="*/ 5184 h 10000"/>
              <a:gd name="connsiteX35" fmla="*/ 1714 w 10000"/>
              <a:gd name="connsiteY35" fmla="*/ 5554 h 10000"/>
              <a:gd name="connsiteX36" fmla="*/ 2000 w 10000"/>
              <a:gd name="connsiteY36" fmla="*/ 6297 h 10000"/>
              <a:gd name="connsiteX37" fmla="*/ 2000 w 10000"/>
              <a:gd name="connsiteY37" fmla="*/ 7407 h 10000"/>
              <a:gd name="connsiteX38" fmla="*/ 7143 w 10000"/>
              <a:gd name="connsiteY38" fmla="*/ 10000 h 10000"/>
              <a:gd name="connsiteX39" fmla="*/ 8286 w 10000"/>
              <a:gd name="connsiteY39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7715 w 10000"/>
              <a:gd name="connsiteY10" fmla="*/ 6297 h 10000"/>
              <a:gd name="connsiteX11" fmla="*/ 7429 w 10000"/>
              <a:gd name="connsiteY11" fmla="*/ 6297 h 10000"/>
              <a:gd name="connsiteX12" fmla="*/ 7143 w 10000"/>
              <a:gd name="connsiteY12" fmla="*/ 5927 h 10000"/>
              <a:gd name="connsiteX13" fmla="*/ 7429 w 10000"/>
              <a:gd name="connsiteY13" fmla="*/ 5554 h 10000"/>
              <a:gd name="connsiteX14" fmla="*/ 7143 w 10000"/>
              <a:gd name="connsiteY14" fmla="*/ 4815 h 10000"/>
              <a:gd name="connsiteX15" fmla="*/ 7143 w 10000"/>
              <a:gd name="connsiteY15" fmla="*/ 3703 h 10000"/>
              <a:gd name="connsiteX16" fmla="*/ 6286 w 10000"/>
              <a:gd name="connsiteY16" fmla="*/ 2593 h 10000"/>
              <a:gd name="connsiteX17" fmla="*/ 5429 w 10000"/>
              <a:gd name="connsiteY17" fmla="*/ 2222 h 10000"/>
              <a:gd name="connsiteX18" fmla="*/ 4857 w 10000"/>
              <a:gd name="connsiteY18" fmla="*/ 2593 h 10000"/>
              <a:gd name="connsiteX19" fmla="*/ 4571 w 10000"/>
              <a:gd name="connsiteY19" fmla="*/ 2222 h 10000"/>
              <a:gd name="connsiteX20" fmla="*/ 4000 w 10000"/>
              <a:gd name="connsiteY20" fmla="*/ 1851 h 10000"/>
              <a:gd name="connsiteX21" fmla="*/ 4000 w 10000"/>
              <a:gd name="connsiteY21" fmla="*/ 1481 h 10000"/>
              <a:gd name="connsiteX22" fmla="*/ 3714 w 10000"/>
              <a:gd name="connsiteY22" fmla="*/ 1111 h 10000"/>
              <a:gd name="connsiteX23" fmla="*/ 2857 w 10000"/>
              <a:gd name="connsiteY23" fmla="*/ 370 h 10000"/>
              <a:gd name="connsiteX24" fmla="*/ 2000 w 10000"/>
              <a:gd name="connsiteY24" fmla="*/ 0 h 10000"/>
              <a:gd name="connsiteX25" fmla="*/ 1143 w 10000"/>
              <a:gd name="connsiteY25" fmla="*/ 741 h 10000"/>
              <a:gd name="connsiteX26" fmla="*/ 1428 w 10000"/>
              <a:gd name="connsiteY26" fmla="*/ 1111 h 10000"/>
              <a:gd name="connsiteX27" fmla="*/ 1143 w 10000"/>
              <a:gd name="connsiteY27" fmla="*/ 1851 h 10000"/>
              <a:gd name="connsiteX28" fmla="*/ 857 w 10000"/>
              <a:gd name="connsiteY28" fmla="*/ 1851 h 10000"/>
              <a:gd name="connsiteX29" fmla="*/ 571 w 10000"/>
              <a:gd name="connsiteY29" fmla="*/ 2222 h 10000"/>
              <a:gd name="connsiteX30" fmla="*/ 0 w 10000"/>
              <a:gd name="connsiteY30" fmla="*/ 2222 h 10000"/>
              <a:gd name="connsiteX31" fmla="*/ 0 w 10000"/>
              <a:gd name="connsiteY31" fmla="*/ 2963 h 10000"/>
              <a:gd name="connsiteX32" fmla="*/ 286 w 10000"/>
              <a:gd name="connsiteY32" fmla="*/ 2963 h 10000"/>
              <a:gd name="connsiteX33" fmla="*/ 1428 w 10000"/>
              <a:gd name="connsiteY33" fmla="*/ 5184 h 10000"/>
              <a:gd name="connsiteX34" fmla="*/ 1714 w 10000"/>
              <a:gd name="connsiteY34" fmla="*/ 5554 h 10000"/>
              <a:gd name="connsiteX35" fmla="*/ 2000 w 10000"/>
              <a:gd name="connsiteY35" fmla="*/ 6297 h 10000"/>
              <a:gd name="connsiteX36" fmla="*/ 2000 w 10000"/>
              <a:gd name="connsiteY36" fmla="*/ 7407 h 10000"/>
              <a:gd name="connsiteX37" fmla="*/ 7143 w 10000"/>
              <a:gd name="connsiteY37" fmla="*/ 10000 h 10000"/>
              <a:gd name="connsiteX38" fmla="*/ 8286 w 10000"/>
              <a:gd name="connsiteY38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7715 w 10000"/>
              <a:gd name="connsiteY10" fmla="*/ 6297 h 10000"/>
              <a:gd name="connsiteX11" fmla="*/ 7143 w 10000"/>
              <a:gd name="connsiteY11" fmla="*/ 5927 h 10000"/>
              <a:gd name="connsiteX12" fmla="*/ 7429 w 10000"/>
              <a:gd name="connsiteY12" fmla="*/ 5554 h 10000"/>
              <a:gd name="connsiteX13" fmla="*/ 7143 w 10000"/>
              <a:gd name="connsiteY13" fmla="*/ 4815 h 10000"/>
              <a:gd name="connsiteX14" fmla="*/ 7143 w 10000"/>
              <a:gd name="connsiteY14" fmla="*/ 3703 h 10000"/>
              <a:gd name="connsiteX15" fmla="*/ 6286 w 10000"/>
              <a:gd name="connsiteY15" fmla="*/ 2593 h 10000"/>
              <a:gd name="connsiteX16" fmla="*/ 5429 w 10000"/>
              <a:gd name="connsiteY16" fmla="*/ 2222 h 10000"/>
              <a:gd name="connsiteX17" fmla="*/ 4857 w 10000"/>
              <a:gd name="connsiteY17" fmla="*/ 2593 h 10000"/>
              <a:gd name="connsiteX18" fmla="*/ 4571 w 10000"/>
              <a:gd name="connsiteY18" fmla="*/ 2222 h 10000"/>
              <a:gd name="connsiteX19" fmla="*/ 4000 w 10000"/>
              <a:gd name="connsiteY19" fmla="*/ 1851 h 10000"/>
              <a:gd name="connsiteX20" fmla="*/ 4000 w 10000"/>
              <a:gd name="connsiteY20" fmla="*/ 1481 h 10000"/>
              <a:gd name="connsiteX21" fmla="*/ 3714 w 10000"/>
              <a:gd name="connsiteY21" fmla="*/ 1111 h 10000"/>
              <a:gd name="connsiteX22" fmla="*/ 2857 w 10000"/>
              <a:gd name="connsiteY22" fmla="*/ 370 h 10000"/>
              <a:gd name="connsiteX23" fmla="*/ 2000 w 10000"/>
              <a:gd name="connsiteY23" fmla="*/ 0 h 10000"/>
              <a:gd name="connsiteX24" fmla="*/ 1143 w 10000"/>
              <a:gd name="connsiteY24" fmla="*/ 741 h 10000"/>
              <a:gd name="connsiteX25" fmla="*/ 1428 w 10000"/>
              <a:gd name="connsiteY25" fmla="*/ 1111 h 10000"/>
              <a:gd name="connsiteX26" fmla="*/ 1143 w 10000"/>
              <a:gd name="connsiteY26" fmla="*/ 1851 h 10000"/>
              <a:gd name="connsiteX27" fmla="*/ 857 w 10000"/>
              <a:gd name="connsiteY27" fmla="*/ 1851 h 10000"/>
              <a:gd name="connsiteX28" fmla="*/ 571 w 10000"/>
              <a:gd name="connsiteY28" fmla="*/ 2222 h 10000"/>
              <a:gd name="connsiteX29" fmla="*/ 0 w 10000"/>
              <a:gd name="connsiteY29" fmla="*/ 2222 h 10000"/>
              <a:gd name="connsiteX30" fmla="*/ 0 w 10000"/>
              <a:gd name="connsiteY30" fmla="*/ 2963 h 10000"/>
              <a:gd name="connsiteX31" fmla="*/ 286 w 10000"/>
              <a:gd name="connsiteY31" fmla="*/ 2963 h 10000"/>
              <a:gd name="connsiteX32" fmla="*/ 1428 w 10000"/>
              <a:gd name="connsiteY32" fmla="*/ 5184 h 10000"/>
              <a:gd name="connsiteX33" fmla="*/ 1714 w 10000"/>
              <a:gd name="connsiteY33" fmla="*/ 5554 h 10000"/>
              <a:gd name="connsiteX34" fmla="*/ 2000 w 10000"/>
              <a:gd name="connsiteY34" fmla="*/ 6297 h 10000"/>
              <a:gd name="connsiteX35" fmla="*/ 2000 w 10000"/>
              <a:gd name="connsiteY35" fmla="*/ 7407 h 10000"/>
              <a:gd name="connsiteX36" fmla="*/ 7143 w 10000"/>
              <a:gd name="connsiteY36" fmla="*/ 10000 h 10000"/>
              <a:gd name="connsiteX37" fmla="*/ 8286 w 10000"/>
              <a:gd name="connsiteY37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7715 w 10000"/>
              <a:gd name="connsiteY10" fmla="*/ 6297 h 10000"/>
              <a:gd name="connsiteX11" fmla="*/ 7429 w 10000"/>
              <a:gd name="connsiteY11" fmla="*/ 5554 h 10000"/>
              <a:gd name="connsiteX12" fmla="*/ 7143 w 10000"/>
              <a:gd name="connsiteY12" fmla="*/ 4815 h 10000"/>
              <a:gd name="connsiteX13" fmla="*/ 7143 w 10000"/>
              <a:gd name="connsiteY13" fmla="*/ 3703 h 10000"/>
              <a:gd name="connsiteX14" fmla="*/ 6286 w 10000"/>
              <a:gd name="connsiteY14" fmla="*/ 2593 h 10000"/>
              <a:gd name="connsiteX15" fmla="*/ 5429 w 10000"/>
              <a:gd name="connsiteY15" fmla="*/ 2222 h 10000"/>
              <a:gd name="connsiteX16" fmla="*/ 4857 w 10000"/>
              <a:gd name="connsiteY16" fmla="*/ 2593 h 10000"/>
              <a:gd name="connsiteX17" fmla="*/ 4571 w 10000"/>
              <a:gd name="connsiteY17" fmla="*/ 2222 h 10000"/>
              <a:gd name="connsiteX18" fmla="*/ 4000 w 10000"/>
              <a:gd name="connsiteY18" fmla="*/ 1851 h 10000"/>
              <a:gd name="connsiteX19" fmla="*/ 4000 w 10000"/>
              <a:gd name="connsiteY19" fmla="*/ 1481 h 10000"/>
              <a:gd name="connsiteX20" fmla="*/ 3714 w 10000"/>
              <a:gd name="connsiteY20" fmla="*/ 1111 h 10000"/>
              <a:gd name="connsiteX21" fmla="*/ 2857 w 10000"/>
              <a:gd name="connsiteY21" fmla="*/ 370 h 10000"/>
              <a:gd name="connsiteX22" fmla="*/ 2000 w 10000"/>
              <a:gd name="connsiteY22" fmla="*/ 0 h 10000"/>
              <a:gd name="connsiteX23" fmla="*/ 1143 w 10000"/>
              <a:gd name="connsiteY23" fmla="*/ 741 h 10000"/>
              <a:gd name="connsiteX24" fmla="*/ 1428 w 10000"/>
              <a:gd name="connsiteY24" fmla="*/ 1111 h 10000"/>
              <a:gd name="connsiteX25" fmla="*/ 1143 w 10000"/>
              <a:gd name="connsiteY25" fmla="*/ 1851 h 10000"/>
              <a:gd name="connsiteX26" fmla="*/ 857 w 10000"/>
              <a:gd name="connsiteY26" fmla="*/ 1851 h 10000"/>
              <a:gd name="connsiteX27" fmla="*/ 571 w 10000"/>
              <a:gd name="connsiteY27" fmla="*/ 2222 h 10000"/>
              <a:gd name="connsiteX28" fmla="*/ 0 w 10000"/>
              <a:gd name="connsiteY28" fmla="*/ 2222 h 10000"/>
              <a:gd name="connsiteX29" fmla="*/ 0 w 10000"/>
              <a:gd name="connsiteY29" fmla="*/ 2963 h 10000"/>
              <a:gd name="connsiteX30" fmla="*/ 286 w 10000"/>
              <a:gd name="connsiteY30" fmla="*/ 2963 h 10000"/>
              <a:gd name="connsiteX31" fmla="*/ 1428 w 10000"/>
              <a:gd name="connsiteY31" fmla="*/ 5184 h 10000"/>
              <a:gd name="connsiteX32" fmla="*/ 1714 w 10000"/>
              <a:gd name="connsiteY32" fmla="*/ 5554 h 10000"/>
              <a:gd name="connsiteX33" fmla="*/ 2000 w 10000"/>
              <a:gd name="connsiteY33" fmla="*/ 6297 h 10000"/>
              <a:gd name="connsiteX34" fmla="*/ 2000 w 10000"/>
              <a:gd name="connsiteY34" fmla="*/ 7407 h 10000"/>
              <a:gd name="connsiteX35" fmla="*/ 7143 w 10000"/>
              <a:gd name="connsiteY35" fmla="*/ 10000 h 10000"/>
              <a:gd name="connsiteX36" fmla="*/ 8286 w 10000"/>
              <a:gd name="connsiteY36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7715 w 10000"/>
              <a:gd name="connsiteY10" fmla="*/ 6297 h 10000"/>
              <a:gd name="connsiteX11" fmla="*/ 7143 w 10000"/>
              <a:gd name="connsiteY11" fmla="*/ 4815 h 10000"/>
              <a:gd name="connsiteX12" fmla="*/ 7143 w 10000"/>
              <a:gd name="connsiteY12" fmla="*/ 3703 h 10000"/>
              <a:gd name="connsiteX13" fmla="*/ 6286 w 10000"/>
              <a:gd name="connsiteY13" fmla="*/ 2593 h 10000"/>
              <a:gd name="connsiteX14" fmla="*/ 5429 w 10000"/>
              <a:gd name="connsiteY14" fmla="*/ 2222 h 10000"/>
              <a:gd name="connsiteX15" fmla="*/ 4857 w 10000"/>
              <a:gd name="connsiteY15" fmla="*/ 2593 h 10000"/>
              <a:gd name="connsiteX16" fmla="*/ 4571 w 10000"/>
              <a:gd name="connsiteY16" fmla="*/ 2222 h 10000"/>
              <a:gd name="connsiteX17" fmla="*/ 4000 w 10000"/>
              <a:gd name="connsiteY17" fmla="*/ 1851 h 10000"/>
              <a:gd name="connsiteX18" fmla="*/ 4000 w 10000"/>
              <a:gd name="connsiteY18" fmla="*/ 1481 h 10000"/>
              <a:gd name="connsiteX19" fmla="*/ 3714 w 10000"/>
              <a:gd name="connsiteY19" fmla="*/ 1111 h 10000"/>
              <a:gd name="connsiteX20" fmla="*/ 2857 w 10000"/>
              <a:gd name="connsiteY20" fmla="*/ 370 h 10000"/>
              <a:gd name="connsiteX21" fmla="*/ 2000 w 10000"/>
              <a:gd name="connsiteY21" fmla="*/ 0 h 10000"/>
              <a:gd name="connsiteX22" fmla="*/ 1143 w 10000"/>
              <a:gd name="connsiteY22" fmla="*/ 741 h 10000"/>
              <a:gd name="connsiteX23" fmla="*/ 1428 w 10000"/>
              <a:gd name="connsiteY23" fmla="*/ 1111 h 10000"/>
              <a:gd name="connsiteX24" fmla="*/ 1143 w 10000"/>
              <a:gd name="connsiteY24" fmla="*/ 1851 h 10000"/>
              <a:gd name="connsiteX25" fmla="*/ 857 w 10000"/>
              <a:gd name="connsiteY25" fmla="*/ 1851 h 10000"/>
              <a:gd name="connsiteX26" fmla="*/ 571 w 10000"/>
              <a:gd name="connsiteY26" fmla="*/ 2222 h 10000"/>
              <a:gd name="connsiteX27" fmla="*/ 0 w 10000"/>
              <a:gd name="connsiteY27" fmla="*/ 2222 h 10000"/>
              <a:gd name="connsiteX28" fmla="*/ 0 w 10000"/>
              <a:gd name="connsiteY28" fmla="*/ 2963 h 10000"/>
              <a:gd name="connsiteX29" fmla="*/ 286 w 10000"/>
              <a:gd name="connsiteY29" fmla="*/ 2963 h 10000"/>
              <a:gd name="connsiteX30" fmla="*/ 1428 w 10000"/>
              <a:gd name="connsiteY30" fmla="*/ 5184 h 10000"/>
              <a:gd name="connsiteX31" fmla="*/ 1714 w 10000"/>
              <a:gd name="connsiteY31" fmla="*/ 5554 h 10000"/>
              <a:gd name="connsiteX32" fmla="*/ 2000 w 10000"/>
              <a:gd name="connsiteY32" fmla="*/ 6297 h 10000"/>
              <a:gd name="connsiteX33" fmla="*/ 2000 w 10000"/>
              <a:gd name="connsiteY33" fmla="*/ 7407 h 10000"/>
              <a:gd name="connsiteX34" fmla="*/ 7143 w 10000"/>
              <a:gd name="connsiteY34" fmla="*/ 10000 h 10000"/>
              <a:gd name="connsiteX35" fmla="*/ 8286 w 10000"/>
              <a:gd name="connsiteY35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7715 w 10000"/>
              <a:gd name="connsiteY10" fmla="*/ 6297 h 10000"/>
              <a:gd name="connsiteX11" fmla="*/ 7143 w 10000"/>
              <a:gd name="connsiteY11" fmla="*/ 3703 h 10000"/>
              <a:gd name="connsiteX12" fmla="*/ 6286 w 10000"/>
              <a:gd name="connsiteY12" fmla="*/ 2593 h 10000"/>
              <a:gd name="connsiteX13" fmla="*/ 5429 w 10000"/>
              <a:gd name="connsiteY13" fmla="*/ 2222 h 10000"/>
              <a:gd name="connsiteX14" fmla="*/ 4857 w 10000"/>
              <a:gd name="connsiteY14" fmla="*/ 2593 h 10000"/>
              <a:gd name="connsiteX15" fmla="*/ 4571 w 10000"/>
              <a:gd name="connsiteY15" fmla="*/ 2222 h 10000"/>
              <a:gd name="connsiteX16" fmla="*/ 4000 w 10000"/>
              <a:gd name="connsiteY16" fmla="*/ 1851 h 10000"/>
              <a:gd name="connsiteX17" fmla="*/ 4000 w 10000"/>
              <a:gd name="connsiteY17" fmla="*/ 1481 h 10000"/>
              <a:gd name="connsiteX18" fmla="*/ 3714 w 10000"/>
              <a:gd name="connsiteY18" fmla="*/ 1111 h 10000"/>
              <a:gd name="connsiteX19" fmla="*/ 2857 w 10000"/>
              <a:gd name="connsiteY19" fmla="*/ 370 h 10000"/>
              <a:gd name="connsiteX20" fmla="*/ 2000 w 10000"/>
              <a:gd name="connsiteY20" fmla="*/ 0 h 10000"/>
              <a:gd name="connsiteX21" fmla="*/ 1143 w 10000"/>
              <a:gd name="connsiteY21" fmla="*/ 741 h 10000"/>
              <a:gd name="connsiteX22" fmla="*/ 1428 w 10000"/>
              <a:gd name="connsiteY22" fmla="*/ 1111 h 10000"/>
              <a:gd name="connsiteX23" fmla="*/ 1143 w 10000"/>
              <a:gd name="connsiteY23" fmla="*/ 1851 h 10000"/>
              <a:gd name="connsiteX24" fmla="*/ 857 w 10000"/>
              <a:gd name="connsiteY24" fmla="*/ 1851 h 10000"/>
              <a:gd name="connsiteX25" fmla="*/ 571 w 10000"/>
              <a:gd name="connsiteY25" fmla="*/ 2222 h 10000"/>
              <a:gd name="connsiteX26" fmla="*/ 0 w 10000"/>
              <a:gd name="connsiteY26" fmla="*/ 2222 h 10000"/>
              <a:gd name="connsiteX27" fmla="*/ 0 w 10000"/>
              <a:gd name="connsiteY27" fmla="*/ 2963 h 10000"/>
              <a:gd name="connsiteX28" fmla="*/ 286 w 10000"/>
              <a:gd name="connsiteY28" fmla="*/ 2963 h 10000"/>
              <a:gd name="connsiteX29" fmla="*/ 1428 w 10000"/>
              <a:gd name="connsiteY29" fmla="*/ 5184 h 10000"/>
              <a:gd name="connsiteX30" fmla="*/ 1714 w 10000"/>
              <a:gd name="connsiteY30" fmla="*/ 5554 h 10000"/>
              <a:gd name="connsiteX31" fmla="*/ 2000 w 10000"/>
              <a:gd name="connsiteY31" fmla="*/ 6297 h 10000"/>
              <a:gd name="connsiteX32" fmla="*/ 2000 w 10000"/>
              <a:gd name="connsiteY32" fmla="*/ 7407 h 10000"/>
              <a:gd name="connsiteX33" fmla="*/ 7143 w 10000"/>
              <a:gd name="connsiteY33" fmla="*/ 10000 h 10000"/>
              <a:gd name="connsiteX34" fmla="*/ 8286 w 10000"/>
              <a:gd name="connsiteY34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7715 w 10000"/>
              <a:gd name="connsiteY10" fmla="*/ 6297 h 10000"/>
              <a:gd name="connsiteX11" fmla="*/ 6286 w 10000"/>
              <a:gd name="connsiteY11" fmla="*/ 2593 h 10000"/>
              <a:gd name="connsiteX12" fmla="*/ 5429 w 10000"/>
              <a:gd name="connsiteY12" fmla="*/ 2222 h 10000"/>
              <a:gd name="connsiteX13" fmla="*/ 4857 w 10000"/>
              <a:gd name="connsiteY13" fmla="*/ 2593 h 10000"/>
              <a:gd name="connsiteX14" fmla="*/ 4571 w 10000"/>
              <a:gd name="connsiteY14" fmla="*/ 2222 h 10000"/>
              <a:gd name="connsiteX15" fmla="*/ 4000 w 10000"/>
              <a:gd name="connsiteY15" fmla="*/ 1851 h 10000"/>
              <a:gd name="connsiteX16" fmla="*/ 4000 w 10000"/>
              <a:gd name="connsiteY16" fmla="*/ 1481 h 10000"/>
              <a:gd name="connsiteX17" fmla="*/ 3714 w 10000"/>
              <a:gd name="connsiteY17" fmla="*/ 1111 h 10000"/>
              <a:gd name="connsiteX18" fmla="*/ 2857 w 10000"/>
              <a:gd name="connsiteY18" fmla="*/ 370 h 10000"/>
              <a:gd name="connsiteX19" fmla="*/ 2000 w 10000"/>
              <a:gd name="connsiteY19" fmla="*/ 0 h 10000"/>
              <a:gd name="connsiteX20" fmla="*/ 1143 w 10000"/>
              <a:gd name="connsiteY20" fmla="*/ 741 h 10000"/>
              <a:gd name="connsiteX21" fmla="*/ 1428 w 10000"/>
              <a:gd name="connsiteY21" fmla="*/ 1111 h 10000"/>
              <a:gd name="connsiteX22" fmla="*/ 1143 w 10000"/>
              <a:gd name="connsiteY22" fmla="*/ 1851 h 10000"/>
              <a:gd name="connsiteX23" fmla="*/ 857 w 10000"/>
              <a:gd name="connsiteY23" fmla="*/ 1851 h 10000"/>
              <a:gd name="connsiteX24" fmla="*/ 571 w 10000"/>
              <a:gd name="connsiteY24" fmla="*/ 2222 h 10000"/>
              <a:gd name="connsiteX25" fmla="*/ 0 w 10000"/>
              <a:gd name="connsiteY25" fmla="*/ 2222 h 10000"/>
              <a:gd name="connsiteX26" fmla="*/ 0 w 10000"/>
              <a:gd name="connsiteY26" fmla="*/ 2963 h 10000"/>
              <a:gd name="connsiteX27" fmla="*/ 286 w 10000"/>
              <a:gd name="connsiteY27" fmla="*/ 2963 h 10000"/>
              <a:gd name="connsiteX28" fmla="*/ 1428 w 10000"/>
              <a:gd name="connsiteY28" fmla="*/ 5184 h 10000"/>
              <a:gd name="connsiteX29" fmla="*/ 1714 w 10000"/>
              <a:gd name="connsiteY29" fmla="*/ 5554 h 10000"/>
              <a:gd name="connsiteX30" fmla="*/ 2000 w 10000"/>
              <a:gd name="connsiteY30" fmla="*/ 6297 h 10000"/>
              <a:gd name="connsiteX31" fmla="*/ 2000 w 10000"/>
              <a:gd name="connsiteY31" fmla="*/ 7407 h 10000"/>
              <a:gd name="connsiteX32" fmla="*/ 7143 w 10000"/>
              <a:gd name="connsiteY32" fmla="*/ 10000 h 10000"/>
              <a:gd name="connsiteX33" fmla="*/ 8286 w 10000"/>
              <a:gd name="connsiteY33" fmla="*/ 9629 h 10000"/>
              <a:gd name="connsiteX0" fmla="*/ 8286 w 10000"/>
              <a:gd name="connsiteY0" fmla="*/ 9629 h 10000"/>
              <a:gd name="connsiteX1" fmla="*/ 8286 w 10000"/>
              <a:gd name="connsiteY1" fmla="*/ 9629 h 10000"/>
              <a:gd name="connsiteX2" fmla="*/ 8572 w 10000"/>
              <a:gd name="connsiteY2" fmla="*/ 9260 h 10000"/>
              <a:gd name="connsiteX3" fmla="*/ 8858 w 10000"/>
              <a:gd name="connsiteY3" fmla="*/ 8889 h 10000"/>
              <a:gd name="connsiteX4" fmla="*/ 9143 w 10000"/>
              <a:gd name="connsiteY4" fmla="*/ 8519 h 10000"/>
              <a:gd name="connsiteX5" fmla="*/ 9429 w 10000"/>
              <a:gd name="connsiteY5" fmla="*/ 8148 h 10000"/>
              <a:gd name="connsiteX6" fmla="*/ 9715 w 10000"/>
              <a:gd name="connsiteY6" fmla="*/ 7778 h 10000"/>
              <a:gd name="connsiteX7" fmla="*/ 10000 w 10000"/>
              <a:gd name="connsiteY7" fmla="*/ 7778 h 10000"/>
              <a:gd name="connsiteX8" fmla="*/ 10000 w 10000"/>
              <a:gd name="connsiteY8" fmla="*/ 7407 h 10000"/>
              <a:gd name="connsiteX9" fmla="*/ 10000 w 10000"/>
              <a:gd name="connsiteY9" fmla="*/ 7037 h 10000"/>
              <a:gd name="connsiteX10" fmla="*/ 6286 w 10000"/>
              <a:gd name="connsiteY10" fmla="*/ 2593 h 10000"/>
              <a:gd name="connsiteX11" fmla="*/ 5429 w 10000"/>
              <a:gd name="connsiteY11" fmla="*/ 2222 h 10000"/>
              <a:gd name="connsiteX12" fmla="*/ 4857 w 10000"/>
              <a:gd name="connsiteY12" fmla="*/ 2593 h 10000"/>
              <a:gd name="connsiteX13" fmla="*/ 4571 w 10000"/>
              <a:gd name="connsiteY13" fmla="*/ 2222 h 10000"/>
              <a:gd name="connsiteX14" fmla="*/ 4000 w 10000"/>
              <a:gd name="connsiteY14" fmla="*/ 1851 h 10000"/>
              <a:gd name="connsiteX15" fmla="*/ 4000 w 10000"/>
              <a:gd name="connsiteY15" fmla="*/ 1481 h 10000"/>
              <a:gd name="connsiteX16" fmla="*/ 3714 w 10000"/>
              <a:gd name="connsiteY16" fmla="*/ 1111 h 10000"/>
              <a:gd name="connsiteX17" fmla="*/ 2857 w 10000"/>
              <a:gd name="connsiteY17" fmla="*/ 370 h 10000"/>
              <a:gd name="connsiteX18" fmla="*/ 2000 w 10000"/>
              <a:gd name="connsiteY18" fmla="*/ 0 h 10000"/>
              <a:gd name="connsiteX19" fmla="*/ 1143 w 10000"/>
              <a:gd name="connsiteY19" fmla="*/ 741 h 10000"/>
              <a:gd name="connsiteX20" fmla="*/ 1428 w 10000"/>
              <a:gd name="connsiteY20" fmla="*/ 1111 h 10000"/>
              <a:gd name="connsiteX21" fmla="*/ 1143 w 10000"/>
              <a:gd name="connsiteY21" fmla="*/ 1851 h 10000"/>
              <a:gd name="connsiteX22" fmla="*/ 857 w 10000"/>
              <a:gd name="connsiteY22" fmla="*/ 1851 h 10000"/>
              <a:gd name="connsiteX23" fmla="*/ 571 w 10000"/>
              <a:gd name="connsiteY23" fmla="*/ 2222 h 10000"/>
              <a:gd name="connsiteX24" fmla="*/ 0 w 10000"/>
              <a:gd name="connsiteY24" fmla="*/ 2222 h 10000"/>
              <a:gd name="connsiteX25" fmla="*/ 0 w 10000"/>
              <a:gd name="connsiteY25" fmla="*/ 2963 h 10000"/>
              <a:gd name="connsiteX26" fmla="*/ 286 w 10000"/>
              <a:gd name="connsiteY26" fmla="*/ 2963 h 10000"/>
              <a:gd name="connsiteX27" fmla="*/ 1428 w 10000"/>
              <a:gd name="connsiteY27" fmla="*/ 5184 h 10000"/>
              <a:gd name="connsiteX28" fmla="*/ 1714 w 10000"/>
              <a:gd name="connsiteY28" fmla="*/ 5554 h 10000"/>
              <a:gd name="connsiteX29" fmla="*/ 2000 w 10000"/>
              <a:gd name="connsiteY29" fmla="*/ 6297 h 10000"/>
              <a:gd name="connsiteX30" fmla="*/ 2000 w 10000"/>
              <a:gd name="connsiteY30" fmla="*/ 7407 h 10000"/>
              <a:gd name="connsiteX31" fmla="*/ 7143 w 10000"/>
              <a:gd name="connsiteY31" fmla="*/ 10000 h 10000"/>
              <a:gd name="connsiteX32" fmla="*/ 8286 w 10000"/>
              <a:gd name="connsiteY32" fmla="*/ 9629 h 10000"/>
              <a:gd name="connsiteX0" fmla="*/ 8286 w 10000"/>
              <a:gd name="connsiteY0" fmla="*/ 9629 h 9629"/>
              <a:gd name="connsiteX1" fmla="*/ 8286 w 10000"/>
              <a:gd name="connsiteY1" fmla="*/ 9629 h 9629"/>
              <a:gd name="connsiteX2" fmla="*/ 8572 w 10000"/>
              <a:gd name="connsiteY2" fmla="*/ 9260 h 9629"/>
              <a:gd name="connsiteX3" fmla="*/ 8858 w 10000"/>
              <a:gd name="connsiteY3" fmla="*/ 8889 h 9629"/>
              <a:gd name="connsiteX4" fmla="*/ 9143 w 10000"/>
              <a:gd name="connsiteY4" fmla="*/ 8519 h 9629"/>
              <a:gd name="connsiteX5" fmla="*/ 9429 w 10000"/>
              <a:gd name="connsiteY5" fmla="*/ 8148 h 9629"/>
              <a:gd name="connsiteX6" fmla="*/ 9715 w 10000"/>
              <a:gd name="connsiteY6" fmla="*/ 7778 h 9629"/>
              <a:gd name="connsiteX7" fmla="*/ 10000 w 10000"/>
              <a:gd name="connsiteY7" fmla="*/ 7778 h 9629"/>
              <a:gd name="connsiteX8" fmla="*/ 10000 w 10000"/>
              <a:gd name="connsiteY8" fmla="*/ 7407 h 9629"/>
              <a:gd name="connsiteX9" fmla="*/ 10000 w 10000"/>
              <a:gd name="connsiteY9" fmla="*/ 7037 h 9629"/>
              <a:gd name="connsiteX10" fmla="*/ 6286 w 10000"/>
              <a:gd name="connsiteY10" fmla="*/ 2593 h 9629"/>
              <a:gd name="connsiteX11" fmla="*/ 5429 w 10000"/>
              <a:gd name="connsiteY11" fmla="*/ 2222 h 9629"/>
              <a:gd name="connsiteX12" fmla="*/ 4857 w 10000"/>
              <a:gd name="connsiteY12" fmla="*/ 2593 h 9629"/>
              <a:gd name="connsiteX13" fmla="*/ 4571 w 10000"/>
              <a:gd name="connsiteY13" fmla="*/ 2222 h 9629"/>
              <a:gd name="connsiteX14" fmla="*/ 4000 w 10000"/>
              <a:gd name="connsiteY14" fmla="*/ 1851 h 9629"/>
              <a:gd name="connsiteX15" fmla="*/ 4000 w 10000"/>
              <a:gd name="connsiteY15" fmla="*/ 1481 h 9629"/>
              <a:gd name="connsiteX16" fmla="*/ 3714 w 10000"/>
              <a:gd name="connsiteY16" fmla="*/ 1111 h 9629"/>
              <a:gd name="connsiteX17" fmla="*/ 2857 w 10000"/>
              <a:gd name="connsiteY17" fmla="*/ 370 h 9629"/>
              <a:gd name="connsiteX18" fmla="*/ 2000 w 10000"/>
              <a:gd name="connsiteY18" fmla="*/ 0 h 9629"/>
              <a:gd name="connsiteX19" fmla="*/ 1143 w 10000"/>
              <a:gd name="connsiteY19" fmla="*/ 741 h 9629"/>
              <a:gd name="connsiteX20" fmla="*/ 1428 w 10000"/>
              <a:gd name="connsiteY20" fmla="*/ 1111 h 9629"/>
              <a:gd name="connsiteX21" fmla="*/ 1143 w 10000"/>
              <a:gd name="connsiteY21" fmla="*/ 1851 h 9629"/>
              <a:gd name="connsiteX22" fmla="*/ 857 w 10000"/>
              <a:gd name="connsiteY22" fmla="*/ 1851 h 9629"/>
              <a:gd name="connsiteX23" fmla="*/ 571 w 10000"/>
              <a:gd name="connsiteY23" fmla="*/ 2222 h 9629"/>
              <a:gd name="connsiteX24" fmla="*/ 0 w 10000"/>
              <a:gd name="connsiteY24" fmla="*/ 2222 h 9629"/>
              <a:gd name="connsiteX25" fmla="*/ 0 w 10000"/>
              <a:gd name="connsiteY25" fmla="*/ 2963 h 9629"/>
              <a:gd name="connsiteX26" fmla="*/ 286 w 10000"/>
              <a:gd name="connsiteY26" fmla="*/ 2963 h 9629"/>
              <a:gd name="connsiteX27" fmla="*/ 1428 w 10000"/>
              <a:gd name="connsiteY27" fmla="*/ 5184 h 9629"/>
              <a:gd name="connsiteX28" fmla="*/ 1714 w 10000"/>
              <a:gd name="connsiteY28" fmla="*/ 5554 h 9629"/>
              <a:gd name="connsiteX29" fmla="*/ 2000 w 10000"/>
              <a:gd name="connsiteY29" fmla="*/ 6297 h 9629"/>
              <a:gd name="connsiteX30" fmla="*/ 2000 w 10000"/>
              <a:gd name="connsiteY30" fmla="*/ 7407 h 9629"/>
              <a:gd name="connsiteX31" fmla="*/ 8286 w 10000"/>
              <a:gd name="connsiteY31" fmla="*/ 9629 h 9629"/>
              <a:gd name="connsiteX0" fmla="*/ 8286 w 10000"/>
              <a:gd name="connsiteY0" fmla="*/ 10000 h 10000"/>
              <a:gd name="connsiteX1" fmla="*/ 8286 w 10000"/>
              <a:gd name="connsiteY1" fmla="*/ 10000 h 10000"/>
              <a:gd name="connsiteX2" fmla="*/ 8572 w 10000"/>
              <a:gd name="connsiteY2" fmla="*/ 9617 h 10000"/>
              <a:gd name="connsiteX3" fmla="*/ 8858 w 10000"/>
              <a:gd name="connsiteY3" fmla="*/ 9231 h 10000"/>
              <a:gd name="connsiteX4" fmla="*/ 9143 w 10000"/>
              <a:gd name="connsiteY4" fmla="*/ 8847 h 10000"/>
              <a:gd name="connsiteX5" fmla="*/ 9429 w 10000"/>
              <a:gd name="connsiteY5" fmla="*/ 8462 h 10000"/>
              <a:gd name="connsiteX6" fmla="*/ 9715 w 10000"/>
              <a:gd name="connsiteY6" fmla="*/ 8078 h 10000"/>
              <a:gd name="connsiteX7" fmla="*/ 10000 w 10000"/>
              <a:gd name="connsiteY7" fmla="*/ 8078 h 10000"/>
              <a:gd name="connsiteX8" fmla="*/ 10000 w 10000"/>
              <a:gd name="connsiteY8" fmla="*/ 7692 h 10000"/>
              <a:gd name="connsiteX9" fmla="*/ 10000 w 10000"/>
              <a:gd name="connsiteY9" fmla="*/ 7308 h 10000"/>
              <a:gd name="connsiteX10" fmla="*/ 6286 w 10000"/>
              <a:gd name="connsiteY10" fmla="*/ 2693 h 10000"/>
              <a:gd name="connsiteX11" fmla="*/ 5429 w 10000"/>
              <a:gd name="connsiteY11" fmla="*/ 2308 h 10000"/>
              <a:gd name="connsiteX12" fmla="*/ 4857 w 10000"/>
              <a:gd name="connsiteY12" fmla="*/ 2693 h 10000"/>
              <a:gd name="connsiteX13" fmla="*/ 4571 w 10000"/>
              <a:gd name="connsiteY13" fmla="*/ 2308 h 10000"/>
              <a:gd name="connsiteX14" fmla="*/ 4000 w 10000"/>
              <a:gd name="connsiteY14" fmla="*/ 1922 h 10000"/>
              <a:gd name="connsiteX15" fmla="*/ 4000 w 10000"/>
              <a:gd name="connsiteY15" fmla="*/ 1538 h 10000"/>
              <a:gd name="connsiteX16" fmla="*/ 3714 w 10000"/>
              <a:gd name="connsiteY16" fmla="*/ 1154 h 10000"/>
              <a:gd name="connsiteX17" fmla="*/ 2857 w 10000"/>
              <a:gd name="connsiteY17" fmla="*/ 384 h 10000"/>
              <a:gd name="connsiteX18" fmla="*/ 2000 w 10000"/>
              <a:gd name="connsiteY18" fmla="*/ 0 h 10000"/>
              <a:gd name="connsiteX19" fmla="*/ 1143 w 10000"/>
              <a:gd name="connsiteY19" fmla="*/ 770 h 10000"/>
              <a:gd name="connsiteX20" fmla="*/ 1428 w 10000"/>
              <a:gd name="connsiteY20" fmla="*/ 1154 h 10000"/>
              <a:gd name="connsiteX21" fmla="*/ 1143 w 10000"/>
              <a:gd name="connsiteY21" fmla="*/ 1922 h 10000"/>
              <a:gd name="connsiteX22" fmla="*/ 857 w 10000"/>
              <a:gd name="connsiteY22" fmla="*/ 1922 h 10000"/>
              <a:gd name="connsiteX23" fmla="*/ 571 w 10000"/>
              <a:gd name="connsiteY23" fmla="*/ 2308 h 10000"/>
              <a:gd name="connsiteX24" fmla="*/ 0 w 10000"/>
              <a:gd name="connsiteY24" fmla="*/ 2308 h 10000"/>
              <a:gd name="connsiteX25" fmla="*/ 0 w 10000"/>
              <a:gd name="connsiteY25" fmla="*/ 3077 h 10000"/>
              <a:gd name="connsiteX26" fmla="*/ 286 w 10000"/>
              <a:gd name="connsiteY26" fmla="*/ 3077 h 10000"/>
              <a:gd name="connsiteX27" fmla="*/ 1428 w 10000"/>
              <a:gd name="connsiteY27" fmla="*/ 5384 h 10000"/>
              <a:gd name="connsiteX28" fmla="*/ 1714 w 10000"/>
              <a:gd name="connsiteY28" fmla="*/ 5768 h 10000"/>
              <a:gd name="connsiteX29" fmla="*/ 2000 w 10000"/>
              <a:gd name="connsiteY29" fmla="*/ 6540 h 10000"/>
              <a:gd name="connsiteX30" fmla="*/ 2000 w 10000"/>
              <a:gd name="connsiteY30" fmla="*/ 7692 h 10000"/>
              <a:gd name="connsiteX0" fmla="*/ 8286 w 10000"/>
              <a:gd name="connsiteY0" fmla="*/ 10000 h 10000"/>
              <a:gd name="connsiteX1" fmla="*/ 8286 w 10000"/>
              <a:gd name="connsiteY1" fmla="*/ 10000 h 10000"/>
              <a:gd name="connsiteX2" fmla="*/ 8572 w 10000"/>
              <a:gd name="connsiteY2" fmla="*/ 9617 h 10000"/>
              <a:gd name="connsiteX3" fmla="*/ 9143 w 10000"/>
              <a:gd name="connsiteY3" fmla="*/ 8847 h 10000"/>
              <a:gd name="connsiteX4" fmla="*/ 9429 w 10000"/>
              <a:gd name="connsiteY4" fmla="*/ 8462 h 10000"/>
              <a:gd name="connsiteX5" fmla="*/ 9715 w 10000"/>
              <a:gd name="connsiteY5" fmla="*/ 8078 h 10000"/>
              <a:gd name="connsiteX6" fmla="*/ 10000 w 10000"/>
              <a:gd name="connsiteY6" fmla="*/ 8078 h 10000"/>
              <a:gd name="connsiteX7" fmla="*/ 10000 w 10000"/>
              <a:gd name="connsiteY7" fmla="*/ 7692 h 10000"/>
              <a:gd name="connsiteX8" fmla="*/ 10000 w 10000"/>
              <a:gd name="connsiteY8" fmla="*/ 7308 h 10000"/>
              <a:gd name="connsiteX9" fmla="*/ 6286 w 10000"/>
              <a:gd name="connsiteY9" fmla="*/ 2693 h 10000"/>
              <a:gd name="connsiteX10" fmla="*/ 5429 w 10000"/>
              <a:gd name="connsiteY10" fmla="*/ 2308 h 10000"/>
              <a:gd name="connsiteX11" fmla="*/ 4857 w 10000"/>
              <a:gd name="connsiteY11" fmla="*/ 2693 h 10000"/>
              <a:gd name="connsiteX12" fmla="*/ 4571 w 10000"/>
              <a:gd name="connsiteY12" fmla="*/ 2308 h 10000"/>
              <a:gd name="connsiteX13" fmla="*/ 4000 w 10000"/>
              <a:gd name="connsiteY13" fmla="*/ 1922 h 10000"/>
              <a:gd name="connsiteX14" fmla="*/ 4000 w 10000"/>
              <a:gd name="connsiteY14" fmla="*/ 1538 h 10000"/>
              <a:gd name="connsiteX15" fmla="*/ 3714 w 10000"/>
              <a:gd name="connsiteY15" fmla="*/ 1154 h 10000"/>
              <a:gd name="connsiteX16" fmla="*/ 2857 w 10000"/>
              <a:gd name="connsiteY16" fmla="*/ 384 h 10000"/>
              <a:gd name="connsiteX17" fmla="*/ 2000 w 10000"/>
              <a:gd name="connsiteY17" fmla="*/ 0 h 10000"/>
              <a:gd name="connsiteX18" fmla="*/ 1143 w 10000"/>
              <a:gd name="connsiteY18" fmla="*/ 770 h 10000"/>
              <a:gd name="connsiteX19" fmla="*/ 1428 w 10000"/>
              <a:gd name="connsiteY19" fmla="*/ 1154 h 10000"/>
              <a:gd name="connsiteX20" fmla="*/ 1143 w 10000"/>
              <a:gd name="connsiteY20" fmla="*/ 1922 h 10000"/>
              <a:gd name="connsiteX21" fmla="*/ 857 w 10000"/>
              <a:gd name="connsiteY21" fmla="*/ 1922 h 10000"/>
              <a:gd name="connsiteX22" fmla="*/ 571 w 10000"/>
              <a:gd name="connsiteY22" fmla="*/ 2308 h 10000"/>
              <a:gd name="connsiteX23" fmla="*/ 0 w 10000"/>
              <a:gd name="connsiteY23" fmla="*/ 2308 h 10000"/>
              <a:gd name="connsiteX24" fmla="*/ 0 w 10000"/>
              <a:gd name="connsiteY24" fmla="*/ 3077 h 10000"/>
              <a:gd name="connsiteX25" fmla="*/ 286 w 10000"/>
              <a:gd name="connsiteY25" fmla="*/ 3077 h 10000"/>
              <a:gd name="connsiteX26" fmla="*/ 1428 w 10000"/>
              <a:gd name="connsiteY26" fmla="*/ 5384 h 10000"/>
              <a:gd name="connsiteX27" fmla="*/ 1714 w 10000"/>
              <a:gd name="connsiteY27" fmla="*/ 5768 h 10000"/>
              <a:gd name="connsiteX28" fmla="*/ 2000 w 10000"/>
              <a:gd name="connsiteY28" fmla="*/ 6540 h 10000"/>
              <a:gd name="connsiteX29" fmla="*/ 2000 w 10000"/>
              <a:gd name="connsiteY29" fmla="*/ 7692 h 10000"/>
              <a:gd name="connsiteX0" fmla="*/ 8286 w 10000"/>
              <a:gd name="connsiteY0" fmla="*/ 10000 h 10000"/>
              <a:gd name="connsiteX1" fmla="*/ 8286 w 10000"/>
              <a:gd name="connsiteY1" fmla="*/ 10000 h 10000"/>
              <a:gd name="connsiteX2" fmla="*/ 9143 w 10000"/>
              <a:gd name="connsiteY2" fmla="*/ 8847 h 10000"/>
              <a:gd name="connsiteX3" fmla="*/ 9429 w 10000"/>
              <a:gd name="connsiteY3" fmla="*/ 8462 h 10000"/>
              <a:gd name="connsiteX4" fmla="*/ 9715 w 10000"/>
              <a:gd name="connsiteY4" fmla="*/ 8078 h 10000"/>
              <a:gd name="connsiteX5" fmla="*/ 10000 w 10000"/>
              <a:gd name="connsiteY5" fmla="*/ 8078 h 10000"/>
              <a:gd name="connsiteX6" fmla="*/ 10000 w 10000"/>
              <a:gd name="connsiteY6" fmla="*/ 7692 h 10000"/>
              <a:gd name="connsiteX7" fmla="*/ 10000 w 10000"/>
              <a:gd name="connsiteY7" fmla="*/ 7308 h 10000"/>
              <a:gd name="connsiteX8" fmla="*/ 6286 w 10000"/>
              <a:gd name="connsiteY8" fmla="*/ 2693 h 10000"/>
              <a:gd name="connsiteX9" fmla="*/ 5429 w 10000"/>
              <a:gd name="connsiteY9" fmla="*/ 2308 h 10000"/>
              <a:gd name="connsiteX10" fmla="*/ 4857 w 10000"/>
              <a:gd name="connsiteY10" fmla="*/ 2693 h 10000"/>
              <a:gd name="connsiteX11" fmla="*/ 4571 w 10000"/>
              <a:gd name="connsiteY11" fmla="*/ 2308 h 10000"/>
              <a:gd name="connsiteX12" fmla="*/ 4000 w 10000"/>
              <a:gd name="connsiteY12" fmla="*/ 1922 h 10000"/>
              <a:gd name="connsiteX13" fmla="*/ 4000 w 10000"/>
              <a:gd name="connsiteY13" fmla="*/ 1538 h 10000"/>
              <a:gd name="connsiteX14" fmla="*/ 3714 w 10000"/>
              <a:gd name="connsiteY14" fmla="*/ 1154 h 10000"/>
              <a:gd name="connsiteX15" fmla="*/ 2857 w 10000"/>
              <a:gd name="connsiteY15" fmla="*/ 384 h 10000"/>
              <a:gd name="connsiteX16" fmla="*/ 2000 w 10000"/>
              <a:gd name="connsiteY16" fmla="*/ 0 h 10000"/>
              <a:gd name="connsiteX17" fmla="*/ 1143 w 10000"/>
              <a:gd name="connsiteY17" fmla="*/ 770 h 10000"/>
              <a:gd name="connsiteX18" fmla="*/ 1428 w 10000"/>
              <a:gd name="connsiteY18" fmla="*/ 1154 h 10000"/>
              <a:gd name="connsiteX19" fmla="*/ 1143 w 10000"/>
              <a:gd name="connsiteY19" fmla="*/ 1922 h 10000"/>
              <a:gd name="connsiteX20" fmla="*/ 857 w 10000"/>
              <a:gd name="connsiteY20" fmla="*/ 1922 h 10000"/>
              <a:gd name="connsiteX21" fmla="*/ 571 w 10000"/>
              <a:gd name="connsiteY21" fmla="*/ 2308 h 10000"/>
              <a:gd name="connsiteX22" fmla="*/ 0 w 10000"/>
              <a:gd name="connsiteY22" fmla="*/ 2308 h 10000"/>
              <a:gd name="connsiteX23" fmla="*/ 0 w 10000"/>
              <a:gd name="connsiteY23" fmla="*/ 3077 h 10000"/>
              <a:gd name="connsiteX24" fmla="*/ 286 w 10000"/>
              <a:gd name="connsiteY24" fmla="*/ 3077 h 10000"/>
              <a:gd name="connsiteX25" fmla="*/ 1428 w 10000"/>
              <a:gd name="connsiteY25" fmla="*/ 5384 h 10000"/>
              <a:gd name="connsiteX26" fmla="*/ 1714 w 10000"/>
              <a:gd name="connsiteY26" fmla="*/ 5768 h 10000"/>
              <a:gd name="connsiteX27" fmla="*/ 2000 w 10000"/>
              <a:gd name="connsiteY27" fmla="*/ 6540 h 10000"/>
              <a:gd name="connsiteX28" fmla="*/ 2000 w 10000"/>
              <a:gd name="connsiteY28" fmla="*/ 7692 h 10000"/>
              <a:gd name="connsiteX0" fmla="*/ 8286 w 10000"/>
              <a:gd name="connsiteY0" fmla="*/ 10000 h 10000"/>
              <a:gd name="connsiteX1" fmla="*/ 9143 w 10000"/>
              <a:gd name="connsiteY1" fmla="*/ 8847 h 10000"/>
              <a:gd name="connsiteX2" fmla="*/ 9429 w 10000"/>
              <a:gd name="connsiteY2" fmla="*/ 8462 h 10000"/>
              <a:gd name="connsiteX3" fmla="*/ 9715 w 10000"/>
              <a:gd name="connsiteY3" fmla="*/ 8078 h 10000"/>
              <a:gd name="connsiteX4" fmla="*/ 10000 w 10000"/>
              <a:gd name="connsiteY4" fmla="*/ 8078 h 10000"/>
              <a:gd name="connsiteX5" fmla="*/ 10000 w 10000"/>
              <a:gd name="connsiteY5" fmla="*/ 7692 h 10000"/>
              <a:gd name="connsiteX6" fmla="*/ 10000 w 10000"/>
              <a:gd name="connsiteY6" fmla="*/ 7308 h 10000"/>
              <a:gd name="connsiteX7" fmla="*/ 6286 w 10000"/>
              <a:gd name="connsiteY7" fmla="*/ 2693 h 10000"/>
              <a:gd name="connsiteX8" fmla="*/ 5429 w 10000"/>
              <a:gd name="connsiteY8" fmla="*/ 2308 h 10000"/>
              <a:gd name="connsiteX9" fmla="*/ 4857 w 10000"/>
              <a:gd name="connsiteY9" fmla="*/ 2693 h 10000"/>
              <a:gd name="connsiteX10" fmla="*/ 4571 w 10000"/>
              <a:gd name="connsiteY10" fmla="*/ 2308 h 10000"/>
              <a:gd name="connsiteX11" fmla="*/ 4000 w 10000"/>
              <a:gd name="connsiteY11" fmla="*/ 1922 h 10000"/>
              <a:gd name="connsiteX12" fmla="*/ 4000 w 10000"/>
              <a:gd name="connsiteY12" fmla="*/ 1538 h 10000"/>
              <a:gd name="connsiteX13" fmla="*/ 3714 w 10000"/>
              <a:gd name="connsiteY13" fmla="*/ 1154 h 10000"/>
              <a:gd name="connsiteX14" fmla="*/ 2857 w 10000"/>
              <a:gd name="connsiteY14" fmla="*/ 384 h 10000"/>
              <a:gd name="connsiteX15" fmla="*/ 2000 w 10000"/>
              <a:gd name="connsiteY15" fmla="*/ 0 h 10000"/>
              <a:gd name="connsiteX16" fmla="*/ 1143 w 10000"/>
              <a:gd name="connsiteY16" fmla="*/ 770 h 10000"/>
              <a:gd name="connsiteX17" fmla="*/ 1428 w 10000"/>
              <a:gd name="connsiteY17" fmla="*/ 1154 h 10000"/>
              <a:gd name="connsiteX18" fmla="*/ 1143 w 10000"/>
              <a:gd name="connsiteY18" fmla="*/ 1922 h 10000"/>
              <a:gd name="connsiteX19" fmla="*/ 857 w 10000"/>
              <a:gd name="connsiteY19" fmla="*/ 1922 h 10000"/>
              <a:gd name="connsiteX20" fmla="*/ 571 w 10000"/>
              <a:gd name="connsiteY20" fmla="*/ 2308 h 10000"/>
              <a:gd name="connsiteX21" fmla="*/ 0 w 10000"/>
              <a:gd name="connsiteY21" fmla="*/ 2308 h 10000"/>
              <a:gd name="connsiteX22" fmla="*/ 0 w 10000"/>
              <a:gd name="connsiteY22" fmla="*/ 3077 h 10000"/>
              <a:gd name="connsiteX23" fmla="*/ 286 w 10000"/>
              <a:gd name="connsiteY23" fmla="*/ 3077 h 10000"/>
              <a:gd name="connsiteX24" fmla="*/ 1428 w 10000"/>
              <a:gd name="connsiteY24" fmla="*/ 5384 h 10000"/>
              <a:gd name="connsiteX25" fmla="*/ 1714 w 10000"/>
              <a:gd name="connsiteY25" fmla="*/ 5768 h 10000"/>
              <a:gd name="connsiteX26" fmla="*/ 2000 w 10000"/>
              <a:gd name="connsiteY26" fmla="*/ 6540 h 10000"/>
              <a:gd name="connsiteX27" fmla="*/ 2000 w 10000"/>
              <a:gd name="connsiteY27" fmla="*/ 7692 h 10000"/>
              <a:gd name="connsiteX0" fmla="*/ 8286 w 10000"/>
              <a:gd name="connsiteY0" fmla="*/ 10000 h 10000"/>
              <a:gd name="connsiteX1" fmla="*/ 9429 w 10000"/>
              <a:gd name="connsiteY1" fmla="*/ 8462 h 10000"/>
              <a:gd name="connsiteX2" fmla="*/ 9715 w 10000"/>
              <a:gd name="connsiteY2" fmla="*/ 8078 h 10000"/>
              <a:gd name="connsiteX3" fmla="*/ 10000 w 10000"/>
              <a:gd name="connsiteY3" fmla="*/ 8078 h 10000"/>
              <a:gd name="connsiteX4" fmla="*/ 10000 w 10000"/>
              <a:gd name="connsiteY4" fmla="*/ 7692 h 10000"/>
              <a:gd name="connsiteX5" fmla="*/ 10000 w 10000"/>
              <a:gd name="connsiteY5" fmla="*/ 7308 h 10000"/>
              <a:gd name="connsiteX6" fmla="*/ 6286 w 10000"/>
              <a:gd name="connsiteY6" fmla="*/ 2693 h 10000"/>
              <a:gd name="connsiteX7" fmla="*/ 5429 w 10000"/>
              <a:gd name="connsiteY7" fmla="*/ 2308 h 10000"/>
              <a:gd name="connsiteX8" fmla="*/ 4857 w 10000"/>
              <a:gd name="connsiteY8" fmla="*/ 2693 h 10000"/>
              <a:gd name="connsiteX9" fmla="*/ 4571 w 10000"/>
              <a:gd name="connsiteY9" fmla="*/ 2308 h 10000"/>
              <a:gd name="connsiteX10" fmla="*/ 4000 w 10000"/>
              <a:gd name="connsiteY10" fmla="*/ 1922 h 10000"/>
              <a:gd name="connsiteX11" fmla="*/ 4000 w 10000"/>
              <a:gd name="connsiteY11" fmla="*/ 1538 h 10000"/>
              <a:gd name="connsiteX12" fmla="*/ 3714 w 10000"/>
              <a:gd name="connsiteY12" fmla="*/ 1154 h 10000"/>
              <a:gd name="connsiteX13" fmla="*/ 2857 w 10000"/>
              <a:gd name="connsiteY13" fmla="*/ 384 h 10000"/>
              <a:gd name="connsiteX14" fmla="*/ 2000 w 10000"/>
              <a:gd name="connsiteY14" fmla="*/ 0 h 10000"/>
              <a:gd name="connsiteX15" fmla="*/ 1143 w 10000"/>
              <a:gd name="connsiteY15" fmla="*/ 770 h 10000"/>
              <a:gd name="connsiteX16" fmla="*/ 1428 w 10000"/>
              <a:gd name="connsiteY16" fmla="*/ 1154 h 10000"/>
              <a:gd name="connsiteX17" fmla="*/ 1143 w 10000"/>
              <a:gd name="connsiteY17" fmla="*/ 1922 h 10000"/>
              <a:gd name="connsiteX18" fmla="*/ 857 w 10000"/>
              <a:gd name="connsiteY18" fmla="*/ 1922 h 10000"/>
              <a:gd name="connsiteX19" fmla="*/ 571 w 10000"/>
              <a:gd name="connsiteY19" fmla="*/ 2308 h 10000"/>
              <a:gd name="connsiteX20" fmla="*/ 0 w 10000"/>
              <a:gd name="connsiteY20" fmla="*/ 2308 h 10000"/>
              <a:gd name="connsiteX21" fmla="*/ 0 w 10000"/>
              <a:gd name="connsiteY21" fmla="*/ 3077 h 10000"/>
              <a:gd name="connsiteX22" fmla="*/ 286 w 10000"/>
              <a:gd name="connsiteY22" fmla="*/ 3077 h 10000"/>
              <a:gd name="connsiteX23" fmla="*/ 1428 w 10000"/>
              <a:gd name="connsiteY23" fmla="*/ 5384 h 10000"/>
              <a:gd name="connsiteX24" fmla="*/ 1714 w 10000"/>
              <a:gd name="connsiteY24" fmla="*/ 5768 h 10000"/>
              <a:gd name="connsiteX25" fmla="*/ 2000 w 10000"/>
              <a:gd name="connsiteY25" fmla="*/ 6540 h 10000"/>
              <a:gd name="connsiteX26" fmla="*/ 2000 w 10000"/>
              <a:gd name="connsiteY26" fmla="*/ 7692 h 10000"/>
              <a:gd name="connsiteX0" fmla="*/ 9429 w 10000"/>
              <a:gd name="connsiteY0" fmla="*/ 8462 h 8462"/>
              <a:gd name="connsiteX1" fmla="*/ 9715 w 10000"/>
              <a:gd name="connsiteY1" fmla="*/ 8078 h 8462"/>
              <a:gd name="connsiteX2" fmla="*/ 10000 w 10000"/>
              <a:gd name="connsiteY2" fmla="*/ 8078 h 8462"/>
              <a:gd name="connsiteX3" fmla="*/ 10000 w 10000"/>
              <a:gd name="connsiteY3" fmla="*/ 7692 h 8462"/>
              <a:gd name="connsiteX4" fmla="*/ 10000 w 10000"/>
              <a:gd name="connsiteY4" fmla="*/ 7308 h 8462"/>
              <a:gd name="connsiteX5" fmla="*/ 6286 w 10000"/>
              <a:gd name="connsiteY5" fmla="*/ 2693 h 8462"/>
              <a:gd name="connsiteX6" fmla="*/ 5429 w 10000"/>
              <a:gd name="connsiteY6" fmla="*/ 2308 h 8462"/>
              <a:gd name="connsiteX7" fmla="*/ 4857 w 10000"/>
              <a:gd name="connsiteY7" fmla="*/ 2693 h 8462"/>
              <a:gd name="connsiteX8" fmla="*/ 4571 w 10000"/>
              <a:gd name="connsiteY8" fmla="*/ 2308 h 8462"/>
              <a:gd name="connsiteX9" fmla="*/ 4000 w 10000"/>
              <a:gd name="connsiteY9" fmla="*/ 1922 h 8462"/>
              <a:gd name="connsiteX10" fmla="*/ 4000 w 10000"/>
              <a:gd name="connsiteY10" fmla="*/ 1538 h 8462"/>
              <a:gd name="connsiteX11" fmla="*/ 3714 w 10000"/>
              <a:gd name="connsiteY11" fmla="*/ 1154 h 8462"/>
              <a:gd name="connsiteX12" fmla="*/ 2857 w 10000"/>
              <a:gd name="connsiteY12" fmla="*/ 384 h 8462"/>
              <a:gd name="connsiteX13" fmla="*/ 2000 w 10000"/>
              <a:gd name="connsiteY13" fmla="*/ 0 h 8462"/>
              <a:gd name="connsiteX14" fmla="*/ 1143 w 10000"/>
              <a:gd name="connsiteY14" fmla="*/ 770 h 8462"/>
              <a:gd name="connsiteX15" fmla="*/ 1428 w 10000"/>
              <a:gd name="connsiteY15" fmla="*/ 1154 h 8462"/>
              <a:gd name="connsiteX16" fmla="*/ 1143 w 10000"/>
              <a:gd name="connsiteY16" fmla="*/ 1922 h 8462"/>
              <a:gd name="connsiteX17" fmla="*/ 857 w 10000"/>
              <a:gd name="connsiteY17" fmla="*/ 1922 h 8462"/>
              <a:gd name="connsiteX18" fmla="*/ 571 w 10000"/>
              <a:gd name="connsiteY18" fmla="*/ 2308 h 8462"/>
              <a:gd name="connsiteX19" fmla="*/ 0 w 10000"/>
              <a:gd name="connsiteY19" fmla="*/ 2308 h 8462"/>
              <a:gd name="connsiteX20" fmla="*/ 0 w 10000"/>
              <a:gd name="connsiteY20" fmla="*/ 3077 h 8462"/>
              <a:gd name="connsiteX21" fmla="*/ 286 w 10000"/>
              <a:gd name="connsiteY21" fmla="*/ 3077 h 8462"/>
              <a:gd name="connsiteX22" fmla="*/ 1428 w 10000"/>
              <a:gd name="connsiteY22" fmla="*/ 5384 h 8462"/>
              <a:gd name="connsiteX23" fmla="*/ 1714 w 10000"/>
              <a:gd name="connsiteY23" fmla="*/ 5768 h 8462"/>
              <a:gd name="connsiteX24" fmla="*/ 2000 w 10000"/>
              <a:gd name="connsiteY24" fmla="*/ 6540 h 8462"/>
              <a:gd name="connsiteX25" fmla="*/ 2000 w 10000"/>
              <a:gd name="connsiteY25" fmla="*/ 7692 h 8462"/>
              <a:gd name="connsiteX0" fmla="*/ 9715 w 10000"/>
              <a:gd name="connsiteY0" fmla="*/ 9546 h 9546"/>
              <a:gd name="connsiteX1" fmla="*/ 10000 w 10000"/>
              <a:gd name="connsiteY1" fmla="*/ 9546 h 9546"/>
              <a:gd name="connsiteX2" fmla="*/ 10000 w 10000"/>
              <a:gd name="connsiteY2" fmla="*/ 9090 h 9546"/>
              <a:gd name="connsiteX3" fmla="*/ 10000 w 10000"/>
              <a:gd name="connsiteY3" fmla="*/ 8636 h 9546"/>
              <a:gd name="connsiteX4" fmla="*/ 6286 w 10000"/>
              <a:gd name="connsiteY4" fmla="*/ 3182 h 9546"/>
              <a:gd name="connsiteX5" fmla="*/ 5429 w 10000"/>
              <a:gd name="connsiteY5" fmla="*/ 2727 h 9546"/>
              <a:gd name="connsiteX6" fmla="*/ 4857 w 10000"/>
              <a:gd name="connsiteY6" fmla="*/ 3182 h 9546"/>
              <a:gd name="connsiteX7" fmla="*/ 4571 w 10000"/>
              <a:gd name="connsiteY7" fmla="*/ 2727 h 9546"/>
              <a:gd name="connsiteX8" fmla="*/ 4000 w 10000"/>
              <a:gd name="connsiteY8" fmla="*/ 2271 h 9546"/>
              <a:gd name="connsiteX9" fmla="*/ 4000 w 10000"/>
              <a:gd name="connsiteY9" fmla="*/ 1818 h 9546"/>
              <a:gd name="connsiteX10" fmla="*/ 3714 w 10000"/>
              <a:gd name="connsiteY10" fmla="*/ 1364 h 9546"/>
              <a:gd name="connsiteX11" fmla="*/ 2857 w 10000"/>
              <a:gd name="connsiteY11" fmla="*/ 454 h 9546"/>
              <a:gd name="connsiteX12" fmla="*/ 2000 w 10000"/>
              <a:gd name="connsiteY12" fmla="*/ 0 h 9546"/>
              <a:gd name="connsiteX13" fmla="*/ 1143 w 10000"/>
              <a:gd name="connsiteY13" fmla="*/ 910 h 9546"/>
              <a:gd name="connsiteX14" fmla="*/ 1428 w 10000"/>
              <a:gd name="connsiteY14" fmla="*/ 1364 h 9546"/>
              <a:gd name="connsiteX15" fmla="*/ 1143 w 10000"/>
              <a:gd name="connsiteY15" fmla="*/ 2271 h 9546"/>
              <a:gd name="connsiteX16" fmla="*/ 857 w 10000"/>
              <a:gd name="connsiteY16" fmla="*/ 2271 h 9546"/>
              <a:gd name="connsiteX17" fmla="*/ 571 w 10000"/>
              <a:gd name="connsiteY17" fmla="*/ 2727 h 9546"/>
              <a:gd name="connsiteX18" fmla="*/ 0 w 10000"/>
              <a:gd name="connsiteY18" fmla="*/ 2727 h 9546"/>
              <a:gd name="connsiteX19" fmla="*/ 0 w 10000"/>
              <a:gd name="connsiteY19" fmla="*/ 3636 h 9546"/>
              <a:gd name="connsiteX20" fmla="*/ 286 w 10000"/>
              <a:gd name="connsiteY20" fmla="*/ 3636 h 9546"/>
              <a:gd name="connsiteX21" fmla="*/ 1428 w 10000"/>
              <a:gd name="connsiteY21" fmla="*/ 6363 h 9546"/>
              <a:gd name="connsiteX22" fmla="*/ 1714 w 10000"/>
              <a:gd name="connsiteY22" fmla="*/ 6816 h 9546"/>
              <a:gd name="connsiteX23" fmla="*/ 2000 w 10000"/>
              <a:gd name="connsiteY23" fmla="*/ 7729 h 9546"/>
              <a:gd name="connsiteX24" fmla="*/ 2000 w 10000"/>
              <a:gd name="connsiteY24" fmla="*/ 9090 h 9546"/>
              <a:gd name="connsiteX0" fmla="*/ 9715 w 10000"/>
              <a:gd name="connsiteY0" fmla="*/ 10000 h 10000"/>
              <a:gd name="connsiteX1" fmla="*/ 10000 w 10000"/>
              <a:gd name="connsiteY1" fmla="*/ 9522 h 10000"/>
              <a:gd name="connsiteX2" fmla="*/ 10000 w 10000"/>
              <a:gd name="connsiteY2" fmla="*/ 9047 h 10000"/>
              <a:gd name="connsiteX3" fmla="*/ 6286 w 10000"/>
              <a:gd name="connsiteY3" fmla="*/ 3333 h 10000"/>
              <a:gd name="connsiteX4" fmla="*/ 5429 w 10000"/>
              <a:gd name="connsiteY4" fmla="*/ 2857 h 10000"/>
              <a:gd name="connsiteX5" fmla="*/ 4857 w 10000"/>
              <a:gd name="connsiteY5" fmla="*/ 3333 h 10000"/>
              <a:gd name="connsiteX6" fmla="*/ 4571 w 10000"/>
              <a:gd name="connsiteY6" fmla="*/ 2857 h 10000"/>
              <a:gd name="connsiteX7" fmla="*/ 4000 w 10000"/>
              <a:gd name="connsiteY7" fmla="*/ 2379 h 10000"/>
              <a:gd name="connsiteX8" fmla="*/ 4000 w 10000"/>
              <a:gd name="connsiteY8" fmla="*/ 1904 h 10000"/>
              <a:gd name="connsiteX9" fmla="*/ 3714 w 10000"/>
              <a:gd name="connsiteY9" fmla="*/ 1429 h 10000"/>
              <a:gd name="connsiteX10" fmla="*/ 2857 w 10000"/>
              <a:gd name="connsiteY10" fmla="*/ 476 h 10000"/>
              <a:gd name="connsiteX11" fmla="*/ 2000 w 10000"/>
              <a:gd name="connsiteY11" fmla="*/ 0 h 10000"/>
              <a:gd name="connsiteX12" fmla="*/ 1143 w 10000"/>
              <a:gd name="connsiteY12" fmla="*/ 953 h 10000"/>
              <a:gd name="connsiteX13" fmla="*/ 1428 w 10000"/>
              <a:gd name="connsiteY13" fmla="*/ 1429 h 10000"/>
              <a:gd name="connsiteX14" fmla="*/ 1143 w 10000"/>
              <a:gd name="connsiteY14" fmla="*/ 2379 h 10000"/>
              <a:gd name="connsiteX15" fmla="*/ 857 w 10000"/>
              <a:gd name="connsiteY15" fmla="*/ 2379 h 10000"/>
              <a:gd name="connsiteX16" fmla="*/ 571 w 10000"/>
              <a:gd name="connsiteY16" fmla="*/ 2857 h 10000"/>
              <a:gd name="connsiteX17" fmla="*/ 0 w 10000"/>
              <a:gd name="connsiteY17" fmla="*/ 2857 h 10000"/>
              <a:gd name="connsiteX18" fmla="*/ 0 w 10000"/>
              <a:gd name="connsiteY18" fmla="*/ 3809 h 10000"/>
              <a:gd name="connsiteX19" fmla="*/ 286 w 10000"/>
              <a:gd name="connsiteY19" fmla="*/ 3809 h 10000"/>
              <a:gd name="connsiteX20" fmla="*/ 1428 w 10000"/>
              <a:gd name="connsiteY20" fmla="*/ 6666 h 10000"/>
              <a:gd name="connsiteX21" fmla="*/ 1714 w 10000"/>
              <a:gd name="connsiteY21" fmla="*/ 7140 h 10000"/>
              <a:gd name="connsiteX22" fmla="*/ 2000 w 10000"/>
              <a:gd name="connsiteY22" fmla="*/ 8097 h 10000"/>
              <a:gd name="connsiteX23" fmla="*/ 2000 w 10000"/>
              <a:gd name="connsiteY23" fmla="*/ 9522 h 10000"/>
              <a:gd name="connsiteX0" fmla="*/ 9715 w 10000"/>
              <a:gd name="connsiteY0" fmla="*/ 10000 h 10000"/>
              <a:gd name="connsiteX1" fmla="*/ 10000 w 10000"/>
              <a:gd name="connsiteY1" fmla="*/ 9047 h 10000"/>
              <a:gd name="connsiteX2" fmla="*/ 6286 w 10000"/>
              <a:gd name="connsiteY2" fmla="*/ 3333 h 10000"/>
              <a:gd name="connsiteX3" fmla="*/ 5429 w 10000"/>
              <a:gd name="connsiteY3" fmla="*/ 2857 h 10000"/>
              <a:gd name="connsiteX4" fmla="*/ 4857 w 10000"/>
              <a:gd name="connsiteY4" fmla="*/ 3333 h 10000"/>
              <a:gd name="connsiteX5" fmla="*/ 4571 w 10000"/>
              <a:gd name="connsiteY5" fmla="*/ 2857 h 10000"/>
              <a:gd name="connsiteX6" fmla="*/ 4000 w 10000"/>
              <a:gd name="connsiteY6" fmla="*/ 2379 h 10000"/>
              <a:gd name="connsiteX7" fmla="*/ 4000 w 10000"/>
              <a:gd name="connsiteY7" fmla="*/ 1904 h 10000"/>
              <a:gd name="connsiteX8" fmla="*/ 3714 w 10000"/>
              <a:gd name="connsiteY8" fmla="*/ 1429 h 10000"/>
              <a:gd name="connsiteX9" fmla="*/ 2857 w 10000"/>
              <a:gd name="connsiteY9" fmla="*/ 476 h 10000"/>
              <a:gd name="connsiteX10" fmla="*/ 2000 w 10000"/>
              <a:gd name="connsiteY10" fmla="*/ 0 h 10000"/>
              <a:gd name="connsiteX11" fmla="*/ 1143 w 10000"/>
              <a:gd name="connsiteY11" fmla="*/ 953 h 10000"/>
              <a:gd name="connsiteX12" fmla="*/ 1428 w 10000"/>
              <a:gd name="connsiteY12" fmla="*/ 1429 h 10000"/>
              <a:gd name="connsiteX13" fmla="*/ 1143 w 10000"/>
              <a:gd name="connsiteY13" fmla="*/ 2379 h 10000"/>
              <a:gd name="connsiteX14" fmla="*/ 857 w 10000"/>
              <a:gd name="connsiteY14" fmla="*/ 2379 h 10000"/>
              <a:gd name="connsiteX15" fmla="*/ 571 w 10000"/>
              <a:gd name="connsiteY15" fmla="*/ 2857 h 10000"/>
              <a:gd name="connsiteX16" fmla="*/ 0 w 10000"/>
              <a:gd name="connsiteY16" fmla="*/ 2857 h 10000"/>
              <a:gd name="connsiteX17" fmla="*/ 0 w 10000"/>
              <a:gd name="connsiteY17" fmla="*/ 3809 h 10000"/>
              <a:gd name="connsiteX18" fmla="*/ 286 w 10000"/>
              <a:gd name="connsiteY18" fmla="*/ 3809 h 10000"/>
              <a:gd name="connsiteX19" fmla="*/ 1428 w 10000"/>
              <a:gd name="connsiteY19" fmla="*/ 6666 h 10000"/>
              <a:gd name="connsiteX20" fmla="*/ 1714 w 10000"/>
              <a:gd name="connsiteY20" fmla="*/ 7140 h 10000"/>
              <a:gd name="connsiteX21" fmla="*/ 2000 w 10000"/>
              <a:gd name="connsiteY21" fmla="*/ 8097 h 10000"/>
              <a:gd name="connsiteX22" fmla="*/ 2000 w 10000"/>
              <a:gd name="connsiteY22" fmla="*/ 9522 h 10000"/>
              <a:gd name="connsiteX0" fmla="*/ 9715 w 9715"/>
              <a:gd name="connsiteY0" fmla="*/ 10000 h 10000"/>
              <a:gd name="connsiteX1" fmla="*/ 6286 w 9715"/>
              <a:gd name="connsiteY1" fmla="*/ 3333 h 10000"/>
              <a:gd name="connsiteX2" fmla="*/ 5429 w 9715"/>
              <a:gd name="connsiteY2" fmla="*/ 2857 h 10000"/>
              <a:gd name="connsiteX3" fmla="*/ 4857 w 9715"/>
              <a:gd name="connsiteY3" fmla="*/ 3333 h 10000"/>
              <a:gd name="connsiteX4" fmla="*/ 4571 w 9715"/>
              <a:gd name="connsiteY4" fmla="*/ 2857 h 10000"/>
              <a:gd name="connsiteX5" fmla="*/ 4000 w 9715"/>
              <a:gd name="connsiteY5" fmla="*/ 2379 h 10000"/>
              <a:gd name="connsiteX6" fmla="*/ 4000 w 9715"/>
              <a:gd name="connsiteY6" fmla="*/ 1904 h 10000"/>
              <a:gd name="connsiteX7" fmla="*/ 3714 w 9715"/>
              <a:gd name="connsiteY7" fmla="*/ 1429 h 10000"/>
              <a:gd name="connsiteX8" fmla="*/ 2857 w 9715"/>
              <a:gd name="connsiteY8" fmla="*/ 476 h 10000"/>
              <a:gd name="connsiteX9" fmla="*/ 2000 w 9715"/>
              <a:gd name="connsiteY9" fmla="*/ 0 h 10000"/>
              <a:gd name="connsiteX10" fmla="*/ 1143 w 9715"/>
              <a:gd name="connsiteY10" fmla="*/ 953 h 10000"/>
              <a:gd name="connsiteX11" fmla="*/ 1428 w 9715"/>
              <a:gd name="connsiteY11" fmla="*/ 1429 h 10000"/>
              <a:gd name="connsiteX12" fmla="*/ 1143 w 9715"/>
              <a:gd name="connsiteY12" fmla="*/ 2379 h 10000"/>
              <a:gd name="connsiteX13" fmla="*/ 857 w 9715"/>
              <a:gd name="connsiteY13" fmla="*/ 2379 h 10000"/>
              <a:gd name="connsiteX14" fmla="*/ 571 w 9715"/>
              <a:gd name="connsiteY14" fmla="*/ 2857 h 10000"/>
              <a:gd name="connsiteX15" fmla="*/ 0 w 9715"/>
              <a:gd name="connsiteY15" fmla="*/ 2857 h 10000"/>
              <a:gd name="connsiteX16" fmla="*/ 0 w 9715"/>
              <a:gd name="connsiteY16" fmla="*/ 3809 h 10000"/>
              <a:gd name="connsiteX17" fmla="*/ 286 w 9715"/>
              <a:gd name="connsiteY17" fmla="*/ 3809 h 10000"/>
              <a:gd name="connsiteX18" fmla="*/ 1428 w 9715"/>
              <a:gd name="connsiteY18" fmla="*/ 6666 h 10000"/>
              <a:gd name="connsiteX19" fmla="*/ 1714 w 9715"/>
              <a:gd name="connsiteY19" fmla="*/ 7140 h 10000"/>
              <a:gd name="connsiteX20" fmla="*/ 2000 w 9715"/>
              <a:gd name="connsiteY20" fmla="*/ 8097 h 10000"/>
              <a:gd name="connsiteX21" fmla="*/ 2000 w 9715"/>
              <a:gd name="connsiteY21" fmla="*/ 9522 h 10000"/>
              <a:gd name="connsiteX0" fmla="*/ 6470 w 6470"/>
              <a:gd name="connsiteY0" fmla="*/ 3333 h 9522"/>
              <a:gd name="connsiteX1" fmla="*/ 5588 w 6470"/>
              <a:gd name="connsiteY1" fmla="*/ 2857 h 9522"/>
              <a:gd name="connsiteX2" fmla="*/ 4999 w 6470"/>
              <a:gd name="connsiteY2" fmla="*/ 3333 h 9522"/>
              <a:gd name="connsiteX3" fmla="*/ 4705 w 6470"/>
              <a:gd name="connsiteY3" fmla="*/ 2857 h 9522"/>
              <a:gd name="connsiteX4" fmla="*/ 4117 w 6470"/>
              <a:gd name="connsiteY4" fmla="*/ 2379 h 9522"/>
              <a:gd name="connsiteX5" fmla="*/ 4117 w 6470"/>
              <a:gd name="connsiteY5" fmla="*/ 1904 h 9522"/>
              <a:gd name="connsiteX6" fmla="*/ 3823 w 6470"/>
              <a:gd name="connsiteY6" fmla="*/ 1429 h 9522"/>
              <a:gd name="connsiteX7" fmla="*/ 2941 w 6470"/>
              <a:gd name="connsiteY7" fmla="*/ 476 h 9522"/>
              <a:gd name="connsiteX8" fmla="*/ 2059 w 6470"/>
              <a:gd name="connsiteY8" fmla="*/ 0 h 9522"/>
              <a:gd name="connsiteX9" fmla="*/ 1177 w 6470"/>
              <a:gd name="connsiteY9" fmla="*/ 953 h 9522"/>
              <a:gd name="connsiteX10" fmla="*/ 1470 w 6470"/>
              <a:gd name="connsiteY10" fmla="*/ 1429 h 9522"/>
              <a:gd name="connsiteX11" fmla="*/ 1177 w 6470"/>
              <a:gd name="connsiteY11" fmla="*/ 2379 h 9522"/>
              <a:gd name="connsiteX12" fmla="*/ 882 w 6470"/>
              <a:gd name="connsiteY12" fmla="*/ 2379 h 9522"/>
              <a:gd name="connsiteX13" fmla="*/ 588 w 6470"/>
              <a:gd name="connsiteY13" fmla="*/ 2857 h 9522"/>
              <a:gd name="connsiteX14" fmla="*/ 0 w 6470"/>
              <a:gd name="connsiteY14" fmla="*/ 2857 h 9522"/>
              <a:gd name="connsiteX15" fmla="*/ 0 w 6470"/>
              <a:gd name="connsiteY15" fmla="*/ 3809 h 9522"/>
              <a:gd name="connsiteX16" fmla="*/ 294 w 6470"/>
              <a:gd name="connsiteY16" fmla="*/ 3809 h 9522"/>
              <a:gd name="connsiteX17" fmla="*/ 1470 w 6470"/>
              <a:gd name="connsiteY17" fmla="*/ 6666 h 9522"/>
              <a:gd name="connsiteX18" fmla="*/ 1764 w 6470"/>
              <a:gd name="connsiteY18" fmla="*/ 7140 h 9522"/>
              <a:gd name="connsiteX19" fmla="*/ 2059 w 6470"/>
              <a:gd name="connsiteY19" fmla="*/ 8097 h 9522"/>
              <a:gd name="connsiteX20" fmla="*/ 2059 w 6470"/>
              <a:gd name="connsiteY20" fmla="*/ 9522 h 9522"/>
              <a:gd name="connsiteX0" fmla="*/ 10000 w 10000"/>
              <a:gd name="connsiteY0" fmla="*/ 3500 h 8503"/>
              <a:gd name="connsiteX1" fmla="*/ 8637 w 10000"/>
              <a:gd name="connsiteY1" fmla="*/ 3000 h 8503"/>
              <a:gd name="connsiteX2" fmla="*/ 7726 w 10000"/>
              <a:gd name="connsiteY2" fmla="*/ 3500 h 8503"/>
              <a:gd name="connsiteX3" fmla="*/ 7272 w 10000"/>
              <a:gd name="connsiteY3" fmla="*/ 3000 h 8503"/>
              <a:gd name="connsiteX4" fmla="*/ 6363 w 10000"/>
              <a:gd name="connsiteY4" fmla="*/ 2498 h 8503"/>
              <a:gd name="connsiteX5" fmla="*/ 6363 w 10000"/>
              <a:gd name="connsiteY5" fmla="*/ 2000 h 8503"/>
              <a:gd name="connsiteX6" fmla="*/ 5909 w 10000"/>
              <a:gd name="connsiteY6" fmla="*/ 1501 h 8503"/>
              <a:gd name="connsiteX7" fmla="*/ 4546 w 10000"/>
              <a:gd name="connsiteY7" fmla="*/ 500 h 8503"/>
              <a:gd name="connsiteX8" fmla="*/ 3182 w 10000"/>
              <a:gd name="connsiteY8" fmla="*/ 0 h 8503"/>
              <a:gd name="connsiteX9" fmla="*/ 1819 w 10000"/>
              <a:gd name="connsiteY9" fmla="*/ 1001 h 8503"/>
              <a:gd name="connsiteX10" fmla="*/ 2272 w 10000"/>
              <a:gd name="connsiteY10" fmla="*/ 1501 h 8503"/>
              <a:gd name="connsiteX11" fmla="*/ 1819 w 10000"/>
              <a:gd name="connsiteY11" fmla="*/ 2498 h 8503"/>
              <a:gd name="connsiteX12" fmla="*/ 1363 w 10000"/>
              <a:gd name="connsiteY12" fmla="*/ 2498 h 8503"/>
              <a:gd name="connsiteX13" fmla="*/ 909 w 10000"/>
              <a:gd name="connsiteY13" fmla="*/ 3000 h 8503"/>
              <a:gd name="connsiteX14" fmla="*/ 0 w 10000"/>
              <a:gd name="connsiteY14" fmla="*/ 3000 h 8503"/>
              <a:gd name="connsiteX15" fmla="*/ 0 w 10000"/>
              <a:gd name="connsiteY15" fmla="*/ 4000 h 8503"/>
              <a:gd name="connsiteX16" fmla="*/ 454 w 10000"/>
              <a:gd name="connsiteY16" fmla="*/ 4000 h 8503"/>
              <a:gd name="connsiteX17" fmla="*/ 2272 w 10000"/>
              <a:gd name="connsiteY17" fmla="*/ 7001 h 8503"/>
              <a:gd name="connsiteX18" fmla="*/ 2726 w 10000"/>
              <a:gd name="connsiteY18" fmla="*/ 7498 h 8503"/>
              <a:gd name="connsiteX19" fmla="*/ 3182 w 10000"/>
              <a:gd name="connsiteY19" fmla="*/ 8503 h 8503"/>
              <a:gd name="connsiteX0" fmla="*/ 10000 w 10000"/>
              <a:gd name="connsiteY0" fmla="*/ 4116 h 8818"/>
              <a:gd name="connsiteX1" fmla="*/ 8637 w 10000"/>
              <a:gd name="connsiteY1" fmla="*/ 3528 h 8818"/>
              <a:gd name="connsiteX2" fmla="*/ 7726 w 10000"/>
              <a:gd name="connsiteY2" fmla="*/ 4116 h 8818"/>
              <a:gd name="connsiteX3" fmla="*/ 7272 w 10000"/>
              <a:gd name="connsiteY3" fmla="*/ 3528 h 8818"/>
              <a:gd name="connsiteX4" fmla="*/ 6363 w 10000"/>
              <a:gd name="connsiteY4" fmla="*/ 2938 h 8818"/>
              <a:gd name="connsiteX5" fmla="*/ 6363 w 10000"/>
              <a:gd name="connsiteY5" fmla="*/ 2352 h 8818"/>
              <a:gd name="connsiteX6" fmla="*/ 5909 w 10000"/>
              <a:gd name="connsiteY6" fmla="*/ 1765 h 8818"/>
              <a:gd name="connsiteX7" fmla="*/ 4546 w 10000"/>
              <a:gd name="connsiteY7" fmla="*/ 588 h 8818"/>
              <a:gd name="connsiteX8" fmla="*/ 3182 w 10000"/>
              <a:gd name="connsiteY8" fmla="*/ 0 h 8818"/>
              <a:gd name="connsiteX9" fmla="*/ 1819 w 10000"/>
              <a:gd name="connsiteY9" fmla="*/ 1177 h 8818"/>
              <a:gd name="connsiteX10" fmla="*/ 2272 w 10000"/>
              <a:gd name="connsiteY10" fmla="*/ 1765 h 8818"/>
              <a:gd name="connsiteX11" fmla="*/ 1819 w 10000"/>
              <a:gd name="connsiteY11" fmla="*/ 2938 h 8818"/>
              <a:gd name="connsiteX12" fmla="*/ 1363 w 10000"/>
              <a:gd name="connsiteY12" fmla="*/ 2938 h 8818"/>
              <a:gd name="connsiteX13" fmla="*/ 909 w 10000"/>
              <a:gd name="connsiteY13" fmla="*/ 3528 h 8818"/>
              <a:gd name="connsiteX14" fmla="*/ 0 w 10000"/>
              <a:gd name="connsiteY14" fmla="*/ 3528 h 8818"/>
              <a:gd name="connsiteX15" fmla="*/ 0 w 10000"/>
              <a:gd name="connsiteY15" fmla="*/ 4704 h 8818"/>
              <a:gd name="connsiteX16" fmla="*/ 454 w 10000"/>
              <a:gd name="connsiteY16" fmla="*/ 4704 h 8818"/>
              <a:gd name="connsiteX17" fmla="*/ 2272 w 10000"/>
              <a:gd name="connsiteY17" fmla="*/ 8234 h 8818"/>
              <a:gd name="connsiteX18" fmla="*/ 2726 w 10000"/>
              <a:gd name="connsiteY18" fmla="*/ 8818 h 8818"/>
              <a:gd name="connsiteX0" fmla="*/ 10000 w 10000"/>
              <a:gd name="connsiteY0" fmla="*/ 4668 h 9338"/>
              <a:gd name="connsiteX1" fmla="*/ 8637 w 10000"/>
              <a:gd name="connsiteY1" fmla="*/ 4001 h 9338"/>
              <a:gd name="connsiteX2" fmla="*/ 7726 w 10000"/>
              <a:gd name="connsiteY2" fmla="*/ 4668 h 9338"/>
              <a:gd name="connsiteX3" fmla="*/ 7272 w 10000"/>
              <a:gd name="connsiteY3" fmla="*/ 4001 h 9338"/>
              <a:gd name="connsiteX4" fmla="*/ 6363 w 10000"/>
              <a:gd name="connsiteY4" fmla="*/ 3332 h 9338"/>
              <a:gd name="connsiteX5" fmla="*/ 6363 w 10000"/>
              <a:gd name="connsiteY5" fmla="*/ 2667 h 9338"/>
              <a:gd name="connsiteX6" fmla="*/ 5909 w 10000"/>
              <a:gd name="connsiteY6" fmla="*/ 2002 h 9338"/>
              <a:gd name="connsiteX7" fmla="*/ 4546 w 10000"/>
              <a:gd name="connsiteY7" fmla="*/ 667 h 9338"/>
              <a:gd name="connsiteX8" fmla="*/ 3182 w 10000"/>
              <a:gd name="connsiteY8" fmla="*/ 0 h 9338"/>
              <a:gd name="connsiteX9" fmla="*/ 1819 w 10000"/>
              <a:gd name="connsiteY9" fmla="*/ 1335 h 9338"/>
              <a:gd name="connsiteX10" fmla="*/ 2272 w 10000"/>
              <a:gd name="connsiteY10" fmla="*/ 2002 h 9338"/>
              <a:gd name="connsiteX11" fmla="*/ 1819 w 10000"/>
              <a:gd name="connsiteY11" fmla="*/ 3332 h 9338"/>
              <a:gd name="connsiteX12" fmla="*/ 1363 w 10000"/>
              <a:gd name="connsiteY12" fmla="*/ 3332 h 9338"/>
              <a:gd name="connsiteX13" fmla="*/ 909 w 10000"/>
              <a:gd name="connsiteY13" fmla="*/ 4001 h 9338"/>
              <a:gd name="connsiteX14" fmla="*/ 0 w 10000"/>
              <a:gd name="connsiteY14" fmla="*/ 4001 h 9338"/>
              <a:gd name="connsiteX15" fmla="*/ 0 w 10000"/>
              <a:gd name="connsiteY15" fmla="*/ 5335 h 9338"/>
              <a:gd name="connsiteX16" fmla="*/ 454 w 10000"/>
              <a:gd name="connsiteY16" fmla="*/ 5335 h 9338"/>
              <a:gd name="connsiteX17" fmla="*/ 2272 w 10000"/>
              <a:gd name="connsiteY17" fmla="*/ 9338 h 9338"/>
              <a:gd name="connsiteX0" fmla="*/ 10000 w 10000"/>
              <a:gd name="connsiteY0" fmla="*/ 4999 h 5713"/>
              <a:gd name="connsiteX1" fmla="*/ 8637 w 10000"/>
              <a:gd name="connsiteY1" fmla="*/ 4285 h 5713"/>
              <a:gd name="connsiteX2" fmla="*/ 7726 w 10000"/>
              <a:gd name="connsiteY2" fmla="*/ 4999 h 5713"/>
              <a:gd name="connsiteX3" fmla="*/ 7272 w 10000"/>
              <a:gd name="connsiteY3" fmla="*/ 4285 h 5713"/>
              <a:gd name="connsiteX4" fmla="*/ 6363 w 10000"/>
              <a:gd name="connsiteY4" fmla="*/ 3568 h 5713"/>
              <a:gd name="connsiteX5" fmla="*/ 6363 w 10000"/>
              <a:gd name="connsiteY5" fmla="*/ 2856 h 5713"/>
              <a:gd name="connsiteX6" fmla="*/ 5909 w 10000"/>
              <a:gd name="connsiteY6" fmla="*/ 2144 h 5713"/>
              <a:gd name="connsiteX7" fmla="*/ 4546 w 10000"/>
              <a:gd name="connsiteY7" fmla="*/ 714 h 5713"/>
              <a:gd name="connsiteX8" fmla="*/ 3182 w 10000"/>
              <a:gd name="connsiteY8" fmla="*/ 0 h 5713"/>
              <a:gd name="connsiteX9" fmla="*/ 1819 w 10000"/>
              <a:gd name="connsiteY9" fmla="*/ 1430 h 5713"/>
              <a:gd name="connsiteX10" fmla="*/ 2272 w 10000"/>
              <a:gd name="connsiteY10" fmla="*/ 2144 h 5713"/>
              <a:gd name="connsiteX11" fmla="*/ 1819 w 10000"/>
              <a:gd name="connsiteY11" fmla="*/ 3568 h 5713"/>
              <a:gd name="connsiteX12" fmla="*/ 1363 w 10000"/>
              <a:gd name="connsiteY12" fmla="*/ 3568 h 5713"/>
              <a:gd name="connsiteX13" fmla="*/ 909 w 10000"/>
              <a:gd name="connsiteY13" fmla="*/ 4285 h 5713"/>
              <a:gd name="connsiteX14" fmla="*/ 0 w 10000"/>
              <a:gd name="connsiteY14" fmla="*/ 4285 h 5713"/>
              <a:gd name="connsiteX15" fmla="*/ 0 w 10000"/>
              <a:gd name="connsiteY15" fmla="*/ 5713 h 5713"/>
              <a:gd name="connsiteX16" fmla="*/ 454 w 10000"/>
              <a:gd name="connsiteY16" fmla="*/ 5713 h 5713"/>
              <a:gd name="connsiteX0" fmla="*/ 10000 w 10000"/>
              <a:gd name="connsiteY0" fmla="*/ 8750 h 10000"/>
              <a:gd name="connsiteX1" fmla="*/ 8637 w 10000"/>
              <a:gd name="connsiteY1" fmla="*/ 7500 h 10000"/>
              <a:gd name="connsiteX2" fmla="*/ 7726 w 10000"/>
              <a:gd name="connsiteY2" fmla="*/ 8750 h 10000"/>
              <a:gd name="connsiteX3" fmla="*/ 7272 w 10000"/>
              <a:gd name="connsiteY3" fmla="*/ 7500 h 10000"/>
              <a:gd name="connsiteX4" fmla="*/ 6363 w 10000"/>
              <a:gd name="connsiteY4" fmla="*/ 6245 h 10000"/>
              <a:gd name="connsiteX5" fmla="*/ 6363 w 10000"/>
              <a:gd name="connsiteY5" fmla="*/ 4999 h 10000"/>
              <a:gd name="connsiteX6" fmla="*/ 5909 w 10000"/>
              <a:gd name="connsiteY6" fmla="*/ 3753 h 10000"/>
              <a:gd name="connsiteX7" fmla="*/ 4546 w 10000"/>
              <a:gd name="connsiteY7" fmla="*/ 1250 h 10000"/>
              <a:gd name="connsiteX8" fmla="*/ 3182 w 10000"/>
              <a:gd name="connsiteY8" fmla="*/ 0 h 10000"/>
              <a:gd name="connsiteX9" fmla="*/ 1819 w 10000"/>
              <a:gd name="connsiteY9" fmla="*/ 2503 h 10000"/>
              <a:gd name="connsiteX10" fmla="*/ 2272 w 10000"/>
              <a:gd name="connsiteY10" fmla="*/ 3753 h 10000"/>
              <a:gd name="connsiteX11" fmla="*/ 1819 w 10000"/>
              <a:gd name="connsiteY11" fmla="*/ 6245 h 10000"/>
              <a:gd name="connsiteX12" fmla="*/ 1363 w 10000"/>
              <a:gd name="connsiteY12" fmla="*/ 6245 h 10000"/>
              <a:gd name="connsiteX13" fmla="*/ 909 w 10000"/>
              <a:gd name="connsiteY13" fmla="*/ 7500 h 10000"/>
              <a:gd name="connsiteX14" fmla="*/ 0 w 10000"/>
              <a:gd name="connsiteY14" fmla="*/ 7500 h 10000"/>
              <a:gd name="connsiteX15" fmla="*/ 0 w 10000"/>
              <a:gd name="connsiteY15" fmla="*/ 10000 h 10000"/>
              <a:gd name="connsiteX0" fmla="*/ 10000 w 10000"/>
              <a:gd name="connsiteY0" fmla="*/ 8750 h 8750"/>
              <a:gd name="connsiteX1" fmla="*/ 8637 w 10000"/>
              <a:gd name="connsiteY1" fmla="*/ 7500 h 8750"/>
              <a:gd name="connsiteX2" fmla="*/ 7726 w 10000"/>
              <a:gd name="connsiteY2" fmla="*/ 8750 h 8750"/>
              <a:gd name="connsiteX3" fmla="*/ 7272 w 10000"/>
              <a:gd name="connsiteY3" fmla="*/ 7500 h 8750"/>
              <a:gd name="connsiteX4" fmla="*/ 6363 w 10000"/>
              <a:gd name="connsiteY4" fmla="*/ 6245 h 8750"/>
              <a:gd name="connsiteX5" fmla="*/ 6363 w 10000"/>
              <a:gd name="connsiteY5" fmla="*/ 4999 h 8750"/>
              <a:gd name="connsiteX6" fmla="*/ 5909 w 10000"/>
              <a:gd name="connsiteY6" fmla="*/ 3753 h 8750"/>
              <a:gd name="connsiteX7" fmla="*/ 4546 w 10000"/>
              <a:gd name="connsiteY7" fmla="*/ 1250 h 8750"/>
              <a:gd name="connsiteX8" fmla="*/ 3182 w 10000"/>
              <a:gd name="connsiteY8" fmla="*/ 0 h 8750"/>
              <a:gd name="connsiteX9" fmla="*/ 1819 w 10000"/>
              <a:gd name="connsiteY9" fmla="*/ 2503 h 8750"/>
              <a:gd name="connsiteX10" fmla="*/ 2272 w 10000"/>
              <a:gd name="connsiteY10" fmla="*/ 3753 h 8750"/>
              <a:gd name="connsiteX11" fmla="*/ 1819 w 10000"/>
              <a:gd name="connsiteY11" fmla="*/ 6245 h 8750"/>
              <a:gd name="connsiteX12" fmla="*/ 1363 w 10000"/>
              <a:gd name="connsiteY12" fmla="*/ 6245 h 8750"/>
              <a:gd name="connsiteX13" fmla="*/ 909 w 10000"/>
              <a:gd name="connsiteY13" fmla="*/ 7500 h 8750"/>
              <a:gd name="connsiteX14" fmla="*/ 0 w 10000"/>
              <a:gd name="connsiteY14" fmla="*/ 7500 h 8750"/>
              <a:gd name="connsiteX0" fmla="*/ 8637 w 8637"/>
              <a:gd name="connsiteY0" fmla="*/ 8571 h 10000"/>
              <a:gd name="connsiteX1" fmla="*/ 7726 w 8637"/>
              <a:gd name="connsiteY1" fmla="*/ 10000 h 10000"/>
              <a:gd name="connsiteX2" fmla="*/ 7272 w 8637"/>
              <a:gd name="connsiteY2" fmla="*/ 8571 h 10000"/>
              <a:gd name="connsiteX3" fmla="*/ 6363 w 8637"/>
              <a:gd name="connsiteY3" fmla="*/ 7137 h 10000"/>
              <a:gd name="connsiteX4" fmla="*/ 6363 w 8637"/>
              <a:gd name="connsiteY4" fmla="*/ 5713 h 10000"/>
              <a:gd name="connsiteX5" fmla="*/ 5909 w 8637"/>
              <a:gd name="connsiteY5" fmla="*/ 4289 h 10000"/>
              <a:gd name="connsiteX6" fmla="*/ 4546 w 8637"/>
              <a:gd name="connsiteY6" fmla="*/ 1429 h 10000"/>
              <a:gd name="connsiteX7" fmla="*/ 3182 w 8637"/>
              <a:gd name="connsiteY7" fmla="*/ 0 h 10000"/>
              <a:gd name="connsiteX8" fmla="*/ 1819 w 8637"/>
              <a:gd name="connsiteY8" fmla="*/ 2861 h 10000"/>
              <a:gd name="connsiteX9" fmla="*/ 2272 w 8637"/>
              <a:gd name="connsiteY9" fmla="*/ 4289 h 10000"/>
              <a:gd name="connsiteX10" fmla="*/ 1819 w 8637"/>
              <a:gd name="connsiteY10" fmla="*/ 7137 h 10000"/>
              <a:gd name="connsiteX11" fmla="*/ 1363 w 8637"/>
              <a:gd name="connsiteY11" fmla="*/ 7137 h 10000"/>
              <a:gd name="connsiteX12" fmla="*/ 909 w 8637"/>
              <a:gd name="connsiteY12" fmla="*/ 8571 h 10000"/>
              <a:gd name="connsiteX13" fmla="*/ 0 w 8637"/>
              <a:gd name="connsiteY13" fmla="*/ 8571 h 10000"/>
              <a:gd name="connsiteX0" fmla="*/ 8945 w 8945"/>
              <a:gd name="connsiteY0" fmla="*/ 10000 h 10000"/>
              <a:gd name="connsiteX1" fmla="*/ 8420 w 8945"/>
              <a:gd name="connsiteY1" fmla="*/ 8571 h 10000"/>
              <a:gd name="connsiteX2" fmla="*/ 7367 w 8945"/>
              <a:gd name="connsiteY2" fmla="*/ 7137 h 10000"/>
              <a:gd name="connsiteX3" fmla="*/ 7367 w 8945"/>
              <a:gd name="connsiteY3" fmla="*/ 5713 h 10000"/>
              <a:gd name="connsiteX4" fmla="*/ 6841 w 8945"/>
              <a:gd name="connsiteY4" fmla="*/ 4289 h 10000"/>
              <a:gd name="connsiteX5" fmla="*/ 5263 w 8945"/>
              <a:gd name="connsiteY5" fmla="*/ 1429 h 10000"/>
              <a:gd name="connsiteX6" fmla="*/ 3684 w 8945"/>
              <a:gd name="connsiteY6" fmla="*/ 0 h 10000"/>
              <a:gd name="connsiteX7" fmla="*/ 2106 w 8945"/>
              <a:gd name="connsiteY7" fmla="*/ 2861 h 10000"/>
              <a:gd name="connsiteX8" fmla="*/ 2631 w 8945"/>
              <a:gd name="connsiteY8" fmla="*/ 4289 h 10000"/>
              <a:gd name="connsiteX9" fmla="*/ 2106 w 8945"/>
              <a:gd name="connsiteY9" fmla="*/ 7137 h 10000"/>
              <a:gd name="connsiteX10" fmla="*/ 1578 w 8945"/>
              <a:gd name="connsiteY10" fmla="*/ 7137 h 10000"/>
              <a:gd name="connsiteX11" fmla="*/ 1052 w 8945"/>
              <a:gd name="connsiteY11" fmla="*/ 8571 h 10000"/>
              <a:gd name="connsiteX12" fmla="*/ 0 w 8945"/>
              <a:gd name="connsiteY12" fmla="*/ 8571 h 10000"/>
              <a:gd name="connsiteX0" fmla="*/ 9413 w 9413"/>
              <a:gd name="connsiteY0" fmla="*/ 8571 h 8571"/>
              <a:gd name="connsiteX1" fmla="*/ 8236 w 9413"/>
              <a:gd name="connsiteY1" fmla="*/ 7137 h 8571"/>
              <a:gd name="connsiteX2" fmla="*/ 8236 w 9413"/>
              <a:gd name="connsiteY2" fmla="*/ 5713 h 8571"/>
              <a:gd name="connsiteX3" fmla="*/ 7648 w 9413"/>
              <a:gd name="connsiteY3" fmla="*/ 4289 h 8571"/>
              <a:gd name="connsiteX4" fmla="*/ 5884 w 9413"/>
              <a:gd name="connsiteY4" fmla="*/ 1429 h 8571"/>
              <a:gd name="connsiteX5" fmla="*/ 4119 w 9413"/>
              <a:gd name="connsiteY5" fmla="*/ 0 h 8571"/>
              <a:gd name="connsiteX6" fmla="*/ 2354 w 9413"/>
              <a:gd name="connsiteY6" fmla="*/ 2861 h 8571"/>
              <a:gd name="connsiteX7" fmla="*/ 2941 w 9413"/>
              <a:gd name="connsiteY7" fmla="*/ 4289 h 8571"/>
              <a:gd name="connsiteX8" fmla="*/ 2354 w 9413"/>
              <a:gd name="connsiteY8" fmla="*/ 7137 h 8571"/>
              <a:gd name="connsiteX9" fmla="*/ 1764 w 9413"/>
              <a:gd name="connsiteY9" fmla="*/ 7137 h 8571"/>
              <a:gd name="connsiteX10" fmla="*/ 1176 w 9413"/>
              <a:gd name="connsiteY10" fmla="*/ 8571 h 8571"/>
              <a:gd name="connsiteX11" fmla="*/ 0 w 9413"/>
              <a:gd name="connsiteY11" fmla="*/ 8571 h 8571"/>
              <a:gd name="connsiteX0" fmla="*/ 10367 w 10367"/>
              <a:gd name="connsiteY0" fmla="*/ 11188 h 11188"/>
              <a:gd name="connsiteX1" fmla="*/ 8750 w 10367"/>
              <a:gd name="connsiteY1" fmla="*/ 8327 h 11188"/>
              <a:gd name="connsiteX2" fmla="*/ 8750 w 10367"/>
              <a:gd name="connsiteY2" fmla="*/ 6665 h 11188"/>
              <a:gd name="connsiteX3" fmla="*/ 8125 w 10367"/>
              <a:gd name="connsiteY3" fmla="*/ 5004 h 11188"/>
              <a:gd name="connsiteX4" fmla="*/ 6251 w 10367"/>
              <a:gd name="connsiteY4" fmla="*/ 1667 h 11188"/>
              <a:gd name="connsiteX5" fmla="*/ 4376 w 10367"/>
              <a:gd name="connsiteY5" fmla="*/ 0 h 11188"/>
              <a:gd name="connsiteX6" fmla="*/ 2501 w 10367"/>
              <a:gd name="connsiteY6" fmla="*/ 3338 h 11188"/>
              <a:gd name="connsiteX7" fmla="*/ 3124 w 10367"/>
              <a:gd name="connsiteY7" fmla="*/ 5004 h 11188"/>
              <a:gd name="connsiteX8" fmla="*/ 2501 w 10367"/>
              <a:gd name="connsiteY8" fmla="*/ 8327 h 11188"/>
              <a:gd name="connsiteX9" fmla="*/ 1874 w 10367"/>
              <a:gd name="connsiteY9" fmla="*/ 8327 h 11188"/>
              <a:gd name="connsiteX10" fmla="*/ 1249 w 10367"/>
              <a:gd name="connsiteY10" fmla="*/ 10000 h 11188"/>
              <a:gd name="connsiteX11" fmla="*/ 0 w 10367"/>
              <a:gd name="connsiteY11" fmla="*/ 10000 h 11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367" h="11188">
                <a:moveTo>
                  <a:pt x="10367" y="11188"/>
                </a:moveTo>
                <a:lnTo>
                  <a:pt x="8750" y="8327"/>
                </a:lnTo>
                <a:lnTo>
                  <a:pt x="8750" y="6665"/>
                </a:lnTo>
                <a:lnTo>
                  <a:pt x="8125" y="5004"/>
                </a:lnTo>
                <a:lnTo>
                  <a:pt x="6251" y="1667"/>
                </a:lnTo>
                <a:lnTo>
                  <a:pt x="4376" y="0"/>
                </a:lnTo>
                <a:lnTo>
                  <a:pt x="2501" y="3338"/>
                </a:lnTo>
                <a:lnTo>
                  <a:pt x="3124" y="5004"/>
                </a:lnTo>
                <a:lnTo>
                  <a:pt x="2501" y="8327"/>
                </a:lnTo>
                <a:lnTo>
                  <a:pt x="1874" y="8327"/>
                </a:lnTo>
                <a:lnTo>
                  <a:pt x="1249" y="10000"/>
                </a:lnTo>
                <a:lnTo>
                  <a:pt x="0" y="1000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5" name="Freeform 122">
            <a:extLst>
              <a:ext uri="{FF2B5EF4-FFF2-40B4-BE49-F238E27FC236}">
                <a16:creationId xmlns:a16="http://schemas.microsoft.com/office/drawing/2014/main" id="{1A3D0BA4-07A8-46C6-8140-A92AC5EC03A9}"/>
              </a:ext>
            </a:extLst>
          </p:cNvPr>
          <p:cNvSpPr>
            <a:spLocks/>
          </p:cNvSpPr>
          <p:nvPr/>
        </p:nvSpPr>
        <p:spPr bwMode="gray">
          <a:xfrm>
            <a:off x="659722" y="4153695"/>
            <a:ext cx="458306" cy="376364"/>
          </a:xfrm>
          <a:custGeom>
            <a:avLst/>
            <a:gdLst>
              <a:gd name="T0" fmla="*/ 2147483647 w 153"/>
              <a:gd name="T1" fmla="*/ 2147483647 h 121"/>
              <a:gd name="T2" fmla="*/ 2147483647 w 153"/>
              <a:gd name="T3" fmla="*/ 2147483647 h 121"/>
              <a:gd name="T4" fmla="*/ 2147483647 w 153"/>
              <a:gd name="T5" fmla="*/ 2147483647 h 121"/>
              <a:gd name="T6" fmla="*/ 2147483647 w 153"/>
              <a:gd name="T7" fmla="*/ 2147483647 h 121"/>
              <a:gd name="T8" fmla="*/ 2147483647 w 153"/>
              <a:gd name="T9" fmla="*/ 2147483647 h 121"/>
              <a:gd name="T10" fmla="*/ 2147483647 w 153"/>
              <a:gd name="T11" fmla="*/ 2147483647 h 121"/>
              <a:gd name="T12" fmla="*/ 2147483647 w 153"/>
              <a:gd name="T13" fmla="*/ 2147483647 h 121"/>
              <a:gd name="T14" fmla="*/ 2147483647 w 153"/>
              <a:gd name="T15" fmla="*/ 2147483647 h 121"/>
              <a:gd name="T16" fmla="*/ 2147483647 w 153"/>
              <a:gd name="T17" fmla="*/ 2147483647 h 121"/>
              <a:gd name="T18" fmla="*/ 2147483647 w 153"/>
              <a:gd name="T19" fmla="*/ 2147483647 h 121"/>
              <a:gd name="T20" fmla="*/ 0 w 153"/>
              <a:gd name="T21" fmla="*/ 2147483647 h 121"/>
              <a:gd name="T22" fmla="*/ 2147483647 w 153"/>
              <a:gd name="T23" fmla="*/ 2147483647 h 121"/>
              <a:gd name="T24" fmla="*/ 2147483647 w 153"/>
              <a:gd name="T25" fmla="*/ 2147483647 h 121"/>
              <a:gd name="T26" fmla="*/ 2147483647 w 153"/>
              <a:gd name="T27" fmla="*/ 2147483647 h 121"/>
              <a:gd name="T28" fmla="*/ 2147483647 w 153"/>
              <a:gd name="T29" fmla="*/ 2147483647 h 121"/>
              <a:gd name="T30" fmla="*/ 2147483647 w 153"/>
              <a:gd name="T31" fmla="*/ 2147483647 h 121"/>
              <a:gd name="T32" fmla="*/ 2147483647 w 153"/>
              <a:gd name="T33" fmla="*/ 2147483647 h 121"/>
              <a:gd name="T34" fmla="*/ 2147483647 w 153"/>
              <a:gd name="T35" fmla="*/ 2147483647 h 121"/>
              <a:gd name="T36" fmla="*/ 2147483647 w 153"/>
              <a:gd name="T37" fmla="*/ 0 h 121"/>
              <a:gd name="T38" fmla="*/ 2147483647 w 153"/>
              <a:gd name="T39" fmla="*/ 0 h 121"/>
              <a:gd name="T40" fmla="*/ 2147483647 w 153"/>
              <a:gd name="T41" fmla="*/ 2147483647 h 121"/>
              <a:gd name="T42" fmla="*/ 2147483647 w 153"/>
              <a:gd name="T43" fmla="*/ 2147483647 h 121"/>
              <a:gd name="T44" fmla="*/ 2147483647 w 153"/>
              <a:gd name="T45" fmla="*/ 2147483647 h 12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53"/>
              <a:gd name="T70" fmla="*/ 0 h 121"/>
              <a:gd name="T71" fmla="*/ 153 w 153"/>
              <a:gd name="T72" fmla="*/ 121 h 121"/>
              <a:gd name="connsiteX0" fmla="*/ 8889 w 9935"/>
              <a:gd name="connsiteY0" fmla="*/ 661 h 9256"/>
              <a:gd name="connsiteX1" fmla="*/ 8889 w 9935"/>
              <a:gd name="connsiteY1" fmla="*/ 661 h 9256"/>
              <a:gd name="connsiteX2" fmla="*/ 9412 w 9935"/>
              <a:gd name="connsiteY2" fmla="*/ 661 h 9256"/>
              <a:gd name="connsiteX3" fmla="*/ 9935 w 9935"/>
              <a:gd name="connsiteY3" fmla="*/ 3967 h 9256"/>
              <a:gd name="connsiteX4" fmla="*/ 7843 w 9935"/>
              <a:gd name="connsiteY4" fmla="*/ 4628 h 9256"/>
              <a:gd name="connsiteX5" fmla="*/ 7843 w 9935"/>
              <a:gd name="connsiteY5" fmla="*/ 5289 h 9256"/>
              <a:gd name="connsiteX6" fmla="*/ 6275 w 9935"/>
              <a:gd name="connsiteY6" fmla="*/ 6612 h 9256"/>
              <a:gd name="connsiteX7" fmla="*/ 4183 w 9935"/>
              <a:gd name="connsiteY7" fmla="*/ 7934 h 9256"/>
              <a:gd name="connsiteX8" fmla="*/ 3660 w 9935"/>
              <a:gd name="connsiteY8" fmla="*/ 8595 h 9256"/>
              <a:gd name="connsiteX9" fmla="*/ 0 w 9935"/>
              <a:gd name="connsiteY9" fmla="*/ 9256 h 9256"/>
              <a:gd name="connsiteX10" fmla="*/ 1046 w 9935"/>
              <a:gd name="connsiteY10" fmla="*/ 9256 h 9256"/>
              <a:gd name="connsiteX11" fmla="*/ 2092 w 9935"/>
              <a:gd name="connsiteY11" fmla="*/ 7934 h 9256"/>
              <a:gd name="connsiteX12" fmla="*/ 2614 w 9935"/>
              <a:gd name="connsiteY12" fmla="*/ 6612 h 9256"/>
              <a:gd name="connsiteX13" fmla="*/ 2614 w 9935"/>
              <a:gd name="connsiteY13" fmla="*/ 5289 h 9256"/>
              <a:gd name="connsiteX14" fmla="*/ 3137 w 9935"/>
              <a:gd name="connsiteY14" fmla="*/ 3967 h 9256"/>
              <a:gd name="connsiteX15" fmla="*/ 3660 w 9935"/>
              <a:gd name="connsiteY15" fmla="*/ 2645 h 9256"/>
              <a:gd name="connsiteX16" fmla="*/ 5229 w 9935"/>
              <a:gd name="connsiteY16" fmla="*/ 1983 h 9256"/>
              <a:gd name="connsiteX17" fmla="*/ 5752 w 9935"/>
              <a:gd name="connsiteY17" fmla="*/ 0 h 9256"/>
              <a:gd name="connsiteX18" fmla="*/ 6275 w 9935"/>
              <a:gd name="connsiteY18" fmla="*/ 0 h 9256"/>
              <a:gd name="connsiteX19" fmla="*/ 6797 w 9935"/>
              <a:gd name="connsiteY19" fmla="*/ 661 h 9256"/>
              <a:gd name="connsiteX20" fmla="*/ 8366 w 9935"/>
              <a:gd name="connsiteY20" fmla="*/ 661 h 9256"/>
              <a:gd name="connsiteX21" fmla="*/ 8889 w 9935"/>
              <a:gd name="connsiteY21" fmla="*/ 661 h 9256"/>
              <a:gd name="connsiteX0" fmla="*/ 8947 w 10000"/>
              <a:gd name="connsiteY0" fmla="*/ 714 h 10000"/>
              <a:gd name="connsiteX1" fmla="*/ 8947 w 10000"/>
              <a:gd name="connsiteY1" fmla="*/ 714 h 10000"/>
              <a:gd name="connsiteX2" fmla="*/ 9474 w 10000"/>
              <a:gd name="connsiteY2" fmla="*/ 714 h 10000"/>
              <a:gd name="connsiteX3" fmla="*/ 10000 w 10000"/>
              <a:gd name="connsiteY3" fmla="*/ 4286 h 10000"/>
              <a:gd name="connsiteX4" fmla="*/ 7894 w 10000"/>
              <a:gd name="connsiteY4" fmla="*/ 5000 h 10000"/>
              <a:gd name="connsiteX5" fmla="*/ 7894 w 10000"/>
              <a:gd name="connsiteY5" fmla="*/ 5714 h 10000"/>
              <a:gd name="connsiteX6" fmla="*/ 6316 w 10000"/>
              <a:gd name="connsiteY6" fmla="*/ 7143 h 10000"/>
              <a:gd name="connsiteX7" fmla="*/ 4210 w 10000"/>
              <a:gd name="connsiteY7" fmla="*/ 8572 h 10000"/>
              <a:gd name="connsiteX8" fmla="*/ 3684 w 10000"/>
              <a:gd name="connsiteY8" fmla="*/ 9286 h 10000"/>
              <a:gd name="connsiteX9" fmla="*/ 0 w 10000"/>
              <a:gd name="connsiteY9" fmla="*/ 10000 h 10000"/>
              <a:gd name="connsiteX10" fmla="*/ 2106 w 10000"/>
              <a:gd name="connsiteY10" fmla="*/ 8572 h 10000"/>
              <a:gd name="connsiteX11" fmla="*/ 2631 w 10000"/>
              <a:gd name="connsiteY11" fmla="*/ 7143 h 10000"/>
              <a:gd name="connsiteX12" fmla="*/ 2631 w 10000"/>
              <a:gd name="connsiteY12" fmla="*/ 5714 h 10000"/>
              <a:gd name="connsiteX13" fmla="*/ 3158 w 10000"/>
              <a:gd name="connsiteY13" fmla="*/ 4286 h 10000"/>
              <a:gd name="connsiteX14" fmla="*/ 3684 w 10000"/>
              <a:gd name="connsiteY14" fmla="*/ 2858 h 10000"/>
              <a:gd name="connsiteX15" fmla="*/ 5263 w 10000"/>
              <a:gd name="connsiteY15" fmla="*/ 2142 h 10000"/>
              <a:gd name="connsiteX16" fmla="*/ 5790 w 10000"/>
              <a:gd name="connsiteY16" fmla="*/ 0 h 10000"/>
              <a:gd name="connsiteX17" fmla="*/ 6316 w 10000"/>
              <a:gd name="connsiteY17" fmla="*/ 0 h 10000"/>
              <a:gd name="connsiteX18" fmla="*/ 6841 w 10000"/>
              <a:gd name="connsiteY18" fmla="*/ 714 h 10000"/>
              <a:gd name="connsiteX19" fmla="*/ 8421 w 10000"/>
              <a:gd name="connsiteY19" fmla="*/ 714 h 10000"/>
              <a:gd name="connsiteX20" fmla="*/ 8947 w 10000"/>
              <a:gd name="connsiteY20" fmla="*/ 714 h 10000"/>
              <a:gd name="connsiteX0" fmla="*/ 6841 w 7894"/>
              <a:gd name="connsiteY0" fmla="*/ 714 h 9286"/>
              <a:gd name="connsiteX1" fmla="*/ 6841 w 7894"/>
              <a:gd name="connsiteY1" fmla="*/ 714 h 9286"/>
              <a:gd name="connsiteX2" fmla="*/ 7368 w 7894"/>
              <a:gd name="connsiteY2" fmla="*/ 714 h 9286"/>
              <a:gd name="connsiteX3" fmla="*/ 7894 w 7894"/>
              <a:gd name="connsiteY3" fmla="*/ 4286 h 9286"/>
              <a:gd name="connsiteX4" fmla="*/ 5788 w 7894"/>
              <a:gd name="connsiteY4" fmla="*/ 5000 h 9286"/>
              <a:gd name="connsiteX5" fmla="*/ 5788 w 7894"/>
              <a:gd name="connsiteY5" fmla="*/ 5714 h 9286"/>
              <a:gd name="connsiteX6" fmla="*/ 4210 w 7894"/>
              <a:gd name="connsiteY6" fmla="*/ 7143 h 9286"/>
              <a:gd name="connsiteX7" fmla="*/ 2104 w 7894"/>
              <a:gd name="connsiteY7" fmla="*/ 8572 h 9286"/>
              <a:gd name="connsiteX8" fmla="*/ 1578 w 7894"/>
              <a:gd name="connsiteY8" fmla="*/ 9286 h 9286"/>
              <a:gd name="connsiteX9" fmla="*/ 0 w 7894"/>
              <a:gd name="connsiteY9" fmla="*/ 8572 h 9286"/>
              <a:gd name="connsiteX10" fmla="*/ 525 w 7894"/>
              <a:gd name="connsiteY10" fmla="*/ 7143 h 9286"/>
              <a:gd name="connsiteX11" fmla="*/ 525 w 7894"/>
              <a:gd name="connsiteY11" fmla="*/ 5714 h 9286"/>
              <a:gd name="connsiteX12" fmla="*/ 1052 w 7894"/>
              <a:gd name="connsiteY12" fmla="*/ 4286 h 9286"/>
              <a:gd name="connsiteX13" fmla="*/ 1578 w 7894"/>
              <a:gd name="connsiteY13" fmla="*/ 2858 h 9286"/>
              <a:gd name="connsiteX14" fmla="*/ 3157 w 7894"/>
              <a:gd name="connsiteY14" fmla="*/ 2142 h 9286"/>
              <a:gd name="connsiteX15" fmla="*/ 3684 w 7894"/>
              <a:gd name="connsiteY15" fmla="*/ 0 h 9286"/>
              <a:gd name="connsiteX16" fmla="*/ 4210 w 7894"/>
              <a:gd name="connsiteY16" fmla="*/ 0 h 9286"/>
              <a:gd name="connsiteX17" fmla="*/ 4735 w 7894"/>
              <a:gd name="connsiteY17" fmla="*/ 714 h 9286"/>
              <a:gd name="connsiteX18" fmla="*/ 6315 w 7894"/>
              <a:gd name="connsiteY18" fmla="*/ 714 h 9286"/>
              <a:gd name="connsiteX19" fmla="*/ 6841 w 7894"/>
              <a:gd name="connsiteY19" fmla="*/ 714 h 9286"/>
              <a:gd name="connsiteX0" fmla="*/ 8666 w 10000"/>
              <a:gd name="connsiteY0" fmla="*/ 769 h 9231"/>
              <a:gd name="connsiteX1" fmla="*/ 8666 w 10000"/>
              <a:gd name="connsiteY1" fmla="*/ 769 h 9231"/>
              <a:gd name="connsiteX2" fmla="*/ 9334 w 10000"/>
              <a:gd name="connsiteY2" fmla="*/ 769 h 9231"/>
              <a:gd name="connsiteX3" fmla="*/ 10000 w 10000"/>
              <a:gd name="connsiteY3" fmla="*/ 4616 h 9231"/>
              <a:gd name="connsiteX4" fmla="*/ 7332 w 10000"/>
              <a:gd name="connsiteY4" fmla="*/ 5384 h 9231"/>
              <a:gd name="connsiteX5" fmla="*/ 7332 w 10000"/>
              <a:gd name="connsiteY5" fmla="*/ 6153 h 9231"/>
              <a:gd name="connsiteX6" fmla="*/ 5333 w 10000"/>
              <a:gd name="connsiteY6" fmla="*/ 7692 h 9231"/>
              <a:gd name="connsiteX7" fmla="*/ 2665 w 10000"/>
              <a:gd name="connsiteY7" fmla="*/ 9231 h 9231"/>
              <a:gd name="connsiteX8" fmla="*/ 0 w 10000"/>
              <a:gd name="connsiteY8" fmla="*/ 9231 h 9231"/>
              <a:gd name="connsiteX9" fmla="*/ 665 w 10000"/>
              <a:gd name="connsiteY9" fmla="*/ 7692 h 9231"/>
              <a:gd name="connsiteX10" fmla="*/ 665 w 10000"/>
              <a:gd name="connsiteY10" fmla="*/ 6153 h 9231"/>
              <a:gd name="connsiteX11" fmla="*/ 1333 w 10000"/>
              <a:gd name="connsiteY11" fmla="*/ 4616 h 9231"/>
              <a:gd name="connsiteX12" fmla="*/ 1999 w 10000"/>
              <a:gd name="connsiteY12" fmla="*/ 3078 h 9231"/>
              <a:gd name="connsiteX13" fmla="*/ 3999 w 10000"/>
              <a:gd name="connsiteY13" fmla="*/ 2307 h 9231"/>
              <a:gd name="connsiteX14" fmla="*/ 4667 w 10000"/>
              <a:gd name="connsiteY14" fmla="*/ 0 h 9231"/>
              <a:gd name="connsiteX15" fmla="*/ 5333 w 10000"/>
              <a:gd name="connsiteY15" fmla="*/ 0 h 9231"/>
              <a:gd name="connsiteX16" fmla="*/ 5998 w 10000"/>
              <a:gd name="connsiteY16" fmla="*/ 769 h 9231"/>
              <a:gd name="connsiteX17" fmla="*/ 8000 w 10000"/>
              <a:gd name="connsiteY17" fmla="*/ 769 h 9231"/>
              <a:gd name="connsiteX18" fmla="*/ 8666 w 10000"/>
              <a:gd name="connsiteY18" fmla="*/ 769 h 9231"/>
              <a:gd name="connsiteX0" fmla="*/ 8666 w 10000"/>
              <a:gd name="connsiteY0" fmla="*/ 833 h 10493"/>
              <a:gd name="connsiteX1" fmla="*/ 8666 w 10000"/>
              <a:gd name="connsiteY1" fmla="*/ 833 h 10493"/>
              <a:gd name="connsiteX2" fmla="*/ 9334 w 10000"/>
              <a:gd name="connsiteY2" fmla="*/ 833 h 10493"/>
              <a:gd name="connsiteX3" fmla="*/ 10000 w 10000"/>
              <a:gd name="connsiteY3" fmla="*/ 5001 h 10493"/>
              <a:gd name="connsiteX4" fmla="*/ 7332 w 10000"/>
              <a:gd name="connsiteY4" fmla="*/ 5833 h 10493"/>
              <a:gd name="connsiteX5" fmla="*/ 7332 w 10000"/>
              <a:gd name="connsiteY5" fmla="*/ 6666 h 10493"/>
              <a:gd name="connsiteX6" fmla="*/ 5333 w 10000"/>
              <a:gd name="connsiteY6" fmla="*/ 8333 h 10493"/>
              <a:gd name="connsiteX7" fmla="*/ 2108 w 10000"/>
              <a:gd name="connsiteY7" fmla="*/ 10493 h 10493"/>
              <a:gd name="connsiteX8" fmla="*/ 0 w 10000"/>
              <a:gd name="connsiteY8" fmla="*/ 10000 h 10493"/>
              <a:gd name="connsiteX9" fmla="*/ 665 w 10000"/>
              <a:gd name="connsiteY9" fmla="*/ 8333 h 10493"/>
              <a:gd name="connsiteX10" fmla="*/ 665 w 10000"/>
              <a:gd name="connsiteY10" fmla="*/ 6666 h 10493"/>
              <a:gd name="connsiteX11" fmla="*/ 1333 w 10000"/>
              <a:gd name="connsiteY11" fmla="*/ 5001 h 10493"/>
              <a:gd name="connsiteX12" fmla="*/ 1999 w 10000"/>
              <a:gd name="connsiteY12" fmla="*/ 3334 h 10493"/>
              <a:gd name="connsiteX13" fmla="*/ 3999 w 10000"/>
              <a:gd name="connsiteY13" fmla="*/ 2499 h 10493"/>
              <a:gd name="connsiteX14" fmla="*/ 4667 w 10000"/>
              <a:gd name="connsiteY14" fmla="*/ 0 h 10493"/>
              <a:gd name="connsiteX15" fmla="*/ 5333 w 10000"/>
              <a:gd name="connsiteY15" fmla="*/ 0 h 10493"/>
              <a:gd name="connsiteX16" fmla="*/ 5998 w 10000"/>
              <a:gd name="connsiteY16" fmla="*/ 833 h 10493"/>
              <a:gd name="connsiteX17" fmla="*/ 8000 w 10000"/>
              <a:gd name="connsiteY17" fmla="*/ 833 h 10493"/>
              <a:gd name="connsiteX18" fmla="*/ 8666 w 10000"/>
              <a:gd name="connsiteY18" fmla="*/ 833 h 10493"/>
              <a:gd name="connsiteX0" fmla="*/ 9064 w 10398"/>
              <a:gd name="connsiteY0" fmla="*/ 833 h 10592"/>
              <a:gd name="connsiteX1" fmla="*/ 9064 w 10398"/>
              <a:gd name="connsiteY1" fmla="*/ 833 h 10592"/>
              <a:gd name="connsiteX2" fmla="*/ 9732 w 10398"/>
              <a:gd name="connsiteY2" fmla="*/ 833 h 10592"/>
              <a:gd name="connsiteX3" fmla="*/ 10398 w 10398"/>
              <a:gd name="connsiteY3" fmla="*/ 5001 h 10592"/>
              <a:gd name="connsiteX4" fmla="*/ 7730 w 10398"/>
              <a:gd name="connsiteY4" fmla="*/ 5833 h 10592"/>
              <a:gd name="connsiteX5" fmla="*/ 7730 w 10398"/>
              <a:gd name="connsiteY5" fmla="*/ 6666 h 10592"/>
              <a:gd name="connsiteX6" fmla="*/ 5731 w 10398"/>
              <a:gd name="connsiteY6" fmla="*/ 8333 h 10592"/>
              <a:gd name="connsiteX7" fmla="*/ 2506 w 10398"/>
              <a:gd name="connsiteY7" fmla="*/ 10493 h 10592"/>
              <a:gd name="connsiteX8" fmla="*/ 0 w 10398"/>
              <a:gd name="connsiteY8" fmla="*/ 10592 h 10592"/>
              <a:gd name="connsiteX9" fmla="*/ 1063 w 10398"/>
              <a:gd name="connsiteY9" fmla="*/ 8333 h 10592"/>
              <a:gd name="connsiteX10" fmla="*/ 1063 w 10398"/>
              <a:gd name="connsiteY10" fmla="*/ 6666 h 10592"/>
              <a:gd name="connsiteX11" fmla="*/ 1731 w 10398"/>
              <a:gd name="connsiteY11" fmla="*/ 5001 h 10592"/>
              <a:gd name="connsiteX12" fmla="*/ 2397 w 10398"/>
              <a:gd name="connsiteY12" fmla="*/ 3334 h 10592"/>
              <a:gd name="connsiteX13" fmla="*/ 4397 w 10398"/>
              <a:gd name="connsiteY13" fmla="*/ 2499 h 10592"/>
              <a:gd name="connsiteX14" fmla="*/ 5065 w 10398"/>
              <a:gd name="connsiteY14" fmla="*/ 0 h 10592"/>
              <a:gd name="connsiteX15" fmla="*/ 5731 w 10398"/>
              <a:gd name="connsiteY15" fmla="*/ 0 h 10592"/>
              <a:gd name="connsiteX16" fmla="*/ 6396 w 10398"/>
              <a:gd name="connsiteY16" fmla="*/ 833 h 10592"/>
              <a:gd name="connsiteX17" fmla="*/ 8398 w 10398"/>
              <a:gd name="connsiteY17" fmla="*/ 833 h 10592"/>
              <a:gd name="connsiteX18" fmla="*/ 9064 w 10398"/>
              <a:gd name="connsiteY18" fmla="*/ 833 h 10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398" h="10592">
                <a:moveTo>
                  <a:pt x="9064" y="833"/>
                </a:moveTo>
                <a:lnTo>
                  <a:pt x="9064" y="833"/>
                </a:lnTo>
                <a:lnTo>
                  <a:pt x="9732" y="833"/>
                </a:lnTo>
                <a:cubicBezTo>
                  <a:pt x="9953" y="2222"/>
                  <a:pt x="10176" y="3611"/>
                  <a:pt x="10398" y="5001"/>
                </a:cubicBezTo>
                <a:lnTo>
                  <a:pt x="7730" y="5833"/>
                </a:lnTo>
                <a:lnTo>
                  <a:pt x="7730" y="6666"/>
                </a:lnTo>
                <a:lnTo>
                  <a:pt x="5731" y="8333"/>
                </a:lnTo>
                <a:lnTo>
                  <a:pt x="2506" y="10493"/>
                </a:lnTo>
                <a:lnTo>
                  <a:pt x="0" y="10592"/>
                </a:lnTo>
                <a:lnTo>
                  <a:pt x="1063" y="8333"/>
                </a:lnTo>
                <a:lnTo>
                  <a:pt x="1063" y="6666"/>
                </a:lnTo>
                <a:lnTo>
                  <a:pt x="1731" y="5001"/>
                </a:lnTo>
                <a:lnTo>
                  <a:pt x="2397" y="3334"/>
                </a:lnTo>
                <a:lnTo>
                  <a:pt x="4397" y="2499"/>
                </a:lnTo>
                <a:lnTo>
                  <a:pt x="5065" y="0"/>
                </a:lnTo>
                <a:lnTo>
                  <a:pt x="5731" y="0"/>
                </a:lnTo>
                <a:lnTo>
                  <a:pt x="6396" y="833"/>
                </a:lnTo>
                <a:lnTo>
                  <a:pt x="8398" y="833"/>
                </a:lnTo>
                <a:lnTo>
                  <a:pt x="9064" y="833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6" name="Freeform 123">
            <a:extLst>
              <a:ext uri="{FF2B5EF4-FFF2-40B4-BE49-F238E27FC236}">
                <a16:creationId xmlns:a16="http://schemas.microsoft.com/office/drawing/2014/main" id="{64400E2A-D168-4430-94A6-3A5A1F1243A0}"/>
              </a:ext>
            </a:extLst>
          </p:cNvPr>
          <p:cNvSpPr>
            <a:spLocks/>
          </p:cNvSpPr>
          <p:nvPr/>
        </p:nvSpPr>
        <p:spPr bwMode="gray">
          <a:xfrm>
            <a:off x="791391" y="4064809"/>
            <a:ext cx="834278" cy="446884"/>
          </a:xfrm>
          <a:custGeom>
            <a:avLst/>
            <a:gdLst>
              <a:gd name="T0" fmla="*/ 2147483647 w 257"/>
              <a:gd name="T1" fmla="*/ 2147483647 h 257"/>
              <a:gd name="T2" fmla="*/ 2147483647 w 257"/>
              <a:gd name="T3" fmla="*/ 2147483647 h 257"/>
              <a:gd name="T4" fmla="*/ 2147483647 w 257"/>
              <a:gd name="T5" fmla="*/ 2147483647 h 257"/>
              <a:gd name="T6" fmla="*/ 2147483647 w 257"/>
              <a:gd name="T7" fmla="*/ 2147483647 h 257"/>
              <a:gd name="T8" fmla="*/ 2147483647 w 257"/>
              <a:gd name="T9" fmla="*/ 2147483647 h 257"/>
              <a:gd name="T10" fmla="*/ 2147483647 w 257"/>
              <a:gd name="T11" fmla="*/ 2147483647 h 257"/>
              <a:gd name="T12" fmla="*/ 2147483647 w 257"/>
              <a:gd name="T13" fmla="*/ 2147483647 h 257"/>
              <a:gd name="T14" fmla="*/ 2147483647 w 257"/>
              <a:gd name="T15" fmla="*/ 2147483647 h 257"/>
              <a:gd name="T16" fmla="*/ 0 w 257"/>
              <a:gd name="T17" fmla="*/ 2147483647 h 257"/>
              <a:gd name="T18" fmla="*/ 0 w 257"/>
              <a:gd name="T19" fmla="*/ 2147483647 h 257"/>
              <a:gd name="T20" fmla="*/ 2147483647 w 257"/>
              <a:gd name="T21" fmla="*/ 2147483647 h 257"/>
              <a:gd name="T22" fmla="*/ 2147483647 w 257"/>
              <a:gd name="T23" fmla="*/ 2147483647 h 257"/>
              <a:gd name="T24" fmla="*/ 2147483647 w 257"/>
              <a:gd name="T25" fmla="*/ 2147483647 h 257"/>
              <a:gd name="T26" fmla="*/ 2147483647 w 257"/>
              <a:gd name="T27" fmla="*/ 2147483647 h 257"/>
              <a:gd name="T28" fmla="*/ 2147483647 w 257"/>
              <a:gd name="T29" fmla="*/ 2147483647 h 257"/>
              <a:gd name="T30" fmla="*/ 2147483647 w 257"/>
              <a:gd name="T31" fmla="*/ 2147483647 h 257"/>
              <a:gd name="T32" fmla="*/ 2147483647 w 257"/>
              <a:gd name="T33" fmla="*/ 2147483647 h 257"/>
              <a:gd name="T34" fmla="*/ 2147483647 w 257"/>
              <a:gd name="T35" fmla="*/ 2147483647 h 257"/>
              <a:gd name="T36" fmla="*/ 2147483647 w 257"/>
              <a:gd name="T37" fmla="*/ 2147483647 h 257"/>
              <a:gd name="T38" fmla="*/ 2147483647 w 257"/>
              <a:gd name="T39" fmla="*/ 2147483647 h 257"/>
              <a:gd name="T40" fmla="*/ 2147483647 w 257"/>
              <a:gd name="T41" fmla="*/ 2147483647 h 257"/>
              <a:gd name="T42" fmla="*/ 2147483647 w 257"/>
              <a:gd name="T43" fmla="*/ 2147483647 h 257"/>
              <a:gd name="T44" fmla="*/ 2147483647 w 257"/>
              <a:gd name="T45" fmla="*/ 2147483647 h 257"/>
              <a:gd name="T46" fmla="*/ 2147483647 w 257"/>
              <a:gd name="T47" fmla="*/ 2147483647 h 257"/>
              <a:gd name="T48" fmla="*/ 2147483647 w 257"/>
              <a:gd name="T49" fmla="*/ 2147483647 h 257"/>
              <a:gd name="T50" fmla="*/ 2147483647 w 257"/>
              <a:gd name="T51" fmla="*/ 2147483647 h 257"/>
              <a:gd name="T52" fmla="*/ 2147483647 w 257"/>
              <a:gd name="T53" fmla="*/ 2147483647 h 257"/>
              <a:gd name="T54" fmla="*/ 2147483647 w 257"/>
              <a:gd name="T55" fmla="*/ 2147483647 h 257"/>
              <a:gd name="T56" fmla="*/ 2147483647 w 257"/>
              <a:gd name="T57" fmla="*/ 2147483647 h 257"/>
              <a:gd name="T58" fmla="*/ 2147483647 w 257"/>
              <a:gd name="T59" fmla="*/ 2147483647 h 257"/>
              <a:gd name="T60" fmla="*/ 2147483647 w 257"/>
              <a:gd name="T61" fmla="*/ 2147483647 h 257"/>
              <a:gd name="T62" fmla="*/ 2147483647 w 257"/>
              <a:gd name="T63" fmla="*/ 0 h 257"/>
              <a:gd name="T64" fmla="*/ 2147483647 w 257"/>
              <a:gd name="T65" fmla="*/ 2147483647 h 257"/>
              <a:gd name="T66" fmla="*/ 2147483647 w 257"/>
              <a:gd name="T67" fmla="*/ 0 h 257"/>
              <a:gd name="T68" fmla="*/ 2147483647 w 257"/>
              <a:gd name="T69" fmla="*/ 2147483647 h 257"/>
              <a:gd name="T70" fmla="*/ 2147483647 w 257"/>
              <a:gd name="T71" fmla="*/ 0 h 257"/>
              <a:gd name="T72" fmla="*/ 2147483647 w 257"/>
              <a:gd name="T73" fmla="*/ 2147483647 h 257"/>
              <a:gd name="T74" fmla="*/ 2147483647 w 257"/>
              <a:gd name="T75" fmla="*/ 2147483647 h 257"/>
              <a:gd name="T76" fmla="*/ 2147483647 w 257"/>
              <a:gd name="T77" fmla="*/ 2147483647 h 2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57"/>
              <a:gd name="T118" fmla="*/ 0 h 257"/>
              <a:gd name="T119" fmla="*/ 257 w 257"/>
              <a:gd name="T120" fmla="*/ 257 h 257"/>
              <a:gd name="connsiteX0" fmla="*/ 3113 w 9961"/>
              <a:gd name="connsiteY0" fmla="*/ 1245 h 9961"/>
              <a:gd name="connsiteX1" fmla="*/ 3113 w 9961"/>
              <a:gd name="connsiteY1" fmla="*/ 1245 h 9961"/>
              <a:gd name="connsiteX2" fmla="*/ 3424 w 9961"/>
              <a:gd name="connsiteY2" fmla="*/ 1245 h 9961"/>
              <a:gd name="connsiteX3" fmla="*/ 3735 w 9961"/>
              <a:gd name="connsiteY3" fmla="*/ 2802 h 9961"/>
              <a:gd name="connsiteX4" fmla="*/ 2490 w 9961"/>
              <a:gd name="connsiteY4" fmla="*/ 3113 h 9961"/>
              <a:gd name="connsiteX5" fmla="*/ 2490 w 9961"/>
              <a:gd name="connsiteY5" fmla="*/ 3424 h 9961"/>
              <a:gd name="connsiteX6" fmla="*/ 1556 w 9961"/>
              <a:gd name="connsiteY6" fmla="*/ 4047 h 9961"/>
              <a:gd name="connsiteX7" fmla="*/ 311 w 9961"/>
              <a:gd name="connsiteY7" fmla="*/ 4669 h 9961"/>
              <a:gd name="connsiteX8" fmla="*/ 0 w 9961"/>
              <a:gd name="connsiteY8" fmla="*/ 4981 h 9961"/>
              <a:gd name="connsiteX9" fmla="*/ 0 w 9961"/>
              <a:gd name="connsiteY9" fmla="*/ 5603 h 9961"/>
              <a:gd name="connsiteX10" fmla="*/ 1868 w 9961"/>
              <a:gd name="connsiteY10" fmla="*/ 6848 h 9961"/>
              <a:gd name="connsiteX11" fmla="*/ 4669 w 9961"/>
              <a:gd name="connsiteY11" fmla="*/ 9027 h 9961"/>
              <a:gd name="connsiteX12" fmla="*/ 4981 w 9961"/>
              <a:gd name="connsiteY12" fmla="*/ 9339 h 9961"/>
              <a:gd name="connsiteX13" fmla="*/ 5603 w 9961"/>
              <a:gd name="connsiteY13" fmla="*/ 9650 h 9961"/>
              <a:gd name="connsiteX14" fmla="*/ 5914 w 9961"/>
              <a:gd name="connsiteY14" fmla="*/ 9961 h 9961"/>
              <a:gd name="connsiteX15" fmla="*/ 6226 w 9961"/>
              <a:gd name="connsiteY15" fmla="*/ 9961 h 9961"/>
              <a:gd name="connsiteX16" fmla="*/ 9961 w 9961"/>
              <a:gd name="connsiteY16" fmla="*/ 7782 h 9961"/>
              <a:gd name="connsiteX17" fmla="*/ 9650 w 9961"/>
              <a:gd name="connsiteY17" fmla="*/ 7160 h 9961"/>
              <a:gd name="connsiteX18" fmla="*/ 9339 w 9961"/>
              <a:gd name="connsiteY18" fmla="*/ 7160 h 9961"/>
              <a:gd name="connsiteX19" fmla="*/ 8716 w 9961"/>
              <a:gd name="connsiteY19" fmla="*/ 6226 h 9961"/>
              <a:gd name="connsiteX20" fmla="*/ 9027 w 9961"/>
              <a:gd name="connsiteY20" fmla="*/ 5914 h 9961"/>
              <a:gd name="connsiteX21" fmla="*/ 9027 w 9961"/>
              <a:gd name="connsiteY21" fmla="*/ 5292 h 9961"/>
              <a:gd name="connsiteX22" fmla="*/ 9027 w 9961"/>
              <a:gd name="connsiteY22" fmla="*/ 4669 h 9961"/>
              <a:gd name="connsiteX23" fmla="*/ 8716 w 9961"/>
              <a:gd name="connsiteY23" fmla="*/ 4358 h 9961"/>
              <a:gd name="connsiteX24" fmla="*/ 8716 w 9961"/>
              <a:gd name="connsiteY24" fmla="*/ 4047 h 9961"/>
              <a:gd name="connsiteX25" fmla="*/ 8716 w 9961"/>
              <a:gd name="connsiteY25" fmla="*/ 3113 h 9961"/>
              <a:gd name="connsiteX26" fmla="*/ 8093 w 9961"/>
              <a:gd name="connsiteY26" fmla="*/ 2802 h 9961"/>
              <a:gd name="connsiteX27" fmla="*/ 7782 w 9961"/>
              <a:gd name="connsiteY27" fmla="*/ 2179 h 9961"/>
              <a:gd name="connsiteX28" fmla="*/ 8405 w 9961"/>
              <a:gd name="connsiteY28" fmla="*/ 1556 h 9961"/>
              <a:gd name="connsiteX29" fmla="*/ 8093 w 9961"/>
              <a:gd name="connsiteY29" fmla="*/ 311 h 9961"/>
              <a:gd name="connsiteX30" fmla="*/ 8405 w 9961"/>
              <a:gd name="connsiteY30" fmla="*/ 0 h 9961"/>
              <a:gd name="connsiteX31" fmla="*/ 8093 w 9961"/>
              <a:gd name="connsiteY31" fmla="*/ 311 h 9961"/>
              <a:gd name="connsiteX32" fmla="*/ 7160 w 9961"/>
              <a:gd name="connsiteY32" fmla="*/ 0 h 9961"/>
              <a:gd name="connsiteX33" fmla="*/ 6848 w 9961"/>
              <a:gd name="connsiteY33" fmla="*/ 311 h 9961"/>
              <a:gd name="connsiteX34" fmla="*/ 6226 w 9961"/>
              <a:gd name="connsiteY34" fmla="*/ 0 h 9961"/>
              <a:gd name="connsiteX35" fmla="*/ 5603 w 9961"/>
              <a:gd name="connsiteY35" fmla="*/ 311 h 9961"/>
              <a:gd name="connsiteX36" fmla="*/ 4669 w 9961"/>
              <a:gd name="connsiteY36" fmla="*/ 311 h 9961"/>
              <a:gd name="connsiteX37" fmla="*/ 3113 w 9961"/>
              <a:gd name="connsiteY37" fmla="*/ 1245 h 9961"/>
              <a:gd name="connsiteX0" fmla="*/ 3125 w 10000"/>
              <a:gd name="connsiteY0" fmla="*/ 1250 h 10000"/>
              <a:gd name="connsiteX1" fmla="*/ 3125 w 10000"/>
              <a:gd name="connsiteY1" fmla="*/ 1250 h 10000"/>
              <a:gd name="connsiteX2" fmla="*/ 3437 w 10000"/>
              <a:gd name="connsiteY2" fmla="*/ 1250 h 10000"/>
              <a:gd name="connsiteX3" fmla="*/ 3750 w 10000"/>
              <a:gd name="connsiteY3" fmla="*/ 2813 h 10000"/>
              <a:gd name="connsiteX4" fmla="*/ 2500 w 10000"/>
              <a:gd name="connsiteY4" fmla="*/ 3125 h 10000"/>
              <a:gd name="connsiteX5" fmla="*/ 2500 w 10000"/>
              <a:gd name="connsiteY5" fmla="*/ 3437 h 10000"/>
              <a:gd name="connsiteX6" fmla="*/ 1562 w 10000"/>
              <a:gd name="connsiteY6" fmla="*/ 4063 h 10000"/>
              <a:gd name="connsiteX7" fmla="*/ 312 w 10000"/>
              <a:gd name="connsiteY7" fmla="*/ 4687 h 10000"/>
              <a:gd name="connsiteX8" fmla="*/ 0 w 10000"/>
              <a:gd name="connsiteY8" fmla="*/ 5001 h 10000"/>
              <a:gd name="connsiteX9" fmla="*/ 0 w 10000"/>
              <a:gd name="connsiteY9" fmla="*/ 5625 h 10000"/>
              <a:gd name="connsiteX10" fmla="*/ 1875 w 10000"/>
              <a:gd name="connsiteY10" fmla="*/ 6875 h 10000"/>
              <a:gd name="connsiteX11" fmla="*/ 4687 w 10000"/>
              <a:gd name="connsiteY11" fmla="*/ 9062 h 10000"/>
              <a:gd name="connsiteX12" fmla="*/ 5001 w 10000"/>
              <a:gd name="connsiteY12" fmla="*/ 9376 h 10000"/>
              <a:gd name="connsiteX13" fmla="*/ 5625 w 10000"/>
              <a:gd name="connsiteY13" fmla="*/ 9688 h 10000"/>
              <a:gd name="connsiteX14" fmla="*/ 5937 w 10000"/>
              <a:gd name="connsiteY14" fmla="*/ 10000 h 10000"/>
              <a:gd name="connsiteX15" fmla="*/ 10000 w 10000"/>
              <a:gd name="connsiteY15" fmla="*/ 7812 h 10000"/>
              <a:gd name="connsiteX16" fmla="*/ 9688 w 10000"/>
              <a:gd name="connsiteY16" fmla="*/ 7188 h 10000"/>
              <a:gd name="connsiteX17" fmla="*/ 9376 w 10000"/>
              <a:gd name="connsiteY17" fmla="*/ 7188 h 10000"/>
              <a:gd name="connsiteX18" fmla="*/ 8750 w 10000"/>
              <a:gd name="connsiteY18" fmla="*/ 6250 h 10000"/>
              <a:gd name="connsiteX19" fmla="*/ 9062 w 10000"/>
              <a:gd name="connsiteY19" fmla="*/ 5937 h 10000"/>
              <a:gd name="connsiteX20" fmla="*/ 9062 w 10000"/>
              <a:gd name="connsiteY20" fmla="*/ 5313 h 10000"/>
              <a:gd name="connsiteX21" fmla="*/ 9062 w 10000"/>
              <a:gd name="connsiteY21" fmla="*/ 4687 h 10000"/>
              <a:gd name="connsiteX22" fmla="*/ 8750 w 10000"/>
              <a:gd name="connsiteY22" fmla="*/ 4375 h 10000"/>
              <a:gd name="connsiteX23" fmla="*/ 8750 w 10000"/>
              <a:gd name="connsiteY23" fmla="*/ 4063 h 10000"/>
              <a:gd name="connsiteX24" fmla="*/ 8750 w 10000"/>
              <a:gd name="connsiteY24" fmla="*/ 3125 h 10000"/>
              <a:gd name="connsiteX25" fmla="*/ 8125 w 10000"/>
              <a:gd name="connsiteY25" fmla="*/ 2813 h 10000"/>
              <a:gd name="connsiteX26" fmla="*/ 7812 w 10000"/>
              <a:gd name="connsiteY26" fmla="*/ 2188 h 10000"/>
              <a:gd name="connsiteX27" fmla="*/ 8438 w 10000"/>
              <a:gd name="connsiteY27" fmla="*/ 1562 h 10000"/>
              <a:gd name="connsiteX28" fmla="*/ 8125 w 10000"/>
              <a:gd name="connsiteY28" fmla="*/ 312 h 10000"/>
              <a:gd name="connsiteX29" fmla="*/ 8438 w 10000"/>
              <a:gd name="connsiteY29" fmla="*/ 0 h 10000"/>
              <a:gd name="connsiteX30" fmla="*/ 8125 w 10000"/>
              <a:gd name="connsiteY30" fmla="*/ 312 h 10000"/>
              <a:gd name="connsiteX31" fmla="*/ 7188 w 10000"/>
              <a:gd name="connsiteY31" fmla="*/ 0 h 10000"/>
              <a:gd name="connsiteX32" fmla="*/ 6875 w 10000"/>
              <a:gd name="connsiteY32" fmla="*/ 312 h 10000"/>
              <a:gd name="connsiteX33" fmla="*/ 6250 w 10000"/>
              <a:gd name="connsiteY33" fmla="*/ 0 h 10000"/>
              <a:gd name="connsiteX34" fmla="*/ 5625 w 10000"/>
              <a:gd name="connsiteY34" fmla="*/ 312 h 10000"/>
              <a:gd name="connsiteX35" fmla="*/ 4687 w 10000"/>
              <a:gd name="connsiteY35" fmla="*/ 312 h 10000"/>
              <a:gd name="connsiteX36" fmla="*/ 3125 w 10000"/>
              <a:gd name="connsiteY36" fmla="*/ 1250 h 10000"/>
              <a:gd name="connsiteX0" fmla="*/ 3125 w 10000"/>
              <a:gd name="connsiteY0" fmla="*/ 1250 h 9688"/>
              <a:gd name="connsiteX1" fmla="*/ 3125 w 10000"/>
              <a:gd name="connsiteY1" fmla="*/ 1250 h 9688"/>
              <a:gd name="connsiteX2" fmla="*/ 3437 w 10000"/>
              <a:gd name="connsiteY2" fmla="*/ 1250 h 9688"/>
              <a:gd name="connsiteX3" fmla="*/ 3750 w 10000"/>
              <a:gd name="connsiteY3" fmla="*/ 2813 h 9688"/>
              <a:gd name="connsiteX4" fmla="*/ 2500 w 10000"/>
              <a:gd name="connsiteY4" fmla="*/ 3125 h 9688"/>
              <a:gd name="connsiteX5" fmla="*/ 2500 w 10000"/>
              <a:gd name="connsiteY5" fmla="*/ 3437 h 9688"/>
              <a:gd name="connsiteX6" fmla="*/ 1562 w 10000"/>
              <a:gd name="connsiteY6" fmla="*/ 4063 h 9688"/>
              <a:gd name="connsiteX7" fmla="*/ 312 w 10000"/>
              <a:gd name="connsiteY7" fmla="*/ 4687 h 9688"/>
              <a:gd name="connsiteX8" fmla="*/ 0 w 10000"/>
              <a:gd name="connsiteY8" fmla="*/ 5001 h 9688"/>
              <a:gd name="connsiteX9" fmla="*/ 0 w 10000"/>
              <a:gd name="connsiteY9" fmla="*/ 5625 h 9688"/>
              <a:gd name="connsiteX10" fmla="*/ 1875 w 10000"/>
              <a:gd name="connsiteY10" fmla="*/ 6875 h 9688"/>
              <a:gd name="connsiteX11" fmla="*/ 4687 w 10000"/>
              <a:gd name="connsiteY11" fmla="*/ 9062 h 9688"/>
              <a:gd name="connsiteX12" fmla="*/ 5001 w 10000"/>
              <a:gd name="connsiteY12" fmla="*/ 9376 h 9688"/>
              <a:gd name="connsiteX13" fmla="*/ 5625 w 10000"/>
              <a:gd name="connsiteY13" fmla="*/ 9688 h 9688"/>
              <a:gd name="connsiteX14" fmla="*/ 10000 w 10000"/>
              <a:gd name="connsiteY14" fmla="*/ 7812 h 9688"/>
              <a:gd name="connsiteX15" fmla="*/ 9688 w 10000"/>
              <a:gd name="connsiteY15" fmla="*/ 7188 h 9688"/>
              <a:gd name="connsiteX16" fmla="*/ 9376 w 10000"/>
              <a:gd name="connsiteY16" fmla="*/ 7188 h 9688"/>
              <a:gd name="connsiteX17" fmla="*/ 8750 w 10000"/>
              <a:gd name="connsiteY17" fmla="*/ 6250 h 9688"/>
              <a:gd name="connsiteX18" fmla="*/ 9062 w 10000"/>
              <a:gd name="connsiteY18" fmla="*/ 5937 h 9688"/>
              <a:gd name="connsiteX19" fmla="*/ 9062 w 10000"/>
              <a:gd name="connsiteY19" fmla="*/ 5313 h 9688"/>
              <a:gd name="connsiteX20" fmla="*/ 9062 w 10000"/>
              <a:gd name="connsiteY20" fmla="*/ 4687 h 9688"/>
              <a:gd name="connsiteX21" fmla="*/ 8750 w 10000"/>
              <a:gd name="connsiteY21" fmla="*/ 4375 h 9688"/>
              <a:gd name="connsiteX22" fmla="*/ 8750 w 10000"/>
              <a:gd name="connsiteY22" fmla="*/ 4063 h 9688"/>
              <a:gd name="connsiteX23" fmla="*/ 8750 w 10000"/>
              <a:gd name="connsiteY23" fmla="*/ 3125 h 9688"/>
              <a:gd name="connsiteX24" fmla="*/ 8125 w 10000"/>
              <a:gd name="connsiteY24" fmla="*/ 2813 h 9688"/>
              <a:gd name="connsiteX25" fmla="*/ 7812 w 10000"/>
              <a:gd name="connsiteY25" fmla="*/ 2188 h 9688"/>
              <a:gd name="connsiteX26" fmla="*/ 8438 w 10000"/>
              <a:gd name="connsiteY26" fmla="*/ 1562 h 9688"/>
              <a:gd name="connsiteX27" fmla="*/ 8125 w 10000"/>
              <a:gd name="connsiteY27" fmla="*/ 312 h 9688"/>
              <a:gd name="connsiteX28" fmla="*/ 8438 w 10000"/>
              <a:gd name="connsiteY28" fmla="*/ 0 h 9688"/>
              <a:gd name="connsiteX29" fmla="*/ 8125 w 10000"/>
              <a:gd name="connsiteY29" fmla="*/ 312 h 9688"/>
              <a:gd name="connsiteX30" fmla="*/ 7188 w 10000"/>
              <a:gd name="connsiteY30" fmla="*/ 0 h 9688"/>
              <a:gd name="connsiteX31" fmla="*/ 6875 w 10000"/>
              <a:gd name="connsiteY31" fmla="*/ 312 h 9688"/>
              <a:gd name="connsiteX32" fmla="*/ 6250 w 10000"/>
              <a:gd name="connsiteY32" fmla="*/ 0 h 9688"/>
              <a:gd name="connsiteX33" fmla="*/ 5625 w 10000"/>
              <a:gd name="connsiteY33" fmla="*/ 312 h 9688"/>
              <a:gd name="connsiteX34" fmla="*/ 4687 w 10000"/>
              <a:gd name="connsiteY34" fmla="*/ 312 h 9688"/>
              <a:gd name="connsiteX35" fmla="*/ 3125 w 10000"/>
              <a:gd name="connsiteY35" fmla="*/ 1250 h 9688"/>
              <a:gd name="connsiteX0" fmla="*/ 3125 w 10000"/>
              <a:gd name="connsiteY0" fmla="*/ 1290 h 9678"/>
              <a:gd name="connsiteX1" fmla="*/ 3125 w 10000"/>
              <a:gd name="connsiteY1" fmla="*/ 1290 h 9678"/>
              <a:gd name="connsiteX2" fmla="*/ 3437 w 10000"/>
              <a:gd name="connsiteY2" fmla="*/ 1290 h 9678"/>
              <a:gd name="connsiteX3" fmla="*/ 3750 w 10000"/>
              <a:gd name="connsiteY3" fmla="*/ 2904 h 9678"/>
              <a:gd name="connsiteX4" fmla="*/ 2500 w 10000"/>
              <a:gd name="connsiteY4" fmla="*/ 3226 h 9678"/>
              <a:gd name="connsiteX5" fmla="*/ 2500 w 10000"/>
              <a:gd name="connsiteY5" fmla="*/ 3548 h 9678"/>
              <a:gd name="connsiteX6" fmla="*/ 1562 w 10000"/>
              <a:gd name="connsiteY6" fmla="*/ 4194 h 9678"/>
              <a:gd name="connsiteX7" fmla="*/ 312 w 10000"/>
              <a:gd name="connsiteY7" fmla="*/ 4838 h 9678"/>
              <a:gd name="connsiteX8" fmla="*/ 0 w 10000"/>
              <a:gd name="connsiteY8" fmla="*/ 5162 h 9678"/>
              <a:gd name="connsiteX9" fmla="*/ 0 w 10000"/>
              <a:gd name="connsiteY9" fmla="*/ 5806 h 9678"/>
              <a:gd name="connsiteX10" fmla="*/ 1875 w 10000"/>
              <a:gd name="connsiteY10" fmla="*/ 7096 h 9678"/>
              <a:gd name="connsiteX11" fmla="*/ 4687 w 10000"/>
              <a:gd name="connsiteY11" fmla="*/ 9354 h 9678"/>
              <a:gd name="connsiteX12" fmla="*/ 5001 w 10000"/>
              <a:gd name="connsiteY12" fmla="*/ 9678 h 9678"/>
              <a:gd name="connsiteX13" fmla="*/ 10000 w 10000"/>
              <a:gd name="connsiteY13" fmla="*/ 8064 h 9678"/>
              <a:gd name="connsiteX14" fmla="*/ 9688 w 10000"/>
              <a:gd name="connsiteY14" fmla="*/ 7419 h 9678"/>
              <a:gd name="connsiteX15" fmla="*/ 9376 w 10000"/>
              <a:gd name="connsiteY15" fmla="*/ 7419 h 9678"/>
              <a:gd name="connsiteX16" fmla="*/ 8750 w 10000"/>
              <a:gd name="connsiteY16" fmla="*/ 6451 h 9678"/>
              <a:gd name="connsiteX17" fmla="*/ 9062 w 10000"/>
              <a:gd name="connsiteY17" fmla="*/ 6128 h 9678"/>
              <a:gd name="connsiteX18" fmla="*/ 9062 w 10000"/>
              <a:gd name="connsiteY18" fmla="*/ 5484 h 9678"/>
              <a:gd name="connsiteX19" fmla="*/ 9062 w 10000"/>
              <a:gd name="connsiteY19" fmla="*/ 4838 h 9678"/>
              <a:gd name="connsiteX20" fmla="*/ 8750 w 10000"/>
              <a:gd name="connsiteY20" fmla="*/ 4516 h 9678"/>
              <a:gd name="connsiteX21" fmla="*/ 8750 w 10000"/>
              <a:gd name="connsiteY21" fmla="*/ 4194 h 9678"/>
              <a:gd name="connsiteX22" fmla="*/ 8750 w 10000"/>
              <a:gd name="connsiteY22" fmla="*/ 3226 h 9678"/>
              <a:gd name="connsiteX23" fmla="*/ 8125 w 10000"/>
              <a:gd name="connsiteY23" fmla="*/ 2904 h 9678"/>
              <a:gd name="connsiteX24" fmla="*/ 7812 w 10000"/>
              <a:gd name="connsiteY24" fmla="*/ 2258 h 9678"/>
              <a:gd name="connsiteX25" fmla="*/ 8438 w 10000"/>
              <a:gd name="connsiteY25" fmla="*/ 1612 h 9678"/>
              <a:gd name="connsiteX26" fmla="*/ 8125 w 10000"/>
              <a:gd name="connsiteY26" fmla="*/ 322 h 9678"/>
              <a:gd name="connsiteX27" fmla="*/ 8438 w 10000"/>
              <a:gd name="connsiteY27" fmla="*/ 0 h 9678"/>
              <a:gd name="connsiteX28" fmla="*/ 8125 w 10000"/>
              <a:gd name="connsiteY28" fmla="*/ 322 h 9678"/>
              <a:gd name="connsiteX29" fmla="*/ 7188 w 10000"/>
              <a:gd name="connsiteY29" fmla="*/ 0 h 9678"/>
              <a:gd name="connsiteX30" fmla="*/ 6875 w 10000"/>
              <a:gd name="connsiteY30" fmla="*/ 322 h 9678"/>
              <a:gd name="connsiteX31" fmla="*/ 6250 w 10000"/>
              <a:gd name="connsiteY31" fmla="*/ 0 h 9678"/>
              <a:gd name="connsiteX32" fmla="*/ 5625 w 10000"/>
              <a:gd name="connsiteY32" fmla="*/ 322 h 9678"/>
              <a:gd name="connsiteX33" fmla="*/ 4687 w 10000"/>
              <a:gd name="connsiteY33" fmla="*/ 322 h 9678"/>
              <a:gd name="connsiteX34" fmla="*/ 3125 w 10000"/>
              <a:gd name="connsiteY34" fmla="*/ 1290 h 9678"/>
              <a:gd name="connsiteX0" fmla="*/ 3125 w 10000"/>
              <a:gd name="connsiteY0" fmla="*/ 1333 h 9665"/>
              <a:gd name="connsiteX1" fmla="*/ 3125 w 10000"/>
              <a:gd name="connsiteY1" fmla="*/ 1333 h 9665"/>
              <a:gd name="connsiteX2" fmla="*/ 3437 w 10000"/>
              <a:gd name="connsiteY2" fmla="*/ 1333 h 9665"/>
              <a:gd name="connsiteX3" fmla="*/ 3750 w 10000"/>
              <a:gd name="connsiteY3" fmla="*/ 3001 h 9665"/>
              <a:gd name="connsiteX4" fmla="*/ 2500 w 10000"/>
              <a:gd name="connsiteY4" fmla="*/ 3333 h 9665"/>
              <a:gd name="connsiteX5" fmla="*/ 2500 w 10000"/>
              <a:gd name="connsiteY5" fmla="*/ 3666 h 9665"/>
              <a:gd name="connsiteX6" fmla="*/ 1562 w 10000"/>
              <a:gd name="connsiteY6" fmla="*/ 4334 h 9665"/>
              <a:gd name="connsiteX7" fmla="*/ 312 w 10000"/>
              <a:gd name="connsiteY7" fmla="*/ 4999 h 9665"/>
              <a:gd name="connsiteX8" fmla="*/ 0 w 10000"/>
              <a:gd name="connsiteY8" fmla="*/ 5334 h 9665"/>
              <a:gd name="connsiteX9" fmla="*/ 0 w 10000"/>
              <a:gd name="connsiteY9" fmla="*/ 5999 h 9665"/>
              <a:gd name="connsiteX10" fmla="*/ 1875 w 10000"/>
              <a:gd name="connsiteY10" fmla="*/ 7332 h 9665"/>
              <a:gd name="connsiteX11" fmla="*/ 4687 w 10000"/>
              <a:gd name="connsiteY11" fmla="*/ 9665 h 9665"/>
              <a:gd name="connsiteX12" fmla="*/ 10000 w 10000"/>
              <a:gd name="connsiteY12" fmla="*/ 8332 h 9665"/>
              <a:gd name="connsiteX13" fmla="*/ 9688 w 10000"/>
              <a:gd name="connsiteY13" fmla="*/ 7666 h 9665"/>
              <a:gd name="connsiteX14" fmla="*/ 9376 w 10000"/>
              <a:gd name="connsiteY14" fmla="*/ 7666 h 9665"/>
              <a:gd name="connsiteX15" fmla="*/ 8750 w 10000"/>
              <a:gd name="connsiteY15" fmla="*/ 6666 h 9665"/>
              <a:gd name="connsiteX16" fmla="*/ 9062 w 10000"/>
              <a:gd name="connsiteY16" fmla="*/ 6332 h 9665"/>
              <a:gd name="connsiteX17" fmla="*/ 9062 w 10000"/>
              <a:gd name="connsiteY17" fmla="*/ 5666 h 9665"/>
              <a:gd name="connsiteX18" fmla="*/ 9062 w 10000"/>
              <a:gd name="connsiteY18" fmla="*/ 4999 h 9665"/>
              <a:gd name="connsiteX19" fmla="*/ 8750 w 10000"/>
              <a:gd name="connsiteY19" fmla="*/ 4666 h 9665"/>
              <a:gd name="connsiteX20" fmla="*/ 8750 w 10000"/>
              <a:gd name="connsiteY20" fmla="*/ 4334 h 9665"/>
              <a:gd name="connsiteX21" fmla="*/ 8750 w 10000"/>
              <a:gd name="connsiteY21" fmla="*/ 3333 h 9665"/>
              <a:gd name="connsiteX22" fmla="*/ 8125 w 10000"/>
              <a:gd name="connsiteY22" fmla="*/ 3001 h 9665"/>
              <a:gd name="connsiteX23" fmla="*/ 7812 w 10000"/>
              <a:gd name="connsiteY23" fmla="*/ 2333 h 9665"/>
              <a:gd name="connsiteX24" fmla="*/ 8438 w 10000"/>
              <a:gd name="connsiteY24" fmla="*/ 1666 h 9665"/>
              <a:gd name="connsiteX25" fmla="*/ 8125 w 10000"/>
              <a:gd name="connsiteY25" fmla="*/ 333 h 9665"/>
              <a:gd name="connsiteX26" fmla="*/ 8438 w 10000"/>
              <a:gd name="connsiteY26" fmla="*/ 0 h 9665"/>
              <a:gd name="connsiteX27" fmla="*/ 8125 w 10000"/>
              <a:gd name="connsiteY27" fmla="*/ 333 h 9665"/>
              <a:gd name="connsiteX28" fmla="*/ 7188 w 10000"/>
              <a:gd name="connsiteY28" fmla="*/ 0 h 9665"/>
              <a:gd name="connsiteX29" fmla="*/ 6875 w 10000"/>
              <a:gd name="connsiteY29" fmla="*/ 333 h 9665"/>
              <a:gd name="connsiteX30" fmla="*/ 6250 w 10000"/>
              <a:gd name="connsiteY30" fmla="*/ 0 h 9665"/>
              <a:gd name="connsiteX31" fmla="*/ 5625 w 10000"/>
              <a:gd name="connsiteY31" fmla="*/ 333 h 9665"/>
              <a:gd name="connsiteX32" fmla="*/ 4687 w 10000"/>
              <a:gd name="connsiteY32" fmla="*/ 333 h 9665"/>
              <a:gd name="connsiteX33" fmla="*/ 3125 w 10000"/>
              <a:gd name="connsiteY33" fmla="*/ 1333 h 9665"/>
              <a:gd name="connsiteX0" fmla="*/ 3125 w 10000"/>
              <a:gd name="connsiteY0" fmla="*/ 1379 h 8621"/>
              <a:gd name="connsiteX1" fmla="*/ 3125 w 10000"/>
              <a:gd name="connsiteY1" fmla="*/ 1379 h 8621"/>
              <a:gd name="connsiteX2" fmla="*/ 3437 w 10000"/>
              <a:gd name="connsiteY2" fmla="*/ 1379 h 8621"/>
              <a:gd name="connsiteX3" fmla="*/ 3750 w 10000"/>
              <a:gd name="connsiteY3" fmla="*/ 3105 h 8621"/>
              <a:gd name="connsiteX4" fmla="*/ 2500 w 10000"/>
              <a:gd name="connsiteY4" fmla="*/ 3449 h 8621"/>
              <a:gd name="connsiteX5" fmla="*/ 2500 w 10000"/>
              <a:gd name="connsiteY5" fmla="*/ 3793 h 8621"/>
              <a:gd name="connsiteX6" fmla="*/ 1562 w 10000"/>
              <a:gd name="connsiteY6" fmla="*/ 4484 h 8621"/>
              <a:gd name="connsiteX7" fmla="*/ 312 w 10000"/>
              <a:gd name="connsiteY7" fmla="*/ 5172 h 8621"/>
              <a:gd name="connsiteX8" fmla="*/ 0 w 10000"/>
              <a:gd name="connsiteY8" fmla="*/ 5519 h 8621"/>
              <a:gd name="connsiteX9" fmla="*/ 0 w 10000"/>
              <a:gd name="connsiteY9" fmla="*/ 6207 h 8621"/>
              <a:gd name="connsiteX10" fmla="*/ 1875 w 10000"/>
              <a:gd name="connsiteY10" fmla="*/ 7586 h 8621"/>
              <a:gd name="connsiteX11" fmla="*/ 10000 w 10000"/>
              <a:gd name="connsiteY11" fmla="*/ 8621 h 8621"/>
              <a:gd name="connsiteX12" fmla="*/ 9688 w 10000"/>
              <a:gd name="connsiteY12" fmla="*/ 7932 h 8621"/>
              <a:gd name="connsiteX13" fmla="*/ 9376 w 10000"/>
              <a:gd name="connsiteY13" fmla="*/ 7932 h 8621"/>
              <a:gd name="connsiteX14" fmla="*/ 8750 w 10000"/>
              <a:gd name="connsiteY14" fmla="*/ 6897 h 8621"/>
              <a:gd name="connsiteX15" fmla="*/ 9062 w 10000"/>
              <a:gd name="connsiteY15" fmla="*/ 6551 h 8621"/>
              <a:gd name="connsiteX16" fmla="*/ 9062 w 10000"/>
              <a:gd name="connsiteY16" fmla="*/ 5862 h 8621"/>
              <a:gd name="connsiteX17" fmla="*/ 9062 w 10000"/>
              <a:gd name="connsiteY17" fmla="*/ 5172 h 8621"/>
              <a:gd name="connsiteX18" fmla="*/ 8750 w 10000"/>
              <a:gd name="connsiteY18" fmla="*/ 4828 h 8621"/>
              <a:gd name="connsiteX19" fmla="*/ 8750 w 10000"/>
              <a:gd name="connsiteY19" fmla="*/ 4484 h 8621"/>
              <a:gd name="connsiteX20" fmla="*/ 8750 w 10000"/>
              <a:gd name="connsiteY20" fmla="*/ 3449 h 8621"/>
              <a:gd name="connsiteX21" fmla="*/ 8125 w 10000"/>
              <a:gd name="connsiteY21" fmla="*/ 3105 h 8621"/>
              <a:gd name="connsiteX22" fmla="*/ 7812 w 10000"/>
              <a:gd name="connsiteY22" fmla="*/ 2414 h 8621"/>
              <a:gd name="connsiteX23" fmla="*/ 8438 w 10000"/>
              <a:gd name="connsiteY23" fmla="*/ 1724 h 8621"/>
              <a:gd name="connsiteX24" fmla="*/ 8125 w 10000"/>
              <a:gd name="connsiteY24" fmla="*/ 345 h 8621"/>
              <a:gd name="connsiteX25" fmla="*/ 8438 w 10000"/>
              <a:gd name="connsiteY25" fmla="*/ 0 h 8621"/>
              <a:gd name="connsiteX26" fmla="*/ 8125 w 10000"/>
              <a:gd name="connsiteY26" fmla="*/ 345 h 8621"/>
              <a:gd name="connsiteX27" fmla="*/ 7188 w 10000"/>
              <a:gd name="connsiteY27" fmla="*/ 0 h 8621"/>
              <a:gd name="connsiteX28" fmla="*/ 6875 w 10000"/>
              <a:gd name="connsiteY28" fmla="*/ 345 h 8621"/>
              <a:gd name="connsiteX29" fmla="*/ 6250 w 10000"/>
              <a:gd name="connsiteY29" fmla="*/ 0 h 8621"/>
              <a:gd name="connsiteX30" fmla="*/ 5625 w 10000"/>
              <a:gd name="connsiteY30" fmla="*/ 345 h 8621"/>
              <a:gd name="connsiteX31" fmla="*/ 4687 w 10000"/>
              <a:gd name="connsiteY31" fmla="*/ 345 h 8621"/>
              <a:gd name="connsiteX32" fmla="*/ 3125 w 10000"/>
              <a:gd name="connsiteY32" fmla="*/ 1379 h 8621"/>
              <a:gd name="connsiteX0" fmla="*/ 3125 w 10000"/>
              <a:gd name="connsiteY0" fmla="*/ 1600 h 10000"/>
              <a:gd name="connsiteX1" fmla="*/ 3125 w 10000"/>
              <a:gd name="connsiteY1" fmla="*/ 1600 h 10000"/>
              <a:gd name="connsiteX2" fmla="*/ 3437 w 10000"/>
              <a:gd name="connsiteY2" fmla="*/ 1600 h 10000"/>
              <a:gd name="connsiteX3" fmla="*/ 3750 w 10000"/>
              <a:gd name="connsiteY3" fmla="*/ 3602 h 10000"/>
              <a:gd name="connsiteX4" fmla="*/ 2500 w 10000"/>
              <a:gd name="connsiteY4" fmla="*/ 4001 h 10000"/>
              <a:gd name="connsiteX5" fmla="*/ 2500 w 10000"/>
              <a:gd name="connsiteY5" fmla="*/ 4400 h 10000"/>
              <a:gd name="connsiteX6" fmla="*/ 1562 w 10000"/>
              <a:gd name="connsiteY6" fmla="*/ 5201 h 10000"/>
              <a:gd name="connsiteX7" fmla="*/ 312 w 10000"/>
              <a:gd name="connsiteY7" fmla="*/ 5999 h 10000"/>
              <a:gd name="connsiteX8" fmla="*/ 0 w 10000"/>
              <a:gd name="connsiteY8" fmla="*/ 6402 h 10000"/>
              <a:gd name="connsiteX9" fmla="*/ 0 w 10000"/>
              <a:gd name="connsiteY9" fmla="*/ 7200 h 10000"/>
              <a:gd name="connsiteX10" fmla="*/ 10000 w 10000"/>
              <a:gd name="connsiteY10" fmla="*/ 10000 h 10000"/>
              <a:gd name="connsiteX11" fmla="*/ 9688 w 10000"/>
              <a:gd name="connsiteY11" fmla="*/ 9201 h 10000"/>
              <a:gd name="connsiteX12" fmla="*/ 9376 w 10000"/>
              <a:gd name="connsiteY12" fmla="*/ 9201 h 10000"/>
              <a:gd name="connsiteX13" fmla="*/ 8750 w 10000"/>
              <a:gd name="connsiteY13" fmla="*/ 8000 h 10000"/>
              <a:gd name="connsiteX14" fmla="*/ 9062 w 10000"/>
              <a:gd name="connsiteY14" fmla="*/ 7599 h 10000"/>
              <a:gd name="connsiteX15" fmla="*/ 9062 w 10000"/>
              <a:gd name="connsiteY15" fmla="*/ 6800 h 10000"/>
              <a:gd name="connsiteX16" fmla="*/ 9062 w 10000"/>
              <a:gd name="connsiteY16" fmla="*/ 5999 h 10000"/>
              <a:gd name="connsiteX17" fmla="*/ 8750 w 10000"/>
              <a:gd name="connsiteY17" fmla="*/ 5600 h 10000"/>
              <a:gd name="connsiteX18" fmla="*/ 8750 w 10000"/>
              <a:gd name="connsiteY18" fmla="*/ 5201 h 10000"/>
              <a:gd name="connsiteX19" fmla="*/ 8750 w 10000"/>
              <a:gd name="connsiteY19" fmla="*/ 4001 h 10000"/>
              <a:gd name="connsiteX20" fmla="*/ 8125 w 10000"/>
              <a:gd name="connsiteY20" fmla="*/ 3602 h 10000"/>
              <a:gd name="connsiteX21" fmla="*/ 7812 w 10000"/>
              <a:gd name="connsiteY21" fmla="*/ 2800 h 10000"/>
              <a:gd name="connsiteX22" fmla="*/ 8438 w 10000"/>
              <a:gd name="connsiteY22" fmla="*/ 2000 h 10000"/>
              <a:gd name="connsiteX23" fmla="*/ 8125 w 10000"/>
              <a:gd name="connsiteY23" fmla="*/ 400 h 10000"/>
              <a:gd name="connsiteX24" fmla="*/ 8438 w 10000"/>
              <a:gd name="connsiteY24" fmla="*/ 0 h 10000"/>
              <a:gd name="connsiteX25" fmla="*/ 8125 w 10000"/>
              <a:gd name="connsiteY25" fmla="*/ 400 h 10000"/>
              <a:gd name="connsiteX26" fmla="*/ 7188 w 10000"/>
              <a:gd name="connsiteY26" fmla="*/ 0 h 10000"/>
              <a:gd name="connsiteX27" fmla="*/ 6875 w 10000"/>
              <a:gd name="connsiteY27" fmla="*/ 400 h 10000"/>
              <a:gd name="connsiteX28" fmla="*/ 6250 w 10000"/>
              <a:gd name="connsiteY28" fmla="*/ 0 h 10000"/>
              <a:gd name="connsiteX29" fmla="*/ 5625 w 10000"/>
              <a:gd name="connsiteY29" fmla="*/ 400 h 10000"/>
              <a:gd name="connsiteX30" fmla="*/ 4687 w 10000"/>
              <a:gd name="connsiteY30" fmla="*/ 400 h 10000"/>
              <a:gd name="connsiteX31" fmla="*/ 3125 w 10000"/>
              <a:gd name="connsiteY31" fmla="*/ 1600 h 10000"/>
              <a:gd name="connsiteX0" fmla="*/ 3125 w 10000"/>
              <a:gd name="connsiteY0" fmla="*/ 1600 h 10000"/>
              <a:gd name="connsiteX1" fmla="*/ 3125 w 10000"/>
              <a:gd name="connsiteY1" fmla="*/ 1600 h 10000"/>
              <a:gd name="connsiteX2" fmla="*/ 3437 w 10000"/>
              <a:gd name="connsiteY2" fmla="*/ 1600 h 10000"/>
              <a:gd name="connsiteX3" fmla="*/ 3750 w 10000"/>
              <a:gd name="connsiteY3" fmla="*/ 3602 h 10000"/>
              <a:gd name="connsiteX4" fmla="*/ 2500 w 10000"/>
              <a:gd name="connsiteY4" fmla="*/ 4001 h 10000"/>
              <a:gd name="connsiteX5" fmla="*/ 2500 w 10000"/>
              <a:gd name="connsiteY5" fmla="*/ 4400 h 10000"/>
              <a:gd name="connsiteX6" fmla="*/ 1562 w 10000"/>
              <a:gd name="connsiteY6" fmla="*/ 5201 h 10000"/>
              <a:gd name="connsiteX7" fmla="*/ 312 w 10000"/>
              <a:gd name="connsiteY7" fmla="*/ 5999 h 10000"/>
              <a:gd name="connsiteX8" fmla="*/ 0 w 10000"/>
              <a:gd name="connsiteY8" fmla="*/ 6402 h 10000"/>
              <a:gd name="connsiteX9" fmla="*/ 10000 w 10000"/>
              <a:gd name="connsiteY9" fmla="*/ 10000 h 10000"/>
              <a:gd name="connsiteX10" fmla="*/ 9688 w 10000"/>
              <a:gd name="connsiteY10" fmla="*/ 9201 h 10000"/>
              <a:gd name="connsiteX11" fmla="*/ 9376 w 10000"/>
              <a:gd name="connsiteY11" fmla="*/ 9201 h 10000"/>
              <a:gd name="connsiteX12" fmla="*/ 8750 w 10000"/>
              <a:gd name="connsiteY12" fmla="*/ 8000 h 10000"/>
              <a:gd name="connsiteX13" fmla="*/ 9062 w 10000"/>
              <a:gd name="connsiteY13" fmla="*/ 7599 h 10000"/>
              <a:gd name="connsiteX14" fmla="*/ 9062 w 10000"/>
              <a:gd name="connsiteY14" fmla="*/ 6800 h 10000"/>
              <a:gd name="connsiteX15" fmla="*/ 9062 w 10000"/>
              <a:gd name="connsiteY15" fmla="*/ 5999 h 10000"/>
              <a:gd name="connsiteX16" fmla="*/ 8750 w 10000"/>
              <a:gd name="connsiteY16" fmla="*/ 5600 h 10000"/>
              <a:gd name="connsiteX17" fmla="*/ 8750 w 10000"/>
              <a:gd name="connsiteY17" fmla="*/ 5201 h 10000"/>
              <a:gd name="connsiteX18" fmla="*/ 8750 w 10000"/>
              <a:gd name="connsiteY18" fmla="*/ 4001 h 10000"/>
              <a:gd name="connsiteX19" fmla="*/ 8125 w 10000"/>
              <a:gd name="connsiteY19" fmla="*/ 3602 h 10000"/>
              <a:gd name="connsiteX20" fmla="*/ 7812 w 10000"/>
              <a:gd name="connsiteY20" fmla="*/ 2800 h 10000"/>
              <a:gd name="connsiteX21" fmla="*/ 8438 w 10000"/>
              <a:gd name="connsiteY21" fmla="*/ 2000 h 10000"/>
              <a:gd name="connsiteX22" fmla="*/ 8125 w 10000"/>
              <a:gd name="connsiteY22" fmla="*/ 400 h 10000"/>
              <a:gd name="connsiteX23" fmla="*/ 8438 w 10000"/>
              <a:gd name="connsiteY23" fmla="*/ 0 h 10000"/>
              <a:gd name="connsiteX24" fmla="*/ 8125 w 10000"/>
              <a:gd name="connsiteY24" fmla="*/ 400 h 10000"/>
              <a:gd name="connsiteX25" fmla="*/ 7188 w 10000"/>
              <a:gd name="connsiteY25" fmla="*/ 0 h 10000"/>
              <a:gd name="connsiteX26" fmla="*/ 6875 w 10000"/>
              <a:gd name="connsiteY26" fmla="*/ 400 h 10000"/>
              <a:gd name="connsiteX27" fmla="*/ 6250 w 10000"/>
              <a:gd name="connsiteY27" fmla="*/ 0 h 10000"/>
              <a:gd name="connsiteX28" fmla="*/ 5625 w 10000"/>
              <a:gd name="connsiteY28" fmla="*/ 400 h 10000"/>
              <a:gd name="connsiteX29" fmla="*/ 4687 w 10000"/>
              <a:gd name="connsiteY29" fmla="*/ 400 h 10000"/>
              <a:gd name="connsiteX30" fmla="*/ 3125 w 10000"/>
              <a:gd name="connsiteY30" fmla="*/ 1600 h 10000"/>
              <a:gd name="connsiteX0" fmla="*/ 2813 w 9688"/>
              <a:gd name="connsiteY0" fmla="*/ 1600 h 10000"/>
              <a:gd name="connsiteX1" fmla="*/ 2813 w 9688"/>
              <a:gd name="connsiteY1" fmla="*/ 1600 h 10000"/>
              <a:gd name="connsiteX2" fmla="*/ 3125 w 9688"/>
              <a:gd name="connsiteY2" fmla="*/ 1600 h 10000"/>
              <a:gd name="connsiteX3" fmla="*/ 3438 w 9688"/>
              <a:gd name="connsiteY3" fmla="*/ 3602 h 10000"/>
              <a:gd name="connsiteX4" fmla="*/ 2188 w 9688"/>
              <a:gd name="connsiteY4" fmla="*/ 4001 h 10000"/>
              <a:gd name="connsiteX5" fmla="*/ 2188 w 9688"/>
              <a:gd name="connsiteY5" fmla="*/ 4400 h 10000"/>
              <a:gd name="connsiteX6" fmla="*/ 1250 w 9688"/>
              <a:gd name="connsiteY6" fmla="*/ 5201 h 10000"/>
              <a:gd name="connsiteX7" fmla="*/ 0 w 9688"/>
              <a:gd name="connsiteY7" fmla="*/ 5999 h 10000"/>
              <a:gd name="connsiteX8" fmla="*/ 9688 w 9688"/>
              <a:gd name="connsiteY8" fmla="*/ 10000 h 10000"/>
              <a:gd name="connsiteX9" fmla="*/ 9376 w 9688"/>
              <a:gd name="connsiteY9" fmla="*/ 9201 h 10000"/>
              <a:gd name="connsiteX10" fmla="*/ 9064 w 9688"/>
              <a:gd name="connsiteY10" fmla="*/ 9201 h 10000"/>
              <a:gd name="connsiteX11" fmla="*/ 8438 w 9688"/>
              <a:gd name="connsiteY11" fmla="*/ 8000 h 10000"/>
              <a:gd name="connsiteX12" fmla="*/ 8750 w 9688"/>
              <a:gd name="connsiteY12" fmla="*/ 7599 h 10000"/>
              <a:gd name="connsiteX13" fmla="*/ 8750 w 9688"/>
              <a:gd name="connsiteY13" fmla="*/ 6800 h 10000"/>
              <a:gd name="connsiteX14" fmla="*/ 8750 w 9688"/>
              <a:gd name="connsiteY14" fmla="*/ 5999 h 10000"/>
              <a:gd name="connsiteX15" fmla="*/ 8438 w 9688"/>
              <a:gd name="connsiteY15" fmla="*/ 5600 h 10000"/>
              <a:gd name="connsiteX16" fmla="*/ 8438 w 9688"/>
              <a:gd name="connsiteY16" fmla="*/ 5201 h 10000"/>
              <a:gd name="connsiteX17" fmla="*/ 8438 w 9688"/>
              <a:gd name="connsiteY17" fmla="*/ 4001 h 10000"/>
              <a:gd name="connsiteX18" fmla="*/ 7813 w 9688"/>
              <a:gd name="connsiteY18" fmla="*/ 3602 h 10000"/>
              <a:gd name="connsiteX19" fmla="*/ 7500 w 9688"/>
              <a:gd name="connsiteY19" fmla="*/ 2800 h 10000"/>
              <a:gd name="connsiteX20" fmla="*/ 8126 w 9688"/>
              <a:gd name="connsiteY20" fmla="*/ 2000 h 10000"/>
              <a:gd name="connsiteX21" fmla="*/ 7813 w 9688"/>
              <a:gd name="connsiteY21" fmla="*/ 400 h 10000"/>
              <a:gd name="connsiteX22" fmla="*/ 8126 w 9688"/>
              <a:gd name="connsiteY22" fmla="*/ 0 h 10000"/>
              <a:gd name="connsiteX23" fmla="*/ 7813 w 9688"/>
              <a:gd name="connsiteY23" fmla="*/ 400 h 10000"/>
              <a:gd name="connsiteX24" fmla="*/ 6876 w 9688"/>
              <a:gd name="connsiteY24" fmla="*/ 0 h 10000"/>
              <a:gd name="connsiteX25" fmla="*/ 6563 w 9688"/>
              <a:gd name="connsiteY25" fmla="*/ 400 h 10000"/>
              <a:gd name="connsiteX26" fmla="*/ 5938 w 9688"/>
              <a:gd name="connsiteY26" fmla="*/ 0 h 10000"/>
              <a:gd name="connsiteX27" fmla="*/ 5313 w 9688"/>
              <a:gd name="connsiteY27" fmla="*/ 400 h 10000"/>
              <a:gd name="connsiteX28" fmla="*/ 4375 w 9688"/>
              <a:gd name="connsiteY28" fmla="*/ 400 h 10000"/>
              <a:gd name="connsiteX29" fmla="*/ 2813 w 9688"/>
              <a:gd name="connsiteY29" fmla="*/ 1600 h 10000"/>
              <a:gd name="connsiteX0" fmla="*/ 2904 w 9678"/>
              <a:gd name="connsiteY0" fmla="*/ 1600 h 9201"/>
              <a:gd name="connsiteX1" fmla="*/ 2904 w 9678"/>
              <a:gd name="connsiteY1" fmla="*/ 1600 h 9201"/>
              <a:gd name="connsiteX2" fmla="*/ 3226 w 9678"/>
              <a:gd name="connsiteY2" fmla="*/ 1600 h 9201"/>
              <a:gd name="connsiteX3" fmla="*/ 3549 w 9678"/>
              <a:gd name="connsiteY3" fmla="*/ 3602 h 9201"/>
              <a:gd name="connsiteX4" fmla="*/ 2258 w 9678"/>
              <a:gd name="connsiteY4" fmla="*/ 4001 h 9201"/>
              <a:gd name="connsiteX5" fmla="*/ 2258 w 9678"/>
              <a:gd name="connsiteY5" fmla="*/ 4400 h 9201"/>
              <a:gd name="connsiteX6" fmla="*/ 1290 w 9678"/>
              <a:gd name="connsiteY6" fmla="*/ 5201 h 9201"/>
              <a:gd name="connsiteX7" fmla="*/ 0 w 9678"/>
              <a:gd name="connsiteY7" fmla="*/ 5999 h 9201"/>
              <a:gd name="connsiteX8" fmla="*/ 9678 w 9678"/>
              <a:gd name="connsiteY8" fmla="*/ 9201 h 9201"/>
              <a:gd name="connsiteX9" fmla="*/ 9356 w 9678"/>
              <a:gd name="connsiteY9" fmla="*/ 9201 h 9201"/>
              <a:gd name="connsiteX10" fmla="*/ 8710 w 9678"/>
              <a:gd name="connsiteY10" fmla="*/ 8000 h 9201"/>
              <a:gd name="connsiteX11" fmla="*/ 9032 w 9678"/>
              <a:gd name="connsiteY11" fmla="*/ 7599 h 9201"/>
              <a:gd name="connsiteX12" fmla="*/ 9032 w 9678"/>
              <a:gd name="connsiteY12" fmla="*/ 6800 h 9201"/>
              <a:gd name="connsiteX13" fmla="*/ 9032 w 9678"/>
              <a:gd name="connsiteY13" fmla="*/ 5999 h 9201"/>
              <a:gd name="connsiteX14" fmla="*/ 8710 w 9678"/>
              <a:gd name="connsiteY14" fmla="*/ 5600 h 9201"/>
              <a:gd name="connsiteX15" fmla="*/ 8710 w 9678"/>
              <a:gd name="connsiteY15" fmla="*/ 5201 h 9201"/>
              <a:gd name="connsiteX16" fmla="*/ 8710 w 9678"/>
              <a:gd name="connsiteY16" fmla="*/ 4001 h 9201"/>
              <a:gd name="connsiteX17" fmla="*/ 8065 w 9678"/>
              <a:gd name="connsiteY17" fmla="*/ 3602 h 9201"/>
              <a:gd name="connsiteX18" fmla="*/ 7742 w 9678"/>
              <a:gd name="connsiteY18" fmla="*/ 2800 h 9201"/>
              <a:gd name="connsiteX19" fmla="*/ 8388 w 9678"/>
              <a:gd name="connsiteY19" fmla="*/ 2000 h 9201"/>
              <a:gd name="connsiteX20" fmla="*/ 8065 w 9678"/>
              <a:gd name="connsiteY20" fmla="*/ 400 h 9201"/>
              <a:gd name="connsiteX21" fmla="*/ 8388 w 9678"/>
              <a:gd name="connsiteY21" fmla="*/ 0 h 9201"/>
              <a:gd name="connsiteX22" fmla="*/ 8065 w 9678"/>
              <a:gd name="connsiteY22" fmla="*/ 400 h 9201"/>
              <a:gd name="connsiteX23" fmla="*/ 7097 w 9678"/>
              <a:gd name="connsiteY23" fmla="*/ 0 h 9201"/>
              <a:gd name="connsiteX24" fmla="*/ 6774 w 9678"/>
              <a:gd name="connsiteY24" fmla="*/ 400 h 9201"/>
              <a:gd name="connsiteX25" fmla="*/ 6129 w 9678"/>
              <a:gd name="connsiteY25" fmla="*/ 0 h 9201"/>
              <a:gd name="connsiteX26" fmla="*/ 5484 w 9678"/>
              <a:gd name="connsiteY26" fmla="*/ 400 h 9201"/>
              <a:gd name="connsiteX27" fmla="*/ 4516 w 9678"/>
              <a:gd name="connsiteY27" fmla="*/ 400 h 9201"/>
              <a:gd name="connsiteX28" fmla="*/ 2904 w 9678"/>
              <a:gd name="connsiteY28" fmla="*/ 1600 h 9201"/>
              <a:gd name="connsiteX0" fmla="*/ 3001 w 9667"/>
              <a:gd name="connsiteY0" fmla="*/ 1739 h 10000"/>
              <a:gd name="connsiteX1" fmla="*/ 3001 w 9667"/>
              <a:gd name="connsiteY1" fmla="*/ 1739 h 10000"/>
              <a:gd name="connsiteX2" fmla="*/ 3333 w 9667"/>
              <a:gd name="connsiteY2" fmla="*/ 1739 h 10000"/>
              <a:gd name="connsiteX3" fmla="*/ 3667 w 9667"/>
              <a:gd name="connsiteY3" fmla="*/ 3915 h 10000"/>
              <a:gd name="connsiteX4" fmla="*/ 2333 w 9667"/>
              <a:gd name="connsiteY4" fmla="*/ 4348 h 10000"/>
              <a:gd name="connsiteX5" fmla="*/ 2333 w 9667"/>
              <a:gd name="connsiteY5" fmla="*/ 4782 h 10000"/>
              <a:gd name="connsiteX6" fmla="*/ 1333 w 9667"/>
              <a:gd name="connsiteY6" fmla="*/ 5653 h 10000"/>
              <a:gd name="connsiteX7" fmla="*/ 0 w 9667"/>
              <a:gd name="connsiteY7" fmla="*/ 6520 h 10000"/>
              <a:gd name="connsiteX8" fmla="*/ 9667 w 9667"/>
              <a:gd name="connsiteY8" fmla="*/ 10000 h 10000"/>
              <a:gd name="connsiteX9" fmla="*/ 9000 w 9667"/>
              <a:gd name="connsiteY9" fmla="*/ 8695 h 10000"/>
              <a:gd name="connsiteX10" fmla="*/ 9333 w 9667"/>
              <a:gd name="connsiteY10" fmla="*/ 8259 h 10000"/>
              <a:gd name="connsiteX11" fmla="*/ 9333 w 9667"/>
              <a:gd name="connsiteY11" fmla="*/ 7391 h 10000"/>
              <a:gd name="connsiteX12" fmla="*/ 9333 w 9667"/>
              <a:gd name="connsiteY12" fmla="*/ 6520 h 10000"/>
              <a:gd name="connsiteX13" fmla="*/ 9000 w 9667"/>
              <a:gd name="connsiteY13" fmla="*/ 6086 h 10000"/>
              <a:gd name="connsiteX14" fmla="*/ 9000 w 9667"/>
              <a:gd name="connsiteY14" fmla="*/ 5653 h 10000"/>
              <a:gd name="connsiteX15" fmla="*/ 9000 w 9667"/>
              <a:gd name="connsiteY15" fmla="*/ 4348 h 10000"/>
              <a:gd name="connsiteX16" fmla="*/ 8333 w 9667"/>
              <a:gd name="connsiteY16" fmla="*/ 3915 h 10000"/>
              <a:gd name="connsiteX17" fmla="*/ 8000 w 9667"/>
              <a:gd name="connsiteY17" fmla="*/ 3043 h 10000"/>
              <a:gd name="connsiteX18" fmla="*/ 8667 w 9667"/>
              <a:gd name="connsiteY18" fmla="*/ 2174 h 10000"/>
              <a:gd name="connsiteX19" fmla="*/ 8333 w 9667"/>
              <a:gd name="connsiteY19" fmla="*/ 435 h 10000"/>
              <a:gd name="connsiteX20" fmla="*/ 8667 w 9667"/>
              <a:gd name="connsiteY20" fmla="*/ 0 h 10000"/>
              <a:gd name="connsiteX21" fmla="*/ 8333 w 9667"/>
              <a:gd name="connsiteY21" fmla="*/ 435 h 10000"/>
              <a:gd name="connsiteX22" fmla="*/ 7333 w 9667"/>
              <a:gd name="connsiteY22" fmla="*/ 0 h 10000"/>
              <a:gd name="connsiteX23" fmla="*/ 6999 w 9667"/>
              <a:gd name="connsiteY23" fmla="*/ 435 h 10000"/>
              <a:gd name="connsiteX24" fmla="*/ 6333 w 9667"/>
              <a:gd name="connsiteY24" fmla="*/ 0 h 10000"/>
              <a:gd name="connsiteX25" fmla="*/ 5666 w 9667"/>
              <a:gd name="connsiteY25" fmla="*/ 435 h 10000"/>
              <a:gd name="connsiteX26" fmla="*/ 4666 w 9667"/>
              <a:gd name="connsiteY26" fmla="*/ 435 h 10000"/>
              <a:gd name="connsiteX27" fmla="*/ 3001 w 9667"/>
              <a:gd name="connsiteY27" fmla="*/ 1739 h 10000"/>
              <a:gd name="connsiteX0" fmla="*/ 3104 w 9654"/>
              <a:gd name="connsiteY0" fmla="*/ 1739 h 8695"/>
              <a:gd name="connsiteX1" fmla="*/ 3104 w 9654"/>
              <a:gd name="connsiteY1" fmla="*/ 1739 h 8695"/>
              <a:gd name="connsiteX2" fmla="*/ 3448 w 9654"/>
              <a:gd name="connsiteY2" fmla="*/ 1739 h 8695"/>
              <a:gd name="connsiteX3" fmla="*/ 3793 w 9654"/>
              <a:gd name="connsiteY3" fmla="*/ 3915 h 8695"/>
              <a:gd name="connsiteX4" fmla="*/ 2413 w 9654"/>
              <a:gd name="connsiteY4" fmla="*/ 4348 h 8695"/>
              <a:gd name="connsiteX5" fmla="*/ 2413 w 9654"/>
              <a:gd name="connsiteY5" fmla="*/ 4782 h 8695"/>
              <a:gd name="connsiteX6" fmla="*/ 1379 w 9654"/>
              <a:gd name="connsiteY6" fmla="*/ 5653 h 8695"/>
              <a:gd name="connsiteX7" fmla="*/ 0 w 9654"/>
              <a:gd name="connsiteY7" fmla="*/ 6520 h 8695"/>
              <a:gd name="connsiteX8" fmla="*/ 9310 w 9654"/>
              <a:gd name="connsiteY8" fmla="*/ 8695 h 8695"/>
              <a:gd name="connsiteX9" fmla="*/ 9654 w 9654"/>
              <a:gd name="connsiteY9" fmla="*/ 8259 h 8695"/>
              <a:gd name="connsiteX10" fmla="*/ 9654 w 9654"/>
              <a:gd name="connsiteY10" fmla="*/ 7391 h 8695"/>
              <a:gd name="connsiteX11" fmla="*/ 9654 w 9654"/>
              <a:gd name="connsiteY11" fmla="*/ 6520 h 8695"/>
              <a:gd name="connsiteX12" fmla="*/ 9310 w 9654"/>
              <a:gd name="connsiteY12" fmla="*/ 6086 h 8695"/>
              <a:gd name="connsiteX13" fmla="*/ 9310 w 9654"/>
              <a:gd name="connsiteY13" fmla="*/ 5653 h 8695"/>
              <a:gd name="connsiteX14" fmla="*/ 9310 w 9654"/>
              <a:gd name="connsiteY14" fmla="*/ 4348 h 8695"/>
              <a:gd name="connsiteX15" fmla="*/ 8620 w 9654"/>
              <a:gd name="connsiteY15" fmla="*/ 3915 h 8695"/>
              <a:gd name="connsiteX16" fmla="*/ 8276 w 9654"/>
              <a:gd name="connsiteY16" fmla="*/ 3043 h 8695"/>
              <a:gd name="connsiteX17" fmla="*/ 8966 w 9654"/>
              <a:gd name="connsiteY17" fmla="*/ 2174 h 8695"/>
              <a:gd name="connsiteX18" fmla="*/ 8620 w 9654"/>
              <a:gd name="connsiteY18" fmla="*/ 435 h 8695"/>
              <a:gd name="connsiteX19" fmla="*/ 8966 w 9654"/>
              <a:gd name="connsiteY19" fmla="*/ 0 h 8695"/>
              <a:gd name="connsiteX20" fmla="*/ 8620 w 9654"/>
              <a:gd name="connsiteY20" fmla="*/ 435 h 8695"/>
              <a:gd name="connsiteX21" fmla="*/ 7586 w 9654"/>
              <a:gd name="connsiteY21" fmla="*/ 0 h 8695"/>
              <a:gd name="connsiteX22" fmla="*/ 7240 w 9654"/>
              <a:gd name="connsiteY22" fmla="*/ 435 h 8695"/>
              <a:gd name="connsiteX23" fmla="*/ 6551 w 9654"/>
              <a:gd name="connsiteY23" fmla="*/ 0 h 8695"/>
              <a:gd name="connsiteX24" fmla="*/ 5861 w 9654"/>
              <a:gd name="connsiteY24" fmla="*/ 435 h 8695"/>
              <a:gd name="connsiteX25" fmla="*/ 4827 w 9654"/>
              <a:gd name="connsiteY25" fmla="*/ 435 h 8695"/>
              <a:gd name="connsiteX26" fmla="*/ 3104 w 9654"/>
              <a:gd name="connsiteY26" fmla="*/ 1739 h 8695"/>
              <a:gd name="connsiteX0" fmla="*/ 3215 w 10000"/>
              <a:gd name="connsiteY0" fmla="*/ 2000 h 9499"/>
              <a:gd name="connsiteX1" fmla="*/ 3215 w 10000"/>
              <a:gd name="connsiteY1" fmla="*/ 2000 h 9499"/>
              <a:gd name="connsiteX2" fmla="*/ 3572 w 10000"/>
              <a:gd name="connsiteY2" fmla="*/ 2000 h 9499"/>
              <a:gd name="connsiteX3" fmla="*/ 3929 w 10000"/>
              <a:gd name="connsiteY3" fmla="*/ 4503 h 9499"/>
              <a:gd name="connsiteX4" fmla="*/ 2499 w 10000"/>
              <a:gd name="connsiteY4" fmla="*/ 5001 h 9499"/>
              <a:gd name="connsiteX5" fmla="*/ 2499 w 10000"/>
              <a:gd name="connsiteY5" fmla="*/ 5500 h 9499"/>
              <a:gd name="connsiteX6" fmla="*/ 1428 w 10000"/>
              <a:gd name="connsiteY6" fmla="*/ 6501 h 9499"/>
              <a:gd name="connsiteX7" fmla="*/ 0 w 10000"/>
              <a:gd name="connsiteY7" fmla="*/ 7499 h 9499"/>
              <a:gd name="connsiteX8" fmla="*/ 10000 w 10000"/>
              <a:gd name="connsiteY8" fmla="*/ 9499 h 9499"/>
              <a:gd name="connsiteX9" fmla="*/ 10000 w 10000"/>
              <a:gd name="connsiteY9" fmla="*/ 8500 h 9499"/>
              <a:gd name="connsiteX10" fmla="*/ 10000 w 10000"/>
              <a:gd name="connsiteY10" fmla="*/ 7499 h 9499"/>
              <a:gd name="connsiteX11" fmla="*/ 9644 w 10000"/>
              <a:gd name="connsiteY11" fmla="*/ 6999 h 9499"/>
              <a:gd name="connsiteX12" fmla="*/ 9644 w 10000"/>
              <a:gd name="connsiteY12" fmla="*/ 6501 h 9499"/>
              <a:gd name="connsiteX13" fmla="*/ 9644 w 10000"/>
              <a:gd name="connsiteY13" fmla="*/ 5001 h 9499"/>
              <a:gd name="connsiteX14" fmla="*/ 8929 w 10000"/>
              <a:gd name="connsiteY14" fmla="*/ 4503 h 9499"/>
              <a:gd name="connsiteX15" fmla="*/ 8573 w 10000"/>
              <a:gd name="connsiteY15" fmla="*/ 3500 h 9499"/>
              <a:gd name="connsiteX16" fmla="*/ 9287 w 10000"/>
              <a:gd name="connsiteY16" fmla="*/ 2500 h 9499"/>
              <a:gd name="connsiteX17" fmla="*/ 8929 w 10000"/>
              <a:gd name="connsiteY17" fmla="*/ 500 h 9499"/>
              <a:gd name="connsiteX18" fmla="*/ 9287 w 10000"/>
              <a:gd name="connsiteY18" fmla="*/ 0 h 9499"/>
              <a:gd name="connsiteX19" fmla="*/ 8929 w 10000"/>
              <a:gd name="connsiteY19" fmla="*/ 500 h 9499"/>
              <a:gd name="connsiteX20" fmla="*/ 7858 w 10000"/>
              <a:gd name="connsiteY20" fmla="*/ 0 h 9499"/>
              <a:gd name="connsiteX21" fmla="*/ 7499 w 10000"/>
              <a:gd name="connsiteY21" fmla="*/ 500 h 9499"/>
              <a:gd name="connsiteX22" fmla="*/ 6786 w 10000"/>
              <a:gd name="connsiteY22" fmla="*/ 0 h 9499"/>
              <a:gd name="connsiteX23" fmla="*/ 6071 w 10000"/>
              <a:gd name="connsiteY23" fmla="*/ 500 h 9499"/>
              <a:gd name="connsiteX24" fmla="*/ 5000 w 10000"/>
              <a:gd name="connsiteY24" fmla="*/ 500 h 9499"/>
              <a:gd name="connsiteX25" fmla="*/ 3215 w 10000"/>
              <a:gd name="connsiteY25" fmla="*/ 2000 h 9499"/>
              <a:gd name="connsiteX0" fmla="*/ 3215 w 10000"/>
              <a:gd name="connsiteY0" fmla="*/ 2105 h 8948"/>
              <a:gd name="connsiteX1" fmla="*/ 3215 w 10000"/>
              <a:gd name="connsiteY1" fmla="*/ 2105 h 8948"/>
              <a:gd name="connsiteX2" fmla="*/ 3572 w 10000"/>
              <a:gd name="connsiteY2" fmla="*/ 2105 h 8948"/>
              <a:gd name="connsiteX3" fmla="*/ 3929 w 10000"/>
              <a:gd name="connsiteY3" fmla="*/ 4740 h 8948"/>
              <a:gd name="connsiteX4" fmla="*/ 2499 w 10000"/>
              <a:gd name="connsiteY4" fmla="*/ 5265 h 8948"/>
              <a:gd name="connsiteX5" fmla="*/ 2499 w 10000"/>
              <a:gd name="connsiteY5" fmla="*/ 5790 h 8948"/>
              <a:gd name="connsiteX6" fmla="*/ 1428 w 10000"/>
              <a:gd name="connsiteY6" fmla="*/ 6844 h 8948"/>
              <a:gd name="connsiteX7" fmla="*/ 0 w 10000"/>
              <a:gd name="connsiteY7" fmla="*/ 7895 h 8948"/>
              <a:gd name="connsiteX8" fmla="*/ 10000 w 10000"/>
              <a:gd name="connsiteY8" fmla="*/ 8948 h 8948"/>
              <a:gd name="connsiteX9" fmla="*/ 10000 w 10000"/>
              <a:gd name="connsiteY9" fmla="*/ 7895 h 8948"/>
              <a:gd name="connsiteX10" fmla="*/ 9644 w 10000"/>
              <a:gd name="connsiteY10" fmla="*/ 7368 h 8948"/>
              <a:gd name="connsiteX11" fmla="*/ 9644 w 10000"/>
              <a:gd name="connsiteY11" fmla="*/ 6844 h 8948"/>
              <a:gd name="connsiteX12" fmla="*/ 9644 w 10000"/>
              <a:gd name="connsiteY12" fmla="*/ 5265 h 8948"/>
              <a:gd name="connsiteX13" fmla="*/ 8929 w 10000"/>
              <a:gd name="connsiteY13" fmla="*/ 4740 h 8948"/>
              <a:gd name="connsiteX14" fmla="*/ 8573 w 10000"/>
              <a:gd name="connsiteY14" fmla="*/ 3685 h 8948"/>
              <a:gd name="connsiteX15" fmla="*/ 9287 w 10000"/>
              <a:gd name="connsiteY15" fmla="*/ 2632 h 8948"/>
              <a:gd name="connsiteX16" fmla="*/ 8929 w 10000"/>
              <a:gd name="connsiteY16" fmla="*/ 526 h 8948"/>
              <a:gd name="connsiteX17" fmla="*/ 9287 w 10000"/>
              <a:gd name="connsiteY17" fmla="*/ 0 h 8948"/>
              <a:gd name="connsiteX18" fmla="*/ 8929 w 10000"/>
              <a:gd name="connsiteY18" fmla="*/ 526 h 8948"/>
              <a:gd name="connsiteX19" fmla="*/ 7858 w 10000"/>
              <a:gd name="connsiteY19" fmla="*/ 0 h 8948"/>
              <a:gd name="connsiteX20" fmla="*/ 7499 w 10000"/>
              <a:gd name="connsiteY20" fmla="*/ 526 h 8948"/>
              <a:gd name="connsiteX21" fmla="*/ 6786 w 10000"/>
              <a:gd name="connsiteY21" fmla="*/ 0 h 8948"/>
              <a:gd name="connsiteX22" fmla="*/ 6071 w 10000"/>
              <a:gd name="connsiteY22" fmla="*/ 526 h 8948"/>
              <a:gd name="connsiteX23" fmla="*/ 5000 w 10000"/>
              <a:gd name="connsiteY23" fmla="*/ 526 h 8948"/>
              <a:gd name="connsiteX24" fmla="*/ 3215 w 10000"/>
              <a:gd name="connsiteY24" fmla="*/ 2105 h 8948"/>
              <a:gd name="connsiteX0" fmla="*/ 3215 w 10000"/>
              <a:gd name="connsiteY0" fmla="*/ 2352 h 8823"/>
              <a:gd name="connsiteX1" fmla="*/ 3215 w 10000"/>
              <a:gd name="connsiteY1" fmla="*/ 2352 h 8823"/>
              <a:gd name="connsiteX2" fmla="*/ 3572 w 10000"/>
              <a:gd name="connsiteY2" fmla="*/ 2352 h 8823"/>
              <a:gd name="connsiteX3" fmla="*/ 3929 w 10000"/>
              <a:gd name="connsiteY3" fmla="*/ 5297 h 8823"/>
              <a:gd name="connsiteX4" fmla="*/ 2499 w 10000"/>
              <a:gd name="connsiteY4" fmla="*/ 5884 h 8823"/>
              <a:gd name="connsiteX5" fmla="*/ 2499 w 10000"/>
              <a:gd name="connsiteY5" fmla="*/ 6471 h 8823"/>
              <a:gd name="connsiteX6" fmla="*/ 1428 w 10000"/>
              <a:gd name="connsiteY6" fmla="*/ 7649 h 8823"/>
              <a:gd name="connsiteX7" fmla="*/ 0 w 10000"/>
              <a:gd name="connsiteY7" fmla="*/ 8823 h 8823"/>
              <a:gd name="connsiteX8" fmla="*/ 10000 w 10000"/>
              <a:gd name="connsiteY8" fmla="*/ 8823 h 8823"/>
              <a:gd name="connsiteX9" fmla="*/ 9644 w 10000"/>
              <a:gd name="connsiteY9" fmla="*/ 8234 h 8823"/>
              <a:gd name="connsiteX10" fmla="*/ 9644 w 10000"/>
              <a:gd name="connsiteY10" fmla="*/ 7649 h 8823"/>
              <a:gd name="connsiteX11" fmla="*/ 9644 w 10000"/>
              <a:gd name="connsiteY11" fmla="*/ 5884 h 8823"/>
              <a:gd name="connsiteX12" fmla="*/ 8929 w 10000"/>
              <a:gd name="connsiteY12" fmla="*/ 5297 h 8823"/>
              <a:gd name="connsiteX13" fmla="*/ 8573 w 10000"/>
              <a:gd name="connsiteY13" fmla="*/ 4118 h 8823"/>
              <a:gd name="connsiteX14" fmla="*/ 9287 w 10000"/>
              <a:gd name="connsiteY14" fmla="*/ 2941 h 8823"/>
              <a:gd name="connsiteX15" fmla="*/ 8929 w 10000"/>
              <a:gd name="connsiteY15" fmla="*/ 588 h 8823"/>
              <a:gd name="connsiteX16" fmla="*/ 9287 w 10000"/>
              <a:gd name="connsiteY16" fmla="*/ 0 h 8823"/>
              <a:gd name="connsiteX17" fmla="*/ 8929 w 10000"/>
              <a:gd name="connsiteY17" fmla="*/ 588 h 8823"/>
              <a:gd name="connsiteX18" fmla="*/ 7858 w 10000"/>
              <a:gd name="connsiteY18" fmla="*/ 0 h 8823"/>
              <a:gd name="connsiteX19" fmla="*/ 7499 w 10000"/>
              <a:gd name="connsiteY19" fmla="*/ 588 h 8823"/>
              <a:gd name="connsiteX20" fmla="*/ 6786 w 10000"/>
              <a:gd name="connsiteY20" fmla="*/ 0 h 8823"/>
              <a:gd name="connsiteX21" fmla="*/ 6071 w 10000"/>
              <a:gd name="connsiteY21" fmla="*/ 588 h 8823"/>
              <a:gd name="connsiteX22" fmla="*/ 5000 w 10000"/>
              <a:gd name="connsiteY22" fmla="*/ 588 h 8823"/>
              <a:gd name="connsiteX23" fmla="*/ 3215 w 10000"/>
              <a:gd name="connsiteY23" fmla="*/ 2352 h 8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0000" h="8823">
                <a:moveTo>
                  <a:pt x="3215" y="2352"/>
                </a:moveTo>
                <a:lnTo>
                  <a:pt x="3215" y="2352"/>
                </a:lnTo>
                <a:lnTo>
                  <a:pt x="3572" y="2352"/>
                </a:lnTo>
                <a:cubicBezTo>
                  <a:pt x="3692" y="3334"/>
                  <a:pt x="3808" y="4317"/>
                  <a:pt x="3929" y="5297"/>
                </a:cubicBezTo>
                <a:lnTo>
                  <a:pt x="2499" y="5884"/>
                </a:lnTo>
                <a:lnTo>
                  <a:pt x="2499" y="6471"/>
                </a:lnTo>
                <a:lnTo>
                  <a:pt x="1428" y="7649"/>
                </a:lnTo>
                <a:lnTo>
                  <a:pt x="0" y="8823"/>
                </a:lnTo>
                <a:lnTo>
                  <a:pt x="10000" y="8823"/>
                </a:lnTo>
                <a:lnTo>
                  <a:pt x="9644" y="8234"/>
                </a:lnTo>
                <a:lnTo>
                  <a:pt x="9644" y="7649"/>
                </a:lnTo>
                <a:lnTo>
                  <a:pt x="9644" y="5884"/>
                </a:lnTo>
                <a:lnTo>
                  <a:pt x="8929" y="5297"/>
                </a:lnTo>
                <a:cubicBezTo>
                  <a:pt x="8810" y="4904"/>
                  <a:pt x="8690" y="4511"/>
                  <a:pt x="8573" y="4118"/>
                </a:cubicBezTo>
                <a:lnTo>
                  <a:pt x="9287" y="2941"/>
                </a:lnTo>
                <a:cubicBezTo>
                  <a:pt x="9168" y="2157"/>
                  <a:pt x="9048" y="1373"/>
                  <a:pt x="8929" y="588"/>
                </a:cubicBezTo>
                <a:lnTo>
                  <a:pt x="9287" y="0"/>
                </a:lnTo>
                <a:lnTo>
                  <a:pt x="8929" y="588"/>
                </a:lnTo>
                <a:lnTo>
                  <a:pt x="7858" y="0"/>
                </a:lnTo>
                <a:lnTo>
                  <a:pt x="7499" y="588"/>
                </a:lnTo>
                <a:lnTo>
                  <a:pt x="6786" y="0"/>
                </a:lnTo>
                <a:lnTo>
                  <a:pt x="6071" y="588"/>
                </a:lnTo>
                <a:lnTo>
                  <a:pt x="5000" y="588"/>
                </a:lnTo>
                <a:lnTo>
                  <a:pt x="3215" y="235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7" name="Freeform 124">
            <a:extLst>
              <a:ext uri="{FF2B5EF4-FFF2-40B4-BE49-F238E27FC236}">
                <a16:creationId xmlns:a16="http://schemas.microsoft.com/office/drawing/2014/main" id="{5A4E8E55-C316-4A4A-8B49-0B3FC035E414}"/>
              </a:ext>
            </a:extLst>
          </p:cNvPr>
          <p:cNvSpPr>
            <a:spLocks/>
          </p:cNvSpPr>
          <p:nvPr/>
        </p:nvSpPr>
        <p:spPr bwMode="gray">
          <a:xfrm>
            <a:off x="1508819" y="4075722"/>
            <a:ext cx="175628" cy="377597"/>
          </a:xfrm>
          <a:custGeom>
            <a:avLst/>
            <a:gdLst>
              <a:gd name="T0" fmla="*/ 2147483647 w 49"/>
              <a:gd name="T1" fmla="*/ 2147483647 h 105"/>
              <a:gd name="T2" fmla="*/ 2147483647 w 49"/>
              <a:gd name="T3" fmla="*/ 2147483647 h 105"/>
              <a:gd name="T4" fmla="*/ 2147483647 w 49"/>
              <a:gd name="T5" fmla="*/ 2147483647 h 105"/>
              <a:gd name="T6" fmla="*/ 2147483647 w 49"/>
              <a:gd name="T7" fmla="*/ 2147483647 h 105"/>
              <a:gd name="T8" fmla="*/ 2147483647 w 49"/>
              <a:gd name="T9" fmla="*/ 2147483647 h 105"/>
              <a:gd name="T10" fmla="*/ 2147483647 w 49"/>
              <a:gd name="T11" fmla="*/ 2147483647 h 105"/>
              <a:gd name="T12" fmla="*/ 2147483647 w 49"/>
              <a:gd name="T13" fmla="*/ 2147483647 h 105"/>
              <a:gd name="T14" fmla="*/ 2147483647 w 49"/>
              <a:gd name="T15" fmla="*/ 2147483647 h 105"/>
              <a:gd name="T16" fmla="*/ 0 w 49"/>
              <a:gd name="T17" fmla="*/ 2147483647 h 105"/>
              <a:gd name="T18" fmla="*/ 2147483647 w 49"/>
              <a:gd name="T19" fmla="*/ 2147483647 h 105"/>
              <a:gd name="T20" fmla="*/ 2147483647 w 49"/>
              <a:gd name="T21" fmla="*/ 2147483647 h 105"/>
              <a:gd name="T22" fmla="*/ 2147483647 w 49"/>
              <a:gd name="T23" fmla="*/ 0 h 105"/>
              <a:gd name="T24" fmla="*/ 2147483647 w 49"/>
              <a:gd name="T25" fmla="*/ 0 h 105"/>
              <a:gd name="T26" fmla="*/ 2147483647 w 49"/>
              <a:gd name="T27" fmla="*/ 2147483647 h 105"/>
              <a:gd name="T28" fmla="*/ 2147483647 w 49"/>
              <a:gd name="T29" fmla="*/ 0 h 105"/>
              <a:gd name="T30" fmla="*/ 2147483647 w 49"/>
              <a:gd name="T31" fmla="*/ 2147483647 h 105"/>
              <a:gd name="T32" fmla="*/ 2147483647 w 49"/>
              <a:gd name="T33" fmla="*/ 2147483647 h 105"/>
              <a:gd name="T34" fmla="*/ 2147483647 w 49"/>
              <a:gd name="T35" fmla="*/ 2147483647 h 105"/>
              <a:gd name="T36" fmla="*/ 2147483647 w 49"/>
              <a:gd name="T37" fmla="*/ 2147483647 h 105"/>
              <a:gd name="T38" fmla="*/ 2147483647 w 49"/>
              <a:gd name="T39" fmla="*/ 2147483647 h 105"/>
              <a:gd name="T40" fmla="*/ 2147483647 w 49"/>
              <a:gd name="T41" fmla="*/ 2147483647 h 10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9"/>
              <a:gd name="T64" fmla="*/ 0 h 105"/>
              <a:gd name="T65" fmla="*/ 49 w 49"/>
              <a:gd name="T66" fmla="*/ 105 h 105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9" h="105">
                <a:moveTo>
                  <a:pt x="48" y="64"/>
                </a:moveTo>
                <a:lnTo>
                  <a:pt x="48" y="64"/>
                </a:lnTo>
                <a:lnTo>
                  <a:pt x="48" y="72"/>
                </a:lnTo>
                <a:lnTo>
                  <a:pt x="32" y="88"/>
                </a:lnTo>
                <a:lnTo>
                  <a:pt x="32" y="96"/>
                </a:lnTo>
                <a:lnTo>
                  <a:pt x="24" y="104"/>
                </a:lnTo>
                <a:lnTo>
                  <a:pt x="24" y="80"/>
                </a:lnTo>
                <a:lnTo>
                  <a:pt x="8" y="72"/>
                </a:lnTo>
                <a:lnTo>
                  <a:pt x="0" y="56"/>
                </a:lnTo>
                <a:lnTo>
                  <a:pt x="16" y="40"/>
                </a:lnTo>
                <a:lnTo>
                  <a:pt x="8" y="8"/>
                </a:lnTo>
                <a:lnTo>
                  <a:pt x="16" y="0"/>
                </a:lnTo>
                <a:lnTo>
                  <a:pt x="32" y="0"/>
                </a:lnTo>
                <a:lnTo>
                  <a:pt x="40" y="8"/>
                </a:lnTo>
                <a:lnTo>
                  <a:pt x="48" y="0"/>
                </a:lnTo>
                <a:lnTo>
                  <a:pt x="40" y="16"/>
                </a:lnTo>
                <a:lnTo>
                  <a:pt x="48" y="32"/>
                </a:lnTo>
                <a:lnTo>
                  <a:pt x="32" y="48"/>
                </a:lnTo>
                <a:lnTo>
                  <a:pt x="32" y="56"/>
                </a:lnTo>
                <a:lnTo>
                  <a:pt x="48" y="56"/>
                </a:lnTo>
                <a:lnTo>
                  <a:pt x="48" y="6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8" name="Freeform 125">
            <a:extLst>
              <a:ext uri="{FF2B5EF4-FFF2-40B4-BE49-F238E27FC236}">
                <a16:creationId xmlns:a16="http://schemas.microsoft.com/office/drawing/2014/main" id="{0B0F9454-2D98-423B-BF0D-2A3596FFF491}"/>
              </a:ext>
            </a:extLst>
          </p:cNvPr>
          <p:cNvSpPr>
            <a:spLocks/>
          </p:cNvSpPr>
          <p:nvPr/>
        </p:nvSpPr>
        <p:spPr bwMode="gray">
          <a:xfrm>
            <a:off x="1591488" y="4301902"/>
            <a:ext cx="747053" cy="238725"/>
          </a:xfrm>
          <a:custGeom>
            <a:avLst/>
            <a:gdLst>
              <a:gd name="T0" fmla="*/ 2147483647 w 201"/>
              <a:gd name="T1" fmla="*/ 2147483647 h 193"/>
              <a:gd name="T2" fmla="*/ 2147483647 w 201"/>
              <a:gd name="T3" fmla="*/ 2147483647 h 193"/>
              <a:gd name="T4" fmla="*/ 2147483647 w 201"/>
              <a:gd name="T5" fmla="*/ 2147483647 h 193"/>
              <a:gd name="T6" fmla="*/ 2147483647 w 201"/>
              <a:gd name="T7" fmla="*/ 2147483647 h 193"/>
              <a:gd name="T8" fmla="*/ 0 w 201"/>
              <a:gd name="T9" fmla="*/ 2147483647 h 193"/>
              <a:gd name="T10" fmla="*/ 2147483647 w 201"/>
              <a:gd name="T11" fmla="*/ 2147483647 h 193"/>
              <a:gd name="T12" fmla="*/ 2147483647 w 201"/>
              <a:gd name="T13" fmla="*/ 2147483647 h 193"/>
              <a:gd name="T14" fmla="*/ 2147483647 w 201"/>
              <a:gd name="T15" fmla="*/ 2147483647 h 193"/>
              <a:gd name="T16" fmla="*/ 0 w 201"/>
              <a:gd name="T17" fmla="*/ 2147483647 h 193"/>
              <a:gd name="T18" fmla="*/ 0 w 201"/>
              <a:gd name="T19" fmla="*/ 2147483647 h 193"/>
              <a:gd name="T20" fmla="*/ 2147483647 w 201"/>
              <a:gd name="T21" fmla="*/ 2147483647 h 193"/>
              <a:gd name="T22" fmla="*/ 2147483647 w 201"/>
              <a:gd name="T23" fmla="*/ 2147483647 h 193"/>
              <a:gd name="T24" fmla="*/ 2147483647 w 201"/>
              <a:gd name="T25" fmla="*/ 2147483647 h 193"/>
              <a:gd name="T26" fmla="*/ 2147483647 w 201"/>
              <a:gd name="T27" fmla="*/ 0 h 193"/>
              <a:gd name="T28" fmla="*/ 2147483647 w 201"/>
              <a:gd name="T29" fmla="*/ 0 h 193"/>
              <a:gd name="T30" fmla="*/ 2147483647 w 201"/>
              <a:gd name="T31" fmla="*/ 2147483647 h 193"/>
              <a:gd name="T32" fmla="*/ 2147483647 w 201"/>
              <a:gd name="T33" fmla="*/ 2147483647 h 193"/>
              <a:gd name="T34" fmla="*/ 2147483647 w 201"/>
              <a:gd name="T35" fmla="*/ 2147483647 h 193"/>
              <a:gd name="T36" fmla="*/ 2147483647 w 201"/>
              <a:gd name="T37" fmla="*/ 2147483647 h 193"/>
              <a:gd name="T38" fmla="*/ 2147483647 w 201"/>
              <a:gd name="T39" fmla="*/ 2147483647 h 193"/>
              <a:gd name="T40" fmla="*/ 2147483647 w 201"/>
              <a:gd name="T41" fmla="*/ 2147483647 h 193"/>
              <a:gd name="T42" fmla="*/ 2147483647 w 201"/>
              <a:gd name="T43" fmla="*/ 0 h 193"/>
              <a:gd name="T44" fmla="*/ 2147483647 w 201"/>
              <a:gd name="T45" fmla="*/ 2147483647 h 193"/>
              <a:gd name="T46" fmla="*/ 2147483647 w 201"/>
              <a:gd name="T47" fmla="*/ 2147483647 h 193"/>
              <a:gd name="T48" fmla="*/ 2147483647 w 201"/>
              <a:gd name="T49" fmla="*/ 2147483647 h 193"/>
              <a:gd name="T50" fmla="*/ 2147483647 w 201"/>
              <a:gd name="T51" fmla="*/ 2147483647 h 193"/>
              <a:gd name="T52" fmla="*/ 2147483647 w 201"/>
              <a:gd name="T53" fmla="*/ 2147483647 h 193"/>
              <a:gd name="T54" fmla="*/ 2147483647 w 201"/>
              <a:gd name="T55" fmla="*/ 2147483647 h 193"/>
              <a:gd name="T56" fmla="*/ 2147483647 w 201"/>
              <a:gd name="T57" fmla="*/ 2147483647 h 193"/>
              <a:gd name="T58" fmla="*/ 2147483647 w 201"/>
              <a:gd name="T59" fmla="*/ 2147483647 h 193"/>
              <a:gd name="T60" fmla="*/ 2147483647 w 201"/>
              <a:gd name="T61" fmla="*/ 2147483647 h 193"/>
              <a:gd name="T62" fmla="*/ 2147483647 w 201"/>
              <a:gd name="T63" fmla="*/ 2147483647 h 193"/>
              <a:gd name="T64" fmla="*/ 2147483647 w 201"/>
              <a:gd name="T65" fmla="*/ 2147483647 h 193"/>
              <a:gd name="T66" fmla="*/ 2147483647 w 201"/>
              <a:gd name="T67" fmla="*/ 2147483647 h 193"/>
              <a:gd name="T68" fmla="*/ 2147483647 w 201"/>
              <a:gd name="T69" fmla="*/ 2147483647 h 193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01"/>
              <a:gd name="T106" fmla="*/ 0 h 193"/>
              <a:gd name="T107" fmla="*/ 201 w 201"/>
              <a:gd name="T108" fmla="*/ 193 h 193"/>
              <a:gd name="connsiteX0" fmla="*/ 1592 w 9950"/>
              <a:gd name="connsiteY0" fmla="*/ 7047 h 9948"/>
              <a:gd name="connsiteX1" fmla="*/ 1592 w 9950"/>
              <a:gd name="connsiteY1" fmla="*/ 7047 h 9948"/>
              <a:gd name="connsiteX2" fmla="*/ 1194 w 9950"/>
              <a:gd name="connsiteY2" fmla="*/ 6218 h 9948"/>
              <a:gd name="connsiteX3" fmla="*/ 796 w 9950"/>
              <a:gd name="connsiteY3" fmla="*/ 6218 h 9948"/>
              <a:gd name="connsiteX4" fmla="*/ 0 w 9950"/>
              <a:gd name="connsiteY4" fmla="*/ 4974 h 9948"/>
              <a:gd name="connsiteX5" fmla="*/ 398 w 9950"/>
              <a:gd name="connsiteY5" fmla="*/ 4560 h 9948"/>
              <a:gd name="connsiteX6" fmla="*/ 398 w 9950"/>
              <a:gd name="connsiteY6" fmla="*/ 3731 h 9948"/>
              <a:gd name="connsiteX7" fmla="*/ 398 w 9950"/>
              <a:gd name="connsiteY7" fmla="*/ 2902 h 9948"/>
              <a:gd name="connsiteX8" fmla="*/ 0 w 9950"/>
              <a:gd name="connsiteY8" fmla="*/ 2487 h 9948"/>
              <a:gd name="connsiteX9" fmla="*/ 0 w 9950"/>
              <a:gd name="connsiteY9" fmla="*/ 2073 h 9948"/>
              <a:gd name="connsiteX10" fmla="*/ 398 w 9950"/>
              <a:gd name="connsiteY10" fmla="*/ 1658 h 9948"/>
              <a:gd name="connsiteX11" fmla="*/ 398 w 9950"/>
              <a:gd name="connsiteY11" fmla="*/ 1244 h 9948"/>
              <a:gd name="connsiteX12" fmla="*/ 1194 w 9950"/>
              <a:gd name="connsiteY12" fmla="*/ 415 h 9948"/>
              <a:gd name="connsiteX13" fmla="*/ 1194 w 9950"/>
              <a:gd name="connsiteY13" fmla="*/ 0 h 9948"/>
              <a:gd name="connsiteX14" fmla="*/ 1990 w 9950"/>
              <a:gd name="connsiteY14" fmla="*/ 0 h 9948"/>
              <a:gd name="connsiteX15" fmla="*/ 3184 w 9950"/>
              <a:gd name="connsiteY15" fmla="*/ 415 h 9948"/>
              <a:gd name="connsiteX16" fmla="*/ 3980 w 9950"/>
              <a:gd name="connsiteY16" fmla="*/ 415 h 9948"/>
              <a:gd name="connsiteX17" fmla="*/ 3980 w 9950"/>
              <a:gd name="connsiteY17" fmla="*/ 1244 h 9948"/>
              <a:gd name="connsiteX18" fmla="*/ 6368 w 9950"/>
              <a:gd name="connsiteY18" fmla="*/ 2073 h 9948"/>
              <a:gd name="connsiteX19" fmla="*/ 6766 w 9950"/>
              <a:gd name="connsiteY19" fmla="*/ 1658 h 9948"/>
              <a:gd name="connsiteX20" fmla="*/ 6766 w 9950"/>
              <a:gd name="connsiteY20" fmla="*/ 829 h 9948"/>
              <a:gd name="connsiteX21" fmla="*/ 7960 w 9950"/>
              <a:gd name="connsiteY21" fmla="*/ 0 h 9948"/>
              <a:gd name="connsiteX22" fmla="*/ 8756 w 9950"/>
              <a:gd name="connsiteY22" fmla="*/ 415 h 9948"/>
              <a:gd name="connsiteX23" fmla="*/ 8756 w 9950"/>
              <a:gd name="connsiteY23" fmla="*/ 829 h 9948"/>
              <a:gd name="connsiteX24" fmla="*/ 9950 w 9950"/>
              <a:gd name="connsiteY24" fmla="*/ 829 h 9948"/>
              <a:gd name="connsiteX25" fmla="*/ 9552 w 9950"/>
              <a:gd name="connsiteY25" fmla="*/ 2487 h 9948"/>
              <a:gd name="connsiteX26" fmla="*/ 9950 w 9950"/>
              <a:gd name="connsiteY26" fmla="*/ 3316 h 9948"/>
              <a:gd name="connsiteX27" fmla="*/ 9950 w 9950"/>
              <a:gd name="connsiteY27" fmla="*/ 7876 h 9948"/>
              <a:gd name="connsiteX28" fmla="*/ 9950 w 9950"/>
              <a:gd name="connsiteY28" fmla="*/ 9119 h 9948"/>
              <a:gd name="connsiteX29" fmla="*/ 9552 w 9950"/>
              <a:gd name="connsiteY29" fmla="*/ 9534 h 9948"/>
              <a:gd name="connsiteX30" fmla="*/ 9154 w 9950"/>
              <a:gd name="connsiteY30" fmla="*/ 9948 h 9948"/>
              <a:gd name="connsiteX31" fmla="*/ 3582 w 9950"/>
              <a:gd name="connsiteY31" fmla="*/ 7461 h 9948"/>
              <a:gd name="connsiteX32" fmla="*/ 3184 w 9950"/>
              <a:gd name="connsiteY32" fmla="*/ 7047 h 9948"/>
              <a:gd name="connsiteX33" fmla="*/ 1592 w 9950"/>
              <a:gd name="connsiteY33" fmla="*/ 7047 h 9948"/>
              <a:gd name="connsiteX0" fmla="*/ 1600 w 10000"/>
              <a:gd name="connsiteY0" fmla="*/ 7084 h 10000"/>
              <a:gd name="connsiteX1" fmla="*/ 1600 w 10000"/>
              <a:gd name="connsiteY1" fmla="*/ 7084 h 10000"/>
              <a:gd name="connsiteX2" fmla="*/ 1200 w 10000"/>
              <a:gd name="connsiteY2" fmla="*/ 6251 h 10000"/>
              <a:gd name="connsiteX3" fmla="*/ 800 w 10000"/>
              <a:gd name="connsiteY3" fmla="*/ 6251 h 10000"/>
              <a:gd name="connsiteX4" fmla="*/ 0 w 10000"/>
              <a:gd name="connsiteY4" fmla="*/ 5000 h 10000"/>
              <a:gd name="connsiteX5" fmla="*/ 400 w 10000"/>
              <a:gd name="connsiteY5" fmla="*/ 4584 h 10000"/>
              <a:gd name="connsiteX6" fmla="*/ 400 w 10000"/>
              <a:gd name="connsiteY6" fmla="*/ 3751 h 10000"/>
              <a:gd name="connsiteX7" fmla="*/ 400 w 10000"/>
              <a:gd name="connsiteY7" fmla="*/ 2917 h 10000"/>
              <a:gd name="connsiteX8" fmla="*/ 0 w 10000"/>
              <a:gd name="connsiteY8" fmla="*/ 2500 h 10000"/>
              <a:gd name="connsiteX9" fmla="*/ 0 w 10000"/>
              <a:gd name="connsiteY9" fmla="*/ 2084 h 10000"/>
              <a:gd name="connsiteX10" fmla="*/ 400 w 10000"/>
              <a:gd name="connsiteY10" fmla="*/ 1667 h 10000"/>
              <a:gd name="connsiteX11" fmla="*/ 400 w 10000"/>
              <a:gd name="connsiteY11" fmla="*/ 1251 h 10000"/>
              <a:gd name="connsiteX12" fmla="*/ 1200 w 10000"/>
              <a:gd name="connsiteY12" fmla="*/ 417 h 10000"/>
              <a:gd name="connsiteX13" fmla="*/ 1200 w 10000"/>
              <a:gd name="connsiteY13" fmla="*/ 0 h 10000"/>
              <a:gd name="connsiteX14" fmla="*/ 2000 w 10000"/>
              <a:gd name="connsiteY14" fmla="*/ 0 h 10000"/>
              <a:gd name="connsiteX15" fmla="*/ 3200 w 10000"/>
              <a:gd name="connsiteY15" fmla="*/ 417 h 10000"/>
              <a:gd name="connsiteX16" fmla="*/ 4000 w 10000"/>
              <a:gd name="connsiteY16" fmla="*/ 417 h 10000"/>
              <a:gd name="connsiteX17" fmla="*/ 4000 w 10000"/>
              <a:gd name="connsiteY17" fmla="*/ 1251 h 10000"/>
              <a:gd name="connsiteX18" fmla="*/ 6400 w 10000"/>
              <a:gd name="connsiteY18" fmla="*/ 2084 h 10000"/>
              <a:gd name="connsiteX19" fmla="*/ 6800 w 10000"/>
              <a:gd name="connsiteY19" fmla="*/ 1667 h 10000"/>
              <a:gd name="connsiteX20" fmla="*/ 6800 w 10000"/>
              <a:gd name="connsiteY20" fmla="*/ 833 h 10000"/>
              <a:gd name="connsiteX21" fmla="*/ 8000 w 10000"/>
              <a:gd name="connsiteY21" fmla="*/ 0 h 10000"/>
              <a:gd name="connsiteX22" fmla="*/ 8800 w 10000"/>
              <a:gd name="connsiteY22" fmla="*/ 417 h 10000"/>
              <a:gd name="connsiteX23" fmla="*/ 8800 w 10000"/>
              <a:gd name="connsiteY23" fmla="*/ 833 h 10000"/>
              <a:gd name="connsiteX24" fmla="*/ 10000 w 10000"/>
              <a:gd name="connsiteY24" fmla="*/ 833 h 10000"/>
              <a:gd name="connsiteX25" fmla="*/ 9600 w 10000"/>
              <a:gd name="connsiteY25" fmla="*/ 2500 h 10000"/>
              <a:gd name="connsiteX26" fmla="*/ 10000 w 10000"/>
              <a:gd name="connsiteY26" fmla="*/ 3333 h 10000"/>
              <a:gd name="connsiteX27" fmla="*/ 10000 w 10000"/>
              <a:gd name="connsiteY27" fmla="*/ 9167 h 10000"/>
              <a:gd name="connsiteX28" fmla="*/ 9600 w 10000"/>
              <a:gd name="connsiteY28" fmla="*/ 9584 h 10000"/>
              <a:gd name="connsiteX29" fmla="*/ 9200 w 10000"/>
              <a:gd name="connsiteY29" fmla="*/ 10000 h 10000"/>
              <a:gd name="connsiteX30" fmla="*/ 3600 w 10000"/>
              <a:gd name="connsiteY30" fmla="*/ 7500 h 10000"/>
              <a:gd name="connsiteX31" fmla="*/ 3200 w 10000"/>
              <a:gd name="connsiteY31" fmla="*/ 7084 h 10000"/>
              <a:gd name="connsiteX32" fmla="*/ 1600 w 10000"/>
              <a:gd name="connsiteY32" fmla="*/ 7084 h 10000"/>
              <a:gd name="connsiteX0" fmla="*/ 1600 w 10000"/>
              <a:gd name="connsiteY0" fmla="*/ 7084 h 10000"/>
              <a:gd name="connsiteX1" fmla="*/ 1600 w 10000"/>
              <a:gd name="connsiteY1" fmla="*/ 7084 h 10000"/>
              <a:gd name="connsiteX2" fmla="*/ 1200 w 10000"/>
              <a:gd name="connsiteY2" fmla="*/ 6251 h 10000"/>
              <a:gd name="connsiteX3" fmla="*/ 800 w 10000"/>
              <a:gd name="connsiteY3" fmla="*/ 6251 h 10000"/>
              <a:gd name="connsiteX4" fmla="*/ 0 w 10000"/>
              <a:gd name="connsiteY4" fmla="*/ 5000 h 10000"/>
              <a:gd name="connsiteX5" fmla="*/ 400 w 10000"/>
              <a:gd name="connsiteY5" fmla="*/ 4584 h 10000"/>
              <a:gd name="connsiteX6" fmla="*/ 400 w 10000"/>
              <a:gd name="connsiteY6" fmla="*/ 3751 h 10000"/>
              <a:gd name="connsiteX7" fmla="*/ 400 w 10000"/>
              <a:gd name="connsiteY7" fmla="*/ 2917 h 10000"/>
              <a:gd name="connsiteX8" fmla="*/ 0 w 10000"/>
              <a:gd name="connsiteY8" fmla="*/ 2500 h 10000"/>
              <a:gd name="connsiteX9" fmla="*/ 0 w 10000"/>
              <a:gd name="connsiteY9" fmla="*/ 2084 h 10000"/>
              <a:gd name="connsiteX10" fmla="*/ 400 w 10000"/>
              <a:gd name="connsiteY10" fmla="*/ 1667 h 10000"/>
              <a:gd name="connsiteX11" fmla="*/ 400 w 10000"/>
              <a:gd name="connsiteY11" fmla="*/ 1251 h 10000"/>
              <a:gd name="connsiteX12" fmla="*/ 1200 w 10000"/>
              <a:gd name="connsiteY12" fmla="*/ 417 h 10000"/>
              <a:gd name="connsiteX13" fmla="*/ 1200 w 10000"/>
              <a:gd name="connsiteY13" fmla="*/ 0 h 10000"/>
              <a:gd name="connsiteX14" fmla="*/ 2000 w 10000"/>
              <a:gd name="connsiteY14" fmla="*/ 0 h 10000"/>
              <a:gd name="connsiteX15" fmla="*/ 3200 w 10000"/>
              <a:gd name="connsiteY15" fmla="*/ 417 h 10000"/>
              <a:gd name="connsiteX16" fmla="*/ 4000 w 10000"/>
              <a:gd name="connsiteY16" fmla="*/ 417 h 10000"/>
              <a:gd name="connsiteX17" fmla="*/ 4000 w 10000"/>
              <a:gd name="connsiteY17" fmla="*/ 1251 h 10000"/>
              <a:gd name="connsiteX18" fmla="*/ 6400 w 10000"/>
              <a:gd name="connsiteY18" fmla="*/ 2084 h 10000"/>
              <a:gd name="connsiteX19" fmla="*/ 6800 w 10000"/>
              <a:gd name="connsiteY19" fmla="*/ 1667 h 10000"/>
              <a:gd name="connsiteX20" fmla="*/ 6800 w 10000"/>
              <a:gd name="connsiteY20" fmla="*/ 833 h 10000"/>
              <a:gd name="connsiteX21" fmla="*/ 8000 w 10000"/>
              <a:gd name="connsiteY21" fmla="*/ 0 h 10000"/>
              <a:gd name="connsiteX22" fmla="*/ 8800 w 10000"/>
              <a:gd name="connsiteY22" fmla="*/ 417 h 10000"/>
              <a:gd name="connsiteX23" fmla="*/ 8800 w 10000"/>
              <a:gd name="connsiteY23" fmla="*/ 833 h 10000"/>
              <a:gd name="connsiteX24" fmla="*/ 10000 w 10000"/>
              <a:gd name="connsiteY24" fmla="*/ 833 h 10000"/>
              <a:gd name="connsiteX25" fmla="*/ 9600 w 10000"/>
              <a:gd name="connsiteY25" fmla="*/ 2500 h 10000"/>
              <a:gd name="connsiteX26" fmla="*/ 10000 w 10000"/>
              <a:gd name="connsiteY26" fmla="*/ 3333 h 10000"/>
              <a:gd name="connsiteX27" fmla="*/ 9600 w 10000"/>
              <a:gd name="connsiteY27" fmla="*/ 9584 h 10000"/>
              <a:gd name="connsiteX28" fmla="*/ 9200 w 10000"/>
              <a:gd name="connsiteY28" fmla="*/ 10000 h 10000"/>
              <a:gd name="connsiteX29" fmla="*/ 3600 w 10000"/>
              <a:gd name="connsiteY29" fmla="*/ 7500 h 10000"/>
              <a:gd name="connsiteX30" fmla="*/ 3200 w 10000"/>
              <a:gd name="connsiteY30" fmla="*/ 7084 h 10000"/>
              <a:gd name="connsiteX31" fmla="*/ 1600 w 10000"/>
              <a:gd name="connsiteY31" fmla="*/ 7084 h 10000"/>
              <a:gd name="connsiteX0" fmla="*/ 1600 w 10000"/>
              <a:gd name="connsiteY0" fmla="*/ 7084 h 10000"/>
              <a:gd name="connsiteX1" fmla="*/ 1600 w 10000"/>
              <a:gd name="connsiteY1" fmla="*/ 7084 h 10000"/>
              <a:gd name="connsiteX2" fmla="*/ 1200 w 10000"/>
              <a:gd name="connsiteY2" fmla="*/ 6251 h 10000"/>
              <a:gd name="connsiteX3" fmla="*/ 800 w 10000"/>
              <a:gd name="connsiteY3" fmla="*/ 6251 h 10000"/>
              <a:gd name="connsiteX4" fmla="*/ 0 w 10000"/>
              <a:gd name="connsiteY4" fmla="*/ 5000 h 10000"/>
              <a:gd name="connsiteX5" fmla="*/ 400 w 10000"/>
              <a:gd name="connsiteY5" fmla="*/ 4584 h 10000"/>
              <a:gd name="connsiteX6" fmla="*/ 400 w 10000"/>
              <a:gd name="connsiteY6" fmla="*/ 3751 h 10000"/>
              <a:gd name="connsiteX7" fmla="*/ 400 w 10000"/>
              <a:gd name="connsiteY7" fmla="*/ 2917 h 10000"/>
              <a:gd name="connsiteX8" fmla="*/ 0 w 10000"/>
              <a:gd name="connsiteY8" fmla="*/ 2500 h 10000"/>
              <a:gd name="connsiteX9" fmla="*/ 0 w 10000"/>
              <a:gd name="connsiteY9" fmla="*/ 2084 h 10000"/>
              <a:gd name="connsiteX10" fmla="*/ 400 w 10000"/>
              <a:gd name="connsiteY10" fmla="*/ 1667 h 10000"/>
              <a:gd name="connsiteX11" fmla="*/ 400 w 10000"/>
              <a:gd name="connsiteY11" fmla="*/ 1251 h 10000"/>
              <a:gd name="connsiteX12" fmla="*/ 1200 w 10000"/>
              <a:gd name="connsiteY12" fmla="*/ 417 h 10000"/>
              <a:gd name="connsiteX13" fmla="*/ 1200 w 10000"/>
              <a:gd name="connsiteY13" fmla="*/ 0 h 10000"/>
              <a:gd name="connsiteX14" fmla="*/ 2000 w 10000"/>
              <a:gd name="connsiteY14" fmla="*/ 0 h 10000"/>
              <a:gd name="connsiteX15" fmla="*/ 3200 w 10000"/>
              <a:gd name="connsiteY15" fmla="*/ 417 h 10000"/>
              <a:gd name="connsiteX16" fmla="*/ 4000 w 10000"/>
              <a:gd name="connsiteY16" fmla="*/ 417 h 10000"/>
              <a:gd name="connsiteX17" fmla="*/ 4000 w 10000"/>
              <a:gd name="connsiteY17" fmla="*/ 1251 h 10000"/>
              <a:gd name="connsiteX18" fmla="*/ 6400 w 10000"/>
              <a:gd name="connsiteY18" fmla="*/ 2084 h 10000"/>
              <a:gd name="connsiteX19" fmla="*/ 6800 w 10000"/>
              <a:gd name="connsiteY19" fmla="*/ 1667 h 10000"/>
              <a:gd name="connsiteX20" fmla="*/ 6800 w 10000"/>
              <a:gd name="connsiteY20" fmla="*/ 833 h 10000"/>
              <a:gd name="connsiteX21" fmla="*/ 8000 w 10000"/>
              <a:gd name="connsiteY21" fmla="*/ 0 h 10000"/>
              <a:gd name="connsiteX22" fmla="*/ 8800 w 10000"/>
              <a:gd name="connsiteY22" fmla="*/ 417 h 10000"/>
              <a:gd name="connsiteX23" fmla="*/ 8800 w 10000"/>
              <a:gd name="connsiteY23" fmla="*/ 833 h 10000"/>
              <a:gd name="connsiteX24" fmla="*/ 10000 w 10000"/>
              <a:gd name="connsiteY24" fmla="*/ 833 h 10000"/>
              <a:gd name="connsiteX25" fmla="*/ 9600 w 10000"/>
              <a:gd name="connsiteY25" fmla="*/ 2500 h 10000"/>
              <a:gd name="connsiteX26" fmla="*/ 10000 w 10000"/>
              <a:gd name="connsiteY26" fmla="*/ 3333 h 10000"/>
              <a:gd name="connsiteX27" fmla="*/ 9200 w 10000"/>
              <a:gd name="connsiteY27" fmla="*/ 10000 h 10000"/>
              <a:gd name="connsiteX28" fmla="*/ 3600 w 10000"/>
              <a:gd name="connsiteY28" fmla="*/ 7500 h 10000"/>
              <a:gd name="connsiteX29" fmla="*/ 3200 w 10000"/>
              <a:gd name="connsiteY29" fmla="*/ 7084 h 10000"/>
              <a:gd name="connsiteX30" fmla="*/ 1600 w 10000"/>
              <a:gd name="connsiteY30" fmla="*/ 7084 h 10000"/>
              <a:gd name="connsiteX0" fmla="*/ 1600 w 10000"/>
              <a:gd name="connsiteY0" fmla="*/ 7084 h 7500"/>
              <a:gd name="connsiteX1" fmla="*/ 1600 w 10000"/>
              <a:gd name="connsiteY1" fmla="*/ 7084 h 7500"/>
              <a:gd name="connsiteX2" fmla="*/ 1200 w 10000"/>
              <a:gd name="connsiteY2" fmla="*/ 6251 h 7500"/>
              <a:gd name="connsiteX3" fmla="*/ 800 w 10000"/>
              <a:gd name="connsiteY3" fmla="*/ 6251 h 7500"/>
              <a:gd name="connsiteX4" fmla="*/ 0 w 10000"/>
              <a:gd name="connsiteY4" fmla="*/ 5000 h 7500"/>
              <a:gd name="connsiteX5" fmla="*/ 400 w 10000"/>
              <a:gd name="connsiteY5" fmla="*/ 4584 h 7500"/>
              <a:gd name="connsiteX6" fmla="*/ 400 w 10000"/>
              <a:gd name="connsiteY6" fmla="*/ 3751 h 7500"/>
              <a:gd name="connsiteX7" fmla="*/ 400 w 10000"/>
              <a:gd name="connsiteY7" fmla="*/ 2917 h 7500"/>
              <a:gd name="connsiteX8" fmla="*/ 0 w 10000"/>
              <a:gd name="connsiteY8" fmla="*/ 2500 h 7500"/>
              <a:gd name="connsiteX9" fmla="*/ 0 w 10000"/>
              <a:gd name="connsiteY9" fmla="*/ 2084 h 7500"/>
              <a:gd name="connsiteX10" fmla="*/ 400 w 10000"/>
              <a:gd name="connsiteY10" fmla="*/ 1667 h 7500"/>
              <a:gd name="connsiteX11" fmla="*/ 400 w 10000"/>
              <a:gd name="connsiteY11" fmla="*/ 1251 h 7500"/>
              <a:gd name="connsiteX12" fmla="*/ 1200 w 10000"/>
              <a:gd name="connsiteY12" fmla="*/ 417 h 7500"/>
              <a:gd name="connsiteX13" fmla="*/ 1200 w 10000"/>
              <a:gd name="connsiteY13" fmla="*/ 0 h 7500"/>
              <a:gd name="connsiteX14" fmla="*/ 2000 w 10000"/>
              <a:gd name="connsiteY14" fmla="*/ 0 h 7500"/>
              <a:gd name="connsiteX15" fmla="*/ 3200 w 10000"/>
              <a:gd name="connsiteY15" fmla="*/ 417 h 7500"/>
              <a:gd name="connsiteX16" fmla="*/ 4000 w 10000"/>
              <a:gd name="connsiteY16" fmla="*/ 417 h 7500"/>
              <a:gd name="connsiteX17" fmla="*/ 4000 w 10000"/>
              <a:gd name="connsiteY17" fmla="*/ 1251 h 7500"/>
              <a:gd name="connsiteX18" fmla="*/ 6400 w 10000"/>
              <a:gd name="connsiteY18" fmla="*/ 2084 h 7500"/>
              <a:gd name="connsiteX19" fmla="*/ 6800 w 10000"/>
              <a:gd name="connsiteY19" fmla="*/ 1667 h 7500"/>
              <a:gd name="connsiteX20" fmla="*/ 6800 w 10000"/>
              <a:gd name="connsiteY20" fmla="*/ 833 h 7500"/>
              <a:gd name="connsiteX21" fmla="*/ 8000 w 10000"/>
              <a:gd name="connsiteY21" fmla="*/ 0 h 7500"/>
              <a:gd name="connsiteX22" fmla="*/ 8800 w 10000"/>
              <a:gd name="connsiteY22" fmla="*/ 417 h 7500"/>
              <a:gd name="connsiteX23" fmla="*/ 8800 w 10000"/>
              <a:gd name="connsiteY23" fmla="*/ 833 h 7500"/>
              <a:gd name="connsiteX24" fmla="*/ 10000 w 10000"/>
              <a:gd name="connsiteY24" fmla="*/ 833 h 7500"/>
              <a:gd name="connsiteX25" fmla="*/ 9600 w 10000"/>
              <a:gd name="connsiteY25" fmla="*/ 2500 h 7500"/>
              <a:gd name="connsiteX26" fmla="*/ 10000 w 10000"/>
              <a:gd name="connsiteY26" fmla="*/ 3333 h 7500"/>
              <a:gd name="connsiteX27" fmla="*/ 3600 w 10000"/>
              <a:gd name="connsiteY27" fmla="*/ 7500 h 7500"/>
              <a:gd name="connsiteX28" fmla="*/ 3200 w 10000"/>
              <a:gd name="connsiteY28" fmla="*/ 7084 h 7500"/>
              <a:gd name="connsiteX29" fmla="*/ 1600 w 10000"/>
              <a:gd name="connsiteY29" fmla="*/ 7084 h 7500"/>
              <a:gd name="connsiteX0" fmla="*/ 1600 w 10000"/>
              <a:gd name="connsiteY0" fmla="*/ 9445 h 9445"/>
              <a:gd name="connsiteX1" fmla="*/ 1600 w 10000"/>
              <a:gd name="connsiteY1" fmla="*/ 9445 h 9445"/>
              <a:gd name="connsiteX2" fmla="*/ 1200 w 10000"/>
              <a:gd name="connsiteY2" fmla="*/ 8335 h 9445"/>
              <a:gd name="connsiteX3" fmla="*/ 800 w 10000"/>
              <a:gd name="connsiteY3" fmla="*/ 8335 h 9445"/>
              <a:gd name="connsiteX4" fmla="*/ 0 w 10000"/>
              <a:gd name="connsiteY4" fmla="*/ 6667 h 9445"/>
              <a:gd name="connsiteX5" fmla="*/ 400 w 10000"/>
              <a:gd name="connsiteY5" fmla="*/ 6112 h 9445"/>
              <a:gd name="connsiteX6" fmla="*/ 400 w 10000"/>
              <a:gd name="connsiteY6" fmla="*/ 5001 h 9445"/>
              <a:gd name="connsiteX7" fmla="*/ 400 w 10000"/>
              <a:gd name="connsiteY7" fmla="*/ 3889 h 9445"/>
              <a:gd name="connsiteX8" fmla="*/ 0 w 10000"/>
              <a:gd name="connsiteY8" fmla="*/ 3333 h 9445"/>
              <a:gd name="connsiteX9" fmla="*/ 0 w 10000"/>
              <a:gd name="connsiteY9" fmla="*/ 2779 h 9445"/>
              <a:gd name="connsiteX10" fmla="*/ 400 w 10000"/>
              <a:gd name="connsiteY10" fmla="*/ 2223 h 9445"/>
              <a:gd name="connsiteX11" fmla="*/ 400 w 10000"/>
              <a:gd name="connsiteY11" fmla="*/ 1668 h 9445"/>
              <a:gd name="connsiteX12" fmla="*/ 1200 w 10000"/>
              <a:gd name="connsiteY12" fmla="*/ 556 h 9445"/>
              <a:gd name="connsiteX13" fmla="*/ 1200 w 10000"/>
              <a:gd name="connsiteY13" fmla="*/ 0 h 9445"/>
              <a:gd name="connsiteX14" fmla="*/ 2000 w 10000"/>
              <a:gd name="connsiteY14" fmla="*/ 0 h 9445"/>
              <a:gd name="connsiteX15" fmla="*/ 3200 w 10000"/>
              <a:gd name="connsiteY15" fmla="*/ 556 h 9445"/>
              <a:gd name="connsiteX16" fmla="*/ 4000 w 10000"/>
              <a:gd name="connsiteY16" fmla="*/ 556 h 9445"/>
              <a:gd name="connsiteX17" fmla="*/ 4000 w 10000"/>
              <a:gd name="connsiteY17" fmla="*/ 1668 h 9445"/>
              <a:gd name="connsiteX18" fmla="*/ 6400 w 10000"/>
              <a:gd name="connsiteY18" fmla="*/ 2779 h 9445"/>
              <a:gd name="connsiteX19" fmla="*/ 6800 w 10000"/>
              <a:gd name="connsiteY19" fmla="*/ 2223 h 9445"/>
              <a:gd name="connsiteX20" fmla="*/ 6800 w 10000"/>
              <a:gd name="connsiteY20" fmla="*/ 1111 h 9445"/>
              <a:gd name="connsiteX21" fmla="*/ 8000 w 10000"/>
              <a:gd name="connsiteY21" fmla="*/ 0 h 9445"/>
              <a:gd name="connsiteX22" fmla="*/ 8800 w 10000"/>
              <a:gd name="connsiteY22" fmla="*/ 556 h 9445"/>
              <a:gd name="connsiteX23" fmla="*/ 8800 w 10000"/>
              <a:gd name="connsiteY23" fmla="*/ 1111 h 9445"/>
              <a:gd name="connsiteX24" fmla="*/ 10000 w 10000"/>
              <a:gd name="connsiteY24" fmla="*/ 1111 h 9445"/>
              <a:gd name="connsiteX25" fmla="*/ 9600 w 10000"/>
              <a:gd name="connsiteY25" fmla="*/ 3333 h 9445"/>
              <a:gd name="connsiteX26" fmla="*/ 10000 w 10000"/>
              <a:gd name="connsiteY26" fmla="*/ 4444 h 9445"/>
              <a:gd name="connsiteX27" fmla="*/ 3200 w 10000"/>
              <a:gd name="connsiteY27" fmla="*/ 9445 h 9445"/>
              <a:gd name="connsiteX28" fmla="*/ 1600 w 10000"/>
              <a:gd name="connsiteY28" fmla="*/ 9445 h 9445"/>
              <a:gd name="connsiteX0" fmla="*/ 1600 w 10000"/>
              <a:gd name="connsiteY0" fmla="*/ 10000 h 10000"/>
              <a:gd name="connsiteX1" fmla="*/ 1600 w 10000"/>
              <a:gd name="connsiteY1" fmla="*/ 10000 h 10000"/>
              <a:gd name="connsiteX2" fmla="*/ 1200 w 10000"/>
              <a:gd name="connsiteY2" fmla="*/ 8825 h 10000"/>
              <a:gd name="connsiteX3" fmla="*/ 800 w 10000"/>
              <a:gd name="connsiteY3" fmla="*/ 8825 h 10000"/>
              <a:gd name="connsiteX4" fmla="*/ 0 w 10000"/>
              <a:gd name="connsiteY4" fmla="*/ 7059 h 10000"/>
              <a:gd name="connsiteX5" fmla="*/ 400 w 10000"/>
              <a:gd name="connsiteY5" fmla="*/ 6471 h 10000"/>
              <a:gd name="connsiteX6" fmla="*/ 400 w 10000"/>
              <a:gd name="connsiteY6" fmla="*/ 5295 h 10000"/>
              <a:gd name="connsiteX7" fmla="*/ 400 w 10000"/>
              <a:gd name="connsiteY7" fmla="*/ 4118 h 10000"/>
              <a:gd name="connsiteX8" fmla="*/ 0 w 10000"/>
              <a:gd name="connsiteY8" fmla="*/ 3529 h 10000"/>
              <a:gd name="connsiteX9" fmla="*/ 0 w 10000"/>
              <a:gd name="connsiteY9" fmla="*/ 2942 h 10000"/>
              <a:gd name="connsiteX10" fmla="*/ 400 w 10000"/>
              <a:gd name="connsiteY10" fmla="*/ 2354 h 10000"/>
              <a:gd name="connsiteX11" fmla="*/ 400 w 10000"/>
              <a:gd name="connsiteY11" fmla="*/ 1766 h 10000"/>
              <a:gd name="connsiteX12" fmla="*/ 1200 w 10000"/>
              <a:gd name="connsiteY12" fmla="*/ 589 h 10000"/>
              <a:gd name="connsiteX13" fmla="*/ 1200 w 10000"/>
              <a:gd name="connsiteY13" fmla="*/ 0 h 10000"/>
              <a:gd name="connsiteX14" fmla="*/ 2000 w 10000"/>
              <a:gd name="connsiteY14" fmla="*/ 0 h 10000"/>
              <a:gd name="connsiteX15" fmla="*/ 3200 w 10000"/>
              <a:gd name="connsiteY15" fmla="*/ 589 h 10000"/>
              <a:gd name="connsiteX16" fmla="*/ 4000 w 10000"/>
              <a:gd name="connsiteY16" fmla="*/ 589 h 10000"/>
              <a:gd name="connsiteX17" fmla="*/ 4000 w 10000"/>
              <a:gd name="connsiteY17" fmla="*/ 1766 h 10000"/>
              <a:gd name="connsiteX18" fmla="*/ 6400 w 10000"/>
              <a:gd name="connsiteY18" fmla="*/ 2942 h 10000"/>
              <a:gd name="connsiteX19" fmla="*/ 6800 w 10000"/>
              <a:gd name="connsiteY19" fmla="*/ 2354 h 10000"/>
              <a:gd name="connsiteX20" fmla="*/ 6800 w 10000"/>
              <a:gd name="connsiteY20" fmla="*/ 1176 h 10000"/>
              <a:gd name="connsiteX21" fmla="*/ 8000 w 10000"/>
              <a:gd name="connsiteY21" fmla="*/ 0 h 10000"/>
              <a:gd name="connsiteX22" fmla="*/ 8800 w 10000"/>
              <a:gd name="connsiteY22" fmla="*/ 589 h 10000"/>
              <a:gd name="connsiteX23" fmla="*/ 8800 w 10000"/>
              <a:gd name="connsiteY23" fmla="*/ 1176 h 10000"/>
              <a:gd name="connsiteX24" fmla="*/ 10000 w 10000"/>
              <a:gd name="connsiteY24" fmla="*/ 1176 h 10000"/>
              <a:gd name="connsiteX25" fmla="*/ 9600 w 10000"/>
              <a:gd name="connsiteY25" fmla="*/ 3529 h 10000"/>
              <a:gd name="connsiteX26" fmla="*/ 10000 w 10000"/>
              <a:gd name="connsiteY26" fmla="*/ 4705 h 10000"/>
              <a:gd name="connsiteX27" fmla="*/ 1600 w 10000"/>
              <a:gd name="connsiteY27" fmla="*/ 10000 h 10000"/>
              <a:gd name="connsiteX0" fmla="*/ 1600 w 10000"/>
              <a:gd name="connsiteY0" fmla="*/ 10000 h 10000"/>
              <a:gd name="connsiteX1" fmla="*/ 1600 w 10000"/>
              <a:gd name="connsiteY1" fmla="*/ 10000 h 10000"/>
              <a:gd name="connsiteX2" fmla="*/ 1200 w 10000"/>
              <a:gd name="connsiteY2" fmla="*/ 8825 h 10000"/>
              <a:gd name="connsiteX3" fmla="*/ 800 w 10000"/>
              <a:gd name="connsiteY3" fmla="*/ 8825 h 10000"/>
              <a:gd name="connsiteX4" fmla="*/ 0 w 10000"/>
              <a:gd name="connsiteY4" fmla="*/ 7059 h 10000"/>
              <a:gd name="connsiteX5" fmla="*/ 400 w 10000"/>
              <a:gd name="connsiteY5" fmla="*/ 6471 h 10000"/>
              <a:gd name="connsiteX6" fmla="*/ 400 w 10000"/>
              <a:gd name="connsiteY6" fmla="*/ 5295 h 10000"/>
              <a:gd name="connsiteX7" fmla="*/ 400 w 10000"/>
              <a:gd name="connsiteY7" fmla="*/ 4118 h 10000"/>
              <a:gd name="connsiteX8" fmla="*/ 0 w 10000"/>
              <a:gd name="connsiteY8" fmla="*/ 3529 h 10000"/>
              <a:gd name="connsiteX9" fmla="*/ 0 w 10000"/>
              <a:gd name="connsiteY9" fmla="*/ 2942 h 10000"/>
              <a:gd name="connsiteX10" fmla="*/ 400 w 10000"/>
              <a:gd name="connsiteY10" fmla="*/ 2354 h 10000"/>
              <a:gd name="connsiteX11" fmla="*/ 400 w 10000"/>
              <a:gd name="connsiteY11" fmla="*/ 1766 h 10000"/>
              <a:gd name="connsiteX12" fmla="*/ 1200 w 10000"/>
              <a:gd name="connsiteY12" fmla="*/ 589 h 10000"/>
              <a:gd name="connsiteX13" fmla="*/ 1200 w 10000"/>
              <a:gd name="connsiteY13" fmla="*/ 0 h 10000"/>
              <a:gd name="connsiteX14" fmla="*/ 2000 w 10000"/>
              <a:gd name="connsiteY14" fmla="*/ 0 h 10000"/>
              <a:gd name="connsiteX15" fmla="*/ 3200 w 10000"/>
              <a:gd name="connsiteY15" fmla="*/ 589 h 10000"/>
              <a:gd name="connsiteX16" fmla="*/ 4000 w 10000"/>
              <a:gd name="connsiteY16" fmla="*/ 589 h 10000"/>
              <a:gd name="connsiteX17" fmla="*/ 4000 w 10000"/>
              <a:gd name="connsiteY17" fmla="*/ 1766 h 10000"/>
              <a:gd name="connsiteX18" fmla="*/ 6400 w 10000"/>
              <a:gd name="connsiteY18" fmla="*/ 2942 h 10000"/>
              <a:gd name="connsiteX19" fmla="*/ 6800 w 10000"/>
              <a:gd name="connsiteY19" fmla="*/ 2354 h 10000"/>
              <a:gd name="connsiteX20" fmla="*/ 6800 w 10000"/>
              <a:gd name="connsiteY20" fmla="*/ 1176 h 10000"/>
              <a:gd name="connsiteX21" fmla="*/ 8000 w 10000"/>
              <a:gd name="connsiteY21" fmla="*/ 0 h 10000"/>
              <a:gd name="connsiteX22" fmla="*/ 8800 w 10000"/>
              <a:gd name="connsiteY22" fmla="*/ 589 h 10000"/>
              <a:gd name="connsiteX23" fmla="*/ 8800 w 10000"/>
              <a:gd name="connsiteY23" fmla="*/ 1176 h 10000"/>
              <a:gd name="connsiteX24" fmla="*/ 10000 w 10000"/>
              <a:gd name="connsiteY24" fmla="*/ 1176 h 10000"/>
              <a:gd name="connsiteX25" fmla="*/ 9600 w 10000"/>
              <a:gd name="connsiteY25" fmla="*/ 3529 h 10000"/>
              <a:gd name="connsiteX26" fmla="*/ 10000 w 10000"/>
              <a:gd name="connsiteY26" fmla="*/ 4705 h 10000"/>
              <a:gd name="connsiteX0" fmla="*/ 1600 w 10000"/>
              <a:gd name="connsiteY0" fmla="*/ 10000 h 10000"/>
              <a:gd name="connsiteX1" fmla="*/ 1600 w 10000"/>
              <a:gd name="connsiteY1" fmla="*/ 10000 h 10000"/>
              <a:gd name="connsiteX2" fmla="*/ 800 w 10000"/>
              <a:gd name="connsiteY2" fmla="*/ 8825 h 10000"/>
              <a:gd name="connsiteX3" fmla="*/ 0 w 10000"/>
              <a:gd name="connsiteY3" fmla="*/ 7059 h 10000"/>
              <a:gd name="connsiteX4" fmla="*/ 400 w 10000"/>
              <a:gd name="connsiteY4" fmla="*/ 6471 h 10000"/>
              <a:gd name="connsiteX5" fmla="*/ 400 w 10000"/>
              <a:gd name="connsiteY5" fmla="*/ 5295 h 10000"/>
              <a:gd name="connsiteX6" fmla="*/ 400 w 10000"/>
              <a:gd name="connsiteY6" fmla="*/ 4118 h 10000"/>
              <a:gd name="connsiteX7" fmla="*/ 0 w 10000"/>
              <a:gd name="connsiteY7" fmla="*/ 3529 h 10000"/>
              <a:gd name="connsiteX8" fmla="*/ 0 w 10000"/>
              <a:gd name="connsiteY8" fmla="*/ 2942 h 10000"/>
              <a:gd name="connsiteX9" fmla="*/ 400 w 10000"/>
              <a:gd name="connsiteY9" fmla="*/ 2354 h 10000"/>
              <a:gd name="connsiteX10" fmla="*/ 400 w 10000"/>
              <a:gd name="connsiteY10" fmla="*/ 1766 h 10000"/>
              <a:gd name="connsiteX11" fmla="*/ 1200 w 10000"/>
              <a:gd name="connsiteY11" fmla="*/ 589 h 10000"/>
              <a:gd name="connsiteX12" fmla="*/ 1200 w 10000"/>
              <a:gd name="connsiteY12" fmla="*/ 0 h 10000"/>
              <a:gd name="connsiteX13" fmla="*/ 2000 w 10000"/>
              <a:gd name="connsiteY13" fmla="*/ 0 h 10000"/>
              <a:gd name="connsiteX14" fmla="*/ 3200 w 10000"/>
              <a:gd name="connsiteY14" fmla="*/ 589 h 10000"/>
              <a:gd name="connsiteX15" fmla="*/ 4000 w 10000"/>
              <a:gd name="connsiteY15" fmla="*/ 589 h 10000"/>
              <a:gd name="connsiteX16" fmla="*/ 4000 w 10000"/>
              <a:gd name="connsiteY16" fmla="*/ 1766 h 10000"/>
              <a:gd name="connsiteX17" fmla="*/ 6400 w 10000"/>
              <a:gd name="connsiteY17" fmla="*/ 2942 h 10000"/>
              <a:gd name="connsiteX18" fmla="*/ 6800 w 10000"/>
              <a:gd name="connsiteY18" fmla="*/ 2354 h 10000"/>
              <a:gd name="connsiteX19" fmla="*/ 6800 w 10000"/>
              <a:gd name="connsiteY19" fmla="*/ 1176 h 10000"/>
              <a:gd name="connsiteX20" fmla="*/ 8000 w 10000"/>
              <a:gd name="connsiteY20" fmla="*/ 0 h 10000"/>
              <a:gd name="connsiteX21" fmla="*/ 8800 w 10000"/>
              <a:gd name="connsiteY21" fmla="*/ 589 h 10000"/>
              <a:gd name="connsiteX22" fmla="*/ 8800 w 10000"/>
              <a:gd name="connsiteY22" fmla="*/ 1176 h 10000"/>
              <a:gd name="connsiteX23" fmla="*/ 10000 w 10000"/>
              <a:gd name="connsiteY23" fmla="*/ 1176 h 10000"/>
              <a:gd name="connsiteX24" fmla="*/ 9600 w 10000"/>
              <a:gd name="connsiteY24" fmla="*/ 3529 h 10000"/>
              <a:gd name="connsiteX25" fmla="*/ 10000 w 10000"/>
              <a:gd name="connsiteY25" fmla="*/ 4705 h 10000"/>
              <a:gd name="connsiteX0" fmla="*/ 1600 w 10000"/>
              <a:gd name="connsiteY0" fmla="*/ 10000 h 10000"/>
              <a:gd name="connsiteX1" fmla="*/ 800 w 10000"/>
              <a:gd name="connsiteY1" fmla="*/ 8825 h 10000"/>
              <a:gd name="connsiteX2" fmla="*/ 0 w 10000"/>
              <a:gd name="connsiteY2" fmla="*/ 7059 h 10000"/>
              <a:gd name="connsiteX3" fmla="*/ 400 w 10000"/>
              <a:gd name="connsiteY3" fmla="*/ 6471 h 10000"/>
              <a:gd name="connsiteX4" fmla="*/ 400 w 10000"/>
              <a:gd name="connsiteY4" fmla="*/ 5295 h 10000"/>
              <a:gd name="connsiteX5" fmla="*/ 400 w 10000"/>
              <a:gd name="connsiteY5" fmla="*/ 4118 h 10000"/>
              <a:gd name="connsiteX6" fmla="*/ 0 w 10000"/>
              <a:gd name="connsiteY6" fmla="*/ 3529 h 10000"/>
              <a:gd name="connsiteX7" fmla="*/ 0 w 10000"/>
              <a:gd name="connsiteY7" fmla="*/ 2942 h 10000"/>
              <a:gd name="connsiteX8" fmla="*/ 400 w 10000"/>
              <a:gd name="connsiteY8" fmla="*/ 2354 h 10000"/>
              <a:gd name="connsiteX9" fmla="*/ 400 w 10000"/>
              <a:gd name="connsiteY9" fmla="*/ 1766 h 10000"/>
              <a:gd name="connsiteX10" fmla="*/ 1200 w 10000"/>
              <a:gd name="connsiteY10" fmla="*/ 589 h 10000"/>
              <a:gd name="connsiteX11" fmla="*/ 1200 w 10000"/>
              <a:gd name="connsiteY11" fmla="*/ 0 h 10000"/>
              <a:gd name="connsiteX12" fmla="*/ 2000 w 10000"/>
              <a:gd name="connsiteY12" fmla="*/ 0 h 10000"/>
              <a:gd name="connsiteX13" fmla="*/ 3200 w 10000"/>
              <a:gd name="connsiteY13" fmla="*/ 589 h 10000"/>
              <a:gd name="connsiteX14" fmla="*/ 4000 w 10000"/>
              <a:gd name="connsiteY14" fmla="*/ 589 h 10000"/>
              <a:gd name="connsiteX15" fmla="*/ 4000 w 10000"/>
              <a:gd name="connsiteY15" fmla="*/ 1766 h 10000"/>
              <a:gd name="connsiteX16" fmla="*/ 6400 w 10000"/>
              <a:gd name="connsiteY16" fmla="*/ 2942 h 10000"/>
              <a:gd name="connsiteX17" fmla="*/ 6800 w 10000"/>
              <a:gd name="connsiteY17" fmla="*/ 2354 h 10000"/>
              <a:gd name="connsiteX18" fmla="*/ 6800 w 10000"/>
              <a:gd name="connsiteY18" fmla="*/ 1176 h 10000"/>
              <a:gd name="connsiteX19" fmla="*/ 8000 w 10000"/>
              <a:gd name="connsiteY19" fmla="*/ 0 h 10000"/>
              <a:gd name="connsiteX20" fmla="*/ 8800 w 10000"/>
              <a:gd name="connsiteY20" fmla="*/ 589 h 10000"/>
              <a:gd name="connsiteX21" fmla="*/ 8800 w 10000"/>
              <a:gd name="connsiteY21" fmla="*/ 1176 h 10000"/>
              <a:gd name="connsiteX22" fmla="*/ 10000 w 10000"/>
              <a:gd name="connsiteY22" fmla="*/ 1176 h 10000"/>
              <a:gd name="connsiteX23" fmla="*/ 9600 w 10000"/>
              <a:gd name="connsiteY23" fmla="*/ 3529 h 10000"/>
              <a:gd name="connsiteX24" fmla="*/ 10000 w 10000"/>
              <a:gd name="connsiteY24" fmla="*/ 4705 h 10000"/>
              <a:gd name="connsiteX0" fmla="*/ 1600 w 10000"/>
              <a:gd name="connsiteY0" fmla="*/ 10000 h 10000"/>
              <a:gd name="connsiteX1" fmla="*/ 0 w 10000"/>
              <a:gd name="connsiteY1" fmla="*/ 7059 h 10000"/>
              <a:gd name="connsiteX2" fmla="*/ 400 w 10000"/>
              <a:gd name="connsiteY2" fmla="*/ 6471 h 10000"/>
              <a:gd name="connsiteX3" fmla="*/ 400 w 10000"/>
              <a:gd name="connsiteY3" fmla="*/ 5295 h 10000"/>
              <a:gd name="connsiteX4" fmla="*/ 400 w 10000"/>
              <a:gd name="connsiteY4" fmla="*/ 4118 h 10000"/>
              <a:gd name="connsiteX5" fmla="*/ 0 w 10000"/>
              <a:gd name="connsiteY5" fmla="*/ 3529 h 10000"/>
              <a:gd name="connsiteX6" fmla="*/ 0 w 10000"/>
              <a:gd name="connsiteY6" fmla="*/ 2942 h 10000"/>
              <a:gd name="connsiteX7" fmla="*/ 400 w 10000"/>
              <a:gd name="connsiteY7" fmla="*/ 2354 h 10000"/>
              <a:gd name="connsiteX8" fmla="*/ 400 w 10000"/>
              <a:gd name="connsiteY8" fmla="*/ 1766 h 10000"/>
              <a:gd name="connsiteX9" fmla="*/ 1200 w 10000"/>
              <a:gd name="connsiteY9" fmla="*/ 589 h 10000"/>
              <a:gd name="connsiteX10" fmla="*/ 1200 w 10000"/>
              <a:gd name="connsiteY10" fmla="*/ 0 h 10000"/>
              <a:gd name="connsiteX11" fmla="*/ 2000 w 10000"/>
              <a:gd name="connsiteY11" fmla="*/ 0 h 10000"/>
              <a:gd name="connsiteX12" fmla="*/ 3200 w 10000"/>
              <a:gd name="connsiteY12" fmla="*/ 589 h 10000"/>
              <a:gd name="connsiteX13" fmla="*/ 4000 w 10000"/>
              <a:gd name="connsiteY13" fmla="*/ 589 h 10000"/>
              <a:gd name="connsiteX14" fmla="*/ 4000 w 10000"/>
              <a:gd name="connsiteY14" fmla="*/ 1766 h 10000"/>
              <a:gd name="connsiteX15" fmla="*/ 6400 w 10000"/>
              <a:gd name="connsiteY15" fmla="*/ 2942 h 10000"/>
              <a:gd name="connsiteX16" fmla="*/ 6800 w 10000"/>
              <a:gd name="connsiteY16" fmla="*/ 2354 h 10000"/>
              <a:gd name="connsiteX17" fmla="*/ 6800 w 10000"/>
              <a:gd name="connsiteY17" fmla="*/ 1176 h 10000"/>
              <a:gd name="connsiteX18" fmla="*/ 8000 w 10000"/>
              <a:gd name="connsiteY18" fmla="*/ 0 h 10000"/>
              <a:gd name="connsiteX19" fmla="*/ 8800 w 10000"/>
              <a:gd name="connsiteY19" fmla="*/ 589 h 10000"/>
              <a:gd name="connsiteX20" fmla="*/ 8800 w 10000"/>
              <a:gd name="connsiteY20" fmla="*/ 1176 h 10000"/>
              <a:gd name="connsiteX21" fmla="*/ 10000 w 10000"/>
              <a:gd name="connsiteY21" fmla="*/ 1176 h 10000"/>
              <a:gd name="connsiteX22" fmla="*/ 9600 w 10000"/>
              <a:gd name="connsiteY22" fmla="*/ 3529 h 10000"/>
              <a:gd name="connsiteX23" fmla="*/ 10000 w 10000"/>
              <a:gd name="connsiteY23" fmla="*/ 4705 h 10000"/>
              <a:gd name="connsiteX0" fmla="*/ 0 w 10000"/>
              <a:gd name="connsiteY0" fmla="*/ 7059 h 7059"/>
              <a:gd name="connsiteX1" fmla="*/ 400 w 10000"/>
              <a:gd name="connsiteY1" fmla="*/ 6471 h 7059"/>
              <a:gd name="connsiteX2" fmla="*/ 400 w 10000"/>
              <a:gd name="connsiteY2" fmla="*/ 5295 h 7059"/>
              <a:gd name="connsiteX3" fmla="*/ 400 w 10000"/>
              <a:gd name="connsiteY3" fmla="*/ 4118 h 7059"/>
              <a:gd name="connsiteX4" fmla="*/ 0 w 10000"/>
              <a:gd name="connsiteY4" fmla="*/ 3529 h 7059"/>
              <a:gd name="connsiteX5" fmla="*/ 0 w 10000"/>
              <a:gd name="connsiteY5" fmla="*/ 2942 h 7059"/>
              <a:gd name="connsiteX6" fmla="*/ 400 w 10000"/>
              <a:gd name="connsiteY6" fmla="*/ 2354 h 7059"/>
              <a:gd name="connsiteX7" fmla="*/ 400 w 10000"/>
              <a:gd name="connsiteY7" fmla="*/ 1766 h 7059"/>
              <a:gd name="connsiteX8" fmla="*/ 1200 w 10000"/>
              <a:gd name="connsiteY8" fmla="*/ 589 h 7059"/>
              <a:gd name="connsiteX9" fmla="*/ 1200 w 10000"/>
              <a:gd name="connsiteY9" fmla="*/ 0 h 7059"/>
              <a:gd name="connsiteX10" fmla="*/ 2000 w 10000"/>
              <a:gd name="connsiteY10" fmla="*/ 0 h 7059"/>
              <a:gd name="connsiteX11" fmla="*/ 3200 w 10000"/>
              <a:gd name="connsiteY11" fmla="*/ 589 h 7059"/>
              <a:gd name="connsiteX12" fmla="*/ 4000 w 10000"/>
              <a:gd name="connsiteY12" fmla="*/ 589 h 7059"/>
              <a:gd name="connsiteX13" fmla="*/ 4000 w 10000"/>
              <a:gd name="connsiteY13" fmla="*/ 1766 h 7059"/>
              <a:gd name="connsiteX14" fmla="*/ 6400 w 10000"/>
              <a:gd name="connsiteY14" fmla="*/ 2942 h 7059"/>
              <a:gd name="connsiteX15" fmla="*/ 6800 w 10000"/>
              <a:gd name="connsiteY15" fmla="*/ 2354 h 7059"/>
              <a:gd name="connsiteX16" fmla="*/ 6800 w 10000"/>
              <a:gd name="connsiteY16" fmla="*/ 1176 h 7059"/>
              <a:gd name="connsiteX17" fmla="*/ 8000 w 10000"/>
              <a:gd name="connsiteY17" fmla="*/ 0 h 7059"/>
              <a:gd name="connsiteX18" fmla="*/ 8800 w 10000"/>
              <a:gd name="connsiteY18" fmla="*/ 589 h 7059"/>
              <a:gd name="connsiteX19" fmla="*/ 8800 w 10000"/>
              <a:gd name="connsiteY19" fmla="*/ 1176 h 7059"/>
              <a:gd name="connsiteX20" fmla="*/ 10000 w 10000"/>
              <a:gd name="connsiteY20" fmla="*/ 1176 h 7059"/>
              <a:gd name="connsiteX21" fmla="*/ 9600 w 10000"/>
              <a:gd name="connsiteY21" fmla="*/ 3529 h 7059"/>
              <a:gd name="connsiteX22" fmla="*/ 10000 w 10000"/>
              <a:gd name="connsiteY22" fmla="*/ 4705 h 7059"/>
              <a:gd name="connsiteX0" fmla="*/ 0 w 10000"/>
              <a:gd name="connsiteY0" fmla="*/ 10000 h 10000"/>
              <a:gd name="connsiteX1" fmla="*/ 400 w 10000"/>
              <a:gd name="connsiteY1" fmla="*/ 7501 h 10000"/>
              <a:gd name="connsiteX2" fmla="*/ 400 w 10000"/>
              <a:gd name="connsiteY2" fmla="*/ 5834 h 10000"/>
              <a:gd name="connsiteX3" fmla="*/ 0 w 10000"/>
              <a:gd name="connsiteY3" fmla="*/ 4999 h 10000"/>
              <a:gd name="connsiteX4" fmla="*/ 0 w 10000"/>
              <a:gd name="connsiteY4" fmla="*/ 4168 h 10000"/>
              <a:gd name="connsiteX5" fmla="*/ 400 w 10000"/>
              <a:gd name="connsiteY5" fmla="*/ 3335 h 10000"/>
              <a:gd name="connsiteX6" fmla="*/ 400 w 10000"/>
              <a:gd name="connsiteY6" fmla="*/ 2502 h 10000"/>
              <a:gd name="connsiteX7" fmla="*/ 1200 w 10000"/>
              <a:gd name="connsiteY7" fmla="*/ 834 h 10000"/>
              <a:gd name="connsiteX8" fmla="*/ 1200 w 10000"/>
              <a:gd name="connsiteY8" fmla="*/ 0 h 10000"/>
              <a:gd name="connsiteX9" fmla="*/ 2000 w 10000"/>
              <a:gd name="connsiteY9" fmla="*/ 0 h 10000"/>
              <a:gd name="connsiteX10" fmla="*/ 3200 w 10000"/>
              <a:gd name="connsiteY10" fmla="*/ 834 h 10000"/>
              <a:gd name="connsiteX11" fmla="*/ 4000 w 10000"/>
              <a:gd name="connsiteY11" fmla="*/ 834 h 10000"/>
              <a:gd name="connsiteX12" fmla="*/ 4000 w 10000"/>
              <a:gd name="connsiteY12" fmla="*/ 2502 h 10000"/>
              <a:gd name="connsiteX13" fmla="*/ 6400 w 10000"/>
              <a:gd name="connsiteY13" fmla="*/ 4168 h 10000"/>
              <a:gd name="connsiteX14" fmla="*/ 6800 w 10000"/>
              <a:gd name="connsiteY14" fmla="*/ 3335 h 10000"/>
              <a:gd name="connsiteX15" fmla="*/ 6800 w 10000"/>
              <a:gd name="connsiteY15" fmla="*/ 1666 h 10000"/>
              <a:gd name="connsiteX16" fmla="*/ 8000 w 10000"/>
              <a:gd name="connsiteY16" fmla="*/ 0 h 10000"/>
              <a:gd name="connsiteX17" fmla="*/ 8800 w 10000"/>
              <a:gd name="connsiteY17" fmla="*/ 834 h 10000"/>
              <a:gd name="connsiteX18" fmla="*/ 8800 w 10000"/>
              <a:gd name="connsiteY18" fmla="*/ 1666 h 10000"/>
              <a:gd name="connsiteX19" fmla="*/ 10000 w 10000"/>
              <a:gd name="connsiteY19" fmla="*/ 1666 h 10000"/>
              <a:gd name="connsiteX20" fmla="*/ 9600 w 10000"/>
              <a:gd name="connsiteY20" fmla="*/ 4999 h 10000"/>
              <a:gd name="connsiteX21" fmla="*/ 10000 w 10000"/>
              <a:gd name="connsiteY21" fmla="*/ 6665 h 10000"/>
              <a:gd name="connsiteX0" fmla="*/ 400 w 10000"/>
              <a:gd name="connsiteY0" fmla="*/ 7501 h 7501"/>
              <a:gd name="connsiteX1" fmla="*/ 400 w 10000"/>
              <a:gd name="connsiteY1" fmla="*/ 5834 h 7501"/>
              <a:gd name="connsiteX2" fmla="*/ 0 w 10000"/>
              <a:gd name="connsiteY2" fmla="*/ 4999 h 7501"/>
              <a:gd name="connsiteX3" fmla="*/ 0 w 10000"/>
              <a:gd name="connsiteY3" fmla="*/ 4168 h 7501"/>
              <a:gd name="connsiteX4" fmla="*/ 400 w 10000"/>
              <a:gd name="connsiteY4" fmla="*/ 3335 h 7501"/>
              <a:gd name="connsiteX5" fmla="*/ 400 w 10000"/>
              <a:gd name="connsiteY5" fmla="*/ 2502 h 7501"/>
              <a:gd name="connsiteX6" fmla="*/ 1200 w 10000"/>
              <a:gd name="connsiteY6" fmla="*/ 834 h 7501"/>
              <a:gd name="connsiteX7" fmla="*/ 1200 w 10000"/>
              <a:gd name="connsiteY7" fmla="*/ 0 h 7501"/>
              <a:gd name="connsiteX8" fmla="*/ 2000 w 10000"/>
              <a:gd name="connsiteY8" fmla="*/ 0 h 7501"/>
              <a:gd name="connsiteX9" fmla="*/ 3200 w 10000"/>
              <a:gd name="connsiteY9" fmla="*/ 834 h 7501"/>
              <a:gd name="connsiteX10" fmla="*/ 4000 w 10000"/>
              <a:gd name="connsiteY10" fmla="*/ 834 h 7501"/>
              <a:gd name="connsiteX11" fmla="*/ 4000 w 10000"/>
              <a:gd name="connsiteY11" fmla="*/ 2502 h 7501"/>
              <a:gd name="connsiteX12" fmla="*/ 6400 w 10000"/>
              <a:gd name="connsiteY12" fmla="*/ 4168 h 7501"/>
              <a:gd name="connsiteX13" fmla="*/ 6800 w 10000"/>
              <a:gd name="connsiteY13" fmla="*/ 3335 h 7501"/>
              <a:gd name="connsiteX14" fmla="*/ 6800 w 10000"/>
              <a:gd name="connsiteY14" fmla="*/ 1666 h 7501"/>
              <a:gd name="connsiteX15" fmla="*/ 8000 w 10000"/>
              <a:gd name="connsiteY15" fmla="*/ 0 h 7501"/>
              <a:gd name="connsiteX16" fmla="*/ 8800 w 10000"/>
              <a:gd name="connsiteY16" fmla="*/ 834 h 7501"/>
              <a:gd name="connsiteX17" fmla="*/ 8800 w 10000"/>
              <a:gd name="connsiteY17" fmla="*/ 1666 h 7501"/>
              <a:gd name="connsiteX18" fmla="*/ 10000 w 10000"/>
              <a:gd name="connsiteY18" fmla="*/ 1666 h 7501"/>
              <a:gd name="connsiteX19" fmla="*/ 9600 w 10000"/>
              <a:gd name="connsiteY19" fmla="*/ 4999 h 7501"/>
              <a:gd name="connsiteX20" fmla="*/ 10000 w 10000"/>
              <a:gd name="connsiteY20" fmla="*/ 6665 h 7501"/>
              <a:gd name="connsiteX0" fmla="*/ 400 w 10000"/>
              <a:gd name="connsiteY0" fmla="*/ 7778 h 8885"/>
              <a:gd name="connsiteX1" fmla="*/ 0 w 10000"/>
              <a:gd name="connsiteY1" fmla="*/ 6664 h 8885"/>
              <a:gd name="connsiteX2" fmla="*/ 0 w 10000"/>
              <a:gd name="connsiteY2" fmla="*/ 5557 h 8885"/>
              <a:gd name="connsiteX3" fmla="*/ 400 w 10000"/>
              <a:gd name="connsiteY3" fmla="*/ 4446 h 8885"/>
              <a:gd name="connsiteX4" fmla="*/ 400 w 10000"/>
              <a:gd name="connsiteY4" fmla="*/ 3336 h 8885"/>
              <a:gd name="connsiteX5" fmla="*/ 1200 w 10000"/>
              <a:gd name="connsiteY5" fmla="*/ 1112 h 8885"/>
              <a:gd name="connsiteX6" fmla="*/ 1200 w 10000"/>
              <a:gd name="connsiteY6" fmla="*/ 0 h 8885"/>
              <a:gd name="connsiteX7" fmla="*/ 2000 w 10000"/>
              <a:gd name="connsiteY7" fmla="*/ 0 h 8885"/>
              <a:gd name="connsiteX8" fmla="*/ 3200 w 10000"/>
              <a:gd name="connsiteY8" fmla="*/ 1112 h 8885"/>
              <a:gd name="connsiteX9" fmla="*/ 4000 w 10000"/>
              <a:gd name="connsiteY9" fmla="*/ 1112 h 8885"/>
              <a:gd name="connsiteX10" fmla="*/ 4000 w 10000"/>
              <a:gd name="connsiteY10" fmla="*/ 3336 h 8885"/>
              <a:gd name="connsiteX11" fmla="*/ 6400 w 10000"/>
              <a:gd name="connsiteY11" fmla="*/ 5557 h 8885"/>
              <a:gd name="connsiteX12" fmla="*/ 6800 w 10000"/>
              <a:gd name="connsiteY12" fmla="*/ 4446 h 8885"/>
              <a:gd name="connsiteX13" fmla="*/ 6800 w 10000"/>
              <a:gd name="connsiteY13" fmla="*/ 2221 h 8885"/>
              <a:gd name="connsiteX14" fmla="*/ 8000 w 10000"/>
              <a:gd name="connsiteY14" fmla="*/ 0 h 8885"/>
              <a:gd name="connsiteX15" fmla="*/ 8800 w 10000"/>
              <a:gd name="connsiteY15" fmla="*/ 1112 h 8885"/>
              <a:gd name="connsiteX16" fmla="*/ 8800 w 10000"/>
              <a:gd name="connsiteY16" fmla="*/ 2221 h 8885"/>
              <a:gd name="connsiteX17" fmla="*/ 10000 w 10000"/>
              <a:gd name="connsiteY17" fmla="*/ 2221 h 8885"/>
              <a:gd name="connsiteX18" fmla="*/ 9600 w 10000"/>
              <a:gd name="connsiteY18" fmla="*/ 6664 h 8885"/>
              <a:gd name="connsiteX19" fmla="*/ 10000 w 10000"/>
              <a:gd name="connsiteY19" fmla="*/ 8885 h 8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0000" h="8885">
                <a:moveTo>
                  <a:pt x="400" y="7778"/>
                </a:moveTo>
                <a:lnTo>
                  <a:pt x="0" y="6664"/>
                </a:lnTo>
                <a:lnTo>
                  <a:pt x="0" y="5557"/>
                </a:lnTo>
                <a:lnTo>
                  <a:pt x="400" y="4446"/>
                </a:lnTo>
                <a:lnTo>
                  <a:pt x="400" y="3336"/>
                </a:lnTo>
                <a:lnTo>
                  <a:pt x="1200" y="1112"/>
                </a:lnTo>
                <a:lnTo>
                  <a:pt x="1200" y="0"/>
                </a:lnTo>
                <a:lnTo>
                  <a:pt x="2000" y="0"/>
                </a:lnTo>
                <a:lnTo>
                  <a:pt x="3200" y="1112"/>
                </a:lnTo>
                <a:lnTo>
                  <a:pt x="4000" y="1112"/>
                </a:lnTo>
                <a:lnTo>
                  <a:pt x="4000" y="3336"/>
                </a:lnTo>
                <a:lnTo>
                  <a:pt x="6400" y="5557"/>
                </a:lnTo>
                <a:lnTo>
                  <a:pt x="6800" y="4446"/>
                </a:lnTo>
                <a:lnTo>
                  <a:pt x="6800" y="2221"/>
                </a:lnTo>
                <a:lnTo>
                  <a:pt x="8000" y="0"/>
                </a:lnTo>
                <a:lnTo>
                  <a:pt x="8800" y="1112"/>
                </a:lnTo>
                <a:lnTo>
                  <a:pt x="8800" y="2221"/>
                </a:lnTo>
                <a:lnTo>
                  <a:pt x="10000" y="2221"/>
                </a:lnTo>
                <a:cubicBezTo>
                  <a:pt x="9867" y="3704"/>
                  <a:pt x="9733" y="5182"/>
                  <a:pt x="9600" y="6664"/>
                </a:cubicBezTo>
                <a:cubicBezTo>
                  <a:pt x="9733" y="7404"/>
                  <a:pt x="9867" y="8145"/>
                  <a:pt x="10000" y="8885"/>
                </a:cubicBez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99" name="Freeform 223">
            <a:extLst>
              <a:ext uri="{FF2B5EF4-FFF2-40B4-BE49-F238E27FC236}">
                <a16:creationId xmlns:a16="http://schemas.microsoft.com/office/drawing/2014/main" id="{81A81245-09CF-402D-9AB4-E4A11C7C7E3D}"/>
              </a:ext>
            </a:extLst>
          </p:cNvPr>
          <p:cNvSpPr>
            <a:spLocks/>
          </p:cNvSpPr>
          <p:nvPr/>
        </p:nvSpPr>
        <p:spPr bwMode="gray">
          <a:xfrm>
            <a:off x="2276434" y="4148236"/>
            <a:ext cx="127328" cy="35126"/>
          </a:xfrm>
          <a:custGeom>
            <a:avLst/>
            <a:gdLst>
              <a:gd name="T0" fmla="*/ 0 w 33"/>
              <a:gd name="T1" fmla="*/ 2147483647 h 9"/>
              <a:gd name="T2" fmla="*/ 0 w 33"/>
              <a:gd name="T3" fmla="*/ 2147483647 h 9"/>
              <a:gd name="T4" fmla="*/ 2147483647 w 33"/>
              <a:gd name="T5" fmla="*/ 2147483647 h 9"/>
              <a:gd name="T6" fmla="*/ 2147483647 w 33"/>
              <a:gd name="T7" fmla="*/ 2147483647 h 9"/>
              <a:gd name="T8" fmla="*/ 2147483647 w 33"/>
              <a:gd name="T9" fmla="*/ 2147483647 h 9"/>
              <a:gd name="T10" fmla="*/ 0 w 33"/>
              <a:gd name="T11" fmla="*/ 0 h 9"/>
              <a:gd name="T12" fmla="*/ 0 w 33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9"/>
              <a:gd name="T23" fmla="*/ 33 w 33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9">
                <a:moveTo>
                  <a:pt x="0" y="8"/>
                </a:moveTo>
                <a:lnTo>
                  <a:pt x="0" y="8"/>
                </a:lnTo>
                <a:lnTo>
                  <a:pt x="16" y="8"/>
                </a:lnTo>
                <a:lnTo>
                  <a:pt x="32" y="8"/>
                </a:lnTo>
                <a:lnTo>
                  <a:pt x="24" y="8"/>
                </a:lnTo>
                <a:lnTo>
                  <a:pt x="0" y="0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0" name="Freeform 224">
            <a:extLst>
              <a:ext uri="{FF2B5EF4-FFF2-40B4-BE49-F238E27FC236}">
                <a16:creationId xmlns:a16="http://schemas.microsoft.com/office/drawing/2014/main" id="{34289923-E8B6-4DA2-AD84-837EA24AA922}"/>
              </a:ext>
            </a:extLst>
          </p:cNvPr>
          <p:cNvSpPr>
            <a:spLocks/>
          </p:cNvSpPr>
          <p:nvPr/>
        </p:nvSpPr>
        <p:spPr bwMode="gray">
          <a:xfrm>
            <a:off x="2667204" y="4148236"/>
            <a:ext cx="118550" cy="70249"/>
          </a:xfrm>
          <a:custGeom>
            <a:avLst/>
            <a:gdLst>
              <a:gd name="T0" fmla="*/ 0 w 33"/>
              <a:gd name="T1" fmla="*/ 2147483647 h 17"/>
              <a:gd name="T2" fmla="*/ 0 w 33"/>
              <a:gd name="T3" fmla="*/ 2147483647 h 17"/>
              <a:gd name="T4" fmla="*/ 2147483647 w 33"/>
              <a:gd name="T5" fmla="*/ 2147483647 h 17"/>
              <a:gd name="T6" fmla="*/ 2147483647 w 33"/>
              <a:gd name="T7" fmla="*/ 2147483647 h 17"/>
              <a:gd name="T8" fmla="*/ 2147483647 w 33"/>
              <a:gd name="T9" fmla="*/ 2147483647 h 17"/>
              <a:gd name="T10" fmla="*/ 2147483647 w 33"/>
              <a:gd name="T11" fmla="*/ 0 h 17"/>
              <a:gd name="T12" fmla="*/ 0 w 33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"/>
              <a:gd name="T22" fmla="*/ 0 h 17"/>
              <a:gd name="T23" fmla="*/ 33 w 33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" h="17">
                <a:moveTo>
                  <a:pt x="0" y="8"/>
                </a:moveTo>
                <a:lnTo>
                  <a:pt x="0" y="8"/>
                </a:lnTo>
                <a:lnTo>
                  <a:pt x="8" y="16"/>
                </a:lnTo>
                <a:lnTo>
                  <a:pt x="16" y="16"/>
                </a:lnTo>
                <a:lnTo>
                  <a:pt x="24" y="8"/>
                </a:lnTo>
                <a:lnTo>
                  <a:pt x="32" y="0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1" name="Line 226">
            <a:extLst>
              <a:ext uri="{FF2B5EF4-FFF2-40B4-BE49-F238E27FC236}">
                <a16:creationId xmlns:a16="http://schemas.microsoft.com/office/drawing/2014/main" id="{4983C806-F65B-4046-93F4-C9EAEF7B5E58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2474016" y="4108718"/>
            <a:ext cx="26345" cy="83424"/>
          </a:xfrm>
          <a:prstGeom prst="line">
            <a:avLst/>
          </a:pr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2" name="Line 331">
            <a:extLst>
              <a:ext uri="{FF2B5EF4-FFF2-40B4-BE49-F238E27FC236}">
                <a16:creationId xmlns:a16="http://schemas.microsoft.com/office/drawing/2014/main" id="{E88386BD-AFE1-4016-8124-4614E7B4EE8C}"/>
              </a:ext>
            </a:extLst>
          </p:cNvPr>
          <p:cNvSpPr>
            <a:spLocks noChangeShapeType="1"/>
          </p:cNvSpPr>
          <p:nvPr/>
        </p:nvSpPr>
        <p:spPr bwMode="gray">
          <a:xfrm>
            <a:off x="2408154" y="4020905"/>
            <a:ext cx="0" cy="0"/>
          </a:xfrm>
          <a:prstGeom prst="line">
            <a:avLst/>
          </a:pr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3" name="Freeform 341">
            <a:extLst>
              <a:ext uri="{FF2B5EF4-FFF2-40B4-BE49-F238E27FC236}">
                <a16:creationId xmlns:a16="http://schemas.microsoft.com/office/drawing/2014/main" id="{9DA65BC6-6DBE-4E27-A782-9470E2F4CB28}"/>
              </a:ext>
            </a:extLst>
          </p:cNvPr>
          <p:cNvSpPr>
            <a:spLocks/>
          </p:cNvSpPr>
          <p:nvPr/>
        </p:nvSpPr>
        <p:spPr bwMode="gray">
          <a:xfrm>
            <a:off x="3343368" y="4459972"/>
            <a:ext cx="87815" cy="74642"/>
          </a:xfrm>
          <a:custGeom>
            <a:avLst/>
            <a:gdLst>
              <a:gd name="T0" fmla="*/ 2147483647 w 30"/>
              <a:gd name="T1" fmla="*/ 2147483647 h 24"/>
              <a:gd name="T2" fmla="*/ 2147483647 w 30"/>
              <a:gd name="T3" fmla="*/ 2147483647 h 24"/>
              <a:gd name="T4" fmla="*/ 2147483647 w 30"/>
              <a:gd name="T5" fmla="*/ 0 h 24"/>
              <a:gd name="T6" fmla="*/ 2147483647 w 30"/>
              <a:gd name="T7" fmla="*/ 2147483647 h 24"/>
              <a:gd name="T8" fmla="*/ 0 w 30"/>
              <a:gd name="T9" fmla="*/ 2147483647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"/>
              <a:gd name="T16" fmla="*/ 0 h 24"/>
              <a:gd name="T17" fmla="*/ 30 w 30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" h="24">
                <a:moveTo>
                  <a:pt x="30" y="24"/>
                </a:moveTo>
                <a:lnTo>
                  <a:pt x="29" y="22"/>
                </a:lnTo>
                <a:lnTo>
                  <a:pt x="30" y="0"/>
                </a:lnTo>
                <a:lnTo>
                  <a:pt x="8" y="4"/>
                </a:lnTo>
                <a:lnTo>
                  <a:pt x="0" y="1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4" name="Freeform 64">
            <a:extLst>
              <a:ext uri="{FF2B5EF4-FFF2-40B4-BE49-F238E27FC236}">
                <a16:creationId xmlns:a16="http://schemas.microsoft.com/office/drawing/2014/main" id="{C4E7F3C7-BCC7-4604-B67C-0F795D12E71B}"/>
              </a:ext>
            </a:extLst>
          </p:cNvPr>
          <p:cNvSpPr>
            <a:spLocks/>
          </p:cNvSpPr>
          <p:nvPr/>
        </p:nvSpPr>
        <p:spPr bwMode="gray">
          <a:xfrm>
            <a:off x="3268729" y="3770635"/>
            <a:ext cx="267830" cy="215144"/>
          </a:xfrm>
          <a:custGeom>
            <a:avLst/>
            <a:gdLst>
              <a:gd name="T0" fmla="*/ 2147483647 w 73"/>
              <a:gd name="T1" fmla="*/ 2147483647 h 57"/>
              <a:gd name="T2" fmla="*/ 2147483647 w 73"/>
              <a:gd name="T3" fmla="*/ 2147483647 h 57"/>
              <a:gd name="T4" fmla="*/ 2147483647 w 73"/>
              <a:gd name="T5" fmla="*/ 2147483647 h 57"/>
              <a:gd name="T6" fmla="*/ 2147483647 w 73"/>
              <a:gd name="T7" fmla="*/ 2147483647 h 57"/>
              <a:gd name="T8" fmla="*/ 2147483647 w 73"/>
              <a:gd name="T9" fmla="*/ 2147483647 h 57"/>
              <a:gd name="T10" fmla="*/ 2147483647 w 73"/>
              <a:gd name="T11" fmla="*/ 2147483647 h 57"/>
              <a:gd name="T12" fmla="*/ 2147483647 w 73"/>
              <a:gd name="T13" fmla="*/ 2147483647 h 57"/>
              <a:gd name="T14" fmla="*/ 2147483647 w 73"/>
              <a:gd name="T15" fmla="*/ 2147483647 h 57"/>
              <a:gd name="T16" fmla="*/ 2147483647 w 73"/>
              <a:gd name="T17" fmla="*/ 2147483647 h 57"/>
              <a:gd name="T18" fmla="*/ 2147483647 w 73"/>
              <a:gd name="T19" fmla="*/ 2147483647 h 57"/>
              <a:gd name="T20" fmla="*/ 2147483647 w 73"/>
              <a:gd name="T21" fmla="*/ 2147483647 h 57"/>
              <a:gd name="T22" fmla="*/ 2147483647 w 73"/>
              <a:gd name="T23" fmla="*/ 0 h 57"/>
              <a:gd name="T24" fmla="*/ 2147483647 w 73"/>
              <a:gd name="T25" fmla="*/ 2147483647 h 57"/>
              <a:gd name="T26" fmla="*/ 2147483647 w 73"/>
              <a:gd name="T27" fmla="*/ 2147483647 h 57"/>
              <a:gd name="T28" fmla="*/ 2147483647 w 73"/>
              <a:gd name="T29" fmla="*/ 0 h 57"/>
              <a:gd name="T30" fmla="*/ 2147483647 w 73"/>
              <a:gd name="T31" fmla="*/ 0 h 57"/>
              <a:gd name="T32" fmla="*/ 2147483647 w 73"/>
              <a:gd name="T33" fmla="*/ 2147483647 h 57"/>
              <a:gd name="T34" fmla="*/ 2147483647 w 73"/>
              <a:gd name="T35" fmla="*/ 2147483647 h 57"/>
              <a:gd name="T36" fmla="*/ 0 w 73"/>
              <a:gd name="T37" fmla="*/ 2147483647 h 57"/>
              <a:gd name="T38" fmla="*/ 2147483647 w 73"/>
              <a:gd name="T39" fmla="*/ 2147483647 h 57"/>
              <a:gd name="T40" fmla="*/ 2147483647 w 73"/>
              <a:gd name="T41" fmla="*/ 2147483647 h 57"/>
              <a:gd name="T42" fmla="*/ 2147483647 w 73"/>
              <a:gd name="T43" fmla="*/ 2147483647 h 57"/>
              <a:gd name="T44" fmla="*/ 2147483647 w 73"/>
              <a:gd name="T45" fmla="*/ 2147483647 h 5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73"/>
              <a:gd name="T70" fmla="*/ 0 h 57"/>
              <a:gd name="T71" fmla="*/ 73 w 73"/>
              <a:gd name="T72" fmla="*/ 57 h 5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73" h="57">
                <a:moveTo>
                  <a:pt x="24" y="48"/>
                </a:moveTo>
                <a:lnTo>
                  <a:pt x="24" y="48"/>
                </a:lnTo>
                <a:lnTo>
                  <a:pt x="40" y="40"/>
                </a:lnTo>
                <a:lnTo>
                  <a:pt x="48" y="40"/>
                </a:lnTo>
                <a:lnTo>
                  <a:pt x="40" y="48"/>
                </a:lnTo>
                <a:lnTo>
                  <a:pt x="56" y="56"/>
                </a:lnTo>
                <a:lnTo>
                  <a:pt x="48" y="48"/>
                </a:lnTo>
                <a:lnTo>
                  <a:pt x="56" y="48"/>
                </a:lnTo>
                <a:lnTo>
                  <a:pt x="56" y="32"/>
                </a:lnTo>
                <a:lnTo>
                  <a:pt x="72" y="24"/>
                </a:lnTo>
                <a:lnTo>
                  <a:pt x="56" y="16"/>
                </a:lnTo>
                <a:lnTo>
                  <a:pt x="48" y="0"/>
                </a:lnTo>
                <a:lnTo>
                  <a:pt x="40" y="8"/>
                </a:lnTo>
                <a:lnTo>
                  <a:pt x="32" y="8"/>
                </a:lnTo>
                <a:lnTo>
                  <a:pt x="24" y="0"/>
                </a:lnTo>
                <a:lnTo>
                  <a:pt x="16" y="0"/>
                </a:lnTo>
                <a:lnTo>
                  <a:pt x="24" y="8"/>
                </a:lnTo>
                <a:lnTo>
                  <a:pt x="8" y="8"/>
                </a:lnTo>
                <a:lnTo>
                  <a:pt x="0" y="8"/>
                </a:lnTo>
                <a:lnTo>
                  <a:pt x="16" y="24"/>
                </a:lnTo>
                <a:lnTo>
                  <a:pt x="16" y="32"/>
                </a:lnTo>
                <a:lnTo>
                  <a:pt x="24" y="40"/>
                </a:lnTo>
                <a:lnTo>
                  <a:pt x="24" y="4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5" name="Freeform 65">
            <a:extLst>
              <a:ext uri="{FF2B5EF4-FFF2-40B4-BE49-F238E27FC236}">
                <a16:creationId xmlns:a16="http://schemas.microsoft.com/office/drawing/2014/main" id="{74C97C96-BE51-47FC-AEEE-F0E8886C4FD4}"/>
              </a:ext>
            </a:extLst>
          </p:cNvPr>
          <p:cNvSpPr>
            <a:spLocks/>
          </p:cNvSpPr>
          <p:nvPr/>
        </p:nvSpPr>
        <p:spPr bwMode="gray">
          <a:xfrm>
            <a:off x="3611202" y="3739079"/>
            <a:ext cx="187555" cy="298982"/>
          </a:xfrm>
          <a:custGeom>
            <a:avLst/>
            <a:gdLst>
              <a:gd name="T0" fmla="*/ 2147483647 w 185"/>
              <a:gd name="T1" fmla="*/ 2147483647 h 121"/>
              <a:gd name="T2" fmla="*/ 2147483647 w 185"/>
              <a:gd name="T3" fmla="*/ 2147483647 h 121"/>
              <a:gd name="T4" fmla="*/ 2147483647 w 185"/>
              <a:gd name="T5" fmla="*/ 2147483647 h 121"/>
              <a:gd name="T6" fmla="*/ 2147483647 w 185"/>
              <a:gd name="T7" fmla="*/ 2147483647 h 121"/>
              <a:gd name="T8" fmla="*/ 2147483647 w 185"/>
              <a:gd name="T9" fmla="*/ 2147483647 h 121"/>
              <a:gd name="T10" fmla="*/ 2147483647 w 185"/>
              <a:gd name="T11" fmla="*/ 2147483647 h 121"/>
              <a:gd name="T12" fmla="*/ 2147483647 w 185"/>
              <a:gd name="T13" fmla="*/ 2147483647 h 121"/>
              <a:gd name="T14" fmla="*/ 2147483647 w 185"/>
              <a:gd name="T15" fmla="*/ 2147483647 h 121"/>
              <a:gd name="T16" fmla="*/ 2147483647 w 185"/>
              <a:gd name="T17" fmla="*/ 2147483647 h 121"/>
              <a:gd name="T18" fmla="*/ 2147483647 w 185"/>
              <a:gd name="T19" fmla="*/ 2147483647 h 121"/>
              <a:gd name="T20" fmla="*/ 2147483647 w 185"/>
              <a:gd name="T21" fmla="*/ 2147483647 h 121"/>
              <a:gd name="T22" fmla="*/ 2147483647 w 185"/>
              <a:gd name="T23" fmla="*/ 2147483647 h 121"/>
              <a:gd name="T24" fmla="*/ 2147483647 w 185"/>
              <a:gd name="T25" fmla="*/ 2147483647 h 121"/>
              <a:gd name="T26" fmla="*/ 2147483647 w 185"/>
              <a:gd name="T27" fmla="*/ 2147483647 h 121"/>
              <a:gd name="T28" fmla="*/ 2147483647 w 185"/>
              <a:gd name="T29" fmla="*/ 2147483647 h 121"/>
              <a:gd name="T30" fmla="*/ 2147483647 w 185"/>
              <a:gd name="T31" fmla="*/ 2147483647 h 121"/>
              <a:gd name="T32" fmla="*/ 2147483647 w 185"/>
              <a:gd name="T33" fmla="*/ 2147483647 h 121"/>
              <a:gd name="T34" fmla="*/ 2147483647 w 185"/>
              <a:gd name="T35" fmla="*/ 2147483647 h 121"/>
              <a:gd name="T36" fmla="*/ 2147483647 w 185"/>
              <a:gd name="T37" fmla="*/ 2147483647 h 121"/>
              <a:gd name="T38" fmla="*/ 2147483647 w 185"/>
              <a:gd name="T39" fmla="*/ 2147483647 h 121"/>
              <a:gd name="T40" fmla="*/ 2147483647 w 185"/>
              <a:gd name="T41" fmla="*/ 2147483647 h 121"/>
              <a:gd name="T42" fmla="*/ 2147483647 w 185"/>
              <a:gd name="T43" fmla="*/ 2147483647 h 121"/>
              <a:gd name="T44" fmla="*/ 2147483647 w 185"/>
              <a:gd name="T45" fmla="*/ 2147483647 h 121"/>
              <a:gd name="T46" fmla="*/ 2147483647 w 185"/>
              <a:gd name="T47" fmla="*/ 2147483647 h 121"/>
              <a:gd name="T48" fmla="*/ 0 w 185"/>
              <a:gd name="T49" fmla="*/ 2147483647 h 121"/>
              <a:gd name="T50" fmla="*/ 2147483647 w 185"/>
              <a:gd name="T51" fmla="*/ 2147483647 h 121"/>
              <a:gd name="T52" fmla="*/ 2147483647 w 185"/>
              <a:gd name="T53" fmla="*/ 2147483647 h 121"/>
              <a:gd name="T54" fmla="*/ 2147483647 w 185"/>
              <a:gd name="T55" fmla="*/ 2147483647 h 121"/>
              <a:gd name="T56" fmla="*/ 2147483647 w 185"/>
              <a:gd name="T57" fmla="*/ 2147483647 h 121"/>
              <a:gd name="T58" fmla="*/ 2147483647 w 185"/>
              <a:gd name="T59" fmla="*/ 2147483647 h 121"/>
              <a:gd name="T60" fmla="*/ 2147483647 w 185"/>
              <a:gd name="T61" fmla="*/ 2147483647 h 121"/>
              <a:gd name="T62" fmla="*/ 2147483647 w 185"/>
              <a:gd name="T63" fmla="*/ 2147483647 h 121"/>
              <a:gd name="T64" fmla="*/ 2147483647 w 185"/>
              <a:gd name="T65" fmla="*/ 0 h 121"/>
              <a:gd name="T66" fmla="*/ 2147483647 w 185"/>
              <a:gd name="T67" fmla="*/ 0 h 121"/>
              <a:gd name="T68" fmla="*/ 2147483647 w 185"/>
              <a:gd name="T69" fmla="*/ 2147483647 h 121"/>
              <a:gd name="T70" fmla="*/ 2147483647 w 185"/>
              <a:gd name="T71" fmla="*/ 2147483647 h 121"/>
              <a:gd name="T72" fmla="*/ 2147483647 w 185"/>
              <a:gd name="T73" fmla="*/ 2147483647 h 121"/>
              <a:gd name="T74" fmla="*/ 2147483647 w 185"/>
              <a:gd name="T75" fmla="*/ 2147483647 h 121"/>
              <a:gd name="T76" fmla="*/ 2147483647 w 185"/>
              <a:gd name="T77" fmla="*/ 2147483647 h 121"/>
              <a:gd name="T78" fmla="*/ 2147483647 w 185"/>
              <a:gd name="T79" fmla="*/ 2147483647 h 121"/>
              <a:gd name="T80" fmla="*/ 2147483647 w 185"/>
              <a:gd name="T81" fmla="*/ 2147483647 h 12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85"/>
              <a:gd name="T124" fmla="*/ 0 h 121"/>
              <a:gd name="T125" fmla="*/ 185 w 185"/>
              <a:gd name="T126" fmla="*/ 121 h 121"/>
              <a:gd name="connsiteX0" fmla="*/ 9514 w 9514"/>
              <a:gd name="connsiteY0" fmla="*/ 7934 h 9917"/>
              <a:gd name="connsiteX1" fmla="*/ 9514 w 9514"/>
              <a:gd name="connsiteY1" fmla="*/ 7934 h 9917"/>
              <a:gd name="connsiteX2" fmla="*/ 9081 w 9514"/>
              <a:gd name="connsiteY2" fmla="*/ 7273 h 9917"/>
              <a:gd name="connsiteX3" fmla="*/ 9081 w 9514"/>
              <a:gd name="connsiteY3" fmla="*/ 7934 h 9917"/>
              <a:gd name="connsiteX4" fmla="*/ 8649 w 9514"/>
              <a:gd name="connsiteY4" fmla="*/ 7934 h 9917"/>
              <a:gd name="connsiteX5" fmla="*/ 8216 w 9514"/>
              <a:gd name="connsiteY5" fmla="*/ 9256 h 9917"/>
              <a:gd name="connsiteX6" fmla="*/ 7351 w 9514"/>
              <a:gd name="connsiteY6" fmla="*/ 9256 h 9917"/>
              <a:gd name="connsiteX7" fmla="*/ 7351 w 9514"/>
              <a:gd name="connsiteY7" fmla="*/ 9917 h 9917"/>
              <a:gd name="connsiteX8" fmla="*/ 6054 w 9514"/>
              <a:gd name="connsiteY8" fmla="*/ 9917 h 9917"/>
              <a:gd name="connsiteX9" fmla="*/ 6054 w 9514"/>
              <a:gd name="connsiteY9" fmla="*/ 9256 h 9917"/>
              <a:gd name="connsiteX10" fmla="*/ 6054 w 9514"/>
              <a:gd name="connsiteY10" fmla="*/ 8595 h 9917"/>
              <a:gd name="connsiteX11" fmla="*/ 3459 w 9514"/>
              <a:gd name="connsiteY11" fmla="*/ 6612 h 9917"/>
              <a:gd name="connsiteX12" fmla="*/ 2162 w 9514"/>
              <a:gd name="connsiteY12" fmla="*/ 6612 h 9917"/>
              <a:gd name="connsiteX13" fmla="*/ 1297 w 9514"/>
              <a:gd name="connsiteY13" fmla="*/ 7273 h 9917"/>
              <a:gd name="connsiteX14" fmla="*/ 1297 w 9514"/>
              <a:gd name="connsiteY14" fmla="*/ 5289 h 9917"/>
              <a:gd name="connsiteX15" fmla="*/ 865 w 9514"/>
              <a:gd name="connsiteY15" fmla="*/ 5289 h 9917"/>
              <a:gd name="connsiteX16" fmla="*/ 865 w 9514"/>
              <a:gd name="connsiteY16" fmla="*/ 3967 h 9917"/>
              <a:gd name="connsiteX17" fmla="*/ 432 w 9514"/>
              <a:gd name="connsiteY17" fmla="*/ 3967 h 9917"/>
              <a:gd name="connsiteX18" fmla="*/ 432 w 9514"/>
              <a:gd name="connsiteY18" fmla="*/ 3306 h 9917"/>
              <a:gd name="connsiteX19" fmla="*/ 1297 w 9514"/>
              <a:gd name="connsiteY19" fmla="*/ 3306 h 9917"/>
              <a:gd name="connsiteX20" fmla="*/ 1730 w 9514"/>
              <a:gd name="connsiteY20" fmla="*/ 2645 h 9917"/>
              <a:gd name="connsiteX21" fmla="*/ 865 w 9514"/>
              <a:gd name="connsiteY21" fmla="*/ 1322 h 9917"/>
              <a:gd name="connsiteX22" fmla="*/ 432 w 9514"/>
              <a:gd name="connsiteY22" fmla="*/ 1322 h 9917"/>
              <a:gd name="connsiteX23" fmla="*/ 432 w 9514"/>
              <a:gd name="connsiteY23" fmla="*/ 2645 h 9917"/>
              <a:gd name="connsiteX24" fmla="*/ 0 w 9514"/>
              <a:gd name="connsiteY24" fmla="*/ 1322 h 9917"/>
              <a:gd name="connsiteX25" fmla="*/ 1297 w 9514"/>
              <a:gd name="connsiteY25" fmla="*/ 661 h 9917"/>
              <a:gd name="connsiteX26" fmla="*/ 2162 w 9514"/>
              <a:gd name="connsiteY26" fmla="*/ 1983 h 9917"/>
              <a:gd name="connsiteX27" fmla="*/ 2595 w 9514"/>
              <a:gd name="connsiteY27" fmla="*/ 1983 h 9917"/>
              <a:gd name="connsiteX28" fmla="*/ 3027 w 9514"/>
              <a:gd name="connsiteY28" fmla="*/ 1983 h 9917"/>
              <a:gd name="connsiteX29" fmla="*/ 3027 w 9514"/>
              <a:gd name="connsiteY29" fmla="*/ 1322 h 9917"/>
              <a:gd name="connsiteX30" fmla="*/ 3892 w 9514"/>
              <a:gd name="connsiteY30" fmla="*/ 661 h 9917"/>
              <a:gd name="connsiteX31" fmla="*/ 4324 w 9514"/>
              <a:gd name="connsiteY31" fmla="*/ 661 h 9917"/>
              <a:gd name="connsiteX32" fmla="*/ 3892 w 9514"/>
              <a:gd name="connsiteY32" fmla="*/ 0 h 9917"/>
              <a:gd name="connsiteX33" fmla="*/ 4324 w 9514"/>
              <a:gd name="connsiteY33" fmla="*/ 0 h 9917"/>
              <a:gd name="connsiteX34" fmla="*/ 5189 w 9514"/>
              <a:gd name="connsiteY34" fmla="*/ 661 h 9917"/>
              <a:gd name="connsiteX35" fmla="*/ 5189 w 9514"/>
              <a:gd name="connsiteY35" fmla="*/ 1983 h 9917"/>
              <a:gd name="connsiteX36" fmla="*/ 6486 w 9514"/>
              <a:gd name="connsiteY36" fmla="*/ 1983 h 9917"/>
              <a:gd name="connsiteX37" fmla="*/ 6919 w 9514"/>
              <a:gd name="connsiteY37" fmla="*/ 3967 h 9917"/>
              <a:gd name="connsiteX38" fmla="*/ 9081 w 9514"/>
              <a:gd name="connsiteY38" fmla="*/ 5950 h 9917"/>
              <a:gd name="connsiteX39" fmla="*/ 9514 w 9514"/>
              <a:gd name="connsiteY39" fmla="*/ 7934 h 9917"/>
              <a:gd name="connsiteX0" fmla="*/ 10000 w 10000"/>
              <a:gd name="connsiteY0" fmla="*/ 8000 h 10000"/>
              <a:gd name="connsiteX1" fmla="*/ 10000 w 10000"/>
              <a:gd name="connsiteY1" fmla="*/ 8000 h 10000"/>
              <a:gd name="connsiteX2" fmla="*/ 9545 w 10000"/>
              <a:gd name="connsiteY2" fmla="*/ 7334 h 10000"/>
              <a:gd name="connsiteX3" fmla="*/ 9545 w 10000"/>
              <a:gd name="connsiteY3" fmla="*/ 8000 h 10000"/>
              <a:gd name="connsiteX4" fmla="*/ 9091 w 10000"/>
              <a:gd name="connsiteY4" fmla="*/ 8000 h 10000"/>
              <a:gd name="connsiteX5" fmla="*/ 8636 w 10000"/>
              <a:gd name="connsiteY5" fmla="*/ 9333 h 10000"/>
              <a:gd name="connsiteX6" fmla="*/ 7727 w 10000"/>
              <a:gd name="connsiteY6" fmla="*/ 9333 h 10000"/>
              <a:gd name="connsiteX7" fmla="*/ 7727 w 10000"/>
              <a:gd name="connsiteY7" fmla="*/ 10000 h 10000"/>
              <a:gd name="connsiteX8" fmla="*/ 6363 w 10000"/>
              <a:gd name="connsiteY8" fmla="*/ 10000 h 10000"/>
              <a:gd name="connsiteX9" fmla="*/ 6363 w 10000"/>
              <a:gd name="connsiteY9" fmla="*/ 9333 h 10000"/>
              <a:gd name="connsiteX10" fmla="*/ 6363 w 10000"/>
              <a:gd name="connsiteY10" fmla="*/ 8667 h 10000"/>
              <a:gd name="connsiteX11" fmla="*/ 3636 w 10000"/>
              <a:gd name="connsiteY11" fmla="*/ 6667 h 10000"/>
              <a:gd name="connsiteX12" fmla="*/ 2272 w 10000"/>
              <a:gd name="connsiteY12" fmla="*/ 6667 h 10000"/>
              <a:gd name="connsiteX13" fmla="*/ 1363 w 10000"/>
              <a:gd name="connsiteY13" fmla="*/ 7334 h 10000"/>
              <a:gd name="connsiteX14" fmla="*/ 1363 w 10000"/>
              <a:gd name="connsiteY14" fmla="*/ 5333 h 10000"/>
              <a:gd name="connsiteX15" fmla="*/ 909 w 10000"/>
              <a:gd name="connsiteY15" fmla="*/ 5333 h 10000"/>
              <a:gd name="connsiteX16" fmla="*/ 909 w 10000"/>
              <a:gd name="connsiteY16" fmla="*/ 4000 h 10000"/>
              <a:gd name="connsiteX17" fmla="*/ 454 w 10000"/>
              <a:gd name="connsiteY17" fmla="*/ 4000 h 10000"/>
              <a:gd name="connsiteX18" fmla="*/ 454 w 10000"/>
              <a:gd name="connsiteY18" fmla="*/ 3334 h 10000"/>
              <a:gd name="connsiteX19" fmla="*/ 1363 w 10000"/>
              <a:gd name="connsiteY19" fmla="*/ 3334 h 10000"/>
              <a:gd name="connsiteX20" fmla="*/ 1818 w 10000"/>
              <a:gd name="connsiteY20" fmla="*/ 2667 h 10000"/>
              <a:gd name="connsiteX21" fmla="*/ 909 w 10000"/>
              <a:gd name="connsiteY21" fmla="*/ 1333 h 10000"/>
              <a:gd name="connsiteX22" fmla="*/ 454 w 10000"/>
              <a:gd name="connsiteY22" fmla="*/ 1333 h 10000"/>
              <a:gd name="connsiteX23" fmla="*/ 454 w 10000"/>
              <a:gd name="connsiteY23" fmla="*/ 2667 h 10000"/>
              <a:gd name="connsiteX24" fmla="*/ 0 w 10000"/>
              <a:gd name="connsiteY24" fmla="*/ 1333 h 10000"/>
              <a:gd name="connsiteX25" fmla="*/ 1363 w 10000"/>
              <a:gd name="connsiteY25" fmla="*/ 667 h 10000"/>
              <a:gd name="connsiteX26" fmla="*/ 2272 w 10000"/>
              <a:gd name="connsiteY26" fmla="*/ 2000 h 10000"/>
              <a:gd name="connsiteX27" fmla="*/ 2728 w 10000"/>
              <a:gd name="connsiteY27" fmla="*/ 2000 h 10000"/>
              <a:gd name="connsiteX28" fmla="*/ 3182 w 10000"/>
              <a:gd name="connsiteY28" fmla="*/ 2000 h 10000"/>
              <a:gd name="connsiteX29" fmla="*/ 3182 w 10000"/>
              <a:gd name="connsiteY29" fmla="*/ 1333 h 10000"/>
              <a:gd name="connsiteX30" fmla="*/ 4091 w 10000"/>
              <a:gd name="connsiteY30" fmla="*/ 667 h 10000"/>
              <a:gd name="connsiteX31" fmla="*/ 4545 w 10000"/>
              <a:gd name="connsiteY31" fmla="*/ 667 h 10000"/>
              <a:gd name="connsiteX32" fmla="*/ 4091 w 10000"/>
              <a:gd name="connsiteY32" fmla="*/ 0 h 10000"/>
              <a:gd name="connsiteX33" fmla="*/ 4545 w 10000"/>
              <a:gd name="connsiteY33" fmla="*/ 0 h 10000"/>
              <a:gd name="connsiteX34" fmla="*/ 5454 w 10000"/>
              <a:gd name="connsiteY34" fmla="*/ 667 h 10000"/>
              <a:gd name="connsiteX35" fmla="*/ 5454 w 10000"/>
              <a:gd name="connsiteY35" fmla="*/ 2000 h 10000"/>
              <a:gd name="connsiteX36" fmla="*/ 6817 w 10000"/>
              <a:gd name="connsiteY36" fmla="*/ 2000 h 10000"/>
              <a:gd name="connsiteX37" fmla="*/ 7272 w 10000"/>
              <a:gd name="connsiteY37" fmla="*/ 4000 h 10000"/>
              <a:gd name="connsiteX38" fmla="*/ 10000 w 10000"/>
              <a:gd name="connsiteY38" fmla="*/ 8000 h 10000"/>
              <a:gd name="connsiteX0" fmla="*/ 10000 w 10000"/>
              <a:gd name="connsiteY0" fmla="*/ 8000 h 10000"/>
              <a:gd name="connsiteX1" fmla="*/ 10000 w 10000"/>
              <a:gd name="connsiteY1" fmla="*/ 8000 h 10000"/>
              <a:gd name="connsiteX2" fmla="*/ 9545 w 10000"/>
              <a:gd name="connsiteY2" fmla="*/ 7334 h 10000"/>
              <a:gd name="connsiteX3" fmla="*/ 9545 w 10000"/>
              <a:gd name="connsiteY3" fmla="*/ 8000 h 10000"/>
              <a:gd name="connsiteX4" fmla="*/ 8636 w 10000"/>
              <a:gd name="connsiteY4" fmla="*/ 9333 h 10000"/>
              <a:gd name="connsiteX5" fmla="*/ 7727 w 10000"/>
              <a:gd name="connsiteY5" fmla="*/ 9333 h 10000"/>
              <a:gd name="connsiteX6" fmla="*/ 7727 w 10000"/>
              <a:gd name="connsiteY6" fmla="*/ 10000 h 10000"/>
              <a:gd name="connsiteX7" fmla="*/ 6363 w 10000"/>
              <a:gd name="connsiteY7" fmla="*/ 10000 h 10000"/>
              <a:gd name="connsiteX8" fmla="*/ 6363 w 10000"/>
              <a:gd name="connsiteY8" fmla="*/ 9333 h 10000"/>
              <a:gd name="connsiteX9" fmla="*/ 6363 w 10000"/>
              <a:gd name="connsiteY9" fmla="*/ 8667 h 10000"/>
              <a:gd name="connsiteX10" fmla="*/ 3636 w 10000"/>
              <a:gd name="connsiteY10" fmla="*/ 6667 h 10000"/>
              <a:gd name="connsiteX11" fmla="*/ 2272 w 10000"/>
              <a:gd name="connsiteY11" fmla="*/ 6667 h 10000"/>
              <a:gd name="connsiteX12" fmla="*/ 1363 w 10000"/>
              <a:gd name="connsiteY12" fmla="*/ 7334 h 10000"/>
              <a:gd name="connsiteX13" fmla="*/ 1363 w 10000"/>
              <a:gd name="connsiteY13" fmla="*/ 5333 h 10000"/>
              <a:gd name="connsiteX14" fmla="*/ 909 w 10000"/>
              <a:gd name="connsiteY14" fmla="*/ 5333 h 10000"/>
              <a:gd name="connsiteX15" fmla="*/ 909 w 10000"/>
              <a:gd name="connsiteY15" fmla="*/ 4000 h 10000"/>
              <a:gd name="connsiteX16" fmla="*/ 454 w 10000"/>
              <a:gd name="connsiteY16" fmla="*/ 4000 h 10000"/>
              <a:gd name="connsiteX17" fmla="*/ 454 w 10000"/>
              <a:gd name="connsiteY17" fmla="*/ 3334 h 10000"/>
              <a:gd name="connsiteX18" fmla="*/ 1363 w 10000"/>
              <a:gd name="connsiteY18" fmla="*/ 3334 h 10000"/>
              <a:gd name="connsiteX19" fmla="*/ 1818 w 10000"/>
              <a:gd name="connsiteY19" fmla="*/ 2667 h 10000"/>
              <a:gd name="connsiteX20" fmla="*/ 909 w 10000"/>
              <a:gd name="connsiteY20" fmla="*/ 1333 h 10000"/>
              <a:gd name="connsiteX21" fmla="*/ 454 w 10000"/>
              <a:gd name="connsiteY21" fmla="*/ 1333 h 10000"/>
              <a:gd name="connsiteX22" fmla="*/ 454 w 10000"/>
              <a:gd name="connsiteY22" fmla="*/ 2667 h 10000"/>
              <a:gd name="connsiteX23" fmla="*/ 0 w 10000"/>
              <a:gd name="connsiteY23" fmla="*/ 1333 h 10000"/>
              <a:gd name="connsiteX24" fmla="*/ 1363 w 10000"/>
              <a:gd name="connsiteY24" fmla="*/ 667 h 10000"/>
              <a:gd name="connsiteX25" fmla="*/ 2272 w 10000"/>
              <a:gd name="connsiteY25" fmla="*/ 2000 h 10000"/>
              <a:gd name="connsiteX26" fmla="*/ 2728 w 10000"/>
              <a:gd name="connsiteY26" fmla="*/ 2000 h 10000"/>
              <a:gd name="connsiteX27" fmla="*/ 3182 w 10000"/>
              <a:gd name="connsiteY27" fmla="*/ 2000 h 10000"/>
              <a:gd name="connsiteX28" fmla="*/ 3182 w 10000"/>
              <a:gd name="connsiteY28" fmla="*/ 1333 h 10000"/>
              <a:gd name="connsiteX29" fmla="*/ 4091 w 10000"/>
              <a:gd name="connsiteY29" fmla="*/ 667 h 10000"/>
              <a:gd name="connsiteX30" fmla="*/ 4545 w 10000"/>
              <a:gd name="connsiteY30" fmla="*/ 667 h 10000"/>
              <a:gd name="connsiteX31" fmla="*/ 4091 w 10000"/>
              <a:gd name="connsiteY31" fmla="*/ 0 h 10000"/>
              <a:gd name="connsiteX32" fmla="*/ 4545 w 10000"/>
              <a:gd name="connsiteY32" fmla="*/ 0 h 10000"/>
              <a:gd name="connsiteX33" fmla="*/ 5454 w 10000"/>
              <a:gd name="connsiteY33" fmla="*/ 667 h 10000"/>
              <a:gd name="connsiteX34" fmla="*/ 5454 w 10000"/>
              <a:gd name="connsiteY34" fmla="*/ 2000 h 10000"/>
              <a:gd name="connsiteX35" fmla="*/ 6817 w 10000"/>
              <a:gd name="connsiteY35" fmla="*/ 2000 h 10000"/>
              <a:gd name="connsiteX36" fmla="*/ 7272 w 10000"/>
              <a:gd name="connsiteY36" fmla="*/ 4000 h 10000"/>
              <a:gd name="connsiteX37" fmla="*/ 10000 w 10000"/>
              <a:gd name="connsiteY37" fmla="*/ 8000 h 10000"/>
              <a:gd name="connsiteX0" fmla="*/ 10000 w 10000"/>
              <a:gd name="connsiteY0" fmla="*/ 8000 h 10000"/>
              <a:gd name="connsiteX1" fmla="*/ 10000 w 10000"/>
              <a:gd name="connsiteY1" fmla="*/ 8000 h 10000"/>
              <a:gd name="connsiteX2" fmla="*/ 9545 w 10000"/>
              <a:gd name="connsiteY2" fmla="*/ 7334 h 10000"/>
              <a:gd name="connsiteX3" fmla="*/ 8636 w 10000"/>
              <a:gd name="connsiteY3" fmla="*/ 9333 h 10000"/>
              <a:gd name="connsiteX4" fmla="*/ 7727 w 10000"/>
              <a:gd name="connsiteY4" fmla="*/ 9333 h 10000"/>
              <a:gd name="connsiteX5" fmla="*/ 7727 w 10000"/>
              <a:gd name="connsiteY5" fmla="*/ 10000 h 10000"/>
              <a:gd name="connsiteX6" fmla="*/ 6363 w 10000"/>
              <a:gd name="connsiteY6" fmla="*/ 10000 h 10000"/>
              <a:gd name="connsiteX7" fmla="*/ 6363 w 10000"/>
              <a:gd name="connsiteY7" fmla="*/ 9333 h 10000"/>
              <a:gd name="connsiteX8" fmla="*/ 6363 w 10000"/>
              <a:gd name="connsiteY8" fmla="*/ 8667 h 10000"/>
              <a:gd name="connsiteX9" fmla="*/ 3636 w 10000"/>
              <a:gd name="connsiteY9" fmla="*/ 6667 h 10000"/>
              <a:gd name="connsiteX10" fmla="*/ 2272 w 10000"/>
              <a:gd name="connsiteY10" fmla="*/ 6667 h 10000"/>
              <a:gd name="connsiteX11" fmla="*/ 1363 w 10000"/>
              <a:gd name="connsiteY11" fmla="*/ 7334 h 10000"/>
              <a:gd name="connsiteX12" fmla="*/ 1363 w 10000"/>
              <a:gd name="connsiteY12" fmla="*/ 5333 h 10000"/>
              <a:gd name="connsiteX13" fmla="*/ 909 w 10000"/>
              <a:gd name="connsiteY13" fmla="*/ 5333 h 10000"/>
              <a:gd name="connsiteX14" fmla="*/ 909 w 10000"/>
              <a:gd name="connsiteY14" fmla="*/ 4000 h 10000"/>
              <a:gd name="connsiteX15" fmla="*/ 454 w 10000"/>
              <a:gd name="connsiteY15" fmla="*/ 4000 h 10000"/>
              <a:gd name="connsiteX16" fmla="*/ 454 w 10000"/>
              <a:gd name="connsiteY16" fmla="*/ 3334 h 10000"/>
              <a:gd name="connsiteX17" fmla="*/ 1363 w 10000"/>
              <a:gd name="connsiteY17" fmla="*/ 3334 h 10000"/>
              <a:gd name="connsiteX18" fmla="*/ 1818 w 10000"/>
              <a:gd name="connsiteY18" fmla="*/ 2667 h 10000"/>
              <a:gd name="connsiteX19" fmla="*/ 909 w 10000"/>
              <a:gd name="connsiteY19" fmla="*/ 1333 h 10000"/>
              <a:gd name="connsiteX20" fmla="*/ 454 w 10000"/>
              <a:gd name="connsiteY20" fmla="*/ 1333 h 10000"/>
              <a:gd name="connsiteX21" fmla="*/ 454 w 10000"/>
              <a:gd name="connsiteY21" fmla="*/ 2667 h 10000"/>
              <a:gd name="connsiteX22" fmla="*/ 0 w 10000"/>
              <a:gd name="connsiteY22" fmla="*/ 1333 h 10000"/>
              <a:gd name="connsiteX23" fmla="*/ 1363 w 10000"/>
              <a:gd name="connsiteY23" fmla="*/ 667 h 10000"/>
              <a:gd name="connsiteX24" fmla="*/ 2272 w 10000"/>
              <a:gd name="connsiteY24" fmla="*/ 2000 h 10000"/>
              <a:gd name="connsiteX25" fmla="*/ 2728 w 10000"/>
              <a:gd name="connsiteY25" fmla="*/ 2000 h 10000"/>
              <a:gd name="connsiteX26" fmla="*/ 3182 w 10000"/>
              <a:gd name="connsiteY26" fmla="*/ 2000 h 10000"/>
              <a:gd name="connsiteX27" fmla="*/ 3182 w 10000"/>
              <a:gd name="connsiteY27" fmla="*/ 1333 h 10000"/>
              <a:gd name="connsiteX28" fmla="*/ 4091 w 10000"/>
              <a:gd name="connsiteY28" fmla="*/ 667 h 10000"/>
              <a:gd name="connsiteX29" fmla="*/ 4545 w 10000"/>
              <a:gd name="connsiteY29" fmla="*/ 667 h 10000"/>
              <a:gd name="connsiteX30" fmla="*/ 4091 w 10000"/>
              <a:gd name="connsiteY30" fmla="*/ 0 h 10000"/>
              <a:gd name="connsiteX31" fmla="*/ 4545 w 10000"/>
              <a:gd name="connsiteY31" fmla="*/ 0 h 10000"/>
              <a:gd name="connsiteX32" fmla="*/ 5454 w 10000"/>
              <a:gd name="connsiteY32" fmla="*/ 667 h 10000"/>
              <a:gd name="connsiteX33" fmla="*/ 5454 w 10000"/>
              <a:gd name="connsiteY33" fmla="*/ 2000 h 10000"/>
              <a:gd name="connsiteX34" fmla="*/ 6817 w 10000"/>
              <a:gd name="connsiteY34" fmla="*/ 2000 h 10000"/>
              <a:gd name="connsiteX35" fmla="*/ 7272 w 10000"/>
              <a:gd name="connsiteY35" fmla="*/ 4000 h 10000"/>
              <a:gd name="connsiteX36" fmla="*/ 10000 w 10000"/>
              <a:gd name="connsiteY36" fmla="*/ 8000 h 10000"/>
              <a:gd name="connsiteX0" fmla="*/ 10000 w 10000"/>
              <a:gd name="connsiteY0" fmla="*/ 8000 h 10000"/>
              <a:gd name="connsiteX1" fmla="*/ 10000 w 10000"/>
              <a:gd name="connsiteY1" fmla="*/ 8000 h 10000"/>
              <a:gd name="connsiteX2" fmla="*/ 8636 w 10000"/>
              <a:gd name="connsiteY2" fmla="*/ 9333 h 10000"/>
              <a:gd name="connsiteX3" fmla="*/ 7727 w 10000"/>
              <a:gd name="connsiteY3" fmla="*/ 9333 h 10000"/>
              <a:gd name="connsiteX4" fmla="*/ 7727 w 10000"/>
              <a:gd name="connsiteY4" fmla="*/ 10000 h 10000"/>
              <a:gd name="connsiteX5" fmla="*/ 6363 w 10000"/>
              <a:gd name="connsiteY5" fmla="*/ 10000 h 10000"/>
              <a:gd name="connsiteX6" fmla="*/ 6363 w 10000"/>
              <a:gd name="connsiteY6" fmla="*/ 9333 h 10000"/>
              <a:gd name="connsiteX7" fmla="*/ 6363 w 10000"/>
              <a:gd name="connsiteY7" fmla="*/ 8667 h 10000"/>
              <a:gd name="connsiteX8" fmla="*/ 3636 w 10000"/>
              <a:gd name="connsiteY8" fmla="*/ 6667 h 10000"/>
              <a:gd name="connsiteX9" fmla="*/ 2272 w 10000"/>
              <a:gd name="connsiteY9" fmla="*/ 6667 h 10000"/>
              <a:gd name="connsiteX10" fmla="*/ 1363 w 10000"/>
              <a:gd name="connsiteY10" fmla="*/ 7334 h 10000"/>
              <a:gd name="connsiteX11" fmla="*/ 1363 w 10000"/>
              <a:gd name="connsiteY11" fmla="*/ 5333 h 10000"/>
              <a:gd name="connsiteX12" fmla="*/ 909 w 10000"/>
              <a:gd name="connsiteY12" fmla="*/ 5333 h 10000"/>
              <a:gd name="connsiteX13" fmla="*/ 909 w 10000"/>
              <a:gd name="connsiteY13" fmla="*/ 4000 h 10000"/>
              <a:gd name="connsiteX14" fmla="*/ 454 w 10000"/>
              <a:gd name="connsiteY14" fmla="*/ 4000 h 10000"/>
              <a:gd name="connsiteX15" fmla="*/ 454 w 10000"/>
              <a:gd name="connsiteY15" fmla="*/ 3334 h 10000"/>
              <a:gd name="connsiteX16" fmla="*/ 1363 w 10000"/>
              <a:gd name="connsiteY16" fmla="*/ 3334 h 10000"/>
              <a:gd name="connsiteX17" fmla="*/ 1818 w 10000"/>
              <a:gd name="connsiteY17" fmla="*/ 2667 h 10000"/>
              <a:gd name="connsiteX18" fmla="*/ 909 w 10000"/>
              <a:gd name="connsiteY18" fmla="*/ 1333 h 10000"/>
              <a:gd name="connsiteX19" fmla="*/ 454 w 10000"/>
              <a:gd name="connsiteY19" fmla="*/ 1333 h 10000"/>
              <a:gd name="connsiteX20" fmla="*/ 454 w 10000"/>
              <a:gd name="connsiteY20" fmla="*/ 2667 h 10000"/>
              <a:gd name="connsiteX21" fmla="*/ 0 w 10000"/>
              <a:gd name="connsiteY21" fmla="*/ 1333 h 10000"/>
              <a:gd name="connsiteX22" fmla="*/ 1363 w 10000"/>
              <a:gd name="connsiteY22" fmla="*/ 667 h 10000"/>
              <a:gd name="connsiteX23" fmla="*/ 2272 w 10000"/>
              <a:gd name="connsiteY23" fmla="*/ 2000 h 10000"/>
              <a:gd name="connsiteX24" fmla="*/ 2728 w 10000"/>
              <a:gd name="connsiteY24" fmla="*/ 2000 h 10000"/>
              <a:gd name="connsiteX25" fmla="*/ 3182 w 10000"/>
              <a:gd name="connsiteY25" fmla="*/ 2000 h 10000"/>
              <a:gd name="connsiteX26" fmla="*/ 3182 w 10000"/>
              <a:gd name="connsiteY26" fmla="*/ 1333 h 10000"/>
              <a:gd name="connsiteX27" fmla="*/ 4091 w 10000"/>
              <a:gd name="connsiteY27" fmla="*/ 667 h 10000"/>
              <a:gd name="connsiteX28" fmla="*/ 4545 w 10000"/>
              <a:gd name="connsiteY28" fmla="*/ 667 h 10000"/>
              <a:gd name="connsiteX29" fmla="*/ 4091 w 10000"/>
              <a:gd name="connsiteY29" fmla="*/ 0 h 10000"/>
              <a:gd name="connsiteX30" fmla="*/ 4545 w 10000"/>
              <a:gd name="connsiteY30" fmla="*/ 0 h 10000"/>
              <a:gd name="connsiteX31" fmla="*/ 5454 w 10000"/>
              <a:gd name="connsiteY31" fmla="*/ 667 h 10000"/>
              <a:gd name="connsiteX32" fmla="*/ 5454 w 10000"/>
              <a:gd name="connsiteY32" fmla="*/ 2000 h 10000"/>
              <a:gd name="connsiteX33" fmla="*/ 6817 w 10000"/>
              <a:gd name="connsiteY33" fmla="*/ 2000 h 10000"/>
              <a:gd name="connsiteX34" fmla="*/ 7272 w 10000"/>
              <a:gd name="connsiteY34" fmla="*/ 4000 h 10000"/>
              <a:gd name="connsiteX35" fmla="*/ 10000 w 10000"/>
              <a:gd name="connsiteY35" fmla="*/ 8000 h 10000"/>
              <a:gd name="connsiteX0" fmla="*/ 10000 w 10000"/>
              <a:gd name="connsiteY0" fmla="*/ 8000 h 10000"/>
              <a:gd name="connsiteX1" fmla="*/ 10000 w 10000"/>
              <a:gd name="connsiteY1" fmla="*/ 8000 h 10000"/>
              <a:gd name="connsiteX2" fmla="*/ 8636 w 10000"/>
              <a:gd name="connsiteY2" fmla="*/ 9333 h 10000"/>
              <a:gd name="connsiteX3" fmla="*/ 7727 w 10000"/>
              <a:gd name="connsiteY3" fmla="*/ 9333 h 10000"/>
              <a:gd name="connsiteX4" fmla="*/ 7727 w 10000"/>
              <a:gd name="connsiteY4" fmla="*/ 10000 h 10000"/>
              <a:gd name="connsiteX5" fmla="*/ 6363 w 10000"/>
              <a:gd name="connsiteY5" fmla="*/ 10000 h 10000"/>
              <a:gd name="connsiteX6" fmla="*/ 6363 w 10000"/>
              <a:gd name="connsiteY6" fmla="*/ 9333 h 10000"/>
              <a:gd name="connsiteX7" fmla="*/ 6363 w 10000"/>
              <a:gd name="connsiteY7" fmla="*/ 8667 h 10000"/>
              <a:gd name="connsiteX8" fmla="*/ 3636 w 10000"/>
              <a:gd name="connsiteY8" fmla="*/ 6667 h 10000"/>
              <a:gd name="connsiteX9" fmla="*/ 2272 w 10000"/>
              <a:gd name="connsiteY9" fmla="*/ 6667 h 10000"/>
              <a:gd name="connsiteX10" fmla="*/ 1363 w 10000"/>
              <a:gd name="connsiteY10" fmla="*/ 7334 h 10000"/>
              <a:gd name="connsiteX11" fmla="*/ 1363 w 10000"/>
              <a:gd name="connsiteY11" fmla="*/ 5333 h 10000"/>
              <a:gd name="connsiteX12" fmla="*/ 909 w 10000"/>
              <a:gd name="connsiteY12" fmla="*/ 5333 h 10000"/>
              <a:gd name="connsiteX13" fmla="*/ 909 w 10000"/>
              <a:gd name="connsiteY13" fmla="*/ 4000 h 10000"/>
              <a:gd name="connsiteX14" fmla="*/ 454 w 10000"/>
              <a:gd name="connsiteY14" fmla="*/ 4000 h 10000"/>
              <a:gd name="connsiteX15" fmla="*/ 454 w 10000"/>
              <a:gd name="connsiteY15" fmla="*/ 3334 h 10000"/>
              <a:gd name="connsiteX16" fmla="*/ 1363 w 10000"/>
              <a:gd name="connsiteY16" fmla="*/ 3334 h 10000"/>
              <a:gd name="connsiteX17" fmla="*/ 1818 w 10000"/>
              <a:gd name="connsiteY17" fmla="*/ 2667 h 10000"/>
              <a:gd name="connsiteX18" fmla="*/ 909 w 10000"/>
              <a:gd name="connsiteY18" fmla="*/ 1333 h 10000"/>
              <a:gd name="connsiteX19" fmla="*/ 454 w 10000"/>
              <a:gd name="connsiteY19" fmla="*/ 1333 h 10000"/>
              <a:gd name="connsiteX20" fmla="*/ 454 w 10000"/>
              <a:gd name="connsiteY20" fmla="*/ 2667 h 10000"/>
              <a:gd name="connsiteX21" fmla="*/ 0 w 10000"/>
              <a:gd name="connsiteY21" fmla="*/ 1333 h 10000"/>
              <a:gd name="connsiteX22" fmla="*/ 1363 w 10000"/>
              <a:gd name="connsiteY22" fmla="*/ 667 h 10000"/>
              <a:gd name="connsiteX23" fmla="*/ 2272 w 10000"/>
              <a:gd name="connsiteY23" fmla="*/ 2000 h 10000"/>
              <a:gd name="connsiteX24" fmla="*/ 2728 w 10000"/>
              <a:gd name="connsiteY24" fmla="*/ 2000 h 10000"/>
              <a:gd name="connsiteX25" fmla="*/ 3182 w 10000"/>
              <a:gd name="connsiteY25" fmla="*/ 2000 h 10000"/>
              <a:gd name="connsiteX26" fmla="*/ 3182 w 10000"/>
              <a:gd name="connsiteY26" fmla="*/ 1333 h 10000"/>
              <a:gd name="connsiteX27" fmla="*/ 4091 w 10000"/>
              <a:gd name="connsiteY27" fmla="*/ 667 h 10000"/>
              <a:gd name="connsiteX28" fmla="*/ 4545 w 10000"/>
              <a:gd name="connsiteY28" fmla="*/ 667 h 10000"/>
              <a:gd name="connsiteX29" fmla="*/ 4091 w 10000"/>
              <a:gd name="connsiteY29" fmla="*/ 0 h 10000"/>
              <a:gd name="connsiteX30" fmla="*/ 4545 w 10000"/>
              <a:gd name="connsiteY30" fmla="*/ 0 h 10000"/>
              <a:gd name="connsiteX31" fmla="*/ 5454 w 10000"/>
              <a:gd name="connsiteY31" fmla="*/ 667 h 10000"/>
              <a:gd name="connsiteX32" fmla="*/ 5454 w 10000"/>
              <a:gd name="connsiteY32" fmla="*/ 2000 h 10000"/>
              <a:gd name="connsiteX33" fmla="*/ 6817 w 10000"/>
              <a:gd name="connsiteY33" fmla="*/ 2000 h 10000"/>
              <a:gd name="connsiteX34" fmla="*/ 7272 w 10000"/>
              <a:gd name="connsiteY34" fmla="*/ 4000 h 10000"/>
              <a:gd name="connsiteX0" fmla="*/ 10000 w 10000"/>
              <a:gd name="connsiteY0" fmla="*/ 8000 h 10000"/>
              <a:gd name="connsiteX1" fmla="*/ 10000 w 10000"/>
              <a:gd name="connsiteY1" fmla="*/ 8000 h 10000"/>
              <a:gd name="connsiteX2" fmla="*/ 7727 w 10000"/>
              <a:gd name="connsiteY2" fmla="*/ 9333 h 10000"/>
              <a:gd name="connsiteX3" fmla="*/ 7727 w 10000"/>
              <a:gd name="connsiteY3" fmla="*/ 10000 h 10000"/>
              <a:gd name="connsiteX4" fmla="*/ 6363 w 10000"/>
              <a:gd name="connsiteY4" fmla="*/ 10000 h 10000"/>
              <a:gd name="connsiteX5" fmla="*/ 6363 w 10000"/>
              <a:gd name="connsiteY5" fmla="*/ 9333 h 10000"/>
              <a:gd name="connsiteX6" fmla="*/ 6363 w 10000"/>
              <a:gd name="connsiteY6" fmla="*/ 8667 h 10000"/>
              <a:gd name="connsiteX7" fmla="*/ 3636 w 10000"/>
              <a:gd name="connsiteY7" fmla="*/ 6667 h 10000"/>
              <a:gd name="connsiteX8" fmla="*/ 2272 w 10000"/>
              <a:gd name="connsiteY8" fmla="*/ 6667 h 10000"/>
              <a:gd name="connsiteX9" fmla="*/ 1363 w 10000"/>
              <a:gd name="connsiteY9" fmla="*/ 7334 h 10000"/>
              <a:gd name="connsiteX10" fmla="*/ 1363 w 10000"/>
              <a:gd name="connsiteY10" fmla="*/ 5333 h 10000"/>
              <a:gd name="connsiteX11" fmla="*/ 909 w 10000"/>
              <a:gd name="connsiteY11" fmla="*/ 5333 h 10000"/>
              <a:gd name="connsiteX12" fmla="*/ 909 w 10000"/>
              <a:gd name="connsiteY12" fmla="*/ 4000 h 10000"/>
              <a:gd name="connsiteX13" fmla="*/ 454 w 10000"/>
              <a:gd name="connsiteY13" fmla="*/ 4000 h 10000"/>
              <a:gd name="connsiteX14" fmla="*/ 454 w 10000"/>
              <a:gd name="connsiteY14" fmla="*/ 3334 h 10000"/>
              <a:gd name="connsiteX15" fmla="*/ 1363 w 10000"/>
              <a:gd name="connsiteY15" fmla="*/ 3334 h 10000"/>
              <a:gd name="connsiteX16" fmla="*/ 1818 w 10000"/>
              <a:gd name="connsiteY16" fmla="*/ 2667 h 10000"/>
              <a:gd name="connsiteX17" fmla="*/ 909 w 10000"/>
              <a:gd name="connsiteY17" fmla="*/ 1333 h 10000"/>
              <a:gd name="connsiteX18" fmla="*/ 454 w 10000"/>
              <a:gd name="connsiteY18" fmla="*/ 1333 h 10000"/>
              <a:gd name="connsiteX19" fmla="*/ 454 w 10000"/>
              <a:gd name="connsiteY19" fmla="*/ 2667 h 10000"/>
              <a:gd name="connsiteX20" fmla="*/ 0 w 10000"/>
              <a:gd name="connsiteY20" fmla="*/ 1333 h 10000"/>
              <a:gd name="connsiteX21" fmla="*/ 1363 w 10000"/>
              <a:gd name="connsiteY21" fmla="*/ 667 h 10000"/>
              <a:gd name="connsiteX22" fmla="*/ 2272 w 10000"/>
              <a:gd name="connsiteY22" fmla="*/ 2000 h 10000"/>
              <a:gd name="connsiteX23" fmla="*/ 2728 w 10000"/>
              <a:gd name="connsiteY23" fmla="*/ 2000 h 10000"/>
              <a:gd name="connsiteX24" fmla="*/ 3182 w 10000"/>
              <a:gd name="connsiteY24" fmla="*/ 2000 h 10000"/>
              <a:gd name="connsiteX25" fmla="*/ 3182 w 10000"/>
              <a:gd name="connsiteY25" fmla="*/ 1333 h 10000"/>
              <a:gd name="connsiteX26" fmla="*/ 4091 w 10000"/>
              <a:gd name="connsiteY26" fmla="*/ 667 h 10000"/>
              <a:gd name="connsiteX27" fmla="*/ 4545 w 10000"/>
              <a:gd name="connsiteY27" fmla="*/ 667 h 10000"/>
              <a:gd name="connsiteX28" fmla="*/ 4091 w 10000"/>
              <a:gd name="connsiteY28" fmla="*/ 0 h 10000"/>
              <a:gd name="connsiteX29" fmla="*/ 4545 w 10000"/>
              <a:gd name="connsiteY29" fmla="*/ 0 h 10000"/>
              <a:gd name="connsiteX30" fmla="*/ 5454 w 10000"/>
              <a:gd name="connsiteY30" fmla="*/ 667 h 10000"/>
              <a:gd name="connsiteX31" fmla="*/ 5454 w 10000"/>
              <a:gd name="connsiteY31" fmla="*/ 2000 h 10000"/>
              <a:gd name="connsiteX32" fmla="*/ 6817 w 10000"/>
              <a:gd name="connsiteY32" fmla="*/ 2000 h 10000"/>
              <a:gd name="connsiteX33" fmla="*/ 7272 w 10000"/>
              <a:gd name="connsiteY33" fmla="*/ 4000 h 10000"/>
              <a:gd name="connsiteX0" fmla="*/ 10000 w 10000"/>
              <a:gd name="connsiteY0" fmla="*/ 8000 h 10000"/>
              <a:gd name="connsiteX1" fmla="*/ 7727 w 10000"/>
              <a:gd name="connsiteY1" fmla="*/ 9333 h 10000"/>
              <a:gd name="connsiteX2" fmla="*/ 7727 w 10000"/>
              <a:gd name="connsiteY2" fmla="*/ 10000 h 10000"/>
              <a:gd name="connsiteX3" fmla="*/ 6363 w 10000"/>
              <a:gd name="connsiteY3" fmla="*/ 10000 h 10000"/>
              <a:gd name="connsiteX4" fmla="*/ 6363 w 10000"/>
              <a:gd name="connsiteY4" fmla="*/ 9333 h 10000"/>
              <a:gd name="connsiteX5" fmla="*/ 6363 w 10000"/>
              <a:gd name="connsiteY5" fmla="*/ 8667 h 10000"/>
              <a:gd name="connsiteX6" fmla="*/ 3636 w 10000"/>
              <a:gd name="connsiteY6" fmla="*/ 6667 h 10000"/>
              <a:gd name="connsiteX7" fmla="*/ 2272 w 10000"/>
              <a:gd name="connsiteY7" fmla="*/ 6667 h 10000"/>
              <a:gd name="connsiteX8" fmla="*/ 1363 w 10000"/>
              <a:gd name="connsiteY8" fmla="*/ 7334 h 10000"/>
              <a:gd name="connsiteX9" fmla="*/ 1363 w 10000"/>
              <a:gd name="connsiteY9" fmla="*/ 5333 h 10000"/>
              <a:gd name="connsiteX10" fmla="*/ 909 w 10000"/>
              <a:gd name="connsiteY10" fmla="*/ 5333 h 10000"/>
              <a:gd name="connsiteX11" fmla="*/ 909 w 10000"/>
              <a:gd name="connsiteY11" fmla="*/ 4000 h 10000"/>
              <a:gd name="connsiteX12" fmla="*/ 454 w 10000"/>
              <a:gd name="connsiteY12" fmla="*/ 4000 h 10000"/>
              <a:gd name="connsiteX13" fmla="*/ 454 w 10000"/>
              <a:gd name="connsiteY13" fmla="*/ 3334 h 10000"/>
              <a:gd name="connsiteX14" fmla="*/ 1363 w 10000"/>
              <a:gd name="connsiteY14" fmla="*/ 3334 h 10000"/>
              <a:gd name="connsiteX15" fmla="*/ 1818 w 10000"/>
              <a:gd name="connsiteY15" fmla="*/ 2667 h 10000"/>
              <a:gd name="connsiteX16" fmla="*/ 909 w 10000"/>
              <a:gd name="connsiteY16" fmla="*/ 1333 h 10000"/>
              <a:gd name="connsiteX17" fmla="*/ 454 w 10000"/>
              <a:gd name="connsiteY17" fmla="*/ 1333 h 10000"/>
              <a:gd name="connsiteX18" fmla="*/ 454 w 10000"/>
              <a:gd name="connsiteY18" fmla="*/ 2667 h 10000"/>
              <a:gd name="connsiteX19" fmla="*/ 0 w 10000"/>
              <a:gd name="connsiteY19" fmla="*/ 1333 h 10000"/>
              <a:gd name="connsiteX20" fmla="*/ 1363 w 10000"/>
              <a:gd name="connsiteY20" fmla="*/ 667 h 10000"/>
              <a:gd name="connsiteX21" fmla="*/ 2272 w 10000"/>
              <a:gd name="connsiteY21" fmla="*/ 2000 h 10000"/>
              <a:gd name="connsiteX22" fmla="*/ 2728 w 10000"/>
              <a:gd name="connsiteY22" fmla="*/ 2000 h 10000"/>
              <a:gd name="connsiteX23" fmla="*/ 3182 w 10000"/>
              <a:gd name="connsiteY23" fmla="*/ 2000 h 10000"/>
              <a:gd name="connsiteX24" fmla="*/ 3182 w 10000"/>
              <a:gd name="connsiteY24" fmla="*/ 1333 h 10000"/>
              <a:gd name="connsiteX25" fmla="*/ 4091 w 10000"/>
              <a:gd name="connsiteY25" fmla="*/ 667 h 10000"/>
              <a:gd name="connsiteX26" fmla="*/ 4545 w 10000"/>
              <a:gd name="connsiteY26" fmla="*/ 667 h 10000"/>
              <a:gd name="connsiteX27" fmla="*/ 4091 w 10000"/>
              <a:gd name="connsiteY27" fmla="*/ 0 h 10000"/>
              <a:gd name="connsiteX28" fmla="*/ 4545 w 10000"/>
              <a:gd name="connsiteY28" fmla="*/ 0 h 10000"/>
              <a:gd name="connsiteX29" fmla="*/ 5454 w 10000"/>
              <a:gd name="connsiteY29" fmla="*/ 667 h 10000"/>
              <a:gd name="connsiteX30" fmla="*/ 5454 w 10000"/>
              <a:gd name="connsiteY30" fmla="*/ 2000 h 10000"/>
              <a:gd name="connsiteX31" fmla="*/ 6817 w 10000"/>
              <a:gd name="connsiteY31" fmla="*/ 2000 h 10000"/>
              <a:gd name="connsiteX32" fmla="*/ 7272 w 10000"/>
              <a:gd name="connsiteY32" fmla="*/ 4000 h 10000"/>
              <a:gd name="connsiteX0" fmla="*/ 7727 w 7727"/>
              <a:gd name="connsiteY0" fmla="*/ 9333 h 10000"/>
              <a:gd name="connsiteX1" fmla="*/ 7727 w 7727"/>
              <a:gd name="connsiteY1" fmla="*/ 10000 h 10000"/>
              <a:gd name="connsiteX2" fmla="*/ 6363 w 7727"/>
              <a:gd name="connsiteY2" fmla="*/ 10000 h 10000"/>
              <a:gd name="connsiteX3" fmla="*/ 6363 w 7727"/>
              <a:gd name="connsiteY3" fmla="*/ 9333 h 10000"/>
              <a:gd name="connsiteX4" fmla="*/ 6363 w 7727"/>
              <a:gd name="connsiteY4" fmla="*/ 8667 h 10000"/>
              <a:gd name="connsiteX5" fmla="*/ 3636 w 7727"/>
              <a:gd name="connsiteY5" fmla="*/ 6667 h 10000"/>
              <a:gd name="connsiteX6" fmla="*/ 2272 w 7727"/>
              <a:gd name="connsiteY6" fmla="*/ 6667 h 10000"/>
              <a:gd name="connsiteX7" fmla="*/ 1363 w 7727"/>
              <a:gd name="connsiteY7" fmla="*/ 7334 h 10000"/>
              <a:gd name="connsiteX8" fmla="*/ 1363 w 7727"/>
              <a:gd name="connsiteY8" fmla="*/ 5333 h 10000"/>
              <a:gd name="connsiteX9" fmla="*/ 909 w 7727"/>
              <a:gd name="connsiteY9" fmla="*/ 5333 h 10000"/>
              <a:gd name="connsiteX10" fmla="*/ 909 w 7727"/>
              <a:gd name="connsiteY10" fmla="*/ 4000 h 10000"/>
              <a:gd name="connsiteX11" fmla="*/ 454 w 7727"/>
              <a:gd name="connsiteY11" fmla="*/ 4000 h 10000"/>
              <a:gd name="connsiteX12" fmla="*/ 454 w 7727"/>
              <a:gd name="connsiteY12" fmla="*/ 3334 h 10000"/>
              <a:gd name="connsiteX13" fmla="*/ 1363 w 7727"/>
              <a:gd name="connsiteY13" fmla="*/ 3334 h 10000"/>
              <a:gd name="connsiteX14" fmla="*/ 1818 w 7727"/>
              <a:gd name="connsiteY14" fmla="*/ 2667 h 10000"/>
              <a:gd name="connsiteX15" fmla="*/ 909 w 7727"/>
              <a:gd name="connsiteY15" fmla="*/ 1333 h 10000"/>
              <a:gd name="connsiteX16" fmla="*/ 454 w 7727"/>
              <a:gd name="connsiteY16" fmla="*/ 1333 h 10000"/>
              <a:gd name="connsiteX17" fmla="*/ 454 w 7727"/>
              <a:gd name="connsiteY17" fmla="*/ 2667 h 10000"/>
              <a:gd name="connsiteX18" fmla="*/ 0 w 7727"/>
              <a:gd name="connsiteY18" fmla="*/ 1333 h 10000"/>
              <a:gd name="connsiteX19" fmla="*/ 1363 w 7727"/>
              <a:gd name="connsiteY19" fmla="*/ 667 h 10000"/>
              <a:gd name="connsiteX20" fmla="*/ 2272 w 7727"/>
              <a:gd name="connsiteY20" fmla="*/ 2000 h 10000"/>
              <a:gd name="connsiteX21" fmla="*/ 2728 w 7727"/>
              <a:gd name="connsiteY21" fmla="*/ 2000 h 10000"/>
              <a:gd name="connsiteX22" fmla="*/ 3182 w 7727"/>
              <a:gd name="connsiteY22" fmla="*/ 2000 h 10000"/>
              <a:gd name="connsiteX23" fmla="*/ 3182 w 7727"/>
              <a:gd name="connsiteY23" fmla="*/ 1333 h 10000"/>
              <a:gd name="connsiteX24" fmla="*/ 4091 w 7727"/>
              <a:gd name="connsiteY24" fmla="*/ 667 h 10000"/>
              <a:gd name="connsiteX25" fmla="*/ 4545 w 7727"/>
              <a:gd name="connsiteY25" fmla="*/ 667 h 10000"/>
              <a:gd name="connsiteX26" fmla="*/ 4091 w 7727"/>
              <a:gd name="connsiteY26" fmla="*/ 0 h 10000"/>
              <a:gd name="connsiteX27" fmla="*/ 4545 w 7727"/>
              <a:gd name="connsiteY27" fmla="*/ 0 h 10000"/>
              <a:gd name="connsiteX28" fmla="*/ 5454 w 7727"/>
              <a:gd name="connsiteY28" fmla="*/ 667 h 10000"/>
              <a:gd name="connsiteX29" fmla="*/ 5454 w 7727"/>
              <a:gd name="connsiteY29" fmla="*/ 2000 h 10000"/>
              <a:gd name="connsiteX30" fmla="*/ 6817 w 7727"/>
              <a:gd name="connsiteY30" fmla="*/ 2000 h 10000"/>
              <a:gd name="connsiteX31" fmla="*/ 7272 w 7727"/>
              <a:gd name="connsiteY31" fmla="*/ 4000 h 10000"/>
              <a:gd name="connsiteX0" fmla="*/ 10000 w 10000"/>
              <a:gd name="connsiteY0" fmla="*/ 9333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333 h 10000"/>
              <a:gd name="connsiteX4" fmla="*/ 8235 w 10000"/>
              <a:gd name="connsiteY4" fmla="*/ 8667 h 10000"/>
              <a:gd name="connsiteX5" fmla="*/ 4706 w 10000"/>
              <a:gd name="connsiteY5" fmla="*/ 6667 h 10000"/>
              <a:gd name="connsiteX6" fmla="*/ 2940 w 10000"/>
              <a:gd name="connsiteY6" fmla="*/ 6667 h 10000"/>
              <a:gd name="connsiteX7" fmla="*/ 1764 w 10000"/>
              <a:gd name="connsiteY7" fmla="*/ 7334 h 10000"/>
              <a:gd name="connsiteX8" fmla="*/ 1764 w 10000"/>
              <a:gd name="connsiteY8" fmla="*/ 5333 h 10000"/>
              <a:gd name="connsiteX9" fmla="*/ 1176 w 10000"/>
              <a:gd name="connsiteY9" fmla="*/ 5333 h 10000"/>
              <a:gd name="connsiteX10" fmla="*/ 1176 w 10000"/>
              <a:gd name="connsiteY10" fmla="*/ 4000 h 10000"/>
              <a:gd name="connsiteX11" fmla="*/ 588 w 10000"/>
              <a:gd name="connsiteY11" fmla="*/ 4000 h 10000"/>
              <a:gd name="connsiteX12" fmla="*/ 588 w 10000"/>
              <a:gd name="connsiteY12" fmla="*/ 3334 h 10000"/>
              <a:gd name="connsiteX13" fmla="*/ 1764 w 10000"/>
              <a:gd name="connsiteY13" fmla="*/ 3334 h 10000"/>
              <a:gd name="connsiteX14" fmla="*/ 2353 w 10000"/>
              <a:gd name="connsiteY14" fmla="*/ 2667 h 10000"/>
              <a:gd name="connsiteX15" fmla="*/ 1176 w 10000"/>
              <a:gd name="connsiteY15" fmla="*/ 1333 h 10000"/>
              <a:gd name="connsiteX16" fmla="*/ 588 w 10000"/>
              <a:gd name="connsiteY16" fmla="*/ 1333 h 10000"/>
              <a:gd name="connsiteX17" fmla="*/ 588 w 10000"/>
              <a:gd name="connsiteY17" fmla="*/ 2667 h 10000"/>
              <a:gd name="connsiteX18" fmla="*/ 0 w 10000"/>
              <a:gd name="connsiteY18" fmla="*/ 1333 h 10000"/>
              <a:gd name="connsiteX19" fmla="*/ 1764 w 10000"/>
              <a:gd name="connsiteY19" fmla="*/ 667 h 10000"/>
              <a:gd name="connsiteX20" fmla="*/ 2940 w 10000"/>
              <a:gd name="connsiteY20" fmla="*/ 2000 h 10000"/>
              <a:gd name="connsiteX21" fmla="*/ 3530 w 10000"/>
              <a:gd name="connsiteY21" fmla="*/ 2000 h 10000"/>
              <a:gd name="connsiteX22" fmla="*/ 4118 w 10000"/>
              <a:gd name="connsiteY22" fmla="*/ 2000 h 10000"/>
              <a:gd name="connsiteX23" fmla="*/ 4118 w 10000"/>
              <a:gd name="connsiteY23" fmla="*/ 1333 h 10000"/>
              <a:gd name="connsiteX24" fmla="*/ 5294 w 10000"/>
              <a:gd name="connsiteY24" fmla="*/ 667 h 10000"/>
              <a:gd name="connsiteX25" fmla="*/ 5882 w 10000"/>
              <a:gd name="connsiteY25" fmla="*/ 667 h 10000"/>
              <a:gd name="connsiteX26" fmla="*/ 5294 w 10000"/>
              <a:gd name="connsiteY26" fmla="*/ 0 h 10000"/>
              <a:gd name="connsiteX27" fmla="*/ 5882 w 10000"/>
              <a:gd name="connsiteY27" fmla="*/ 0 h 10000"/>
              <a:gd name="connsiteX28" fmla="*/ 7058 w 10000"/>
              <a:gd name="connsiteY28" fmla="*/ 667 h 10000"/>
              <a:gd name="connsiteX29" fmla="*/ 7058 w 10000"/>
              <a:gd name="connsiteY29" fmla="*/ 2000 h 10000"/>
              <a:gd name="connsiteX30" fmla="*/ 8822 w 10000"/>
              <a:gd name="connsiteY30" fmla="*/ 2000 h 10000"/>
              <a:gd name="connsiteX0" fmla="*/ 10000 w 10000"/>
              <a:gd name="connsiteY0" fmla="*/ 9333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333 h 10000"/>
              <a:gd name="connsiteX4" fmla="*/ 8235 w 10000"/>
              <a:gd name="connsiteY4" fmla="*/ 8667 h 10000"/>
              <a:gd name="connsiteX5" fmla="*/ 4706 w 10000"/>
              <a:gd name="connsiteY5" fmla="*/ 6667 h 10000"/>
              <a:gd name="connsiteX6" fmla="*/ 2940 w 10000"/>
              <a:gd name="connsiteY6" fmla="*/ 6667 h 10000"/>
              <a:gd name="connsiteX7" fmla="*/ 1764 w 10000"/>
              <a:gd name="connsiteY7" fmla="*/ 7334 h 10000"/>
              <a:gd name="connsiteX8" fmla="*/ 1764 w 10000"/>
              <a:gd name="connsiteY8" fmla="*/ 5333 h 10000"/>
              <a:gd name="connsiteX9" fmla="*/ 1176 w 10000"/>
              <a:gd name="connsiteY9" fmla="*/ 5333 h 10000"/>
              <a:gd name="connsiteX10" fmla="*/ 1176 w 10000"/>
              <a:gd name="connsiteY10" fmla="*/ 4000 h 10000"/>
              <a:gd name="connsiteX11" fmla="*/ 588 w 10000"/>
              <a:gd name="connsiteY11" fmla="*/ 4000 h 10000"/>
              <a:gd name="connsiteX12" fmla="*/ 588 w 10000"/>
              <a:gd name="connsiteY12" fmla="*/ 3334 h 10000"/>
              <a:gd name="connsiteX13" fmla="*/ 1764 w 10000"/>
              <a:gd name="connsiteY13" fmla="*/ 3334 h 10000"/>
              <a:gd name="connsiteX14" fmla="*/ 2353 w 10000"/>
              <a:gd name="connsiteY14" fmla="*/ 2667 h 10000"/>
              <a:gd name="connsiteX15" fmla="*/ 1176 w 10000"/>
              <a:gd name="connsiteY15" fmla="*/ 1333 h 10000"/>
              <a:gd name="connsiteX16" fmla="*/ 588 w 10000"/>
              <a:gd name="connsiteY16" fmla="*/ 1333 h 10000"/>
              <a:gd name="connsiteX17" fmla="*/ 588 w 10000"/>
              <a:gd name="connsiteY17" fmla="*/ 2667 h 10000"/>
              <a:gd name="connsiteX18" fmla="*/ 0 w 10000"/>
              <a:gd name="connsiteY18" fmla="*/ 1333 h 10000"/>
              <a:gd name="connsiteX19" fmla="*/ 1764 w 10000"/>
              <a:gd name="connsiteY19" fmla="*/ 667 h 10000"/>
              <a:gd name="connsiteX20" fmla="*/ 2940 w 10000"/>
              <a:gd name="connsiteY20" fmla="*/ 2000 h 10000"/>
              <a:gd name="connsiteX21" fmla="*/ 3530 w 10000"/>
              <a:gd name="connsiteY21" fmla="*/ 2000 h 10000"/>
              <a:gd name="connsiteX22" fmla="*/ 4118 w 10000"/>
              <a:gd name="connsiteY22" fmla="*/ 2000 h 10000"/>
              <a:gd name="connsiteX23" fmla="*/ 4118 w 10000"/>
              <a:gd name="connsiteY23" fmla="*/ 1333 h 10000"/>
              <a:gd name="connsiteX24" fmla="*/ 5294 w 10000"/>
              <a:gd name="connsiteY24" fmla="*/ 667 h 10000"/>
              <a:gd name="connsiteX25" fmla="*/ 5882 w 10000"/>
              <a:gd name="connsiteY25" fmla="*/ 667 h 10000"/>
              <a:gd name="connsiteX26" fmla="*/ 5294 w 10000"/>
              <a:gd name="connsiteY26" fmla="*/ 0 h 10000"/>
              <a:gd name="connsiteX27" fmla="*/ 5882 w 10000"/>
              <a:gd name="connsiteY27" fmla="*/ 0 h 10000"/>
              <a:gd name="connsiteX28" fmla="*/ 7058 w 10000"/>
              <a:gd name="connsiteY28" fmla="*/ 667 h 10000"/>
              <a:gd name="connsiteX29" fmla="*/ 7058 w 10000"/>
              <a:gd name="connsiteY29" fmla="*/ 2000 h 10000"/>
              <a:gd name="connsiteX0" fmla="*/ 10000 w 10000"/>
              <a:gd name="connsiteY0" fmla="*/ 9333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333 h 10000"/>
              <a:gd name="connsiteX4" fmla="*/ 8235 w 10000"/>
              <a:gd name="connsiteY4" fmla="*/ 8667 h 10000"/>
              <a:gd name="connsiteX5" fmla="*/ 4706 w 10000"/>
              <a:gd name="connsiteY5" fmla="*/ 6667 h 10000"/>
              <a:gd name="connsiteX6" fmla="*/ 2940 w 10000"/>
              <a:gd name="connsiteY6" fmla="*/ 6667 h 10000"/>
              <a:gd name="connsiteX7" fmla="*/ 1764 w 10000"/>
              <a:gd name="connsiteY7" fmla="*/ 7334 h 10000"/>
              <a:gd name="connsiteX8" fmla="*/ 1764 w 10000"/>
              <a:gd name="connsiteY8" fmla="*/ 5333 h 10000"/>
              <a:gd name="connsiteX9" fmla="*/ 1176 w 10000"/>
              <a:gd name="connsiteY9" fmla="*/ 5333 h 10000"/>
              <a:gd name="connsiteX10" fmla="*/ 1176 w 10000"/>
              <a:gd name="connsiteY10" fmla="*/ 4000 h 10000"/>
              <a:gd name="connsiteX11" fmla="*/ 588 w 10000"/>
              <a:gd name="connsiteY11" fmla="*/ 4000 h 10000"/>
              <a:gd name="connsiteX12" fmla="*/ 588 w 10000"/>
              <a:gd name="connsiteY12" fmla="*/ 3334 h 10000"/>
              <a:gd name="connsiteX13" fmla="*/ 1764 w 10000"/>
              <a:gd name="connsiteY13" fmla="*/ 3334 h 10000"/>
              <a:gd name="connsiteX14" fmla="*/ 2353 w 10000"/>
              <a:gd name="connsiteY14" fmla="*/ 2667 h 10000"/>
              <a:gd name="connsiteX15" fmla="*/ 1176 w 10000"/>
              <a:gd name="connsiteY15" fmla="*/ 1333 h 10000"/>
              <a:gd name="connsiteX16" fmla="*/ 588 w 10000"/>
              <a:gd name="connsiteY16" fmla="*/ 1333 h 10000"/>
              <a:gd name="connsiteX17" fmla="*/ 588 w 10000"/>
              <a:gd name="connsiteY17" fmla="*/ 2667 h 10000"/>
              <a:gd name="connsiteX18" fmla="*/ 0 w 10000"/>
              <a:gd name="connsiteY18" fmla="*/ 1333 h 10000"/>
              <a:gd name="connsiteX19" fmla="*/ 1764 w 10000"/>
              <a:gd name="connsiteY19" fmla="*/ 667 h 10000"/>
              <a:gd name="connsiteX20" fmla="*/ 2940 w 10000"/>
              <a:gd name="connsiteY20" fmla="*/ 2000 h 10000"/>
              <a:gd name="connsiteX21" fmla="*/ 3530 w 10000"/>
              <a:gd name="connsiteY21" fmla="*/ 2000 h 10000"/>
              <a:gd name="connsiteX22" fmla="*/ 4118 w 10000"/>
              <a:gd name="connsiteY22" fmla="*/ 2000 h 10000"/>
              <a:gd name="connsiteX23" fmla="*/ 4118 w 10000"/>
              <a:gd name="connsiteY23" fmla="*/ 1333 h 10000"/>
              <a:gd name="connsiteX24" fmla="*/ 5294 w 10000"/>
              <a:gd name="connsiteY24" fmla="*/ 667 h 10000"/>
              <a:gd name="connsiteX25" fmla="*/ 5882 w 10000"/>
              <a:gd name="connsiteY25" fmla="*/ 667 h 10000"/>
              <a:gd name="connsiteX26" fmla="*/ 5294 w 10000"/>
              <a:gd name="connsiteY26" fmla="*/ 0 h 10000"/>
              <a:gd name="connsiteX27" fmla="*/ 7058 w 10000"/>
              <a:gd name="connsiteY27" fmla="*/ 667 h 10000"/>
              <a:gd name="connsiteX28" fmla="*/ 7058 w 10000"/>
              <a:gd name="connsiteY28" fmla="*/ 2000 h 10000"/>
              <a:gd name="connsiteX0" fmla="*/ 10000 w 10000"/>
              <a:gd name="connsiteY0" fmla="*/ 8666 h 9333"/>
              <a:gd name="connsiteX1" fmla="*/ 10000 w 10000"/>
              <a:gd name="connsiteY1" fmla="*/ 9333 h 9333"/>
              <a:gd name="connsiteX2" fmla="*/ 8235 w 10000"/>
              <a:gd name="connsiteY2" fmla="*/ 9333 h 9333"/>
              <a:gd name="connsiteX3" fmla="*/ 8235 w 10000"/>
              <a:gd name="connsiteY3" fmla="*/ 8666 h 9333"/>
              <a:gd name="connsiteX4" fmla="*/ 8235 w 10000"/>
              <a:gd name="connsiteY4" fmla="*/ 8000 h 9333"/>
              <a:gd name="connsiteX5" fmla="*/ 4706 w 10000"/>
              <a:gd name="connsiteY5" fmla="*/ 6000 h 9333"/>
              <a:gd name="connsiteX6" fmla="*/ 2940 w 10000"/>
              <a:gd name="connsiteY6" fmla="*/ 6000 h 9333"/>
              <a:gd name="connsiteX7" fmla="*/ 1764 w 10000"/>
              <a:gd name="connsiteY7" fmla="*/ 6667 h 9333"/>
              <a:gd name="connsiteX8" fmla="*/ 1764 w 10000"/>
              <a:gd name="connsiteY8" fmla="*/ 4666 h 9333"/>
              <a:gd name="connsiteX9" fmla="*/ 1176 w 10000"/>
              <a:gd name="connsiteY9" fmla="*/ 4666 h 9333"/>
              <a:gd name="connsiteX10" fmla="*/ 1176 w 10000"/>
              <a:gd name="connsiteY10" fmla="*/ 3333 h 9333"/>
              <a:gd name="connsiteX11" fmla="*/ 588 w 10000"/>
              <a:gd name="connsiteY11" fmla="*/ 3333 h 9333"/>
              <a:gd name="connsiteX12" fmla="*/ 588 w 10000"/>
              <a:gd name="connsiteY12" fmla="*/ 2667 h 9333"/>
              <a:gd name="connsiteX13" fmla="*/ 1764 w 10000"/>
              <a:gd name="connsiteY13" fmla="*/ 2667 h 9333"/>
              <a:gd name="connsiteX14" fmla="*/ 2353 w 10000"/>
              <a:gd name="connsiteY14" fmla="*/ 2000 h 9333"/>
              <a:gd name="connsiteX15" fmla="*/ 1176 w 10000"/>
              <a:gd name="connsiteY15" fmla="*/ 666 h 9333"/>
              <a:gd name="connsiteX16" fmla="*/ 588 w 10000"/>
              <a:gd name="connsiteY16" fmla="*/ 666 h 9333"/>
              <a:gd name="connsiteX17" fmla="*/ 588 w 10000"/>
              <a:gd name="connsiteY17" fmla="*/ 2000 h 9333"/>
              <a:gd name="connsiteX18" fmla="*/ 0 w 10000"/>
              <a:gd name="connsiteY18" fmla="*/ 666 h 9333"/>
              <a:gd name="connsiteX19" fmla="*/ 1764 w 10000"/>
              <a:gd name="connsiteY19" fmla="*/ 0 h 9333"/>
              <a:gd name="connsiteX20" fmla="*/ 2940 w 10000"/>
              <a:gd name="connsiteY20" fmla="*/ 1333 h 9333"/>
              <a:gd name="connsiteX21" fmla="*/ 3530 w 10000"/>
              <a:gd name="connsiteY21" fmla="*/ 1333 h 9333"/>
              <a:gd name="connsiteX22" fmla="*/ 4118 w 10000"/>
              <a:gd name="connsiteY22" fmla="*/ 1333 h 9333"/>
              <a:gd name="connsiteX23" fmla="*/ 4118 w 10000"/>
              <a:gd name="connsiteY23" fmla="*/ 666 h 9333"/>
              <a:gd name="connsiteX24" fmla="*/ 5294 w 10000"/>
              <a:gd name="connsiteY24" fmla="*/ 0 h 9333"/>
              <a:gd name="connsiteX25" fmla="*/ 5882 w 10000"/>
              <a:gd name="connsiteY25" fmla="*/ 0 h 9333"/>
              <a:gd name="connsiteX26" fmla="*/ 7058 w 10000"/>
              <a:gd name="connsiteY26" fmla="*/ 0 h 9333"/>
              <a:gd name="connsiteX27" fmla="*/ 7058 w 10000"/>
              <a:gd name="connsiteY27" fmla="*/ 1333 h 9333"/>
              <a:gd name="connsiteX0" fmla="*/ 10000 w 10000"/>
              <a:gd name="connsiteY0" fmla="*/ 9285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285 h 10000"/>
              <a:gd name="connsiteX4" fmla="*/ 8235 w 10000"/>
              <a:gd name="connsiteY4" fmla="*/ 8572 h 10000"/>
              <a:gd name="connsiteX5" fmla="*/ 4706 w 10000"/>
              <a:gd name="connsiteY5" fmla="*/ 6429 h 10000"/>
              <a:gd name="connsiteX6" fmla="*/ 2940 w 10000"/>
              <a:gd name="connsiteY6" fmla="*/ 6429 h 10000"/>
              <a:gd name="connsiteX7" fmla="*/ 1764 w 10000"/>
              <a:gd name="connsiteY7" fmla="*/ 7143 h 10000"/>
              <a:gd name="connsiteX8" fmla="*/ 1764 w 10000"/>
              <a:gd name="connsiteY8" fmla="*/ 4999 h 10000"/>
              <a:gd name="connsiteX9" fmla="*/ 1176 w 10000"/>
              <a:gd name="connsiteY9" fmla="*/ 4999 h 10000"/>
              <a:gd name="connsiteX10" fmla="*/ 1176 w 10000"/>
              <a:gd name="connsiteY10" fmla="*/ 3571 h 10000"/>
              <a:gd name="connsiteX11" fmla="*/ 588 w 10000"/>
              <a:gd name="connsiteY11" fmla="*/ 3571 h 10000"/>
              <a:gd name="connsiteX12" fmla="*/ 588 w 10000"/>
              <a:gd name="connsiteY12" fmla="*/ 2858 h 10000"/>
              <a:gd name="connsiteX13" fmla="*/ 1764 w 10000"/>
              <a:gd name="connsiteY13" fmla="*/ 2858 h 10000"/>
              <a:gd name="connsiteX14" fmla="*/ 2353 w 10000"/>
              <a:gd name="connsiteY14" fmla="*/ 2143 h 10000"/>
              <a:gd name="connsiteX15" fmla="*/ 1176 w 10000"/>
              <a:gd name="connsiteY15" fmla="*/ 714 h 10000"/>
              <a:gd name="connsiteX16" fmla="*/ 588 w 10000"/>
              <a:gd name="connsiteY16" fmla="*/ 714 h 10000"/>
              <a:gd name="connsiteX17" fmla="*/ 588 w 10000"/>
              <a:gd name="connsiteY17" fmla="*/ 2143 h 10000"/>
              <a:gd name="connsiteX18" fmla="*/ 0 w 10000"/>
              <a:gd name="connsiteY18" fmla="*/ 714 h 10000"/>
              <a:gd name="connsiteX19" fmla="*/ 1764 w 10000"/>
              <a:gd name="connsiteY19" fmla="*/ 0 h 10000"/>
              <a:gd name="connsiteX20" fmla="*/ 2940 w 10000"/>
              <a:gd name="connsiteY20" fmla="*/ 1428 h 10000"/>
              <a:gd name="connsiteX21" fmla="*/ 3530 w 10000"/>
              <a:gd name="connsiteY21" fmla="*/ 1428 h 10000"/>
              <a:gd name="connsiteX22" fmla="*/ 4118 w 10000"/>
              <a:gd name="connsiteY22" fmla="*/ 1428 h 10000"/>
              <a:gd name="connsiteX23" fmla="*/ 4118 w 10000"/>
              <a:gd name="connsiteY23" fmla="*/ 714 h 10000"/>
              <a:gd name="connsiteX24" fmla="*/ 5294 w 10000"/>
              <a:gd name="connsiteY24" fmla="*/ 0 h 10000"/>
              <a:gd name="connsiteX25" fmla="*/ 7058 w 10000"/>
              <a:gd name="connsiteY25" fmla="*/ 0 h 10000"/>
              <a:gd name="connsiteX26" fmla="*/ 7058 w 10000"/>
              <a:gd name="connsiteY26" fmla="*/ 1428 h 10000"/>
              <a:gd name="connsiteX0" fmla="*/ 10000 w 10000"/>
              <a:gd name="connsiteY0" fmla="*/ 9285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285 h 10000"/>
              <a:gd name="connsiteX4" fmla="*/ 8235 w 10000"/>
              <a:gd name="connsiteY4" fmla="*/ 8572 h 10000"/>
              <a:gd name="connsiteX5" fmla="*/ 4706 w 10000"/>
              <a:gd name="connsiteY5" fmla="*/ 6429 h 10000"/>
              <a:gd name="connsiteX6" fmla="*/ 2940 w 10000"/>
              <a:gd name="connsiteY6" fmla="*/ 6429 h 10000"/>
              <a:gd name="connsiteX7" fmla="*/ 1764 w 10000"/>
              <a:gd name="connsiteY7" fmla="*/ 7143 h 10000"/>
              <a:gd name="connsiteX8" fmla="*/ 1764 w 10000"/>
              <a:gd name="connsiteY8" fmla="*/ 4999 h 10000"/>
              <a:gd name="connsiteX9" fmla="*/ 1176 w 10000"/>
              <a:gd name="connsiteY9" fmla="*/ 4999 h 10000"/>
              <a:gd name="connsiteX10" fmla="*/ 1176 w 10000"/>
              <a:gd name="connsiteY10" fmla="*/ 3571 h 10000"/>
              <a:gd name="connsiteX11" fmla="*/ 588 w 10000"/>
              <a:gd name="connsiteY11" fmla="*/ 3571 h 10000"/>
              <a:gd name="connsiteX12" fmla="*/ 588 w 10000"/>
              <a:gd name="connsiteY12" fmla="*/ 2858 h 10000"/>
              <a:gd name="connsiteX13" fmla="*/ 1764 w 10000"/>
              <a:gd name="connsiteY13" fmla="*/ 2858 h 10000"/>
              <a:gd name="connsiteX14" fmla="*/ 2353 w 10000"/>
              <a:gd name="connsiteY14" fmla="*/ 2143 h 10000"/>
              <a:gd name="connsiteX15" fmla="*/ 1176 w 10000"/>
              <a:gd name="connsiteY15" fmla="*/ 714 h 10000"/>
              <a:gd name="connsiteX16" fmla="*/ 588 w 10000"/>
              <a:gd name="connsiteY16" fmla="*/ 714 h 10000"/>
              <a:gd name="connsiteX17" fmla="*/ 588 w 10000"/>
              <a:gd name="connsiteY17" fmla="*/ 2143 h 10000"/>
              <a:gd name="connsiteX18" fmla="*/ 0 w 10000"/>
              <a:gd name="connsiteY18" fmla="*/ 714 h 10000"/>
              <a:gd name="connsiteX19" fmla="*/ 1764 w 10000"/>
              <a:gd name="connsiteY19" fmla="*/ 0 h 10000"/>
              <a:gd name="connsiteX20" fmla="*/ 2940 w 10000"/>
              <a:gd name="connsiteY20" fmla="*/ 1428 h 10000"/>
              <a:gd name="connsiteX21" fmla="*/ 3530 w 10000"/>
              <a:gd name="connsiteY21" fmla="*/ 1428 h 10000"/>
              <a:gd name="connsiteX22" fmla="*/ 4118 w 10000"/>
              <a:gd name="connsiteY22" fmla="*/ 1428 h 10000"/>
              <a:gd name="connsiteX23" fmla="*/ 4118 w 10000"/>
              <a:gd name="connsiteY23" fmla="*/ 714 h 10000"/>
              <a:gd name="connsiteX24" fmla="*/ 7058 w 10000"/>
              <a:gd name="connsiteY24" fmla="*/ 0 h 10000"/>
              <a:gd name="connsiteX25" fmla="*/ 7058 w 10000"/>
              <a:gd name="connsiteY25" fmla="*/ 1428 h 10000"/>
              <a:gd name="connsiteX0" fmla="*/ 10000 w 10000"/>
              <a:gd name="connsiteY0" fmla="*/ 9285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285 h 10000"/>
              <a:gd name="connsiteX4" fmla="*/ 8235 w 10000"/>
              <a:gd name="connsiteY4" fmla="*/ 8572 h 10000"/>
              <a:gd name="connsiteX5" fmla="*/ 4706 w 10000"/>
              <a:gd name="connsiteY5" fmla="*/ 6429 h 10000"/>
              <a:gd name="connsiteX6" fmla="*/ 2940 w 10000"/>
              <a:gd name="connsiteY6" fmla="*/ 6429 h 10000"/>
              <a:gd name="connsiteX7" fmla="*/ 1764 w 10000"/>
              <a:gd name="connsiteY7" fmla="*/ 7143 h 10000"/>
              <a:gd name="connsiteX8" fmla="*/ 1764 w 10000"/>
              <a:gd name="connsiteY8" fmla="*/ 4999 h 10000"/>
              <a:gd name="connsiteX9" fmla="*/ 1176 w 10000"/>
              <a:gd name="connsiteY9" fmla="*/ 4999 h 10000"/>
              <a:gd name="connsiteX10" fmla="*/ 1176 w 10000"/>
              <a:gd name="connsiteY10" fmla="*/ 3571 h 10000"/>
              <a:gd name="connsiteX11" fmla="*/ 588 w 10000"/>
              <a:gd name="connsiteY11" fmla="*/ 3571 h 10000"/>
              <a:gd name="connsiteX12" fmla="*/ 588 w 10000"/>
              <a:gd name="connsiteY12" fmla="*/ 2858 h 10000"/>
              <a:gd name="connsiteX13" fmla="*/ 1764 w 10000"/>
              <a:gd name="connsiteY13" fmla="*/ 2858 h 10000"/>
              <a:gd name="connsiteX14" fmla="*/ 2353 w 10000"/>
              <a:gd name="connsiteY14" fmla="*/ 2143 h 10000"/>
              <a:gd name="connsiteX15" fmla="*/ 1176 w 10000"/>
              <a:gd name="connsiteY15" fmla="*/ 714 h 10000"/>
              <a:gd name="connsiteX16" fmla="*/ 588 w 10000"/>
              <a:gd name="connsiteY16" fmla="*/ 714 h 10000"/>
              <a:gd name="connsiteX17" fmla="*/ 588 w 10000"/>
              <a:gd name="connsiteY17" fmla="*/ 2143 h 10000"/>
              <a:gd name="connsiteX18" fmla="*/ 0 w 10000"/>
              <a:gd name="connsiteY18" fmla="*/ 714 h 10000"/>
              <a:gd name="connsiteX19" fmla="*/ 1764 w 10000"/>
              <a:gd name="connsiteY19" fmla="*/ 0 h 10000"/>
              <a:gd name="connsiteX20" fmla="*/ 2940 w 10000"/>
              <a:gd name="connsiteY20" fmla="*/ 1428 h 10000"/>
              <a:gd name="connsiteX21" fmla="*/ 3530 w 10000"/>
              <a:gd name="connsiteY21" fmla="*/ 1428 h 10000"/>
              <a:gd name="connsiteX22" fmla="*/ 4118 w 10000"/>
              <a:gd name="connsiteY22" fmla="*/ 1428 h 10000"/>
              <a:gd name="connsiteX23" fmla="*/ 4118 w 10000"/>
              <a:gd name="connsiteY23" fmla="*/ 714 h 10000"/>
              <a:gd name="connsiteX24" fmla="*/ 7058 w 10000"/>
              <a:gd name="connsiteY24" fmla="*/ 1428 h 10000"/>
              <a:gd name="connsiteX0" fmla="*/ 10000 w 10000"/>
              <a:gd name="connsiteY0" fmla="*/ 9285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285 h 10000"/>
              <a:gd name="connsiteX4" fmla="*/ 8235 w 10000"/>
              <a:gd name="connsiteY4" fmla="*/ 8572 h 10000"/>
              <a:gd name="connsiteX5" fmla="*/ 4706 w 10000"/>
              <a:gd name="connsiteY5" fmla="*/ 6429 h 10000"/>
              <a:gd name="connsiteX6" fmla="*/ 2940 w 10000"/>
              <a:gd name="connsiteY6" fmla="*/ 6429 h 10000"/>
              <a:gd name="connsiteX7" fmla="*/ 1764 w 10000"/>
              <a:gd name="connsiteY7" fmla="*/ 7143 h 10000"/>
              <a:gd name="connsiteX8" fmla="*/ 1764 w 10000"/>
              <a:gd name="connsiteY8" fmla="*/ 4999 h 10000"/>
              <a:gd name="connsiteX9" fmla="*/ 1176 w 10000"/>
              <a:gd name="connsiteY9" fmla="*/ 4999 h 10000"/>
              <a:gd name="connsiteX10" fmla="*/ 1176 w 10000"/>
              <a:gd name="connsiteY10" fmla="*/ 3571 h 10000"/>
              <a:gd name="connsiteX11" fmla="*/ 588 w 10000"/>
              <a:gd name="connsiteY11" fmla="*/ 3571 h 10000"/>
              <a:gd name="connsiteX12" fmla="*/ 588 w 10000"/>
              <a:gd name="connsiteY12" fmla="*/ 2858 h 10000"/>
              <a:gd name="connsiteX13" fmla="*/ 1764 w 10000"/>
              <a:gd name="connsiteY13" fmla="*/ 2858 h 10000"/>
              <a:gd name="connsiteX14" fmla="*/ 2353 w 10000"/>
              <a:gd name="connsiteY14" fmla="*/ 2143 h 10000"/>
              <a:gd name="connsiteX15" fmla="*/ 1176 w 10000"/>
              <a:gd name="connsiteY15" fmla="*/ 714 h 10000"/>
              <a:gd name="connsiteX16" fmla="*/ 588 w 10000"/>
              <a:gd name="connsiteY16" fmla="*/ 714 h 10000"/>
              <a:gd name="connsiteX17" fmla="*/ 588 w 10000"/>
              <a:gd name="connsiteY17" fmla="*/ 2143 h 10000"/>
              <a:gd name="connsiteX18" fmla="*/ 0 w 10000"/>
              <a:gd name="connsiteY18" fmla="*/ 714 h 10000"/>
              <a:gd name="connsiteX19" fmla="*/ 1764 w 10000"/>
              <a:gd name="connsiteY19" fmla="*/ 0 h 10000"/>
              <a:gd name="connsiteX20" fmla="*/ 2940 w 10000"/>
              <a:gd name="connsiteY20" fmla="*/ 1428 h 10000"/>
              <a:gd name="connsiteX21" fmla="*/ 3530 w 10000"/>
              <a:gd name="connsiteY21" fmla="*/ 1428 h 10000"/>
              <a:gd name="connsiteX22" fmla="*/ 4118 w 10000"/>
              <a:gd name="connsiteY22" fmla="*/ 1428 h 10000"/>
              <a:gd name="connsiteX23" fmla="*/ 4118 w 10000"/>
              <a:gd name="connsiteY23" fmla="*/ 714 h 10000"/>
              <a:gd name="connsiteX0" fmla="*/ 10000 w 10000"/>
              <a:gd name="connsiteY0" fmla="*/ 9285 h 10000"/>
              <a:gd name="connsiteX1" fmla="*/ 10000 w 10000"/>
              <a:gd name="connsiteY1" fmla="*/ 10000 h 10000"/>
              <a:gd name="connsiteX2" fmla="*/ 8235 w 10000"/>
              <a:gd name="connsiteY2" fmla="*/ 10000 h 10000"/>
              <a:gd name="connsiteX3" fmla="*/ 8235 w 10000"/>
              <a:gd name="connsiteY3" fmla="*/ 9285 h 10000"/>
              <a:gd name="connsiteX4" fmla="*/ 8235 w 10000"/>
              <a:gd name="connsiteY4" fmla="*/ 8572 h 10000"/>
              <a:gd name="connsiteX5" fmla="*/ 4706 w 10000"/>
              <a:gd name="connsiteY5" fmla="*/ 6429 h 10000"/>
              <a:gd name="connsiteX6" fmla="*/ 2940 w 10000"/>
              <a:gd name="connsiteY6" fmla="*/ 6429 h 10000"/>
              <a:gd name="connsiteX7" fmla="*/ 1764 w 10000"/>
              <a:gd name="connsiteY7" fmla="*/ 7143 h 10000"/>
              <a:gd name="connsiteX8" fmla="*/ 1764 w 10000"/>
              <a:gd name="connsiteY8" fmla="*/ 4999 h 10000"/>
              <a:gd name="connsiteX9" fmla="*/ 1176 w 10000"/>
              <a:gd name="connsiteY9" fmla="*/ 4999 h 10000"/>
              <a:gd name="connsiteX10" fmla="*/ 1176 w 10000"/>
              <a:gd name="connsiteY10" fmla="*/ 3571 h 10000"/>
              <a:gd name="connsiteX11" fmla="*/ 588 w 10000"/>
              <a:gd name="connsiteY11" fmla="*/ 3571 h 10000"/>
              <a:gd name="connsiteX12" fmla="*/ 588 w 10000"/>
              <a:gd name="connsiteY12" fmla="*/ 2858 h 10000"/>
              <a:gd name="connsiteX13" fmla="*/ 1764 w 10000"/>
              <a:gd name="connsiteY13" fmla="*/ 2858 h 10000"/>
              <a:gd name="connsiteX14" fmla="*/ 2353 w 10000"/>
              <a:gd name="connsiteY14" fmla="*/ 2143 h 10000"/>
              <a:gd name="connsiteX15" fmla="*/ 1176 w 10000"/>
              <a:gd name="connsiteY15" fmla="*/ 714 h 10000"/>
              <a:gd name="connsiteX16" fmla="*/ 588 w 10000"/>
              <a:gd name="connsiteY16" fmla="*/ 714 h 10000"/>
              <a:gd name="connsiteX17" fmla="*/ 588 w 10000"/>
              <a:gd name="connsiteY17" fmla="*/ 2143 h 10000"/>
              <a:gd name="connsiteX18" fmla="*/ 0 w 10000"/>
              <a:gd name="connsiteY18" fmla="*/ 714 h 10000"/>
              <a:gd name="connsiteX19" fmla="*/ 1764 w 10000"/>
              <a:gd name="connsiteY19" fmla="*/ 0 h 10000"/>
              <a:gd name="connsiteX20" fmla="*/ 2940 w 10000"/>
              <a:gd name="connsiteY20" fmla="*/ 1428 h 10000"/>
              <a:gd name="connsiteX21" fmla="*/ 3530 w 10000"/>
              <a:gd name="connsiteY21" fmla="*/ 1428 h 10000"/>
              <a:gd name="connsiteX22" fmla="*/ 4118 w 10000"/>
              <a:gd name="connsiteY22" fmla="*/ 714 h 10000"/>
              <a:gd name="connsiteX0" fmla="*/ 10000 w 10000"/>
              <a:gd name="connsiteY0" fmla="*/ 9285 h 10000"/>
              <a:gd name="connsiteX1" fmla="*/ 8235 w 10000"/>
              <a:gd name="connsiteY1" fmla="*/ 10000 h 10000"/>
              <a:gd name="connsiteX2" fmla="*/ 8235 w 10000"/>
              <a:gd name="connsiteY2" fmla="*/ 9285 h 10000"/>
              <a:gd name="connsiteX3" fmla="*/ 8235 w 10000"/>
              <a:gd name="connsiteY3" fmla="*/ 8572 h 10000"/>
              <a:gd name="connsiteX4" fmla="*/ 4706 w 10000"/>
              <a:gd name="connsiteY4" fmla="*/ 6429 h 10000"/>
              <a:gd name="connsiteX5" fmla="*/ 2940 w 10000"/>
              <a:gd name="connsiteY5" fmla="*/ 6429 h 10000"/>
              <a:gd name="connsiteX6" fmla="*/ 1764 w 10000"/>
              <a:gd name="connsiteY6" fmla="*/ 7143 h 10000"/>
              <a:gd name="connsiteX7" fmla="*/ 1764 w 10000"/>
              <a:gd name="connsiteY7" fmla="*/ 4999 h 10000"/>
              <a:gd name="connsiteX8" fmla="*/ 1176 w 10000"/>
              <a:gd name="connsiteY8" fmla="*/ 4999 h 10000"/>
              <a:gd name="connsiteX9" fmla="*/ 1176 w 10000"/>
              <a:gd name="connsiteY9" fmla="*/ 3571 h 10000"/>
              <a:gd name="connsiteX10" fmla="*/ 588 w 10000"/>
              <a:gd name="connsiteY10" fmla="*/ 3571 h 10000"/>
              <a:gd name="connsiteX11" fmla="*/ 588 w 10000"/>
              <a:gd name="connsiteY11" fmla="*/ 2858 h 10000"/>
              <a:gd name="connsiteX12" fmla="*/ 1764 w 10000"/>
              <a:gd name="connsiteY12" fmla="*/ 2858 h 10000"/>
              <a:gd name="connsiteX13" fmla="*/ 2353 w 10000"/>
              <a:gd name="connsiteY13" fmla="*/ 2143 h 10000"/>
              <a:gd name="connsiteX14" fmla="*/ 1176 w 10000"/>
              <a:gd name="connsiteY14" fmla="*/ 714 h 10000"/>
              <a:gd name="connsiteX15" fmla="*/ 588 w 10000"/>
              <a:gd name="connsiteY15" fmla="*/ 714 h 10000"/>
              <a:gd name="connsiteX16" fmla="*/ 588 w 10000"/>
              <a:gd name="connsiteY16" fmla="*/ 2143 h 10000"/>
              <a:gd name="connsiteX17" fmla="*/ 0 w 10000"/>
              <a:gd name="connsiteY17" fmla="*/ 714 h 10000"/>
              <a:gd name="connsiteX18" fmla="*/ 1764 w 10000"/>
              <a:gd name="connsiteY18" fmla="*/ 0 h 10000"/>
              <a:gd name="connsiteX19" fmla="*/ 2940 w 10000"/>
              <a:gd name="connsiteY19" fmla="*/ 1428 h 10000"/>
              <a:gd name="connsiteX20" fmla="*/ 3530 w 10000"/>
              <a:gd name="connsiteY20" fmla="*/ 1428 h 10000"/>
              <a:gd name="connsiteX21" fmla="*/ 4118 w 10000"/>
              <a:gd name="connsiteY21" fmla="*/ 714 h 10000"/>
              <a:gd name="connsiteX0" fmla="*/ 10000 w 10000"/>
              <a:gd name="connsiteY0" fmla="*/ 9285 h 9285"/>
              <a:gd name="connsiteX1" fmla="*/ 8235 w 10000"/>
              <a:gd name="connsiteY1" fmla="*/ 9285 h 9285"/>
              <a:gd name="connsiteX2" fmla="*/ 8235 w 10000"/>
              <a:gd name="connsiteY2" fmla="*/ 8572 h 9285"/>
              <a:gd name="connsiteX3" fmla="*/ 4706 w 10000"/>
              <a:gd name="connsiteY3" fmla="*/ 6429 h 9285"/>
              <a:gd name="connsiteX4" fmla="*/ 2940 w 10000"/>
              <a:gd name="connsiteY4" fmla="*/ 6429 h 9285"/>
              <a:gd name="connsiteX5" fmla="*/ 1764 w 10000"/>
              <a:gd name="connsiteY5" fmla="*/ 7143 h 9285"/>
              <a:gd name="connsiteX6" fmla="*/ 1764 w 10000"/>
              <a:gd name="connsiteY6" fmla="*/ 4999 h 9285"/>
              <a:gd name="connsiteX7" fmla="*/ 1176 w 10000"/>
              <a:gd name="connsiteY7" fmla="*/ 4999 h 9285"/>
              <a:gd name="connsiteX8" fmla="*/ 1176 w 10000"/>
              <a:gd name="connsiteY8" fmla="*/ 3571 h 9285"/>
              <a:gd name="connsiteX9" fmla="*/ 588 w 10000"/>
              <a:gd name="connsiteY9" fmla="*/ 3571 h 9285"/>
              <a:gd name="connsiteX10" fmla="*/ 588 w 10000"/>
              <a:gd name="connsiteY10" fmla="*/ 2858 h 9285"/>
              <a:gd name="connsiteX11" fmla="*/ 1764 w 10000"/>
              <a:gd name="connsiteY11" fmla="*/ 2858 h 9285"/>
              <a:gd name="connsiteX12" fmla="*/ 2353 w 10000"/>
              <a:gd name="connsiteY12" fmla="*/ 2143 h 9285"/>
              <a:gd name="connsiteX13" fmla="*/ 1176 w 10000"/>
              <a:gd name="connsiteY13" fmla="*/ 714 h 9285"/>
              <a:gd name="connsiteX14" fmla="*/ 588 w 10000"/>
              <a:gd name="connsiteY14" fmla="*/ 714 h 9285"/>
              <a:gd name="connsiteX15" fmla="*/ 588 w 10000"/>
              <a:gd name="connsiteY15" fmla="*/ 2143 h 9285"/>
              <a:gd name="connsiteX16" fmla="*/ 0 w 10000"/>
              <a:gd name="connsiteY16" fmla="*/ 714 h 9285"/>
              <a:gd name="connsiteX17" fmla="*/ 1764 w 10000"/>
              <a:gd name="connsiteY17" fmla="*/ 0 h 9285"/>
              <a:gd name="connsiteX18" fmla="*/ 2940 w 10000"/>
              <a:gd name="connsiteY18" fmla="*/ 1428 h 9285"/>
              <a:gd name="connsiteX19" fmla="*/ 3530 w 10000"/>
              <a:gd name="connsiteY19" fmla="*/ 1428 h 9285"/>
              <a:gd name="connsiteX20" fmla="*/ 4118 w 10000"/>
              <a:gd name="connsiteY20" fmla="*/ 714 h 9285"/>
              <a:gd name="connsiteX0" fmla="*/ 10000 w 10000"/>
              <a:gd name="connsiteY0" fmla="*/ 10000 h 10000"/>
              <a:gd name="connsiteX1" fmla="*/ 8235 w 10000"/>
              <a:gd name="connsiteY1" fmla="*/ 9232 h 10000"/>
              <a:gd name="connsiteX2" fmla="*/ 4706 w 10000"/>
              <a:gd name="connsiteY2" fmla="*/ 6924 h 10000"/>
              <a:gd name="connsiteX3" fmla="*/ 2940 w 10000"/>
              <a:gd name="connsiteY3" fmla="*/ 6924 h 10000"/>
              <a:gd name="connsiteX4" fmla="*/ 1764 w 10000"/>
              <a:gd name="connsiteY4" fmla="*/ 7693 h 10000"/>
              <a:gd name="connsiteX5" fmla="*/ 1764 w 10000"/>
              <a:gd name="connsiteY5" fmla="*/ 5384 h 10000"/>
              <a:gd name="connsiteX6" fmla="*/ 1176 w 10000"/>
              <a:gd name="connsiteY6" fmla="*/ 5384 h 10000"/>
              <a:gd name="connsiteX7" fmla="*/ 1176 w 10000"/>
              <a:gd name="connsiteY7" fmla="*/ 3846 h 10000"/>
              <a:gd name="connsiteX8" fmla="*/ 588 w 10000"/>
              <a:gd name="connsiteY8" fmla="*/ 3846 h 10000"/>
              <a:gd name="connsiteX9" fmla="*/ 588 w 10000"/>
              <a:gd name="connsiteY9" fmla="*/ 3078 h 10000"/>
              <a:gd name="connsiteX10" fmla="*/ 1764 w 10000"/>
              <a:gd name="connsiteY10" fmla="*/ 3078 h 10000"/>
              <a:gd name="connsiteX11" fmla="*/ 2353 w 10000"/>
              <a:gd name="connsiteY11" fmla="*/ 2308 h 10000"/>
              <a:gd name="connsiteX12" fmla="*/ 1176 w 10000"/>
              <a:gd name="connsiteY12" fmla="*/ 769 h 10000"/>
              <a:gd name="connsiteX13" fmla="*/ 588 w 10000"/>
              <a:gd name="connsiteY13" fmla="*/ 769 h 10000"/>
              <a:gd name="connsiteX14" fmla="*/ 588 w 10000"/>
              <a:gd name="connsiteY14" fmla="*/ 2308 h 10000"/>
              <a:gd name="connsiteX15" fmla="*/ 0 w 10000"/>
              <a:gd name="connsiteY15" fmla="*/ 769 h 10000"/>
              <a:gd name="connsiteX16" fmla="*/ 1764 w 10000"/>
              <a:gd name="connsiteY16" fmla="*/ 0 h 10000"/>
              <a:gd name="connsiteX17" fmla="*/ 2940 w 10000"/>
              <a:gd name="connsiteY17" fmla="*/ 1538 h 10000"/>
              <a:gd name="connsiteX18" fmla="*/ 3530 w 10000"/>
              <a:gd name="connsiteY18" fmla="*/ 1538 h 10000"/>
              <a:gd name="connsiteX19" fmla="*/ 4118 w 10000"/>
              <a:gd name="connsiteY19" fmla="*/ 769 h 10000"/>
              <a:gd name="connsiteX0" fmla="*/ 10000 w 10000"/>
              <a:gd name="connsiteY0" fmla="*/ 10000 h 10000"/>
              <a:gd name="connsiteX1" fmla="*/ 4706 w 10000"/>
              <a:gd name="connsiteY1" fmla="*/ 6924 h 10000"/>
              <a:gd name="connsiteX2" fmla="*/ 2940 w 10000"/>
              <a:gd name="connsiteY2" fmla="*/ 6924 h 10000"/>
              <a:gd name="connsiteX3" fmla="*/ 1764 w 10000"/>
              <a:gd name="connsiteY3" fmla="*/ 7693 h 10000"/>
              <a:gd name="connsiteX4" fmla="*/ 1764 w 10000"/>
              <a:gd name="connsiteY4" fmla="*/ 5384 h 10000"/>
              <a:gd name="connsiteX5" fmla="*/ 1176 w 10000"/>
              <a:gd name="connsiteY5" fmla="*/ 5384 h 10000"/>
              <a:gd name="connsiteX6" fmla="*/ 1176 w 10000"/>
              <a:gd name="connsiteY6" fmla="*/ 3846 h 10000"/>
              <a:gd name="connsiteX7" fmla="*/ 588 w 10000"/>
              <a:gd name="connsiteY7" fmla="*/ 3846 h 10000"/>
              <a:gd name="connsiteX8" fmla="*/ 588 w 10000"/>
              <a:gd name="connsiteY8" fmla="*/ 3078 h 10000"/>
              <a:gd name="connsiteX9" fmla="*/ 1764 w 10000"/>
              <a:gd name="connsiteY9" fmla="*/ 3078 h 10000"/>
              <a:gd name="connsiteX10" fmla="*/ 2353 w 10000"/>
              <a:gd name="connsiteY10" fmla="*/ 2308 h 10000"/>
              <a:gd name="connsiteX11" fmla="*/ 1176 w 10000"/>
              <a:gd name="connsiteY11" fmla="*/ 769 h 10000"/>
              <a:gd name="connsiteX12" fmla="*/ 588 w 10000"/>
              <a:gd name="connsiteY12" fmla="*/ 769 h 10000"/>
              <a:gd name="connsiteX13" fmla="*/ 588 w 10000"/>
              <a:gd name="connsiteY13" fmla="*/ 2308 h 10000"/>
              <a:gd name="connsiteX14" fmla="*/ 0 w 10000"/>
              <a:gd name="connsiteY14" fmla="*/ 769 h 10000"/>
              <a:gd name="connsiteX15" fmla="*/ 1764 w 10000"/>
              <a:gd name="connsiteY15" fmla="*/ 0 h 10000"/>
              <a:gd name="connsiteX16" fmla="*/ 2940 w 10000"/>
              <a:gd name="connsiteY16" fmla="*/ 1538 h 10000"/>
              <a:gd name="connsiteX17" fmla="*/ 3530 w 10000"/>
              <a:gd name="connsiteY17" fmla="*/ 1538 h 10000"/>
              <a:gd name="connsiteX18" fmla="*/ 4118 w 10000"/>
              <a:gd name="connsiteY18" fmla="*/ 769 h 10000"/>
              <a:gd name="connsiteX0" fmla="*/ 4706 w 4706"/>
              <a:gd name="connsiteY0" fmla="*/ 6924 h 7693"/>
              <a:gd name="connsiteX1" fmla="*/ 2940 w 4706"/>
              <a:gd name="connsiteY1" fmla="*/ 6924 h 7693"/>
              <a:gd name="connsiteX2" fmla="*/ 1764 w 4706"/>
              <a:gd name="connsiteY2" fmla="*/ 7693 h 7693"/>
              <a:gd name="connsiteX3" fmla="*/ 1764 w 4706"/>
              <a:gd name="connsiteY3" fmla="*/ 5384 h 7693"/>
              <a:gd name="connsiteX4" fmla="*/ 1176 w 4706"/>
              <a:gd name="connsiteY4" fmla="*/ 5384 h 7693"/>
              <a:gd name="connsiteX5" fmla="*/ 1176 w 4706"/>
              <a:gd name="connsiteY5" fmla="*/ 3846 h 7693"/>
              <a:gd name="connsiteX6" fmla="*/ 588 w 4706"/>
              <a:gd name="connsiteY6" fmla="*/ 3846 h 7693"/>
              <a:gd name="connsiteX7" fmla="*/ 588 w 4706"/>
              <a:gd name="connsiteY7" fmla="*/ 3078 h 7693"/>
              <a:gd name="connsiteX8" fmla="*/ 1764 w 4706"/>
              <a:gd name="connsiteY8" fmla="*/ 3078 h 7693"/>
              <a:gd name="connsiteX9" fmla="*/ 2353 w 4706"/>
              <a:gd name="connsiteY9" fmla="*/ 2308 h 7693"/>
              <a:gd name="connsiteX10" fmla="*/ 1176 w 4706"/>
              <a:gd name="connsiteY10" fmla="*/ 769 h 7693"/>
              <a:gd name="connsiteX11" fmla="*/ 588 w 4706"/>
              <a:gd name="connsiteY11" fmla="*/ 769 h 7693"/>
              <a:gd name="connsiteX12" fmla="*/ 588 w 4706"/>
              <a:gd name="connsiteY12" fmla="*/ 2308 h 7693"/>
              <a:gd name="connsiteX13" fmla="*/ 0 w 4706"/>
              <a:gd name="connsiteY13" fmla="*/ 769 h 7693"/>
              <a:gd name="connsiteX14" fmla="*/ 1764 w 4706"/>
              <a:gd name="connsiteY14" fmla="*/ 0 h 7693"/>
              <a:gd name="connsiteX15" fmla="*/ 2940 w 4706"/>
              <a:gd name="connsiteY15" fmla="*/ 1538 h 7693"/>
              <a:gd name="connsiteX16" fmla="*/ 3530 w 4706"/>
              <a:gd name="connsiteY16" fmla="*/ 1538 h 7693"/>
              <a:gd name="connsiteX17" fmla="*/ 4118 w 4706"/>
              <a:gd name="connsiteY17" fmla="*/ 769 h 7693"/>
              <a:gd name="connsiteX0" fmla="*/ 6247 w 8751"/>
              <a:gd name="connsiteY0" fmla="*/ 9000 h 10000"/>
              <a:gd name="connsiteX1" fmla="*/ 3748 w 8751"/>
              <a:gd name="connsiteY1" fmla="*/ 10000 h 10000"/>
              <a:gd name="connsiteX2" fmla="*/ 3748 w 8751"/>
              <a:gd name="connsiteY2" fmla="*/ 6999 h 10000"/>
              <a:gd name="connsiteX3" fmla="*/ 2499 w 8751"/>
              <a:gd name="connsiteY3" fmla="*/ 6999 h 10000"/>
              <a:gd name="connsiteX4" fmla="*/ 2499 w 8751"/>
              <a:gd name="connsiteY4" fmla="*/ 4999 h 10000"/>
              <a:gd name="connsiteX5" fmla="*/ 1249 w 8751"/>
              <a:gd name="connsiteY5" fmla="*/ 4999 h 10000"/>
              <a:gd name="connsiteX6" fmla="*/ 1249 w 8751"/>
              <a:gd name="connsiteY6" fmla="*/ 4001 h 10000"/>
              <a:gd name="connsiteX7" fmla="*/ 3748 w 8751"/>
              <a:gd name="connsiteY7" fmla="*/ 4001 h 10000"/>
              <a:gd name="connsiteX8" fmla="*/ 5000 w 8751"/>
              <a:gd name="connsiteY8" fmla="*/ 3000 h 10000"/>
              <a:gd name="connsiteX9" fmla="*/ 2499 w 8751"/>
              <a:gd name="connsiteY9" fmla="*/ 1000 h 10000"/>
              <a:gd name="connsiteX10" fmla="*/ 1249 w 8751"/>
              <a:gd name="connsiteY10" fmla="*/ 1000 h 10000"/>
              <a:gd name="connsiteX11" fmla="*/ 1249 w 8751"/>
              <a:gd name="connsiteY11" fmla="*/ 3000 h 10000"/>
              <a:gd name="connsiteX12" fmla="*/ 0 w 8751"/>
              <a:gd name="connsiteY12" fmla="*/ 1000 h 10000"/>
              <a:gd name="connsiteX13" fmla="*/ 3748 w 8751"/>
              <a:gd name="connsiteY13" fmla="*/ 0 h 10000"/>
              <a:gd name="connsiteX14" fmla="*/ 6247 w 8751"/>
              <a:gd name="connsiteY14" fmla="*/ 1999 h 10000"/>
              <a:gd name="connsiteX15" fmla="*/ 7501 w 8751"/>
              <a:gd name="connsiteY15" fmla="*/ 1999 h 10000"/>
              <a:gd name="connsiteX16" fmla="*/ 8751 w 8751"/>
              <a:gd name="connsiteY16" fmla="*/ 1000 h 10000"/>
              <a:gd name="connsiteX0" fmla="*/ 7139 w 8572"/>
              <a:gd name="connsiteY0" fmla="*/ 9000 h 10000"/>
              <a:gd name="connsiteX1" fmla="*/ 4283 w 8572"/>
              <a:gd name="connsiteY1" fmla="*/ 10000 h 10000"/>
              <a:gd name="connsiteX2" fmla="*/ 4283 w 8572"/>
              <a:gd name="connsiteY2" fmla="*/ 6999 h 10000"/>
              <a:gd name="connsiteX3" fmla="*/ 2856 w 8572"/>
              <a:gd name="connsiteY3" fmla="*/ 6999 h 10000"/>
              <a:gd name="connsiteX4" fmla="*/ 2856 w 8572"/>
              <a:gd name="connsiteY4" fmla="*/ 4999 h 10000"/>
              <a:gd name="connsiteX5" fmla="*/ 1427 w 8572"/>
              <a:gd name="connsiteY5" fmla="*/ 4999 h 10000"/>
              <a:gd name="connsiteX6" fmla="*/ 1427 w 8572"/>
              <a:gd name="connsiteY6" fmla="*/ 4001 h 10000"/>
              <a:gd name="connsiteX7" fmla="*/ 4283 w 8572"/>
              <a:gd name="connsiteY7" fmla="*/ 4001 h 10000"/>
              <a:gd name="connsiteX8" fmla="*/ 5714 w 8572"/>
              <a:gd name="connsiteY8" fmla="*/ 3000 h 10000"/>
              <a:gd name="connsiteX9" fmla="*/ 2856 w 8572"/>
              <a:gd name="connsiteY9" fmla="*/ 1000 h 10000"/>
              <a:gd name="connsiteX10" fmla="*/ 1427 w 8572"/>
              <a:gd name="connsiteY10" fmla="*/ 1000 h 10000"/>
              <a:gd name="connsiteX11" fmla="*/ 1427 w 8572"/>
              <a:gd name="connsiteY11" fmla="*/ 3000 h 10000"/>
              <a:gd name="connsiteX12" fmla="*/ 0 w 8572"/>
              <a:gd name="connsiteY12" fmla="*/ 1000 h 10000"/>
              <a:gd name="connsiteX13" fmla="*/ 4283 w 8572"/>
              <a:gd name="connsiteY13" fmla="*/ 0 h 10000"/>
              <a:gd name="connsiteX14" fmla="*/ 7139 w 8572"/>
              <a:gd name="connsiteY14" fmla="*/ 1999 h 10000"/>
              <a:gd name="connsiteX15" fmla="*/ 8572 w 8572"/>
              <a:gd name="connsiteY15" fmla="*/ 1999 h 10000"/>
              <a:gd name="connsiteX0" fmla="*/ 10484 w 10484"/>
              <a:gd name="connsiteY0" fmla="*/ 8296 h 10000"/>
              <a:gd name="connsiteX1" fmla="*/ 4997 w 10484"/>
              <a:gd name="connsiteY1" fmla="*/ 10000 h 10000"/>
              <a:gd name="connsiteX2" fmla="*/ 4997 w 10484"/>
              <a:gd name="connsiteY2" fmla="*/ 6999 h 10000"/>
              <a:gd name="connsiteX3" fmla="*/ 3332 w 10484"/>
              <a:gd name="connsiteY3" fmla="*/ 6999 h 10000"/>
              <a:gd name="connsiteX4" fmla="*/ 3332 w 10484"/>
              <a:gd name="connsiteY4" fmla="*/ 4999 h 10000"/>
              <a:gd name="connsiteX5" fmla="*/ 1665 w 10484"/>
              <a:gd name="connsiteY5" fmla="*/ 4999 h 10000"/>
              <a:gd name="connsiteX6" fmla="*/ 1665 w 10484"/>
              <a:gd name="connsiteY6" fmla="*/ 4001 h 10000"/>
              <a:gd name="connsiteX7" fmla="*/ 4997 w 10484"/>
              <a:gd name="connsiteY7" fmla="*/ 4001 h 10000"/>
              <a:gd name="connsiteX8" fmla="*/ 6666 w 10484"/>
              <a:gd name="connsiteY8" fmla="*/ 3000 h 10000"/>
              <a:gd name="connsiteX9" fmla="*/ 3332 w 10484"/>
              <a:gd name="connsiteY9" fmla="*/ 1000 h 10000"/>
              <a:gd name="connsiteX10" fmla="*/ 1665 w 10484"/>
              <a:gd name="connsiteY10" fmla="*/ 1000 h 10000"/>
              <a:gd name="connsiteX11" fmla="*/ 1665 w 10484"/>
              <a:gd name="connsiteY11" fmla="*/ 3000 h 10000"/>
              <a:gd name="connsiteX12" fmla="*/ 0 w 10484"/>
              <a:gd name="connsiteY12" fmla="*/ 1000 h 10000"/>
              <a:gd name="connsiteX13" fmla="*/ 4997 w 10484"/>
              <a:gd name="connsiteY13" fmla="*/ 0 h 10000"/>
              <a:gd name="connsiteX14" fmla="*/ 8328 w 10484"/>
              <a:gd name="connsiteY14" fmla="*/ 1999 h 10000"/>
              <a:gd name="connsiteX15" fmla="*/ 10000 w 10484"/>
              <a:gd name="connsiteY15" fmla="*/ 199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484" h="10000">
                <a:moveTo>
                  <a:pt x="10484" y="8296"/>
                </a:moveTo>
                <a:lnTo>
                  <a:pt x="4997" y="10000"/>
                </a:lnTo>
                <a:lnTo>
                  <a:pt x="4997" y="6999"/>
                </a:lnTo>
                <a:lnTo>
                  <a:pt x="3332" y="6999"/>
                </a:lnTo>
                <a:lnTo>
                  <a:pt x="3332" y="4999"/>
                </a:lnTo>
                <a:lnTo>
                  <a:pt x="1665" y="4999"/>
                </a:lnTo>
                <a:lnTo>
                  <a:pt x="1665" y="4001"/>
                </a:lnTo>
                <a:lnTo>
                  <a:pt x="4997" y="4001"/>
                </a:lnTo>
                <a:lnTo>
                  <a:pt x="6666" y="3000"/>
                </a:lnTo>
                <a:lnTo>
                  <a:pt x="3332" y="1000"/>
                </a:lnTo>
                <a:lnTo>
                  <a:pt x="1665" y="1000"/>
                </a:lnTo>
                <a:lnTo>
                  <a:pt x="1665" y="3000"/>
                </a:lnTo>
                <a:lnTo>
                  <a:pt x="0" y="1000"/>
                </a:lnTo>
                <a:lnTo>
                  <a:pt x="4997" y="0"/>
                </a:lnTo>
                <a:lnTo>
                  <a:pt x="8328" y="1999"/>
                </a:lnTo>
                <a:lnTo>
                  <a:pt x="10000" y="1999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6" name="Freeform 101">
            <a:extLst>
              <a:ext uri="{FF2B5EF4-FFF2-40B4-BE49-F238E27FC236}">
                <a16:creationId xmlns:a16="http://schemas.microsoft.com/office/drawing/2014/main" id="{950855CE-77C9-4838-BB6F-C14562869AD0}"/>
              </a:ext>
            </a:extLst>
          </p:cNvPr>
          <p:cNvSpPr>
            <a:spLocks/>
          </p:cNvSpPr>
          <p:nvPr/>
        </p:nvSpPr>
        <p:spPr bwMode="gray">
          <a:xfrm>
            <a:off x="3229206" y="3880400"/>
            <a:ext cx="580794" cy="636765"/>
          </a:xfrm>
          <a:custGeom>
            <a:avLst/>
            <a:gdLst>
              <a:gd name="T0" fmla="*/ 2147483647 w 241"/>
              <a:gd name="T1" fmla="*/ 2147483647 h 225"/>
              <a:gd name="T2" fmla="*/ 2147483647 w 241"/>
              <a:gd name="T3" fmla="*/ 2147483647 h 225"/>
              <a:gd name="T4" fmla="*/ 2147483647 w 241"/>
              <a:gd name="T5" fmla="*/ 2147483647 h 225"/>
              <a:gd name="T6" fmla="*/ 2147483647 w 241"/>
              <a:gd name="T7" fmla="*/ 2147483647 h 225"/>
              <a:gd name="T8" fmla="*/ 2147483647 w 241"/>
              <a:gd name="T9" fmla="*/ 2147483647 h 225"/>
              <a:gd name="T10" fmla="*/ 2147483647 w 241"/>
              <a:gd name="T11" fmla="*/ 2147483647 h 225"/>
              <a:gd name="T12" fmla="*/ 2147483647 w 241"/>
              <a:gd name="T13" fmla="*/ 2147483647 h 225"/>
              <a:gd name="T14" fmla="*/ 2147483647 w 241"/>
              <a:gd name="T15" fmla="*/ 2147483647 h 225"/>
              <a:gd name="T16" fmla="*/ 2147483647 w 241"/>
              <a:gd name="T17" fmla="*/ 2147483647 h 225"/>
              <a:gd name="T18" fmla="*/ 2147483647 w 241"/>
              <a:gd name="T19" fmla="*/ 2147483647 h 225"/>
              <a:gd name="T20" fmla="*/ 2147483647 w 241"/>
              <a:gd name="T21" fmla="*/ 2147483647 h 225"/>
              <a:gd name="T22" fmla="*/ 2147483647 w 241"/>
              <a:gd name="T23" fmla="*/ 2147483647 h 225"/>
              <a:gd name="T24" fmla="*/ 2147483647 w 241"/>
              <a:gd name="T25" fmla="*/ 2147483647 h 225"/>
              <a:gd name="T26" fmla="*/ 2147483647 w 241"/>
              <a:gd name="T27" fmla="*/ 2147483647 h 225"/>
              <a:gd name="T28" fmla="*/ 2147483647 w 241"/>
              <a:gd name="T29" fmla="*/ 2147483647 h 225"/>
              <a:gd name="T30" fmla="*/ 2147483647 w 241"/>
              <a:gd name="T31" fmla="*/ 2147483647 h 225"/>
              <a:gd name="T32" fmla="*/ 2147483647 w 241"/>
              <a:gd name="T33" fmla="*/ 2147483647 h 225"/>
              <a:gd name="T34" fmla="*/ 2147483647 w 241"/>
              <a:gd name="T35" fmla="*/ 2147483647 h 225"/>
              <a:gd name="T36" fmla="*/ 0 w 241"/>
              <a:gd name="T37" fmla="*/ 2147483647 h 225"/>
              <a:gd name="T38" fmla="*/ 2147483647 w 241"/>
              <a:gd name="T39" fmla="*/ 0 h 225"/>
              <a:gd name="T40" fmla="*/ 2147483647 w 241"/>
              <a:gd name="T41" fmla="*/ 2147483647 h 225"/>
              <a:gd name="T42" fmla="*/ 2147483647 w 241"/>
              <a:gd name="T43" fmla="*/ 2147483647 h 225"/>
              <a:gd name="T44" fmla="*/ 2147483647 w 241"/>
              <a:gd name="T45" fmla="*/ 2147483647 h 225"/>
              <a:gd name="T46" fmla="*/ 2147483647 w 241"/>
              <a:gd name="T47" fmla="*/ 2147483647 h 225"/>
              <a:gd name="T48" fmla="*/ 2147483647 w 241"/>
              <a:gd name="T49" fmla="*/ 2147483647 h 225"/>
              <a:gd name="T50" fmla="*/ 2147483647 w 241"/>
              <a:gd name="T51" fmla="*/ 2147483647 h 225"/>
              <a:gd name="T52" fmla="*/ 2147483647 w 241"/>
              <a:gd name="T53" fmla="*/ 2147483647 h 225"/>
              <a:gd name="T54" fmla="*/ 2147483647 w 241"/>
              <a:gd name="T55" fmla="*/ 2147483647 h 225"/>
              <a:gd name="T56" fmla="*/ 2147483647 w 241"/>
              <a:gd name="T57" fmla="*/ 2147483647 h 225"/>
              <a:gd name="T58" fmla="*/ 2147483647 w 241"/>
              <a:gd name="T59" fmla="*/ 2147483647 h 225"/>
              <a:gd name="T60" fmla="*/ 2147483647 w 241"/>
              <a:gd name="T61" fmla="*/ 2147483647 h 225"/>
              <a:gd name="T62" fmla="*/ 2147483647 w 241"/>
              <a:gd name="T63" fmla="*/ 2147483647 h 225"/>
              <a:gd name="T64" fmla="*/ 2147483647 w 241"/>
              <a:gd name="T65" fmla="*/ 2147483647 h 225"/>
              <a:gd name="T66" fmla="*/ 2147483647 w 241"/>
              <a:gd name="T67" fmla="*/ 2147483647 h 225"/>
              <a:gd name="T68" fmla="*/ 2147483647 w 241"/>
              <a:gd name="T69" fmla="*/ 2147483647 h 225"/>
              <a:gd name="T70" fmla="*/ 2147483647 w 241"/>
              <a:gd name="T71" fmla="*/ 2147483647 h 225"/>
              <a:gd name="T72" fmla="*/ 2147483647 w 241"/>
              <a:gd name="T73" fmla="*/ 2147483647 h 225"/>
              <a:gd name="T74" fmla="*/ 2147483647 w 241"/>
              <a:gd name="T75" fmla="*/ 2147483647 h 225"/>
              <a:gd name="T76" fmla="*/ 2147483647 w 241"/>
              <a:gd name="T77" fmla="*/ 2147483647 h 225"/>
              <a:gd name="T78" fmla="*/ 2147483647 w 241"/>
              <a:gd name="T79" fmla="*/ 2147483647 h 225"/>
              <a:gd name="T80" fmla="*/ 2147483647 w 241"/>
              <a:gd name="T81" fmla="*/ 2147483647 h 225"/>
              <a:gd name="T82" fmla="*/ 2147483647 w 241"/>
              <a:gd name="T83" fmla="*/ 2147483647 h 225"/>
              <a:gd name="T84" fmla="*/ 2147483647 w 241"/>
              <a:gd name="T85" fmla="*/ 2147483647 h 225"/>
              <a:gd name="T86" fmla="*/ 2147483647 w 241"/>
              <a:gd name="T87" fmla="*/ 2147483647 h 225"/>
              <a:gd name="T88" fmla="*/ 2147483647 w 241"/>
              <a:gd name="T89" fmla="*/ 2147483647 h 225"/>
              <a:gd name="T90" fmla="*/ 2147483647 w 241"/>
              <a:gd name="T91" fmla="*/ 2147483647 h 225"/>
              <a:gd name="T92" fmla="*/ 2147483647 w 241"/>
              <a:gd name="T93" fmla="*/ 2147483647 h 225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1"/>
              <a:gd name="T142" fmla="*/ 0 h 225"/>
              <a:gd name="T143" fmla="*/ 241 w 241"/>
              <a:gd name="T144" fmla="*/ 225 h 225"/>
              <a:gd name="connsiteX0" fmla="*/ 9295 w 9959"/>
              <a:gd name="connsiteY0" fmla="*/ 9956 h 9956"/>
              <a:gd name="connsiteX1" fmla="*/ 9295 w 9959"/>
              <a:gd name="connsiteY1" fmla="*/ 9956 h 9956"/>
              <a:gd name="connsiteX2" fmla="*/ 6971 w 9959"/>
              <a:gd name="connsiteY2" fmla="*/ 9600 h 9956"/>
              <a:gd name="connsiteX3" fmla="*/ 6639 w 9959"/>
              <a:gd name="connsiteY3" fmla="*/ 8889 h 9956"/>
              <a:gd name="connsiteX4" fmla="*/ 5643 w 9959"/>
              <a:gd name="connsiteY4" fmla="*/ 9244 h 9956"/>
              <a:gd name="connsiteX5" fmla="*/ 4979 w 9959"/>
              <a:gd name="connsiteY5" fmla="*/ 9244 h 9956"/>
              <a:gd name="connsiteX6" fmla="*/ 3983 w 9959"/>
              <a:gd name="connsiteY6" fmla="*/ 8178 h 9956"/>
              <a:gd name="connsiteX7" fmla="*/ 3320 w 9959"/>
              <a:gd name="connsiteY7" fmla="*/ 7111 h 9956"/>
              <a:gd name="connsiteX8" fmla="*/ 2656 w 9959"/>
              <a:gd name="connsiteY8" fmla="*/ 6756 h 9956"/>
              <a:gd name="connsiteX9" fmla="*/ 2324 w 9959"/>
              <a:gd name="connsiteY9" fmla="*/ 6756 h 9956"/>
              <a:gd name="connsiteX10" fmla="*/ 1992 w 9959"/>
              <a:gd name="connsiteY10" fmla="*/ 6400 h 9956"/>
              <a:gd name="connsiteX11" fmla="*/ 1660 w 9959"/>
              <a:gd name="connsiteY11" fmla="*/ 5333 h 9956"/>
              <a:gd name="connsiteX12" fmla="*/ 996 w 9959"/>
              <a:gd name="connsiteY12" fmla="*/ 4978 h 9956"/>
              <a:gd name="connsiteX13" fmla="*/ 664 w 9959"/>
              <a:gd name="connsiteY13" fmla="*/ 4267 h 9956"/>
              <a:gd name="connsiteX14" fmla="*/ 996 w 9959"/>
              <a:gd name="connsiteY14" fmla="*/ 3556 h 9956"/>
              <a:gd name="connsiteX15" fmla="*/ 996 w 9959"/>
              <a:gd name="connsiteY15" fmla="*/ 2844 h 9956"/>
              <a:gd name="connsiteX16" fmla="*/ 664 w 9959"/>
              <a:gd name="connsiteY16" fmla="*/ 2844 h 9956"/>
              <a:gd name="connsiteX17" fmla="*/ 332 w 9959"/>
              <a:gd name="connsiteY17" fmla="*/ 2133 h 9956"/>
              <a:gd name="connsiteX18" fmla="*/ 0 w 9959"/>
              <a:gd name="connsiteY18" fmla="*/ 356 h 9956"/>
              <a:gd name="connsiteX19" fmla="*/ 332 w 9959"/>
              <a:gd name="connsiteY19" fmla="*/ 0 h 9956"/>
              <a:gd name="connsiteX20" fmla="*/ 664 w 9959"/>
              <a:gd name="connsiteY20" fmla="*/ 711 h 9956"/>
              <a:gd name="connsiteX21" fmla="*/ 996 w 9959"/>
              <a:gd name="connsiteY21" fmla="*/ 711 h 9956"/>
              <a:gd name="connsiteX22" fmla="*/ 1328 w 9959"/>
              <a:gd name="connsiteY22" fmla="*/ 711 h 9956"/>
              <a:gd name="connsiteX23" fmla="*/ 1992 w 9959"/>
              <a:gd name="connsiteY23" fmla="*/ 356 h 9956"/>
              <a:gd name="connsiteX24" fmla="*/ 2324 w 9959"/>
              <a:gd name="connsiteY24" fmla="*/ 356 h 9956"/>
              <a:gd name="connsiteX25" fmla="*/ 1992 w 9959"/>
              <a:gd name="connsiteY25" fmla="*/ 711 h 9956"/>
              <a:gd name="connsiteX26" fmla="*/ 2656 w 9959"/>
              <a:gd name="connsiteY26" fmla="*/ 1067 h 9956"/>
              <a:gd name="connsiteX27" fmla="*/ 2656 w 9959"/>
              <a:gd name="connsiteY27" fmla="*/ 1778 h 9956"/>
              <a:gd name="connsiteX28" fmla="*/ 3983 w 9959"/>
              <a:gd name="connsiteY28" fmla="*/ 2489 h 9956"/>
              <a:gd name="connsiteX29" fmla="*/ 5311 w 9959"/>
              <a:gd name="connsiteY29" fmla="*/ 2489 h 9956"/>
              <a:gd name="connsiteX30" fmla="*/ 5311 w 9959"/>
              <a:gd name="connsiteY30" fmla="*/ 1778 h 9956"/>
              <a:gd name="connsiteX31" fmla="*/ 5975 w 9959"/>
              <a:gd name="connsiteY31" fmla="*/ 1422 h 9956"/>
              <a:gd name="connsiteX32" fmla="*/ 6971 w 9959"/>
              <a:gd name="connsiteY32" fmla="*/ 1422 h 9956"/>
              <a:gd name="connsiteX33" fmla="*/ 8963 w 9959"/>
              <a:gd name="connsiteY33" fmla="*/ 2489 h 9956"/>
              <a:gd name="connsiteX34" fmla="*/ 8963 w 9959"/>
              <a:gd name="connsiteY34" fmla="*/ 2844 h 9956"/>
              <a:gd name="connsiteX35" fmla="*/ 8963 w 9959"/>
              <a:gd name="connsiteY35" fmla="*/ 3200 h 9956"/>
              <a:gd name="connsiteX36" fmla="*/ 8963 w 9959"/>
              <a:gd name="connsiteY36" fmla="*/ 3556 h 9956"/>
              <a:gd name="connsiteX37" fmla="*/ 8631 w 9959"/>
              <a:gd name="connsiteY37" fmla="*/ 4267 h 9956"/>
              <a:gd name="connsiteX38" fmla="*/ 8631 w 9959"/>
              <a:gd name="connsiteY38" fmla="*/ 5689 h 9956"/>
              <a:gd name="connsiteX39" fmla="*/ 9295 w 9959"/>
              <a:gd name="connsiteY39" fmla="*/ 6044 h 9956"/>
              <a:gd name="connsiteX40" fmla="*/ 9295 w 9959"/>
              <a:gd name="connsiteY40" fmla="*/ 6400 h 9956"/>
              <a:gd name="connsiteX41" fmla="*/ 8963 w 9959"/>
              <a:gd name="connsiteY41" fmla="*/ 7111 h 9956"/>
              <a:gd name="connsiteX42" fmla="*/ 9295 w 9959"/>
              <a:gd name="connsiteY42" fmla="*/ 7822 h 9956"/>
              <a:gd name="connsiteX43" fmla="*/ 9627 w 9959"/>
              <a:gd name="connsiteY43" fmla="*/ 8178 h 9956"/>
              <a:gd name="connsiteX44" fmla="*/ 9959 w 9959"/>
              <a:gd name="connsiteY44" fmla="*/ 8889 h 9956"/>
              <a:gd name="connsiteX45" fmla="*/ 9295 w 9959"/>
              <a:gd name="connsiteY45" fmla="*/ 9244 h 9956"/>
              <a:gd name="connsiteX0" fmla="*/ 9333 w 10000"/>
              <a:gd name="connsiteY0" fmla="*/ 10000 h 10000"/>
              <a:gd name="connsiteX1" fmla="*/ 9333 w 10000"/>
              <a:gd name="connsiteY1" fmla="*/ 10000 h 10000"/>
              <a:gd name="connsiteX2" fmla="*/ 7000 w 10000"/>
              <a:gd name="connsiteY2" fmla="*/ 9642 h 10000"/>
              <a:gd name="connsiteX3" fmla="*/ 6666 w 10000"/>
              <a:gd name="connsiteY3" fmla="*/ 8928 h 10000"/>
              <a:gd name="connsiteX4" fmla="*/ 5666 w 10000"/>
              <a:gd name="connsiteY4" fmla="*/ 9285 h 10000"/>
              <a:gd name="connsiteX5" fmla="*/ 4999 w 10000"/>
              <a:gd name="connsiteY5" fmla="*/ 9285 h 10000"/>
              <a:gd name="connsiteX6" fmla="*/ 3999 w 10000"/>
              <a:gd name="connsiteY6" fmla="*/ 8214 h 10000"/>
              <a:gd name="connsiteX7" fmla="*/ 3334 w 10000"/>
              <a:gd name="connsiteY7" fmla="*/ 7142 h 10000"/>
              <a:gd name="connsiteX8" fmla="*/ 2667 w 10000"/>
              <a:gd name="connsiteY8" fmla="*/ 6786 h 10000"/>
              <a:gd name="connsiteX9" fmla="*/ 2334 w 10000"/>
              <a:gd name="connsiteY9" fmla="*/ 6786 h 10000"/>
              <a:gd name="connsiteX10" fmla="*/ 2000 w 10000"/>
              <a:gd name="connsiteY10" fmla="*/ 6428 h 10000"/>
              <a:gd name="connsiteX11" fmla="*/ 1667 w 10000"/>
              <a:gd name="connsiteY11" fmla="*/ 5357 h 10000"/>
              <a:gd name="connsiteX12" fmla="*/ 1000 w 10000"/>
              <a:gd name="connsiteY12" fmla="*/ 5000 h 10000"/>
              <a:gd name="connsiteX13" fmla="*/ 667 w 10000"/>
              <a:gd name="connsiteY13" fmla="*/ 4286 h 10000"/>
              <a:gd name="connsiteX14" fmla="*/ 1000 w 10000"/>
              <a:gd name="connsiteY14" fmla="*/ 3572 h 10000"/>
              <a:gd name="connsiteX15" fmla="*/ 1000 w 10000"/>
              <a:gd name="connsiteY15" fmla="*/ 2857 h 10000"/>
              <a:gd name="connsiteX16" fmla="*/ 667 w 10000"/>
              <a:gd name="connsiteY16" fmla="*/ 2857 h 10000"/>
              <a:gd name="connsiteX17" fmla="*/ 333 w 10000"/>
              <a:gd name="connsiteY17" fmla="*/ 2142 h 10000"/>
              <a:gd name="connsiteX18" fmla="*/ 0 w 10000"/>
              <a:gd name="connsiteY18" fmla="*/ 358 h 10000"/>
              <a:gd name="connsiteX19" fmla="*/ 333 w 10000"/>
              <a:gd name="connsiteY19" fmla="*/ 0 h 10000"/>
              <a:gd name="connsiteX20" fmla="*/ 667 w 10000"/>
              <a:gd name="connsiteY20" fmla="*/ 714 h 10000"/>
              <a:gd name="connsiteX21" fmla="*/ 1000 w 10000"/>
              <a:gd name="connsiteY21" fmla="*/ 714 h 10000"/>
              <a:gd name="connsiteX22" fmla="*/ 1333 w 10000"/>
              <a:gd name="connsiteY22" fmla="*/ 714 h 10000"/>
              <a:gd name="connsiteX23" fmla="*/ 2000 w 10000"/>
              <a:gd name="connsiteY23" fmla="*/ 358 h 10000"/>
              <a:gd name="connsiteX24" fmla="*/ 2334 w 10000"/>
              <a:gd name="connsiteY24" fmla="*/ 358 h 10000"/>
              <a:gd name="connsiteX25" fmla="*/ 2000 w 10000"/>
              <a:gd name="connsiteY25" fmla="*/ 714 h 10000"/>
              <a:gd name="connsiteX26" fmla="*/ 2667 w 10000"/>
              <a:gd name="connsiteY26" fmla="*/ 1072 h 10000"/>
              <a:gd name="connsiteX27" fmla="*/ 2667 w 10000"/>
              <a:gd name="connsiteY27" fmla="*/ 1786 h 10000"/>
              <a:gd name="connsiteX28" fmla="*/ 3999 w 10000"/>
              <a:gd name="connsiteY28" fmla="*/ 2500 h 10000"/>
              <a:gd name="connsiteX29" fmla="*/ 5333 w 10000"/>
              <a:gd name="connsiteY29" fmla="*/ 2500 h 10000"/>
              <a:gd name="connsiteX30" fmla="*/ 5333 w 10000"/>
              <a:gd name="connsiteY30" fmla="*/ 1786 h 10000"/>
              <a:gd name="connsiteX31" fmla="*/ 6000 w 10000"/>
              <a:gd name="connsiteY31" fmla="*/ 1428 h 10000"/>
              <a:gd name="connsiteX32" fmla="*/ 7000 w 10000"/>
              <a:gd name="connsiteY32" fmla="*/ 1428 h 10000"/>
              <a:gd name="connsiteX33" fmla="*/ 9000 w 10000"/>
              <a:gd name="connsiteY33" fmla="*/ 2500 h 10000"/>
              <a:gd name="connsiteX34" fmla="*/ 9000 w 10000"/>
              <a:gd name="connsiteY34" fmla="*/ 2857 h 10000"/>
              <a:gd name="connsiteX35" fmla="*/ 9000 w 10000"/>
              <a:gd name="connsiteY35" fmla="*/ 3214 h 10000"/>
              <a:gd name="connsiteX36" fmla="*/ 9000 w 10000"/>
              <a:gd name="connsiteY36" fmla="*/ 3572 h 10000"/>
              <a:gd name="connsiteX37" fmla="*/ 8667 w 10000"/>
              <a:gd name="connsiteY37" fmla="*/ 4286 h 10000"/>
              <a:gd name="connsiteX38" fmla="*/ 8667 w 10000"/>
              <a:gd name="connsiteY38" fmla="*/ 5714 h 10000"/>
              <a:gd name="connsiteX39" fmla="*/ 9333 w 10000"/>
              <a:gd name="connsiteY39" fmla="*/ 6071 h 10000"/>
              <a:gd name="connsiteX40" fmla="*/ 9333 w 10000"/>
              <a:gd name="connsiteY40" fmla="*/ 6428 h 10000"/>
              <a:gd name="connsiteX41" fmla="*/ 9000 w 10000"/>
              <a:gd name="connsiteY41" fmla="*/ 7142 h 10000"/>
              <a:gd name="connsiteX42" fmla="*/ 9333 w 10000"/>
              <a:gd name="connsiteY42" fmla="*/ 7857 h 10000"/>
              <a:gd name="connsiteX43" fmla="*/ 9667 w 10000"/>
              <a:gd name="connsiteY43" fmla="*/ 8214 h 10000"/>
              <a:gd name="connsiteX44" fmla="*/ 10000 w 10000"/>
              <a:gd name="connsiteY44" fmla="*/ 8928 h 10000"/>
              <a:gd name="connsiteX0" fmla="*/ 9333 w 9667"/>
              <a:gd name="connsiteY0" fmla="*/ 10000 h 10000"/>
              <a:gd name="connsiteX1" fmla="*/ 9333 w 9667"/>
              <a:gd name="connsiteY1" fmla="*/ 10000 h 10000"/>
              <a:gd name="connsiteX2" fmla="*/ 7000 w 9667"/>
              <a:gd name="connsiteY2" fmla="*/ 9642 h 10000"/>
              <a:gd name="connsiteX3" fmla="*/ 6666 w 9667"/>
              <a:gd name="connsiteY3" fmla="*/ 8928 h 10000"/>
              <a:gd name="connsiteX4" fmla="*/ 5666 w 9667"/>
              <a:gd name="connsiteY4" fmla="*/ 9285 h 10000"/>
              <a:gd name="connsiteX5" fmla="*/ 4999 w 9667"/>
              <a:gd name="connsiteY5" fmla="*/ 9285 h 10000"/>
              <a:gd name="connsiteX6" fmla="*/ 3999 w 9667"/>
              <a:gd name="connsiteY6" fmla="*/ 8214 h 10000"/>
              <a:gd name="connsiteX7" fmla="*/ 3334 w 9667"/>
              <a:gd name="connsiteY7" fmla="*/ 7142 h 10000"/>
              <a:gd name="connsiteX8" fmla="*/ 2667 w 9667"/>
              <a:gd name="connsiteY8" fmla="*/ 6786 h 10000"/>
              <a:gd name="connsiteX9" fmla="*/ 2334 w 9667"/>
              <a:gd name="connsiteY9" fmla="*/ 6786 h 10000"/>
              <a:gd name="connsiteX10" fmla="*/ 2000 w 9667"/>
              <a:gd name="connsiteY10" fmla="*/ 6428 h 10000"/>
              <a:gd name="connsiteX11" fmla="*/ 1667 w 9667"/>
              <a:gd name="connsiteY11" fmla="*/ 5357 h 10000"/>
              <a:gd name="connsiteX12" fmla="*/ 1000 w 9667"/>
              <a:gd name="connsiteY12" fmla="*/ 5000 h 10000"/>
              <a:gd name="connsiteX13" fmla="*/ 667 w 9667"/>
              <a:gd name="connsiteY13" fmla="*/ 4286 h 10000"/>
              <a:gd name="connsiteX14" fmla="*/ 1000 w 9667"/>
              <a:gd name="connsiteY14" fmla="*/ 3572 h 10000"/>
              <a:gd name="connsiteX15" fmla="*/ 1000 w 9667"/>
              <a:gd name="connsiteY15" fmla="*/ 2857 h 10000"/>
              <a:gd name="connsiteX16" fmla="*/ 667 w 9667"/>
              <a:gd name="connsiteY16" fmla="*/ 2857 h 10000"/>
              <a:gd name="connsiteX17" fmla="*/ 333 w 9667"/>
              <a:gd name="connsiteY17" fmla="*/ 2142 h 10000"/>
              <a:gd name="connsiteX18" fmla="*/ 0 w 9667"/>
              <a:gd name="connsiteY18" fmla="*/ 358 h 10000"/>
              <a:gd name="connsiteX19" fmla="*/ 333 w 9667"/>
              <a:gd name="connsiteY19" fmla="*/ 0 h 10000"/>
              <a:gd name="connsiteX20" fmla="*/ 667 w 9667"/>
              <a:gd name="connsiteY20" fmla="*/ 714 h 10000"/>
              <a:gd name="connsiteX21" fmla="*/ 1000 w 9667"/>
              <a:gd name="connsiteY21" fmla="*/ 714 h 10000"/>
              <a:gd name="connsiteX22" fmla="*/ 1333 w 9667"/>
              <a:gd name="connsiteY22" fmla="*/ 714 h 10000"/>
              <a:gd name="connsiteX23" fmla="*/ 2000 w 9667"/>
              <a:gd name="connsiteY23" fmla="*/ 358 h 10000"/>
              <a:gd name="connsiteX24" fmla="*/ 2334 w 9667"/>
              <a:gd name="connsiteY24" fmla="*/ 358 h 10000"/>
              <a:gd name="connsiteX25" fmla="*/ 2000 w 9667"/>
              <a:gd name="connsiteY25" fmla="*/ 714 h 10000"/>
              <a:gd name="connsiteX26" fmla="*/ 2667 w 9667"/>
              <a:gd name="connsiteY26" fmla="*/ 1072 h 10000"/>
              <a:gd name="connsiteX27" fmla="*/ 2667 w 9667"/>
              <a:gd name="connsiteY27" fmla="*/ 1786 h 10000"/>
              <a:gd name="connsiteX28" fmla="*/ 3999 w 9667"/>
              <a:gd name="connsiteY28" fmla="*/ 2500 h 10000"/>
              <a:gd name="connsiteX29" fmla="*/ 5333 w 9667"/>
              <a:gd name="connsiteY29" fmla="*/ 2500 h 10000"/>
              <a:gd name="connsiteX30" fmla="*/ 5333 w 9667"/>
              <a:gd name="connsiteY30" fmla="*/ 1786 h 10000"/>
              <a:gd name="connsiteX31" fmla="*/ 6000 w 9667"/>
              <a:gd name="connsiteY31" fmla="*/ 1428 h 10000"/>
              <a:gd name="connsiteX32" fmla="*/ 7000 w 9667"/>
              <a:gd name="connsiteY32" fmla="*/ 1428 h 10000"/>
              <a:gd name="connsiteX33" fmla="*/ 9000 w 9667"/>
              <a:gd name="connsiteY33" fmla="*/ 2500 h 10000"/>
              <a:gd name="connsiteX34" fmla="*/ 9000 w 9667"/>
              <a:gd name="connsiteY34" fmla="*/ 2857 h 10000"/>
              <a:gd name="connsiteX35" fmla="*/ 9000 w 9667"/>
              <a:gd name="connsiteY35" fmla="*/ 3214 h 10000"/>
              <a:gd name="connsiteX36" fmla="*/ 9000 w 9667"/>
              <a:gd name="connsiteY36" fmla="*/ 3572 h 10000"/>
              <a:gd name="connsiteX37" fmla="*/ 8667 w 9667"/>
              <a:gd name="connsiteY37" fmla="*/ 4286 h 10000"/>
              <a:gd name="connsiteX38" fmla="*/ 8667 w 9667"/>
              <a:gd name="connsiteY38" fmla="*/ 5714 h 10000"/>
              <a:gd name="connsiteX39" fmla="*/ 9333 w 9667"/>
              <a:gd name="connsiteY39" fmla="*/ 6071 h 10000"/>
              <a:gd name="connsiteX40" fmla="*/ 9333 w 9667"/>
              <a:gd name="connsiteY40" fmla="*/ 6428 h 10000"/>
              <a:gd name="connsiteX41" fmla="*/ 9000 w 9667"/>
              <a:gd name="connsiteY41" fmla="*/ 7142 h 10000"/>
              <a:gd name="connsiteX42" fmla="*/ 9333 w 9667"/>
              <a:gd name="connsiteY42" fmla="*/ 7857 h 10000"/>
              <a:gd name="connsiteX43" fmla="*/ 9667 w 9667"/>
              <a:gd name="connsiteY43" fmla="*/ 8214 h 10000"/>
              <a:gd name="connsiteX0" fmla="*/ 9654 w 9654"/>
              <a:gd name="connsiteY0" fmla="*/ 10000 h 10000"/>
              <a:gd name="connsiteX1" fmla="*/ 9654 w 9654"/>
              <a:gd name="connsiteY1" fmla="*/ 10000 h 10000"/>
              <a:gd name="connsiteX2" fmla="*/ 7241 w 9654"/>
              <a:gd name="connsiteY2" fmla="*/ 9642 h 10000"/>
              <a:gd name="connsiteX3" fmla="*/ 6896 w 9654"/>
              <a:gd name="connsiteY3" fmla="*/ 8928 h 10000"/>
              <a:gd name="connsiteX4" fmla="*/ 5861 w 9654"/>
              <a:gd name="connsiteY4" fmla="*/ 9285 h 10000"/>
              <a:gd name="connsiteX5" fmla="*/ 5171 w 9654"/>
              <a:gd name="connsiteY5" fmla="*/ 9285 h 10000"/>
              <a:gd name="connsiteX6" fmla="*/ 4137 w 9654"/>
              <a:gd name="connsiteY6" fmla="*/ 8214 h 10000"/>
              <a:gd name="connsiteX7" fmla="*/ 3449 w 9654"/>
              <a:gd name="connsiteY7" fmla="*/ 7142 h 10000"/>
              <a:gd name="connsiteX8" fmla="*/ 2759 w 9654"/>
              <a:gd name="connsiteY8" fmla="*/ 6786 h 10000"/>
              <a:gd name="connsiteX9" fmla="*/ 2414 w 9654"/>
              <a:gd name="connsiteY9" fmla="*/ 6786 h 10000"/>
              <a:gd name="connsiteX10" fmla="*/ 2069 w 9654"/>
              <a:gd name="connsiteY10" fmla="*/ 6428 h 10000"/>
              <a:gd name="connsiteX11" fmla="*/ 1724 w 9654"/>
              <a:gd name="connsiteY11" fmla="*/ 5357 h 10000"/>
              <a:gd name="connsiteX12" fmla="*/ 1034 w 9654"/>
              <a:gd name="connsiteY12" fmla="*/ 5000 h 10000"/>
              <a:gd name="connsiteX13" fmla="*/ 690 w 9654"/>
              <a:gd name="connsiteY13" fmla="*/ 4286 h 10000"/>
              <a:gd name="connsiteX14" fmla="*/ 1034 w 9654"/>
              <a:gd name="connsiteY14" fmla="*/ 3572 h 10000"/>
              <a:gd name="connsiteX15" fmla="*/ 1034 w 9654"/>
              <a:gd name="connsiteY15" fmla="*/ 2857 h 10000"/>
              <a:gd name="connsiteX16" fmla="*/ 690 w 9654"/>
              <a:gd name="connsiteY16" fmla="*/ 2857 h 10000"/>
              <a:gd name="connsiteX17" fmla="*/ 344 w 9654"/>
              <a:gd name="connsiteY17" fmla="*/ 2142 h 10000"/>
              <a:gd name="connsiteX18" fmla="*/ 0 w 9654"/>
              <a:gd name="connsiteY18" fmla="*/ 358 h 10000"/>
              <a:gd name="connsiteX19" fmla="*/ 344 w 9654"/>
              <a:gd name="connsiteY19" fmla="*/ 0 h 10000"/>
              <a:gd name="connsiteX20" fmla="*/ 690 w 9654"/>
              <a:gd name="connsiteY20" fmla="*/ 714 h 10000"/>
              <a:gd name="connsiteX21" fmla="*/ 1034 w 9654"/>
              <a:gd name="connsiteY21" fmla="*/ 714 h 10000"/>
              <a:gd name="connsiteX22" fmla="*/ 1379 w 9654"/>
              <a:gd name="connsiteY22" fmla="*/ 714 h 10000"/>
              <a:gd name="connsiteX23" fmla="*/ 2069 w 9654"/>
              <a:gd name="connsiteY23" fmla="*/ 358 h 10000"/>
              <a:gd name="connsiteX24" fmla="*/ 2414 w 9654"/>
              <a:gd name="connsiteY24" fmla="*/ 358 h 10000"/>
              <a:gd name="connsiteX25" fmla="*/ 2069 w 9654"/>
              <a:gd name="connsiteY25" fmla="*/ 714 h 10000"/>
              <a:gd name="connsiteX26" fmla="*/ 2759 w 9654"/>
              <a:gd name="connsiteY26" fmla="*/ 1072 h 10000"/>
              <a:gd name="connsiteX27" fmla="*/ 2759 w 9654"/>
              <a:gd name="connsiteY27" fmla="*/ 1786 h 10000"/>
              <a:gd name="connsiteX28" fmla="*/ 4137 w 9654"/>
              <a:gd name="connsiteY28" fmla="*/ 2500 h 10000"/>
              <a:gd name="connsiteX29" fmla="*/ 5517 w 9654"/>
              <a:gd name="connsiteY29" fmla="*/ 2500 h 10000"/>
              <a:gd name="connsiteX30" fmla="*/ 5517 w 9654"/>
              <a:gd name="connsiteY30" fmla="*/ 1786 h 10000"/>
              <a:gd name="connsiteX31" fmla="*/ 6207 w 9654"/>
              <a:gd name="connsiteY31" fmla="*/ 1428 h 10000"/>
              <a:gd name="connsiteX32" fmla="*/ 7241 w 9654"/>
              <a:gd name="connsiteY32" fmla="*/ 1428 h 10000"/>
              <a:gd name="connsiteX33" fmla="*/ 9310 w 9654"/>
              <a:gd name="connsiteY33" fmla="*/ 2500 h 10000"/>
              <a:gd name="connsiteX34" fmla="*/ 9310 w 9654"/>
              <a:gd name="connsiteY34" fmla="*/ 2857 h 10000"/>
              <a:gd name="connsiteX35" fmla="*/ 9310 w 9654"/>
              <a:gd name="connsiteY35" fmla="*/ 3214 h 10000"/>
              <a:gd name="connsiteX36" fmla="*/ 9310 w 9654"/>
              <a:gd name="connsiteY36" fmla="*/ 3572 h 10000"/>
              <a:gd name="connsiteX37" fmla="*/ 8966 w 9654"/>
              <a:gd name="connsiteY37" fmla="*/ 4286 h 10000"/>
              <a:gd name="connsiteX38" fmla="*/ 8966 w 9654"/>
              <a:gd name="connsiteY38" fmla="*/ 5714 h 10000"/>
              <a:gd name="connsiteX39" fmla="*/ 9654 w 9654"/>
              <a:gd name="connsiteY39" fmla="*/ 6071 h 10000"/>
              <a:gd name="connsiteX40" fmla="*/ 9654 w 9654"/>
              <a:gd name="connsiteY40" fmla="*/ 6428 h 10000"/>
              <a:gd name="connsiteX41" fmla="*/ 9310 w 9654"/>
              <a:gd name="connsiteY41" fmla="*/ 7142 h 10000"/>
              <a:gd name="connsiteX42" fmla="*/ 9654 w 9654"/>
              <a:gd name="connsiteY42" fmla="*/ 7857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7501 w 10000"/>
              <a:gd name="connsiteY32" fmla="*/ 1428 h 10000"/>
              <a:gd name="connsiteX33" fmla="*/ 9644 w 10000"/>
              <a:gd name="connsiteY33" fmla="*/ 2500 h 10000"/>
              <a:gd name="connsiteX34" fmla="*/ 9644 w 10000"/>
              <a:gd name="connsiteY34" fmla="*/ 2857 h 10000"/>
              <a:gd name="connsiteX35" fmla="*/ 9644 w 10000"/>
              <a:gd name="connsiteY35" fmla="*/ 3214 h 10000"/>
              <a:gd name="connsiteX36" fmla="*/ 9644 w 10000"/>
              <a:gd name="connsiteY36" fmla="*/ 3572 h 10000"/>
              <a:gd name="connsiteX37" fmla="*/ 9287 w 10000"/>
              <a:gd name="connsiteY37" fmla="*/ 4286 h 10000"/>
              <a:gd name="connsiteX38" fmla="*/ 9287 w 10000"/>
              <a:gd name="connsiteY38" fmla="*/ 5714 h 10000"/>
              <a:gd name="connsiteX39" fmla="*/ 10000 w 10000"/>
              <a:gd name="connsiteY39" fmla="*/ 6071 h 10000"/>
              <a:gd name="connsiteX40" fmla="*/ 10000 w 10000"/>
              <a:gd name="connsiteY40" fmla="*/ 6428 h 10000"/>
              <a:gd name="connsiteX41" fmla="*/ 9644 w 10000"/>
              <a:gd name="connsiteY41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7501 w 10000"/>
              <a:gd name="connsiteY32" fmla="*/ 1428 h 10000"/>
              <a:gd name="connsiteX33" fmla="*/ 9644 w 10000"/>
              <a:gd name="connsiteY33" fmla="*/ 2500 h 10000"/>
              <a:gd name="connsiteX34" fmla="*/ 9644 w 10000"/>
              <a:gd name="connsiteY34" fmla="*/ 3214 h 10000"/>
              <a:gd name="connsiteX35" fmla="*/ 9644 w 10000"/>
              <a:gd name="connsiteY35" fmla="*/ 3572 h 10000"/>
              <a:gd name="connsiteX36" fmla="*/ 9287 w 10000"/>
              <a:gd name="connsiteY36" fmla="*/ 4286 h 10000"/>
              <a:gd name="connsiteX37" fmla="*/ 9287 w 10000"/>
              <a:gd name="connsiteY37" fmla="*/ 5714 h 10000"/>
              <a:gd name="connsiteX38" fmla="*/ 10000 w 10000"/>
              <a:gd name="connsiteY38" fmla="*/ 6071 h 10000"/>
              <a:gd name="connsiteX39" fmla="*/ 10000 w 10000"/>
              <a:gd name="connsiteY39" fmla="*/ 6428 h 10000"/>
              <a:gd name="connsiteX40" fmla="*/ 9644 w 10000"/>
              <a:gd name="connsiteY40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7501 w 10000"/>
              <a:gd name="connsiteY32" fmla="*/ 1428 h 10000"/>
              <a:gd name="connsiteX33" fmla="*/ 9644 w 10000"/>
              <a:gd name="connsiteY33" fmla="*/ 2500 h 10000"/>
              <a:gd name="connsiteX34" fmla="*/ 9644 w 10000"/>
              <a:gd name="connsiteY34" fmla="*/ 3572 h 10000"/>
              <a:gd name="connsiteX35" fmla="*/ 9287 w 10000"/>
              <a:gd name="connsiteY35" fmla="*/ 4286 h 10000"/>
              <a:gd name="connsiteX36" fmla="*/ 9287 w 10000"/>
              <a:gd name="connsiteY36" fmla="*/ 5714 h 10000"/>
              <a:gd name="connsiteX37" fmla="*/ 10000 w 10000"/>
              <a:gd name="connsiteY37" fmla="*/ 6071 h 10000"/>
              <a:gd name="connsiteX38" fmla="*/ 10000 w 10000"/>
              <a:gd name="connsiteY38" fmla="*/ 6428 h 10000"/>
              <a:gd name="connsiteX39" fmla="*/ 9644 w 10000"/>
              <a:gd name="connsiteY39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7501 w 10000"/>
              <a:gd name="connsiteY32" fmla="*/ 1428 h 10000"/>
              <a:gd name="connsiteX33" fmla="*/ 9644 w 10000"/>
              <a:gd name="connsiteY33" fmla="*/ 2500 h 10000"/>
              <a:gd name="connsiteX34" fmla="*/ 9287 w 10000"/>
              <a:gd name="connsiteY34" fmla="*/ 4286 h 10000"/>
              <a:gd name="connsiteX35" fmla="*/ 9287 w 10000"/>
              <a:gd name="connsiteY35" fmla="*/ 5714 h 10000"/>
              <a:gd name="connsiteX36" fmla="*/ 10000 w 10000"/>
              <a:gd name="connsiteY36" fmla="*/ 6071 h 10000"/>
              <a:gd name="connsiteX37" fmla="*/ 10000 w 10000"/>
              <a:gd name="connsiteY37" fmla="*/ 6428 h 10000"/>
              <a:gd name="connsiteX38" fmla="*/ 9644 w 10000"/>
              <a:gd name="connsiteY38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9644 w 10000"/>
              <a:gd name="connsiteY32" fmla="*/ 2500 h 10000"/>
              <a:gd name="connsiteX33" fmla="*/ 9287 w 10000"/>
              <a:gd name="connsiteY33" fmla="*/ 4286 h 10000"/>
              <a:gd name="connsiteX34" fmla="*/ 9287 w 10000"/>
              <a:gd name="connsiteY34" fmla="*/ 5714 h 10000"/>
              <a:gd name="connsiteX35" fmla="*/ 10000 w 10000"/>
              <a:gd name="connsiteY35" fmla="*/ 6071 h 10000"/>
              <a:gd name="connsiteX36" fmla="*/ 10000 w 10000"/>
              <a:gd name="connsiteY36" fmla="*/ 6428 h 10000"/>
              <a:gd name="connsiteX37" fmla="*/ 9644 w 10000"/>
              <a:gd name="connsiteY37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9287 w 10000"/>
              <a:gd name="connsiteY32" fmla="*/ 4286 h 10000"/>
              <a:gd name="connsiteX33" fmla="*/ 9287 w 10000"/>
              <a:gd name="connsiteY33" fmla="*/ 5714 h 10000"/>
              <a:gd name="connsiteX34" fmla="*/ 10000 w 10000"/>
              <a:gd name="connsiteY34" fmla="*/ 6071 h 10000"/>
              <a:gd name="connsiteX35" fmla="*/ 10000 w 10000"/>
              <a:gd name="connsiteY35" fmla="*/ 6428 h 10000"/>
              <a:gd name="connsiteX36" fmla="*/ 9644 w 10000"/>
              <a:gd name="connsiteY36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9287 w 10000"/>
              <a:gd name="connsiteY32" fmla="*/ 5714 h 10000"/>
              <a:gd name="connsiteX33" fmla="*/ 10000 w 10000"/>
              <a:gd name="connsiteY33" fmla="*/ 6071 h 10000"/>
              <a:gd name="connsiteX34" fmla="*/ 10000 w 10000"/>
              <a:gd name="connsiteY34" fmla="*/ 6428 h 10000"/>
              <a:gd name="connsiteX35" fmla="*/ 9644 w 10000"/>
              <a:gd name="connsiteY35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10000 w 10000"/>
              <a:gd name="connsiteY32" fmla="*/ 6071 h 10000"/>
              <a:gd name="connsiteX33" fmla="*/ 10000 w 10000"/>
              <a:gd name="connsiteY33" fmla="*/ 6428 h 10000"/>
              <a:gd name="connsiteX34" fmla="*/ 9644 w 10000"/>
              <a:gd name="connsiteY34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10000 w 10000"/>
              <a:gd name="connsiteY32" fmla="*/ 6428 h 10000"/>
              <a:gd name="connsiteX33" fmla="*/ 9644 w 10000"/>
              <a:gd name="connsiteY33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32" fmla="*/ 9644 w 10000"/>
              <a:gd name="connsiteY32" fmla="*/ 7142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143 w 10000"/>
              <a:gd name="connsiteY3" fmla="*/ 8928 h 10000"/>
              <a:gd name="connsiteX4" fmla="*/ 6071 w 10000"/>
              <a:gd name="connsiteY4" fmla="*/ 9285 h 10000"/>
              <a:gd name="connsiteX5" fmla="*/ 5356 w 10000"/>
              <a:gd name="connsiteY5" fmla="*/ 9285 h 10000"/>
              <a:gd name="connsiteX6" fmla="*/ 4285 w 10000"/>
              <a:gd name="connsiteY6" fmla="*/ 8214 h 10000"/>
              <a:gd name="connsiteX7" fmla="*/ 3573 w 10000"/>
              <a:gd name="connsiteY7" fmla="*/ 7142 h 10000"/>
              <a:gd name="connsiteX8" fmla="*/ 2858 w 10000"/>
              <a:gd name="connsiteY8" fmla="*/ 6786 h 10000"/>
              <a:gd name="connsiteX9" fmla="*/ 2501 w 10000"/>
              <a:gd name="connsiteY9" fmla="*/ 6786 h 10000"/>
              <a:gd name="connsiteX10" fmla="*/ 2143 w 10000"/>
              <a:gd name="connsiteY10" fmla="*/ 6428 h 10000"/>
              <a:gd name="connsiteX11" fmla="*/ 1786 w 10000"/>
              <a:gd name="connsiteY11" fmla="*/ 5357 h 10000"/>
              <a:gd name="connsiteX12" fmla="*/ 1071 w 10000"/>
              <a:gd name="connsiteY12" fmla="*/ 5000 h 10000"/>
              <a:gd name="connsiteX13" fmla="*/ 715 w 10000"/>
              <a:gd name="connsiteY13" fmla="*/ 4286 h 10000"/>
              <a:gd name="connsiteX14" fmla="*/ 1071 w 10000"/>
              <a:gd name="connsiteY14" fmla="*/ 3572 h 10000"/>
              <a:gd name="connsiteX15" fmla="*/ 1071 w 10000"/>
              <a:gd name="connsiteY15" fmla="*/ 2857 h 10000"/>
              <a:gd name="connsiteX16" fmla="*/ 715 w 10000"/>
              <a:gd name="connsiteY16" fmla="*/ 2857 h 10000"/>
              <a:gd name="connsiteX17" fmla="*/ 356 w 10000"/>
              <a:gd name="connsiteY17" fmla="*/ 2142 h 10000"/>
              <a:gd name="connsiteX18" fmla="*/ 0 w 10000"/>
              <a:gd name="connsiteY18" fmla="*/ 358 h 10000"/>
              <a:gd name="connsiteX19" fmla="*/ 356 w 10000"/>
              <a:gd name="connsiteY19" fmla="*/ 0 h 10000"/>
              <a:gd name="connsiteX20" fmla="*/ 715 w 10000"/>
              <a:gd name="connsiteY20" fmla="*/ 714 h 10000"/>
              <a:gd name="connsiteX21" fmla="*/ 1071 w 10000"/>
              <a:gd name="connsiteY21" fmla="*/ 714 h 10000"/>
              <a:gd name="connsiteX22" fmla="*/ 1428 w 10000"/>
              <a:gd name="connsiteY22" fmla="*/ 714 h 10000"/>
              <a:gd name="connsiteX23" fmla="*/ 2143 w 10000"/>
              <a:gd name="connsiteY23" fmla="*/ 358 h 10000"/>
              <a:gd name="connsiteX24" fmla="*/ 2501 w 10000"/>
              <a:gd name="connsiteY24" fmla="*/ 358 h 10000"/>
              <a:gd name="connsiteX25" fmla="*/ 2143 w 10000"/>
              <a:gd name="connsiteY25" fmla="*/ 714 h 10000"/>
              <a:gd name="connsiteX26" fmla="*/ 2858 w 10000"/>
              <a:gd name="connsiteY26" fmla="*/ 1072 h 10000"/>
              <a:gd name="connsiteX27" fmla="*/ 2858 w 10000"/>
              <a:gd name="connsiteY27" fmla="*/ 1786 h 10000"/>
              <a:gd name="connsiteX28" fmla="*/ 4285 w 10000"/>
              <a:gd name="connsiteY28" fmla="*/ 2500 h 10000"/>
              <a:gd name="connsiteX29" fmla="*/ 5715 w 10000"/>
              <a:gd name="connsiteY29" fmla="*/ 2500 h 10000"/>
              <a:gd name="connsiteX30" fmla="*/ 5715 w 10000"/>
              <a:gd name="connsiteY30" fmla="*/ 1786 h 10000"/>
              <a:gd name="connsiteX31" fmla="*/ 6429 w 10000"/>
              <a:gd name="connsiteY31" fmla="*/ 1428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6071 w 10000"/>
              <a:gd name="connsiteY3" fmla="*/ 9285 h 10000"/>
              <a:gd name="connsiteX4" fmla="*/ 5356 w 10000"/>
              <a:gd name="connsiteY4" fmla="*/ 9285 h 10000"/>
              <a:gd name="connsiteX5" fmla="*/ 4285 w 10000"/>
              <a:gd name="connsiteY5" fmla="*/ 8214 h 10000"/>
              <a:gd name="connsiteX6" fmla="*/ 3573 w 10000"/>
              <a:gd name="connsiteY6" fmla="*/ 7142 h 10000"/>
              <a:gd name="connsiteX7" fmla="*/ 2858 w 10000"/>
              <a:gd name="connsiteY7" fmla="*/ 6786 h 10000"/>
              <a:gd name="connsiteX8" fmla="*/ 2501 w 10000"/>
              <a:gd name="connsiteY8" fmla="*/ 6786 h 10000"/>
              <a:gd name="connsiteX9" fmla="*/ 2143 w 10000"/>
              <a:gd name="connsiteY9" fmla="*/ 6428 h 10000"/>
              <a:gd name="connsiteX10" fmla="*/ 1786 w 10000"/>
              <a:gd name="connsiteY10" fmla="*/ 5357 h 10000"/>
              <a:gd name="connsiteX11" fmla="*/ 1071 w 10000"/>
              <a:gd name="connsiteY11" fmla="*/ 5000 h 10000"/>
              <a:gd name="connsiteX12" fmla="*/ 715 w 10000"/>
              <a:gd name="connsiteY12" fmla="*/ 4286 h 10000"/>
              <a:gd name="connsiteX13" fmla="*/ 1071 w 10000"/>
              <a:gd name="connsiteY13" fmla="*/ 3572 h 10000"/>
              <a:gd name="connsiteX14" fmla="*/ 1071 w 10000"/>
              <a:gd name="connsiteY14" fmla="*/ 2857 h 10000"/>
              <a:gd name="connsiteX15" fmla="*/ 715 w 10000"/>
              <a:gd name="connsiteY15" fmla="*/ 2857 h 10000"/>
              <a:gd name="connsiteX16" fmla="*/ 356 w 10000"/>
              <a:gd name="connsiteY16" fmla="*/ 2142 h 10000"/>
              <a:gd name="connsiteX17" fmla="*/ 0 w 10000"/>
              <a:gd name="connsiteY17" fmla="*/ 358 h 10000"/>
              <a:gd name="connsiteX18" fmla="*/ 356 w 10000"/>
              <a:gd name="connsiteY18" fmla="*/ 0 h 10000"/>
              <a:gd name="connsiteX19" fmla="*/ 715 w 10000"/>
              <a:gd name="connsiteY19" fmla="*/ 714 h 10000"/>
              <a:gd name="connsiteX20" fmla="*/ 1071 w 10000"/>
              <a:gd name="connsiteY20" fmla="*/ 714 h 10000"/>
              <a:gd name="connsiteX21" fmla="*/ 1428 w 10000"/>
              <a:gd name="connsiteY21" fmla="*/ 714 h 10000"/>
              <a:gd name="connsiteX22" fmla="*/ 2143 w 10000"/>
              <a:gd name="connsiteY22" fmla="*/ 358 h 10000"/>
              <a:gd name="connsiteX23" fmla="*/ 2501 w 10000"/>
              <a:gd name="connsiteY23" fmla="*/ 358 h 10000"/>
              <a:gd name="connsiteX24" fmla="*/ 2143 w 10000"/>
              <a:gd name="connsiteY24" fmla="*/ 714 h 10000"/>
              <a:gd name="connsiteX25" fmla="*/ 2858 w 10000"/>
              <a:gd name="connsiteY25" fmla="*/ 1072 h 10000"/>
              <a:gd name="connsiteX26" fmla="*/ 2858 w 10000"/>
              <a:gd name="connsiteY26" fmla="*/ 1786 h 10000"/>
              <a:gd name="connsiteX27" fmla="*/ 4285 w 10000"/>
              <a:gd name="connsiteY27" fmla="*/ 2500 h 10000"/>
              <a:gd name="connsiteX28" fmla="*/ 5715 w 10000"/>
              <a:gd name="connsiteY28" fmla="*/ 2500 h 10000"/>
              <a:gd name="connsiteX29" fmla="*/ 5715 w 10000"/>
              <a:gd name="connsiteY29" fmla="*/ 1786 h 10000"/>
              <a:gd name="connsiteX30" fmla="*/ 6429 w 10000"/>
              <a:gd name="connsiteY30" fmla="*/ 1428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5356 w 10000"/>
              <a:gd name="connsiteY3" fmla="*/ 9285 h 10000"/>
              <a:gd name="connsiteX4" fmla="*/ 4285 w 10000"/>
              <a:gd name="connsiteY4" fmla="*/ 8214 h 10000"/>
              <a:gd name="connsiteX5" fmla="*/ 3573 w 10000"/>
              <a:gd name="connsiteY5" fmla="*/ 7142 h 10000"/>
              <a:gd name="connsiteX6" fmla="*/ 2858 w 10000"/>
              <a:gd name="connsiteY6" fmla="*/ 6786 h 10000"/>
              <a:gd name="connsiteX7" fmla="*/ 2501 w 10000"/>
              <a:gd name="connsiteY7" fmla="*/ 6786 h 10000"/>
              <a:gd name="connsiteX8" fmla="*/ 2143 w 10000"/>
              <a:gd name="connsiteY8" fmla="*/ 6428 h 10000"/>
              <a:gd name="connsiteX9" fmla="*/ 1786 w 10000"/>
              <a:gd name="connsiteY9" fmla="*/ 5357 h 10000"/>
              <a:gd name="connsiteX10" fmla="*/ 1071 w 10000"/>
              <a:gd name="connsiteY10" fmla="*/ 5000 h 10000"/>
              <a:gd name="connsiteX11" fmla="*/ 715 w 10000"/>
              <a:gd name="connsiteY11" fmla="*/ 4286 h 10000"/>
              <a:gd name="connsiteX12" fmla="*/ 1071 w 10000"/>
              <a:gd name="connsiteY12" fmla="*/ 3572 h 10000"/>
              <a:gd name="connsiteX13" fmla="*/ 1071 w 10000"/>
              <a:gd name="connsiteY13" fmla="*/ 2857 h 10000"/>
              <a:gd name="connsiteX14" fmla="*/ 715 w 10000"/>
              <a:gd name="connsiteY14" fmla="*/ 2857 h 10000"/>
              <a:gd name="connsiteX15" fmla="*/ 356 w 10000"/>
              <a:gd name="connsiteY15" fmla="*/ 2142 h 10000"/>
              <a:gd name="connsiteX16" fmla="*/ 0 w 10000"/>
              <a:gd name="connsiteY16" fmla="*/ 358 h 10000"/>
              <a:gd name="connsiteX17" fmla="*/ 356 w 10000"/>
              <a:gd name="connsiteY17" fmla="*/ 0 h 10000"/>
              <a:gd name="connsiteX18" fmla="*/ 715 w 10000"/>
              <a:gd name="connsiteY18" fmla="*/ 714 h 10000"/>
              <a:gd name="connsiteX19" fmla="*/ 1071 w 10000"/>
              <a:gd name="connsiteY19" fmla="*/ 714 h 10000"/>
              <a:gd name="connsiteX20" fmla="*/ 1428 w 10000"/>
              <a:gd name="connsiteY20" fmla="*/ 714 h 10000"/>
              <a:gd name="connsiteX21" fmla="*/ 2143 w 10000"/>
              <a:gd name="connsiteY21" fmla="*/ 358 h 10000"/>
              <a:gd name="connsiteX22" fmla="*/ 2501 w 10000"/>
              <a:gd name="connsiteY22" fmla="*/ 358 h 10000"/>
              <a:gd name="connsiteX23" fmla="*/ 2143 w 10000"/>
              <a:gd name="connsiteY23" fmla="*/ 714 h 10000"/>
              <a:gd name="connsiteX24" fmla="*/ 2858 w 10000"/>
              <a:gd name="connsiteY24" fmla="*/ 1072 h 10000"/>
              <a:gd name="connsiteX25" fmla="*/ 2858 w 10000"/>
              <a:gd name="connsiteY25" fmla="*/ 1786 h 10000"/>
              <a:gd name="connsiteX26" fmla="*/ 4285 w 10000"/>
              <a:gd name="connsiteY26" fmla="*/ 2500 h 10000"/>
              <a:gd name="connsiteX27" fmla="*/ 5715 w 10000"/>
              <a:gd name="connsiteY27" fmla="*/ 2500 h 10000"/>
              <a:gd name="connsiteX28" fmla="*/ 5715 w 10000"/>
              <a:gd name="connsiteY28" fmla="*/ 1786 h 10000"/>
              <a:gd name="connsiteX29" fmla="*/ 6429 w 10000"/>
              <a:gd name="connsiteY29" fmla="*/ 1428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4285 w 10000"/>
              <a:gd name="connsiteY3" fmla="*/ 8214 h 10000"/>
              <a:gd name="connsiteX4" fmla="*/ 3573 w 10000"/>
              <a:gd name="connsiteY4" fmla="*/ 7142 h 10000"/>
              <a:gd name="connsiteX5" fmla="*/ 2858 w 10000"/>
              <a:gd name="connsiteY5" fmla="*/ 6786 h 10000"/>
              <a:gd name="connsiteX6" fmla="*/ 2501 w 10000"/>
              <a:gd name="connsiteY6" fmla="*/ 6786 h 10000"/>
              <a:gd name="connsiteX7" fmla="*/ 2143 w 10000"/>
              <a:gd name="connsiteY7" fmla="*/ 6428 h 10000"/>
              <a:gd name="connsiteX8" fmla="*/ 1786 w 10000"/>
              <a:gd name="connsiteY8" fmla="*/ 5357 h 10000"/>
              <a:gd name="connsiteX9" fmla="*/ 1071 w 10000"/>
              <a:gd name="connsiteY9" fmla="*/ 5000 h 10000"/>
              <a:gd name="connsiteX10" fmla="*/ 715 w 10000"/>
              <a:gd name="connsiteY10" fmla="*/ 4286 h 10000"/>
              <a:gd name="connsiteX11" fmla="*/ 1071 w 10000"/>
              <a:gd name="connsiteY11" fmla="*/ 3572 h 10000"/>
              <a:gd name="connsiteX12" fmla="*/ 1071 w 10000"/>
              <a:gd name="connsiteY12" fmla="*/ 2857 h 10000"/>
              <a:gd name="connsiteX13" fmla="*/ 715 w 10000"/>
              <a:gd name="connsiteY13" fmla="*/ 2857 h 10000"/>
              <a:gd name="connsiteX14" fmla="*/ 356 w 10000"/>
              <a:gd name="connsiteY14" fmla="*/ 2142 h 10000"/>
              <a:gd name="connsiteX15" fmla="*/ 0 w 10000"/>
              <a:gd name="connsiteY15" fmla="*/ 358 h 10000"/>
              <a:gd name="connsiteX16" fmla="*/ 356 w 10000"/>
              <a:gd name="connsiteY16" fmla="*/ 0 h 10000"/>
              <a:gd name="connsiteX17" fmla="*/ 715 w 10000"/>
              <a:gd name="connsiteY17" fmla="*/ 714 h 10000"/>
              <a:gd name="connsiteX18" fmla="*/ 1071 w 10000"/>
              <a:gd name="connsiteY18" fmla="*/ 714 h 10000"/>
              <a:gd name="connsiteX19" fmla="*/ 1428 w 10000"/>
              <a:gd name="connsiteY19" fmla="*/ 714 h 10000"/>
              <a:gd name="connsiteX20" fmla="*/ 2143 w 10000"/>
              <a:gd name="connsiteY20" fmla="*/ 358 h 10000"/>
              <a:gd name="connsiteX21" fmla="*/ 2501 w 10000"/>
              <a:gd name="connsiteY21" fmla="*/ 358 h 10000"/>
              <a:gd name="connsiteX22" fmla="*/ 2143 w 10000"/>
              <a:gd name="connsiteY22" fmla="*/ 714 h 10000"/>
              <a:gd name="connsiteX23" fmla="*/ 2858 w 10000"/>
              <a:gd name="connsiteY23" fmla="*/ 1072 h 10000"/>
              <a:gd name="connsiteX24" fmla="*/ 2858 w 10000"/>
              <a:gd name="connsiteY24" fmla="*/ 1786 h 10000"/>
              <a:gd name="connsiteX25" fmla="*/ 4285 w 10000"/>
              <a:gd name="connsiteY25" fmla="*/ 2500 h 10000"/>
              <a:gd name="connsiteX26" fmla="*/ 5715 w 10000"/>
              <a:gd name="connsiteY26" fmla="*/ 2500 h 10000"/>
              <a:gd name="connsiteX27" fmla="*/ 5715 w 10000"/>
              <a:gd name="connsiteY27" fmla="*/ 1786 h 10000"/>
              <a:gd name="connsiteX28" fmla="*/ 6429 w 10000"/>
              <a:gd name="connsiteY28" fmla="*/ 1428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7050 w 10000"/>
              <a:gd name="connsiteY3" fmla="*/ 9518 h 10000"/>
              <a:gd name="connsiteX4" fmla="*/ 4285 w 10000"/>
              <a:gd name="connsiteY4" fmla="*/ 8214 h 10000"/>
              <a:gd name="connsiteX5" fmla="*/ 3573 w 10000"/>
              <a:gd name="connsiteY5" fmla="*/ 7142 h 10000"/>
              <a:gd name="connsiteX6" fmla="*/ 2858 w 10000"/>
              <a:gd name="connsiteY6" fmla="*/ 6786 h 10000"/>
              <a:gd name="connsiteX7" fmla="*/ 2501 w 10000"/>
              <a:gd name="connsiteY7" fmla="*/ 6786 h 10000"/>
              <a:gd name="connsiteX8" fmla="*/ 2143 w 10000"/>
              <a:gd name="connsiteY8" fmla="*/ 6428 h 10000"/>
              <a:gd name="connsiteX9" fmla="*/ 1786 w 10000"/>
              <a:gd name="connsiteY9" fmla="*/ 5357 h 10000"/>
              <a:gd name="connsiteX10" fmla="*/ 1071 w 10000"/>
              <a:gd name="connsiteY10" fmla="*/ 5000 h 10000"/>
              <a:gd name="connsiteX11" fmla="*/ 715 w 10000"/>
              <a:gd name="connsiteY11" fmla="*/ 4286 h 10000"/>
              <a:gd name="connsiteX12" fmla="*/ 1071 w 10000"/>
              <a:gd name="connsiteY12" fmla="*/ 3572 h 10000"/>
              <a:gd name="connsiteX13" fmla="*/ 1071 w 10000"/>
              <a:gd name="connsiteY13" fmla="*/ 2857 h 10000"/>
              <a:gd name="connsiteX14" fmla="*/ 715 w 10000"/>
              <a:gd name="connsiteY14" fmla="*/ 2857 h 10000"/>
              <a:gd name="connsiteX15" fmla="*/ 356 w 10000"/>
              <a:gd name="connsiteY15" fmla="*/ 2142 h 10000"/>
              <a:gd name="connsiteX16" fmla="*/ 0 w 10000"/>
              <a:gd name="connsiteY16" fmla="*/ 358 h 10000"/>
              <a:gd name="connsiteX17" fmla="*/ 356 w 10000"/>
              <a:gd name="connsiteY17" fmla="*/ 0 h 10000"/>
              <a:gd name="connsiteX18" fmla="*/ 715 w 10000"/>
              <a:gd name="connsiteY18" fmla="*/ 714 h 10000"/>
              <a:gd name="connsiteX19" fmla="*/ 1071 w 10000"/>
              <a:gd name="connsiteY19" fmla="*/ 714 h 10000"/>
              <a:gd name="connsiteX20" fmla="*/ 1428 w 10000"/>
              <a:gd name="connsiteY20" fmla="*/ 714 h 10000"/>
              <a:gd name="connsiteX21" fmla="*/ 2143 w 10000"/>
              <a:gd name="connsiteY21" fmla="*/ 358 h 10000"/>
              <a:gd name="connsiteX22" fmla="*/ 2501 w 10000"/>
              <a:gd name="connsiteY22" fmla="*/ 358 h 10000"/>
              <a:gd name="connsiteX23" fmla="*/ 2143 w 10000"/>
              <a:gd name="connsiteY23" fmla="*/ 714 h 10000"/>
              <a:gd name="connsiteX24" fmla="*/ 2858 w 10000"/>
              <a:gd name="connsiteY24" fmla="*/ 1072 h 10000"/>
              <a:gd name="connsiteX25" fmla="*/ 2858 w 10000"/>
              <a:gd name="connsiteY25" fmla="*/ 1786 h 10000"/>
              <a:gd name="connsiteX26" fmla="*/ 4285 w 10000"/>
              <a:gd name="connsiteY26" fmla="*/ 2500 h 10000"/>
              <a:gd name="connsiteX27" fmla="*/ 5715 w 10000"/>
              <a:gd name="connsiteY27" fmla="*/ 2500 h 10000"/>
              <a:gd name="connsiteX28" fmla="*/ 5715 w 10000"/>
              <a:gd name="connsiteY28" fmla="*/ 1786 h 10000"/>
              <a:gd name="connsiteX29" fmla="*/ 6429 w 10000"/>
              <a:gd name="connsiteY29" fmla="*/ 1428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7501 w 10000"/>
              <a:gd name="connsiteY2" fmla="*/ 9642 h 10000"/>
              <a:gd name="connsiteX3" fmla="*/ 4285 w 10000"/>
              <a:gd name="connsiteY3" fmla="*/ 8214 h 10000"/>
              <a:gd name="connsiteX4" fmla="*/ 3573 w 10000"/>
              <a:gd name="connsiteY4" fmla="*/ 7142 h 10000"/>
              <a:gd name="connsiteX5" fmla="*/ 2858 w 10000"/>
              <a:gd name="connsiteY5" fmla="*/ 6786 h 10000"/>
              <a:gd name="connsiteX6" fmla="*/ 2501 w 10000"/>
              <a:gd name="connsiteY6" fmla="*/ 6786 h 10000"/>
              <a:gd name="connsiteX7" fmla="*/ 2143 w 10000"/>
              <a:gd name="connsiteY7" fmla="*/ 6428 h 10000"/>
              <a:gd name="connsiteX8" fmla="*/ 1786 w 10000"/>
              <a:gd name="connsiteY8" fmla="*/ 5357 h 10000"/>
              <a:gd name="connsiteX9" fmla="*/ 1071 w 10000"/>
              <a:gd name="connsiteY9" fmla="*/ 5000 h 10000"/>
              <a:gd name="connsiteX10" fmla="*/ 715 w 10000"/>
              <a:gd name="connsiteY10" fmla="*/ 4286 h 10000"/>
              <a:gd name="connsiteX11" fmla="*/ 1071 w 10000"/>
              <a:gd name="connsiteY11" fmla="*/ 3572 h 10000"/>
              <a:gd name="connsiteX12" fmla="*/ 1071 w 10000"/>
              <a:gd name="connsiteY12" fmla="*/ 2857 h 10000"/>
              <a:gd name="connsiteX13" fmla="*/ 715 w 10000"/>
              <a:gd name="connsiteY13" fmla="*/ 2857 h 10000"/>
              <a:gd name="connsiteX14" fmla="*/ 356 w 10000"/>
              <a:gd name="connsiteY14" fmla="*/ 2142 h 10000"/>
              <a:gd name="connsiteX15" fmla="*/ 0 w 10000"/>
              <a:gd name="connsiteY15" fmla="*/ 358 h 10000"/>
              <a:gd name="connsiteX16" fmla="*/ 356 w 10000"/>
              <a:gd name="connsiteY16" fmla="*/ 0 h 10000"/>
              <a:gd name="connsiteX17" fmla="*/ 715 w 10000"/>
              <a:gd name="connsiteY17" fmla="*/ 714 h 10000"/>
              <a:gd name="connsiteX18" fmla="*/ 1071 w 10000"/>
              <a:gd name="connsiteY18" fmla="*/ 714 h 10000"/>
              <a:gd name="connsiteX19" fmla="*/ 1428 w 10000"/>
              <a:gd name="connsiteY19" fmla="*/ 714 h 10000"/>
              <a:gd name="connsiteX20" fmla="*/ 2143 w 10000"/>
              <a:gd name="connsiteY20" fmla="*/ 358 h 10000"/>
              <a:gd name="connsiteX21" fmla="*/ 2501 w 10000"/>
              <a:gd name="connsiteY21" fmla="*/ 358 h 10000"/>
              <a:gd name="connsiteX22" fmla="*/ 2143 w 10000"/>
              <a:gd name="connsiteY22" fmla="*/ 714 h 10000"/>
              <a:gd name="connsiteX23" fmla="*/ 2858 w 10000"/>
              <a:gd name="connsiteY23" fmla="*/ 1072 h 10000"/>
              <a:gd name="connsiteX24" fmla="*/ 2858 w 10000"/>
              <a:gd name="connsiteY24" fmla="*/ 1786 h 10000"/>
              <a:gd name="connsiteX25" fmla="*/ 4285 w 10000"/>
              <a:gd name="connsiteY25" fmla="*/ 2500 h 10000"/>
              <a:gd name="connsiteX26" fmla="*/ 5715 w 10000"/>
              <a:gd name="connsiteY26" fmla="*/ 2500 h 10000"/>
              <a:gd name="connsiteX27" fmla="*/ 5715 w 10000"/>
              <a:gd name="connsiteY27" fmla="*/ 1786 h 10000"/>
              <a:gd name="connsiteX28" fmla="*/ 6429 w 10000"/>
              <a:gd name="connsiteY28" fmla="*/ 1428 h 10000"/>
              <a:gd name="connsiteX0" fmla="*/ 10000 w 10000"/>
              <a:gd name="connsiteY0" fmla="*/ 10000 h 10000"/>
              <a:gd name="connsiteX1" fmla="*/ 10000 w 10000"/>
              <a:gd name="connsiteY1" fmla="*/ 10000 h 10000"/>
              <a:gd name="connsiteX2" fmla="*/ 4285 w 10000"/>
              <a:gd name="connsiteY2" fmla="*/ 8214 h 10000"/>
              <a:gd name="connsiteX3" fmla="*/ 3573 w 10000"/>
              <a:gd name="connsiteY3" fmla="*/ 7142 h 10000"/>
              <a:gd name="connsiteX4" fmla="*/ 2858 w 10000"/>
              <a:gd name="connsiteY4" fmla="*/ 6786 h 10000"/>
              <a:gd name="connsiteX5" fmla="*/ 2501 w 10000"/>
              <a:gd name="connsiteY5" fmla="*/ 6786 h 10000"/>
              <a:gd name="connsiteX6" fmla="*/ 2143 w 10000"/>
              <a:gd name="connsiteY6" fmla="*/ 6428 h 10000"/>
              <a:gd name="connsiteX7" fmla="*/ 1786 w 10000"/>
              <a:gd name="connsiteY7" fmla="*/ 5357 h 10000"/>
              <a:gd name="connsiteX8" fmla="*/ 1071 w 10000"/>
              <a:gd name="connsiteY8" fmla="*/ 5000 h 10000"/>
              <a:gd name="connsiteX9" fmla="*/ 715 w 10000"/>
              <a:gd name="connsiteY9" fmla="*/ 4286 h 10000"/>
              <a:gd name="connsiteX10" fmla="*/ 1071 w 10000"/>
              <a:gd name="connsiteY10" fmla="*/ 3572 h 10000"/>
              <a:gd name="connsiteX11" fmla="*/ 1071 w 10000"/>
              <a:gd name="connsiteY11" fmla="*/ 2857 h 10000"/>
              <a:gd name="connsiteX12" fmla="*/ 715 w 10000"/>
              <a:gd name="connsiteY12" fmla="*/ 2857 h 10000"/>
              <a:gd name="connsiteX13" fmla="*/ 356 w 10000"/>
              <a:gd name="connsiteY13" fmla="*/ 2142 h 10000"/>
              <a:gd name="connsiteX14" fmla="*/ 0 w 10000"/>
              <a:gd name="connsiteY14" fmla="*/ 358 h 10000"/>
              <a:gd name="connsiteX15" fmla="*/ 356 w 10000"/>
              <a:gd name="connsiteY15" fmla="*/ 0 h 10000"/>
              <a:gd name="connsiteX16" fmla="*/ 715 w 10000"/>
              <a:gd name="connsiteY16" fmla="*/ 714 h 10000"/>
              <a:gd name="connsiteX17" fmla="*/ 1071 w 10000"/>
              <a:gd name="connsiteY17" fmla="*/ 714 h 10000"/>
              <a:gd name="connsiteX18" fmla="*/ 1428 w 10000"/>
              <a:gd name="connsiteY18" fmla="*/ 714 h 10000"/>
              <a:gd name="connsiteX19" fmla="*/ 2143 w 10000"/>
              <a:gd name="connsiteY19" fmla="*/ 358 h 10000"/>
              <a:gd name="connsiteX20" fmla="*/ 2501 w 10000"/>
              <a:gd name="connsiteY20" fmla="*/ 358 h 10000"/>
              <a:gd name="connsiteX21" fmla="*/ 2143 w 10000"/>
              <a:gd name="connsiteY21" fmla="*/ 714 h 10000"/>
              <a:gd name="connsiteX22" fmla="*/ 2858 w 10000"/>
              <a:gd name="connsiteY22" fmla="*/ 1072 h 10000"/>
              <a:gd name="connsiteX23" fmla="*/ 2858 w 10000"/>
              <a:gd name="connsiteY23" fmla="*/ 1786 h 10000"/>
              <a:gd name="connsiteX24" fmla="*/ 4285 w 10000"/>
              <a:gd name="connsiteY24" fmla="*/ 2500 h 10000"/>
              <a:gd name="connsiteX25" fmla="*/ 5715 w 10000"/>
              <a:gd name="connsiteY25" fmla="*/ 2500 h 10000"/>
              <a:gd name="connsiteX26" fmla="*/ 5715 w 10000"/>
              <a:gd name="connsiteY26" fmla="*/ 1786 h 10000"/>
              <a:gd name="connsiteX27" fmla="*/ 6429 w 10000"/>
              <a:gd name="connsiteY27" fmla="*/ 1428 h 10000"/>
              <a:gd name="connsiteX0" fmla="*/ 10000 w 10000"/>
              <a:gd name="connsiteY0" fmla="*/ 10000 h 12381"/>
              <a:gd name="connsiteX1" fmla="*/ 8231 w 10000"/>
              <a:gd name="connsiteY1" fmla="*/ 12381 h 12381"/>
              <a:gd name="connsiteX2" fmla="*/ 4285 w 10000"/>
              <a:gd name="connsiteY2" fmla="*/ 8214 h 12381"/>
              <a:gd name="connsiteX3" fmla="*/ 3573 w 10000"/>
              <a:gd name="connsiteY3" fmla="*/ 7142 h 12381"/>
              <a:gd name="connsiteX4" fmla="*/ 2858 w 10000"/>
              <a:gd name="connsiteY4" fmla="*/ 6786 h 12381"/>
              <a:gd name="connsiteX5" fmla="*/ 2501 w 10000"/>
              <a:gd name="connsiteY5" fmla="*/ 6786 h 12381"/>
              <a:gd name="connsiteX6" fmla="*/ 2143 w 10000"/>
              <a:gd name="connsiteY6" fmla="*/ 6428 h 12381"/>
              <a:gd name="connsiteX7" fmla="*/ 1786 w 10000"/>
              <a:gd name="connsiteY7" fmla="*/ 5357 h 12381"/>
              <a:gd name="connsiteX8" fmla="*/ 1071 w 10000"/>
              <a:gd name="connsiteY8" fmla="*/ 5000 h 12381"/>
              <a:gd name="connsiteX9" fmla="*/ 715 w 10000"/>
              <a:gd name="connsiteY9" fmla="*/ 4286 h 12381"/>
              <a:gd name="connsiteX10" fmla="*/ 1071 w 10000"/>
              <a:gd name="connsiteY10" fmla="*/ 3572 h 12381"/>
              <a:gd name="connsiteX11" fmla="*/ 1071 w 10000"/>
              <a:gd name="connsiteY11" fmla="*/ 2857 h 12381"/>
              <a:gd name="connsiteX12" fmla="*/ 715 w 10000"/>
              <a:gd name="connsiteY12" fmla="*/ 2857 h 12381"/>
              <a:gd name="connsiteX13" fmla="*/ 356 w 10000"/>
              <a:gd name="connsiteY13" fmla="*/ 2142 h 12381"/>
              <a:gd name="connsiteX14" fmla="*/ 0 w 10000"/>
              <a:gd name="connsiteY14" fmla="*/ 358 h 12381"/>
              <a:gd name="connsiteX15" fmla="*/ 356 w 10000"/>
              <a:gd name="connsiteY15" fmla="*/ 0 h 12381"/>
              <a:gd name="connsiteX16" fmla="*/ 715 w 10000"/>
              <a:gd name="connsiteY16" fmla="*/ 714 h 12381"/>
              <a:gd name="connsiteX17" fmla="*/ 1071 w 10000"/>
              <a:gd name="connsiteY17" fmla="*/ 714 h 12381"/>
              <a:gd name="connsiteX18" fmla="*/ 1428 w 10000"/>
              <a:gd name="connsiteY18" fmla="*/ 714 h 12381"/>
              <a:gd name="connsiteX19" fmla="*/ 2143 w 10000"/>
              <a:gd name="connsiteY19" fmla="*/ 358 h 12381"/>
              <a:gd name="connsiteX20" fmla="*/ 2501 w 10000"/>
              <a:gd name="connsiteY20" fmla="*/ 358 h 12381"/>
              <a:gd name="connsiteX21" fmla="*/ 2143 w 10000"/>
              <a:gd name="connsiteY21" fmla="*/ 714 h 12381"/>
              <a:gd name="connsiteX22" fmla="*/ 2858 w 10000"/>
              <a:gd name="connsiteY22" fmla="*/ 1072 h 12381"/>
              <a:gd name="connsiteX23" fmla="*/ 2858 w 10000"/>
              <a:gd name="connsiteY23" fmla="*/ 1786 h 12381"/>
              <a:gd name="connsiteX24" fmla="*/ 4285 w 10000"/>
              <a:gd name="connsiteY24" fmla="*/ 2500 h 12381"/>
              <a:gd name="connsiteX25" fmla="*/ 5715 w 10000"/>
              <a:gd name="connsiteY25" fmla="*/ 2500 h 12381"/>
              <a:gd name="connsiteX26" fmla="*/ 5715 w 10000"/>
              <a:gd name="connsiteY26" fmla="*/ 1786 h 12381"/>
              <a:gd name="connsiteX27" fmla="*/ 6429 w 10000"/>
              <a:gd name="connsiteY27" fmla="*/ 1428 h 12381"/>
              <a:gd name="connsiteX0" fmla="*/ 10716 w 10716"/>
              <a:gd name="connsiteY0" fmla="*/ 10585 h 12381"/>
              <a:gd name="connsiteX1" fmla="*/ 8231 w 10716"/>
              <a:gd name="connsiteY1" fmla="*/ 12381 h 12381"/>
              <a:gd name="connsiteX2" fmla="*/ 4285 w 10716"/>
              <a:gd name="connsiteY2" fmla="*/ 8214 h 12381"/>
              <a:gd name="connsiteX3" fmla="*/ 3573 w 10716"/>
              <a:gd name="connsiteY3" fmla="*/ 7142 h 12381"/>
              <a:gd name="connsiteX4" fmla="*/ 2858 w 10716"/>
              <a:gd name="connsiteY4" fmla="*/ 6786 h 12381"/>
              <a:gd name="connsiteX5" fmla="*/ 2501 w 10716"/>
              <a:gd name="connsiteY5" fmla="*/ 6786 h 12381"/>
              <a:gd name="connsiteX6" fmla="*/ 2143 w 10716"/>
              <a:gd name="connsiteY6" fmla="*/ 6428 h 12381"/>
              <a:gd name="connsiteX7" fmla="*/ 1786 w 10716"/>
              <a:gd name="connsiteY7" fmla="*/ 5357 h 12381"/>
              <a:gd name="connsiteX8" fmla="*/ 1071 w 10716"/>
              <a:gd name="connsiteY8" fmla="*/ 5000 h 12381"/>
              <a:gd name="connsiteX9" fmla="*/ 715 w 10716"/>
              <a:gd name="connsiteY9" fmla="*/ 4286 h 12381"/>
              <a:gd name="connsiteX10" fmla="*/ 1071 w 10716"/>
              <a:gd name="connsiteY10" fmla="*/ 3572 h 12381"/>
              <a:gd name="connsiteX11" fmla="*/ 1071 w 10716"/>
              <a:gd name="connsiteY11" fmla="*/ 2857 h 12381"/>
              <a:gd name="connsiteX12" fmla="*/ 715 w 10716"/>
              <a:gd name="connsiteY12" fmla="*/ 2857 h 12381"/>
              <a:gd name="connsiteX13" fmla="*/ 356 w 10716"/>
              <a:gd name="connsiteY13" fmla="*/ 2142 h 12381"/>
              <a:gd name="connsiteX14" fmla="*/ 0 w 10716"/>
              <a:gd name="connsiteY14" fmla="*/ 358 h 12381"/>
              <a:gd name="connsiteX15" fmla="*/ 356 w 10716"/>
              <a:gd name="connsiteY15" fmla="*/ 0 h 12381"/>
              <a:gd name="connsiteX16" fmla="*/ 715 w 10716"/>
              <a:gd name="connsiteY16" fmla="*/ 714 h 12381"/>
              <a:gd name="connsiteX17" fmla="*/ 1071 w 10716"/>
              <a:gd name="connsiteY17" fmla="*/ 714 h 12381"/>
              <a:gd name="connsiteX18" fmla="*/ 1428 w 10716"/>
              <a:gd name="connsiteY18" fmla="*/ 714 h 12381"/>
              <a:gd name="connsiteX19" fmla="*/ 2143 w 10716"/>
              <a:gd name="connsiteY19" fmla="*/ 358 h 12381"/>
              <a:gd name="connsiteX20" fmla="*/ 2501 w 10716"/>
              <a:gd name="connsiteY20" fmla="*/ 358 h 12381"/>
              <a:gd name="connsiteX21" fmla="*/ 2143 w 10716"/>
              <a:gd name="connsiteY21" fmla="*/ 714 h 12381"/>
              <a:gd name="connsiteX22" fmla="*/ 2858 w 10716"/>
              <a:gd name="connsiteY22" fmla="*/ 1072 h 12381"/>
              <a:gd name="connsiteX23" fmla="*/ 2858 w 10716"/>
              <a:gd name="connsiteY23" fmla="*/ 1786 h 12381"/>
              <a:gd name="connsiteX24" fmla="*/ 4285 w 10716"/>
              <a:gd name="connsiteY24" fmla="*/ 2500 h 12381"/>
              <a:gd name="connsiteX25" fmla="*/ 5715 w 10716"/>
              <a:gd name="connsiteY25" fmla="*/ 2500 h 12381"/>
              <a:gd name="connsiteX26" fmla="*/ 5715 w 10716"/>
              <a:gd name="connsiteY26" fmla="*/ 1786 h 12381"/>
              <a:gd name="connsiteX27" fmla="*/ 6429 w 10716"/>
              <a:gd name="connsiteY27" fmla="*/ 1428 h 12381"/>
              <a:gd name="connsiteX0" fmla="*/ 6884 w 8231"/>
              <a:gd name="connsiteY0" fmla="*/ 7577 h 12381"/>
              <a:gd name="connsiteX1" fmla="*/ 8231 w 8231"/>
              <a:gd name="connsiteY1" fmla="*/ 12381 h 12381"/>
              <a:gd name="connsiteX2" fmla="*/ 4285 w 8231"/>
              <a:gd name="connsiteY2" fmla="*/ 8214 h 12381"/>
              <a:gd name="connsiteX3" fmla="*/ 3573 w 8231"/>
              <a:gd name="connsiteY3" fmla="*/ 7142 h 12381"/>
              <a:gd name="connsiteX4" fmla="*/ 2858 w 8231"/>
              <a:gd name="connsiteY4" fmla="*/ 6786 h 12381"/>
              <a:gd name="connsiteX5" fmla="*/ 2501 w 8231"/>
              <a:gd name="connsiteY5" fmla="*/ 6786 h 12381"/>
              <a:gd name="connsiteX6" fmla="*/ 2143 w 8231"/>
              <a:gd name="connsiteY6" fmla="*/ 6428 h 12381"/>
              <a:gd name="connsiteX7" fmla="*/ 1786 w 8231"/>
              <a:gd name="connsiteY7" fmla="*/ 5357 h 12381"/>
              <a:gd name="connsiteX8" fmla="*/ 1071 w 8231"/>
              <a:gd name="connsiteY8" fmla="*/ 5000 h 12381"/>
              <a:gd name="connsiteX9" fmla="*/ 715 w 8231"/>
              <a:gd name="connsiteY9" fmla="*/ 4286 h 12381"/>
              <a:gd name="connsiteX10" fmla="*/ 1071 w 8231"/>
              <a:gd name="connsiteY10" fmla="*/ 3572 h 12381"/>
              <a:gd name="connsiteX11" fmla="*/ 1071 w 8231"/>
              <a:gd name="connsiteY11" fmla="*/ 2857 h 12381"/>
              <a:gd name="connsiteX12" fmla="*/ 715 w 8231"/>
              <a:gd name="connsiteY12" fmla="*/ 2857 h 12381"/>
              <a:gd name="connsiteX13" fmla="*/ 356 w 8231"/>
              <a:gd name="connsiteY13" fmla="*/ 2142 h 12381"/>
              <a:gd name="connsiteX14" fmla="*/ 0 w 8231"/>
              <a:gd name="connsiteY14" fmla="*/ 358 h 12381"/>
              <a:gd name="connsiteX15" fmla="*/ 356 w 8231"/>
              <a:gd name="connsiteY15" fmla="*/ 0 h 12381"/>
              <a:gd name="connsiteX16" fmla="*/ 715 w 8231"/>
              <a:gd name="connsiteY16" fmla="*/ 714 h 12381"/>
              <a:gd name="connsiteX17" fmla="*/ 1071 w 8231"/>
              <a:gd name="connsiteY17" fmla="*/ 714 h 12381"/>
              <a:gd name="connsiteX18" fmla="*/ 1428 w 8231"/>
              <a:gd name="connsiteY18" fmla="*/ 714 h 12381"/>
              <a:gd name="connsiteX19" fmla="*/ 2143 w 8231"/>
              <a:gd name="connsiteY19" fmla="*/ 358 h 12381"/>
              <a:gd name="connsiteX20" fmla="*/ 2501 w 8231"/>
              <a:gd name="connsiteY20" fmla="*/ 358 h 12381"/>
              <a:gd name="connsiteX21" fmla="*/ 2143 w 8231"/>
              <a:gd name="connsiteY21" fmla="*/ 714 h 12381"/>
              <a:gd name="connsiteX22" fmla="*/ 2858 w 8231"/>
              <a:gd name="connsiteY22" fmla="*/ 1072 h 12381"/>
              <a:gd name="connsiteX23" fmla="*/ 2858 w 8231"/>
              <a:gd name="connsiteY23" fmla="*/ 1786 h 12381"/>
              <a:gd name="connsiteX24" fmla="*/ 4285 w 8231"/>
              <a:gd name="connsiteY24" fmla="*/ 2500 h 12381"/>
              <a:gd name="connsiteX25" fmla="*/ 5715 w 8231"/>
              <a:gd name="connsiteY25" fmla="*/ 2500 h 12381"/>
              <a:gd name="connsiteX26" fmla="*/ 5715 w 8231"/>
              <a:gd name="connsiteY26" fmla="*/ 1786 h 12381"/>
              <a:gd name="connsiteX27" fmla="*/ 6429 w 8231"/>
              <a:gd name="connsiteY27" fmla="*/ 1428 h 12381"/>
              <a:gd name="connsiteX0" fmla="*/ 8364 w 10000"/>
              <a:gd name="connsiteY0" fmla="*/ 6120 h 10000"/>
              <a:gd name="connsiteX1" fmla="*/ 10000 w 10000"/>
              <a:gd name="connsiteY1" fmla="*/ 10000 h 10000"/>
              <a:gd name="connsiteX2" fmla="*/ 5206 w 10000"/>
              <a:gd name="connsiteY2" fmla="*/ 6634 h 10000"/>
              <a:gd name="connsiteX3" fmla="*/ 4341 w 10000"/>
              <a:gd name="connsiteY3" fmla="*/ 5769 h 10000"/>
              <a:gd name="connsiteX4" fmla="*/ 3472 w 10000"/>
              <a:gd name="connsiteY4" fmla="*/ 5481 h 10000"/>
              <a:gd name="connsiteX5" fmla="*/ 3039 w 10000"/>
              <a:gd name="connsiteY5" fmla="*/ 5481 h 10000"/>
              <a:gd name="connsiteX6" fmla="*/ 2604 w 10000"/>
              <a:gd name="connsiteY6" fmla="*/ 5192 h 10000"/>
              <a:gd name="connsiteX7" fmla="*/ 2170 w 10000"/>
              <a:gd name="connsiteY7" fmla="*/ 4327 h 10000"/>
              <a:gd name="connsiteX8" fmla="*/ 1301 w 10000"/>
              <a:gd name="connsiteY8" fmla="*/ 4038 h 10000"/>
              <a:gd name="connsiteX9" fmla="*/ 869 w 10000"/>
              <a:gd name="connsiteY9" fmla="*/ 3462 h 10000"/>
              <a:gd name="connsiteX10" fmla="*/ 1301 w 10000"/>
              <a:gd name="connsiteY10" fmla="*/ 2885 h 10000"/>
              <a:gd name="connsiteX11" fmla="*/ 1301 w 10000"/>
              <a:gd name="connsiteY11" fmla="*/ 2308 h 10000"/>
              <a:gd name="connsiteX12" fmla="*/ 869 w 10000"/>
              <a:gd name="connsiteY12" fmla="*/ 2308 h 10000"/>
              <a:gd name="connsiteX13" fmla="*/ 433 w 10000"/>
              <a:gd name="connsiteY13" fmla="*/ 1730 h 10000"/>
              <a:gd name="connsiteX14" fmla="*/ 0 w 10000"/>
              <a:gd name="connsiteY14" fmla="*/ 289 h 10000"/>
              <a:gd name="connsiteX15" fmla="*/ 433 w 10000"/>
              <a:gd name="connsiteY15" fmla="*/ 0 h 10000"/>
              <a:gd name="connsiteX16" fmla="*/ 869 w 10000"/>
              <a:gd name="connsiteY16" fmla="*/ 577 h 10000"/>
              <a:gd name="connsiteX17" fmla="*/ 1301 w 10000"/>
              <a:gd name="connsiteY17" fmla="*/ 577 h 10000"/>
              <a:gd name="connsiteX18" fmla="*/ 1735 w 10000"/>
              <a:gd name="connsiteY18" fmla="*/ 577 h 10000"/>
              <a:gd name="connsiteX19" fmla="*/ 2604 w 10000"/>
              <a:gd name="connsiteY19" fmla="*/ 289 h 10000"/>
              <a:gd name="connsiteX20" fmla="*/ 3039 w 10000"/>
              <a:gd name="connsiteY20" fmla="*/ 289 h 10000"/>
              <a:gd name="connsiteX21" fmla="*/ 2604 w 10000"/>
              <a:gd name="connsiteY21" fmla="*/ 577 h 10000"/>
              <a:gd name="connsiteX22" fmla="*/ 3472 w 10000"/>
              <a:gd name="connsiteY22" fmla="*/ 866 h 10000"/>
              <a:gd name="connsiteX23" fmla="*/ 3472 w 10000"/>
              <a:gd name="connsiteY23" fmla="*/ 1443 h 10000"/>
              <a:gd name="connsiteX24" fmla="*/ 5206 w 10000"/>
              <a:gd name="connsiteY24" fmla="*/ 2019 h 10000"/>
              <a:gd name="connsiteX25" fmla="*/ 6943 w 10000"/>
              <a:gd name="connsiteY25" fmla="*/ 2019 h 10000"/>
              <a:gd name="connsiteX26" fmla="*/ 6943 w 10000"/>
              <a:gd name="connsiteY26" fmla="*/ 1443 h 10000"/>
              <a:gd name="connsiteX27" fmla="*/ 8476 w 10000"/>
              <a:gd name="connsiteY27" fmla="*/ 1254 h 10000"/>
              <a:gd name="connsiteX0" fmla="*/ 8364 w 8476"/>
              <a:gd name="connsiteY0" fmla="*/ 6120 h 6634"/>
              <a:gd name="connsiteX1" fmla="*/ 5206 w 8476"/>
              <a:gd name="connsiteY1" fmla="*/ 6634 h 6634"/>
              <a:gd name="connsiteX2" fmla="*/ 4341 w 8476"/>
              <a:gd name="connsiteY2" fmla="*/ 5769 h 6634"/>
              <a:gd name="connsiteX3" fmla="*/ 3472 w 8476"/>
              <a:gd name="connsiteY3" fmla="*/ 5481 h 6634"/>
              <a:gd name="connsiteX4" fmla="*/ 3039 w 8476"/>
              <a:gd name="connsiteY4" fmla="*/ 5481 h 6634"/>
              <a:gd name="connsiteX5" fmla="*/ 2604 w 8476"/>
              <a:gd name="connsiteY5" fmla="*/ 5192 h 6634"/>
              <a:gd name="connsiteX6" fmla="*/ 2170 w 8476"/>
              <a:gd name="connsiteY6" fmla="*/ 4327 h 6634"/>
              <a:gd name="connsiteX7" fmla="*/ 1301 w 8476"/>
              <a:gd name="connsiteY7" fmla="*/ 4038 h 6634"/>
              <a:gd name="connsiteX8" fmla="*/ 869 w 8476"/>
              <a:gd name="connsiteY8" fmla="*/ 3462 h 6634"/>
              <a:gd name="connsiteX9" fmla="*/ 1301 w 8476"/>
              <a:gd name="connsiteY9" fmla="*/ 2885 h 6634"/>
              <a:gd name="connsiteX10" fmla="*/ 1301 w 8476"/>
              <a:gd name="connsiteY10" fmla="*/ 2308 h 6634"/>
              <a:gd name="connsiteX11" fmla="*/ 869 w 8476"/>
              <a:gd name="connsiteY11" fmla="*/ 2308 h 6634"/>
              <a:gd name="connsiteX12" fmla="*/ 433 w 8476"/>
              <a:gd name="connsiteY12" fmla="*/ 1730 h 6634"/>
              <a:gd name="connsiteX13" fmla="*/ 0 w 8476"/>
              <a:gd name="connsiteY13" fmla="*/ 289 h 6634"/>
              <a:gd name="connsiteX14" fmla="*/ 433 w 8476"/>
              <a:gd name="connsiteY14" fmla="*/ 0 h 6634"/>
              <a:gd name="connsiteX15" fmla="*/ 869 w 8476"/>
              <a:gd name="connsiteY15" fmla="*/ 577 h 6634"/>
              <a:gd name="connsiteX16" fmla="*/ 1301 w 8476"/>
              <a:gd name="connsiteY16" fmla="*/ 577 h 6634"/>
              <a:gd name="connsiteX17" fmla="*/ 1735 w 8476"/>
              <a:gd name="connsiteY17" fmla="*/ 577 h 6634"/>
              <a:gd name="connsiteX18" fmla="*/ 2604 w 8476"/>
              <a:gd name="connsiteY18" fmla="*/ 289 h 6634"/>
              <a:gd name="connsiteX19" fmla="*/ 3039 w 8476"/>
              <a:gd name="connsiteY19" fmla="*/ 289 h 6634"/>
              <a:gd name="connsiteX20" fmla="*/ 2604 w 8476"/>
              <a:gd name="connsiteY20" fmla="*/ 577 h 6634"/>
              <a:gd name="connsiteX21" fmla="*/ 3472 w 8476"/>
              <a:gd name="connsiteY21" fmla="*/ 866 h 6634"/>
              <a:gd name="connsiteX22" fmla="*/ 3472 w 8476"/>
              <a:gd name="connsiteY22" fmla="*/ 1443 h 6634"/>
              <a:gd name="connsiteX23" fmla="*/ 5206 w 8476"/>
              <a:gd name="connsiteY23" fmla="*/ 2019 h 6634"/>
              <a:gd name="connsiteX24" fmla="*/ 6943 w 8476"/>
              <a:gd name="connsiteY24" fmla="*/ 2019 h 6634"/>
              <a:gd name="connsiteX25" fmla="*/ 6943 w 8476"/>
              <a:gd name="connsiteY25" fmla="*/ 1443 h 6634"/>
              <a:gd name="connsiteX26" fmla="*/ 8476 w 8476"/>
              <a:gd name="connsiteY26" fmla="*/ 1254 h 6634"/>
              <a:gd name="connsiteX0" fmla="*/ 9868 w 10000"/>
              <a:gd name="connsiteY0" fmla="*/ 9225 h 9237"/>
              <a:gd name="connsiteX1" fmla="*/ 5599 w 10000"/>
              <a:gd name="connsiteY1" fmla="*/ 9237 h 9237"/>
              <a:gd name="connsiteX2" fmla="*/ 5122 w 10000"/>
              <a:gd name="connsiteY2" fmla="*/ 8696 h 9237"/>
              <a:gd name="connsiteX3" fmla="*/ 4096 w 10000"/>
              <a:gd name="connsiteY3" fmla="*/ 8262 h 9237"/>
              <a:gd name="connsiteX4" fmla="*/ 3585 w 10000"/>
              <a:gd name="connsiteY4" fmla="*/ 8262 h 9237"/>
              <a:gd name="connsiteX5" fmla="*/ 3072 w 10000"/>
              <a:gd name="connsiteY5" fmla="*/ 7826 h 9237"/>
              <a:gd name="connsiteX6" fmla="*/ 2560 w 10000"/>
              <a:gd name="connsiteY6" fmla="*/ 6522 h 9237"/>
              <a:gd name="connsiteX7" fmla="*/ 1535 w 10000"/>
              <a:gd name="connsiteY7" fmla="*/ 6087 h 9237"/>
              <a:gd name="connsiteX8" fmla="*/ 1025 w 10000"/>
              <a:gd name="connsiteY8" fmla="*/ 5219 h 9237"/>
              <a:gd name="connsiteX9" fmla="*/ 1535 w 10000"/>
              <a:gd name="connsiteY9" fmla="*/ 4349 h 9237"/>
              <a:gd name="connsiteX10" fmla="*/ 1535 w 10000"/>
              <a:gd name="connsiteY10" fmla="*/ 3479 h 9237"/>
              <a:gd name="connsiteX11" fmla="*/ 1025 w 10000"/>
              <a:gd name="connsiteY11" fmla="*/ 3479 h 9237"/>
              <a:gd name="connsiteX12" fmla="*/ 511 w 10000"/>
              <a:gd name="connsiteY12" fmla="*/ 2608 h 9237"/>
              <a:gd name="connsiteX13" fmla="*/ 0 w 10000"/>
              <a:gd name="connsiteY13" fmla="*/ 436 h 9237"/>
              <a:gd name="connsiteX14" fmla="*/ 511 w 10000"/>
              <a:gd name="connsiteY14" fmla="*/ 0 h 9237"/>
              <a:gd name="connsiteX15" fmla="*/ 1025 w 10000"/>
              <a:gd name="connsiteY15" fmla="*/ 870 h 9237"/>
              <a:gd name="connsiteX16" fmla="*/ 1535 w 10000"/>
              <a:gd name="connsiteY16" fmla="*/ 870 h 9237"/>
              <a:gd name="connsiteX17" fmla="*/ 2047 w 10000"/>
              <a:gd name="connsiteY17" fmla="*/ 870 h 9237"/>
              <a:gd name="connsiteX18" fmla="*/ 3072 w 10000"/>
              <a:gd name="connsiteY18" fmla="*/ 436 h 9237"/>
              <a:gd name="connsiteX19" fmla="*/ 3585 w 10000"/>
              <a:gd name="connsiteY19" fmla="*/ 436 h 9237"/>
              <a:gd name="connsiteX20" fmla="*/ 3072 w 10000"/>
              <a:gd name="connsiteY20" fmla="*/ 870 h 9237"/>
              <a:gd name="connsiteX21" fmla="*/ 4096 w 10000"/>
              <a:gd name="connsiteY21" fmla="*/ 1305 h 9237"/>
              <a:gd name="connsiteX22" fmla="*/ 4096 w 10000"/>
              <a:gd name="connsiteY22" fmla="*/ 2175 h 9237"/>
              <a:gd name="connsiteX23" fmla="*/ 6142 w 10000"/>
              <a:gd name="connsiteY23" fmla="*/ 3043 h 9237"/>
              <a:gd name="connsiteX24" fmla="*/ 8191 w 10000"/>
              <a:gd name="connsiteY24" fmla="*/ 3043 h 9237"/>
              <a:gd name="connsiteX25" fmla="*/ 8191 w 10000"/>
              <a:gd name="connsiteY25" fmla="*/ 2175 h 9237"/>
              <a:gd name="connsiteX26" fmla="*/ 10000 w 10000"/>
              <a:gd name="connsiteY26" fmla="*/ 1890 h 9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0000" h="9237">
                <a:moveTo>
                  <a:pt x="9868" y="9225"/>
                </a:moveTo>
                <a:lnTo>
                  <a:pt x="5599" y="9237"/>
                </a:lnTo>
                <a:lnTo>
                  <a:pt x="5122" y="8696"/>
                </a:lnTo>
                <a:lnTo>
                  <a:pt x="4096" y="8262"/>
                </a:lnTo>
                <a:lnTo>
                  <a:pt x="3585" y="8262"/>
                </a:lnTo>
                <a:lnTo>
                  <a:pt x="3072" y="7826"/>
                </a:lnTo>
                <a:lnTo>
                  <a:pt x="2560" y="6522"/>
                </a:lnTo>
                <a:lnTo>
                  <a:pt x="1535" y="6087"/>
                </a:lnTo>
                <a:lnTo>
                  <a:pt x="1025" y="5219"/>
                </a:lnTo>
                <a:lnTo>
                  <a:pt x="1535" y="4349"/>
                </a:lnTo>
                <a:lnTo>
                  <a:pt x="1535" y="3479"/>
                </a:lnTo>
                <a:lnTo>
                  <a:pt x="1025" y="3479"/>
                </a:lnTo>
                <a:lnTo>
                  <a:pt x="511" y="2608"/>
                </a:lnTo>
                <a:cubicBezTo>
                  <a:pt x="340" y="1883"/>
                  <a:pt x="171" y="1161"/>
                  <a:pt x="0" y="436"/>
                </a:cubicBezTo>
                <a:lnTo>
                  <a:pt x="511" y="0"/>
                </a:lnTo>
                <a:lnTo>
                  <a:pt x="1025" y="870"/>
                </a:lnTo>
                <a:lnTo>
                  <a:pt x="1535" y="870"/>
                </a:lnTo>
                <a:lnTo>
                  <a:pt x="2047" y="870"/>
                </a:lnTo>
                <a:lnTo>
                  <a:pt x="3072" y="436"/>
                </a:lnTo>
                <a:lnTo>
                  <a:pt x="3585" y="436"/>
                </a:lnTo>
                <a:lnTo>
                  <a:pt x="3072" y="870"/>
                </a:lnTo>
                <a:lnTo>
                  <a:pt x="4096" y="1305"/>
                </a:lnTo>
                <a:lnTo>
                  <a:pt x="4096" y="2175"/>
                </a:lnTo>
                <a:lnTo>
                  <a:pt x="6142" y="3043"/>
                </a:lnTo>
                <a:lnTo>
                  <a:pt x="8191" y="3043"/>
                </a:lnTo>
                <a:lnTo>
                  <a:pt x="8191" y="2175"/>
                </a:lnTo>
                <a:lnTo>
                  <a:pt x="10000" y="189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7" name="Freeform 51">
            <a:extLst>
              <a:ext uri="{FF2B5EF4-FFF2-40B4-BE49-F238E27FC236}">
                <a16:creationId xmlns:a16="http://schemas.microsoft.com/office/drawing/2014/main" id="{4166A881-A466-499F-A48C-A67023041547}"/>
              </a:ext>
            </a:extLst>
          </p:cNvPr>
          <p:cNvSpPr>
            <a:spLocks/>
          </p:cNvSpPr>
          <p:nvPr/>
        </p:nvSpPr>
        <p:spPr bwMode="gray">
          <a:xfrm>
            <a:off x="1389517" y="1136231"/>
            <a:ext cx="1260126" cy="1457703"/>
          </a:xfrm>
          <a:custGeom>
            <a:avLst/>
            <a:gdLst>
              <a:gd name="T0" fmla="*/ 2147483647 w 337"/>
              <a:gd name="T1" fmla="*/ 2147483647 h 393"/>
              <a:gd name="T2" fmla="*/ 2147483647 w 337"/>
              <a:gd name="T3" fmla="*/ 2147483647 h 393"/>
              <a:gd name="T4" fmla="*/ 2147483647 w 337"/>
              <a:gd name="T5" fmla="*/ 2147483647 h 393"/>
              <a:gd name="T6" fmla="*/ 2147483647 w 337"/>
              <a:gd name="T7" fmla="*/ 2147483647 h 393"/>
              <a:gd name="T8" fmla="*/ 2147483647 w 337"/>
              <a:gd name="T9" fmla="*/ 2147483647 h 393"/>
              <a:gd name="T10" fmla="*/ 2147483647 w 337"/>
              <a:gd name="T11" fmla="*/ 2147483647 h 393"/>
              <a:gd name="T12" fmla="*/ 2147483647 w 337"/>
              <a:gd name="T13" fmla="*/ 2147483647 h 393"/>
              <a:gd name="T14" fmla="*/ 2147483647 w 337"/>
              <a:gd name="T15" fmla="*/ 2147483647 h 393"/>
              <a:gd name="T16" fmla="*/ 2147483647 w 337"/>
              <a:gd name="T17" fmla="*/ 2147483647 h 393"/>
              <a:gd name="T18" fmla="*/ 2147483647 w 337"/>
              <a:gd name="T19" fmla="*/ 2147483647 h 393"/>
              <a:gd name="T20" fmla="*/ 2147483647 w 337"/>
              <a:gd name="T21" fmla="*/ 2147483647 h 393"/>
              <a:gd name="T22" fmla="*/ 2147483647 w 337"/>
              <a:gd name="T23" fmla="*/ 2147483647 h 393"/>
              <a:gd name="T24" fmla="*/ 2147483647 w 337"/>
              <a:gd name="T25" fmla="*/ 2147483647 h 393"/>
              <a:gd name="T26" fmla="*/ 2147483647 w 337"/>
              <a:gd name="T27" fmla="*/ 2147483647 h 393"/>
              <a:gd name="T28" fmla="*/ 2147483647 w 337"/>
              <a:gd name="T29" fmla="*/ 2147483647 h 393"/>
              <a:gd name="T30" fmla="*/ 2147483647 w 337"/>
              <a:gd name="T31" fmla="*/ 2147483647 h 393"/>
              <a:gd name="T32" fmla="*/ 2147483647 w 337"/>
              <a:gd name="T33" fmla="*/ 2147483647 h 393"/>
              <a:gd name="T34" fmla="*/ 2147483647 w 337"/>
              <a:gd name="T35" fmla="*/ 2147483647 h 393"/>
              <a:gd name="T36" fmla="*/ 2147483647 w 337"/>
              <a:gd name="T37" fmla="*/ 2147483647 h 393"/>
              <a:gd name="T38" fmla="*/ 2147483647 w 337"/>
              <a:gd name="T39" fmla="*/ 2147483647 h 393"/>
              <a:gd name="T40" fmla="*/ 2147483647 w 337"/>
              <a:gd name="T41" fmla="*/ 2147483647 h 393"/>
              <a:gd name="T42" fmla="*/ 2147483647 w 337"/>
              <a:gd name="T43" fmla="*/ 2147483647 h 393"/>
              <a:gd name="T44" fmla="*/ 2147483647 w 337"/>
              <a:gd name="T45" fmla="*/ 0 h 393"/>
              <a:gd name="T46" fmla="*/ 2147483647 w 337"/>
              <a:gd name="T47" fmla="*/ 2147483647 h 393"/>
              <a:gd name="T48" fmla="*/ 2147483647 w 337"/>
              <a:gd name="T49" fmla="*/ 0 h 393"/>
              <a:gd name="T50" fmla="*/ 2147483647 w 337"/>
              <a:gd name="T51" fmla="*/ 2147483647 h 393"/>
              <a:gd name="T52" fmla="*/ 2147483647 w 337"/>
              <a:gd name="T53" fmla="*/ 2147483647 h 393"/>
              <a:gd name="T54" fmla="*/ 2147483647 w 337"/>
              <a:gd name="T55" fmla="*/ 2147483647 h 393"/>
              <a:gd name="T56" fmla="*/ 2147483647 w 337"/>
              <a:gd name="T57" fmla="*/ 2147483647 h 393"/>
              <a:gd name="T58" fmla="*/ 2147483647 w 337"/>
              <a:gd name="T59" fmla="*/ 2147483647 h 393"/>
              <a:gd name="T60" fmla="*/ 2147483647 w 337"/>
              <a:gd name="T61" fmla="*/ 2147483647 h 393"/>
              <a:gd name="T62" fmla="*/ 2147483647 w 337"/>
              <a:gd name="T63" fmla="*/ 2147483647 h 393"/>
              <a:gd name="T64" fmla="*/ 2147483647 w 337"/>
              <a:gd name="T65" fmla="*/ 2147483647 h 393"/>
              <a:gd name="T66" fmla="*/ 2147483647 w 337"/>
              <a:gd name="T67" fmla="*/ 2147483647 h 393"/>
              <a:gd name="T68" fmla="*/ 2147483647 w 337"/>
              <a:gd name="T69" fmla="*/ 2147483647 h 393"/>
              <a:gd name="T70" fmla="*/ 2147483647 w 337"/>
              <a:gd name="T71" fmla="*/ 2147483647 h 393"/>
              <a:gd name="T72" fmla="*/ 2147483647 w 337"/>
              <a:gd name="T73" fmla="*/ 2147483647 h 393"/>
              <a:gd name="T74" fmla="*/ 2147483647 w 337"/>
              <a:gd name="T75" fmla="*/ 2147483647 h 393"/>
              <a:gd name="T76" fmla="*/ 2147483647 w 337"/>
              <a:gd name="T77" fmla="*/ 2147483647 h 393"/>
              <a:gd name="T78" fmla="*/ 2147483647 w 337"/>
              <a:gd name="T79" fmla="*/ 2147483647 h 393"/>
              <a:gd name="T80" fmla="*/ 2147483647 w 337"/>
              <a:gd name="T81" fmla="*/ 2147483647 h 393"/>
              <a:gd name="T82" fmla="*/ 2147483647 w 337"/>
              <a:gd name="T83" fmla="*/ 2147483647 h 393"/>
              <a:gd name="T84" fmla="*/ 2147483647 w 337"/>
              <a:gd name="T85" fmla="*/ 2147483647 h 393"/>
              <a:gd name="T86" fmla="*/ 2147483647 w 337"/>
              <a:gd name="T87" fmla="*/ 2147483647 h 393"/>
              <a:gd name="T88" fmla="*/ 2147483647 w 337"/>
              <a:gd name="T89" fmla="*/ 2147483647 h 393"/>
              <a:gd name="T90" fmla="*/ 2147483647 w 337"/>
              <a:gd name="T91" fmla="*/ 2147483647 h 39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37"/>
              <a:gd name="T139" fmla="*/ 0 h 393"/>
              <a:gd name="T140" fmla="*/ 337 w 337"/>
              <a:gd name="T141" fmla="*/ 393 h 39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37" h="393">
                <a:moveTo>
                  <a:pt x="80" y="376"/>
                </a:moveTo>
                <a:lnTo>
                  <a:pt x="80" y="376"/>
                </a:lnTo>
                <a:lnTo>
                  <a:pt x="80" y="368"/>
                </a:lnTo>
                <a:lnTo>
                  <a:pt x="72" y="360"/>
                </a:lnTo>
                <a:lnTo>
                  <a:pt x="72" y="368"/>
                </a:lnTo>
                <a:lnTo>
                  <a:pt x="64" y="368"/>
                </a:lnTo>
                <a:lnTo>
                  <a:pt x="40" y="392"/>
                </a:lnTo>
                <a:lnTo>
                  <a:pt x="24" y="392"/>
                </a:lnTo>
                <a:lnTo>
                  <a:pt x="8" y="384"/>
                </a:lnTo>
                <a:lnTo>
                  <a:pt x="16" y="360"/>
                </a:lnTo>
                <a:lnTo>
                  <a:pt x="8" y="368"/>
                </a:lnTo>
                <a:lnTo>
                  <a:pt x="8" y="360"/>
                </a:lnTo>
                <a:lnTo>
                  <a:pt x="8" y="352"/>
                </a:lnTo>
                <a:lnTo>
                  <a:pt x="8" y="336"/>
                </a:lnTo>
                <a:lnTo>
                  <a:pt x="0" y="320"/>
                </a:lnTo>
                <a:lnTo>
                  <a:pt x="8" y="304"/>
                </a:lnTo>
                <a:lnTo>
                  <a:pt x="0" y="296"/>
                </a:lnTo>
                <a:lnTo>
                  <a:pt x="32" y="272"/>
                </a:lnTo>
                <a:lnTo>
                  <a:pt x="40" y="264"/>
                </a:lnTo>
                <a:lnTo>
                  <a:pt x="56" y="248"/>
                </a:lnTo>
                <a:lnTo>
                  <a:pt x="56" y="256"/>
                </a:lnTo>
                <a:lnTo>
                  <a:pt x="80" y="216"/>
                </a:lnTo>
                <a:lnTo>
                  <a:pt x="96" y="200"/>
                </a:lnTo>
                <a:lnTo>
                  <a:pt x="112" y="160"/>
                </a:lnTo>
                <a:lnTo>
                  <a:pt x="128" y="120"/>
                </a:lnTo>
                <a:lnTo>
                  <a:pt x="144" y="104"/>
                </a:lnTo>
                <a:lnTo>
                  <a:pt x="120" y="112"/>
                </a:lnTo>
                <a:lnTo>
                  <a:pt x="104" y="120"/>
                </a:lnTo>
                <a:lnTo>
                  <a:pt x="112" y="104"/>
                </a:lnTo>
                <a:lnTo>
                  <a:pt x="128" y="104"/>
                </a:lnTo>
                <a:lnTo>
                  <a:pt x="120" y="88"/>
                </a:lnTo>
                <a:lnTo>
                  <a:pt x="144" y="72"/>
                </a:lnTo>
                <a:lnTo>
                  <a:pt x="144" y="88"/>
                </a:lnTo>
                <a:lnTo>
                  <a:pt x="152" y="80"/>
                </a:lnTo>
                <a:lnTo>
                  <a:pt x="152" y="88"/>
                </a:lnTo>
                <a:lnTo>
                  <a:pt x="160" y="80"/>
                </a:lnTo>
                <a:lnTo>
                  <a:pt x="152" y="80"/>
                </a:lnTo>
                <a:lnTo>
                  <a:pt x="152" y="64"/>
                </a:lnTo>
                <a:lnTo>
                  <a:pt x="168" y="56"/>
                </a:lnTo>
                <a:lnTo>
                  <a:pt x="176" y="40"/>
                </a:lnTo>
                <a:lnTo>
                  <a:pt x="192" y="40"/>
                </a:lnTo>
                <a:lnTo>
                  <a:pt x="208" y="32"/>
                </a:lnTo>
                <a:lnTo>
                  <a:pt x="232" y="8"/>
                </a:lnTo>
                <a:lnTo>
                  <a:pt x="248" y="16"/>
                </a:lnTo>
                <a:lnTo>
                  <a:pt x="256" y="8"/>
                </a:lnTo>
                <a:lnTo>
                  <a:pt x="264" y="0"/>
                </a:lnTo>
                <a:lnTo>
                  <a:pt x="264" y="24"/>
                </a:lnTo>
                <a:lnTo>
                  <a:pt x="272" y="8"/>
                </a:lnTo>
                <a:lnTo>
                  <a:pt x="280" y="24"/>
                </a:lnTo>
                <a:lnTo>
                  <a:pt x="288" y="0"/>
                </a:lnTo>
                <a:lnTo>
                  <a:pt x="304" y="8"/>
                </a:lnTo>
                <a:lnTo>
                  <a:pt x="336" y="32"/>
                </a:lnTo>
                <a:lnTo>
                  <a:pt x="320" y="40"/>
                </a:lnTo>
                <a:lnTo>
                  <a:pt x="304" y="40"/>
                </a:lnTo>
                <a:lnTo>
                  <a:pt x="320" y="48"/>
                </a:lnTo>
                <a:lnTo>
                  <a:pt x="328" y="56"/>
                </a:lnTo>
                <a:lnTo>
                  <a:pt x="328" y="64"/>
                </a:lnTo>
                <a:lnTo>
                  <a:pt x="320" y="64"/>
                </a:lnTo>
                <a:lnTo>
                  <a:pt x="304" y="80"/>
                </a:lnTo>
                <a:lnTo>
                  <a:pt x="312" y="56"/>
                </a:lnTo>
                <a:lnTo>
                  <a:pt x="288" y="40"/>
                </a:lnTo>
                <a:lnTo>
                  <a:pt x="272" y="48"/>
                </a:lnTo>
                <a:lnTo>
                  <a:pt x="264" y="80"/>
                </a:lnTo>
                <a:lnTo>
                  <a:pt x="256" y="88"/>
                </a:lnTo>
                <a:lnTo>
                  <a:pt x="240" y="88"/>
                </a:lnTo>
                <a:lnTo>
                  <a:pt x="232" y="88"/>
                </a:lnTo>
                <a:lnTo>
                  <a:pt x="224" y="88"/>
                </a:lnTo>
                <a:lnTo>
                  <a:pt x="208" y="72"/>
                </a:lnTo>
                <a:lnTo>
                  <a:pt x="200" y="80"/>
                </a:lnTo>
                <a:lnTo>
                  <a:pt x="192" y="80"/>
                </a:lnTo>
                <a:lnTo>
                  <a:pt x="192" y="96"/>
                </a:lnTo>
                <a:lnTo>
                  <a:pt x="176" y="96"/>
                </a:lnTo>
                <a:lnTo>
                  <a:pt x="168" y="96"/>
                </a:lnTo>
                <a:lnTo>
                  <a:pt x="168" y="112"/>
                </a:lnTo>
                <a:lnTo>
                  <a:pt x="160" y="112"/>
                </a:lnTo>
                <a:lnTo>
                  <a:pt x="152" y="120"/>
                </a:lnTo>
                <a:lnTo>
                  <a:pt x="144" y="136"/>
                </a:lnTo>
                <a:lnTo>
                  <a:pt x="144" y="144"/>
                </a:lnTo>
                <a:lnTo>
                  <a:pt x="144" y="152"/>
                </a:lnTo>
                <a:lnTo>
                  <a:pt x="128" y="176"/>
                </a:lnTo>
                <a:lnTo>
                  <a:pt x="120" y="200"/>
                </a:lnTo>
                <a:lnTo>
                  <a:pt x="112" y="216"/>
                </a:lnTo>
                <a:lnTo>
                  <a:pt x="120" y="232"/>
                </a:lnTo>
                <a:lnTo>
                  <a:pt x="104" y="240"/>
                </a:lnTo>
                <a:lnTo>
                  <a:pt x="96" y="248"/>
                </a:lnTo>
                <a:lnTo>
                  <a:pt x="88" y="280"/>
                </a:lnTo>
                <a:lnTo>
                  <a:pt x="96" y="312"/>
                </a:lnTo>
                <a:lnTo>
                  <a:pt x="96" y="320"/>
                </a:lnTo>
                <a:lnTo>
                  <a:pt x="96" y="344"/>
                </a:lnTo>
                <a:lnTo>
                  <a:pt x="88" y="352"/>
                </a:lnTo>
                <a:lnTo>
                  <a:pt x="88" y="376"/>
                </a:lnTo>
                <a:lnTo>
                  <a:pt x="80" y="37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8" name="Freeform 55">
            <a:extLst>
              <a:ext uri="{FF2B5EF4-FFF2-40B4-BE49-F238E27FC236}">
                <a16:creationId xmlns:a16="http://schemas.microsoft.com/office/drawing/2014/main" id="{04C14828-EA52-4C24-8282-73F6FAEA0681}"/>
              </a:ext>
            </a:extLst>
          </p:cNvPr>
          <p:cNvSpPr>
            <a:spLocks/>
          </p:cNvSpPr>
          <p:nvPr/>
        </p:nvSpPr>
        <p:spPr bwMode="gray">
          <a:xfrm>
            <a:off x="3347745" y="3094995"/>
            <a:ext cx="451199" cy="711324"/>
          </a:xfrm>
          <a:custGeom>
            <a:avLst/>
            <a:gdLst>
              <a:gd name="T0" fmla="*/ 2147483647 w 630"/>
              <a:gd name="T1" fmla="*/ 2147483647 h 335"/>
              <a:gd name="T2" fmla="*/ 2147483647 w 630"/>
              <a:gd name="T3" fmla="*/ 2147483647 h 335"/>
              <a:gd name="T4" fmla="*/ 2147483647 w 630"/>
              <a:gd name="T5" fmla="*/ 2147483647 h 335"/>
              <a:gd name="T6" fmla="*/ 2147483647 w 630"/>
              <a:gd name="T7" fmla="*/ 2147483647 h 335"/>
              <a:gd name="T8" fmla="*/ 2147483647 w 630"/>
              <a:gd name="T9" fmla="*/ 2147483647 h 335"/>
              <a:gd name="T10" fmla="*/ 2147483647 w 630"/>
              <a:gd name="T11" fmla="*/ 2147483647 h 335"/>
              <a:gd name="T12" fmla="*/ 2147483647 w 630"/>
              <a:gd name="T13" fmla="*/ 2147483647 h 335"/>
              <a:gd name="T14" fmla="*/ 2147483647 w 630"/>
              <a:gd name="T15" fmla="*/ 2147483647 h 335"/>
              <a:gd name="T16" fmla="*/ 2147483647 w 630"/>
              <a:gd name="T17" fmla="*/ 2147483647 h 335"/>
              <a:gd name="T18" fmla="*/ 2147483647 w 630"/>
              <a:gd name="T19" fmla="*/ 2147483647 h 335"/>
              <a:gd name="T20" fmla="*/ 2147483647 w 630"/>
              <a:gd name="T21" fmla="*/ 2147483647 h 335"/>
              <a:gd name="T22" fmla="*/ 2147483647 w 630"/>
              <a:gd name="T23" fmla="*/ 2147483647 h 335"/>
              <a:gd name="T24" fmla="*/ 2147483647 w 630"/>
              <a:gd name="T25" fmla="*/ 2147483647 h 335"/>
              <a:gd name="T26" fmla="*/ 2147483647 w 630"/>
              <a:gd name="T27" fmla="*/ 2147483647 h 335"/>
              <a:gd name="T28" fmla="*/ 2147483647 w 630"/>
              <a:gd name="T29" fmla="*/ 2147483647 h 335"/>
              <a:gd name="T30" fmla="*/ 2147483647 w 630"/>
              <a:gd name="T31" fmla="*/ 2147483647 h 335"/>
              <a:gd name="T32" fmla="*/ 2147483647 w 630"/>
              <a:gd name="T33" fmla="*/ 2147483647 h 335"/>
              <a:gd name="T34" fmla="*/ 2147483647 w 630"/>
              <a:gd name="T35" fmla="*/ 2147483647 h 335"/>
              <a:gd name="T36" fmla="*/ 2147483647 w 630"/>
              <a:gd name="T37" fmla="*/ 2147483647 h 335"/>
              <a:gd name="T38" fmla="*/ 2147483647 w 630"/>
              <a:gd name="T39" fmla="*/ 2147483647 h 335"/>
              <a:gd name="T40" fmla="*/ 2147483647 w 630"/>
              <a:gd name="T41" fmla="*/ 2147483647 h 335"/>
              <a:gd name="T42" fmla="*/ 2147483647 w 630"/>
              <a:gd name="T43" fmla="*/ 2147483647 h 335"/>
              <a:gd name="T44" fmla="*/ 2147483647 w 630"/>
              <a:gd name="T45" fmla="*/ 2147483647 h 335"/>
              <a:gd name="T46" fmla="*/ 2147483647 w 630"/>
              <a:gd name="T47" fmla="*/ 2147483647 h 335"/>
              <a:gd name="T48" fmla="*/ 2147483647 w 630"/>
              <a:gd name="T49" fmla="*/ 2147483647 h 335"/>
              <a:gd name="T50" fmla="*/ 2147483647 w 630"/>
              <a:gd name="T51" fmla="*/ 2147483647 h 335"/>
              <a:gd name="T52" fmla="*/ 2147483647 w 630"/>
              <a:gd name="T53" fmla="*/ 2147483647 h 335"/>
              <a:gd name="T54" fmla="*/ 2147483647 w 630"/>
              <a:gd name="T55" fmla="*/ 2147483647 h 335"/>
              <a:gd name="T56" fmla="*/ 2147483647 w 630"/>
              <a:gd name="T57" fmla="*/ 2147483647 h 335"/>
              <a:gd name="T58" fmla="*/ 2147483647 w 630"/>
              <a:gd name="T59" fmla="*/ 2147483647 h 335"/>
              <a:gd name="T60" fmla="*/ 2147483647 w 630"/>
              <a:gd name="T61" fmla="*/ 2147483647 h 335"/>
              <a:gd name="T62" fmla="*/ 2147483647 w 630"/>
              <a:gd name="T63" fmla="*/ 2147483647 h 335"/>
              <a:gd name="T64" fmla="*/ 2147483647 w 630"/>
              <a:gd name="T65" fmla="*/ 2147483647 h 335"/>
              <a:gd name="T66" fmla="*/ 2147483647 w 630"/>
              <a:gd name="T67" fmla="*/ 2147483647 h 335"/>
              <a:gd name="T68" fmla="*/ 2147483647 w 630"/>
              <a:gd name="T69" fmla="*/ 2147483647 h 335"/>
              <a:gd name="T70" fmla="*/ 2147483647 w 630"/>
              <a:gd name="T71" fmla="*/ 2147483647 h 335"/>
              <a:gd name="T72" fmla="*/ 2147483647 w 630"/>
              <a:gd name="T73" fmla="*/ 2147483647 h 335"/>
              <a:gd name="T74" fmla="*/ 2147483647 w 630"/>
              <a:gd name="T75" fmla="*/ 2147483647 h 335"/>
              <a:gd name="T76" fmla="*/ 2147483647 w 630"/>
              <a:gd name="T77" fmla="*/ 0 h 335"/>
              <a:gd name="T78" fmla="*/ 2147483647 w 630"/>
              <a:gd name="T79" fmla="*/ 2147483647 h 335"/>
              <a:gd name="T80" fmla="*/ 2147483647 w 630"/>
              <a:gd name="T81" fmla="*/ 2147483647 h 335"/>
              <a:gd name="T82" fmla="*/ 2147483647 w 630"/>
              <a:gd name="T83" fmla="*/ 2147483647 h 335"/>
              <a:gd name="T84" fmla="*/ 2147483647 w 630"/>
              <a:gd name="T85" fmla="*/ 2147483647 h 335"/>
              <a:gd name="T86" fmla="*/ 2147483647 w 630"/>
              <a:gd name="T87" fmla="*/ 2147483647 h 335"/>
              <a:gd name="T88" fmla="*/ 2147483647 w 630"/>
              <a:gd name="T89" fmla="*/ 2147483647 h 335"/>
              <a:gd name="T90" fmla="*/ 2147483647 w 630"/>
              <a:gd name="T91" fmla="*/ 2147483647 h 335"/>
              <a:gd name="T92" fmla="*/ 2147483647 w 630"/>
              <a:gd name="T93" fmla="*/ 2147483647 h 335"/>
              <a:gd name="T94" fmla="*/ 2147483647 w 630"/>
              <a:gd name="T95" fmla="*/ 2147483647 h 335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630"/>
              <a:gd name="T145" fmla="*/ 0 h 335"/>
              <a:gd name="T146" fmla="*/ 630 w 630"/>
              <a:gd name="T147" fmla="*/ 335 h 335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286 w 10000"/>
              <a:gd name="connsiteY69" fmla="*/ 2657 h 10000"/>
              <a:gd name="connsiteX70" fmla="*/ 3587 w 10000"/>
              <a:gd name="connsiteY70" fmla="*/ 2358 h 10000"/>
              <a:gd name="connsiteX71" fmla="*/ 3429 w 10000"/>
              <a:gd name="connsiteY71" fmla="*/ 2060 h 10000"/>
              <a:gd name="connsiteX72" fmla="*/ 3587 w 10000"/>
              <a:gd name="connsiteY72" fmla="*/ 1761 h 10000"/>
              <a:gd name="connsiteX73" fmla="*/ 3587 w 10000"/>
              <a:gd name="connsiteY73" fmla="*/ 896 h 10000"/>
              <a:gd name="connsiteX74" fmla="*/ 3905 w 10000"/>
              <a:gd name="connsiteY74" fmla="*/ 1164 h 10000"/>
              <a:gd name="connsiteX75" fmla="*/ 5317 w 10000"/>
              <a:gd name="connsiteY75" fmla="*/ 299 h 10000"/>
              <a:gd name="connsiteX76" fmla="*/ 5317 w 10000"/>
              <a:gd name="connsiteY76" fmla="*/ 0 h 10000"/>
              <a:gd name="connsiteX77" fmla="*/ 5937 w 10000"/>
              <a:gd name="connsiteY77" fmla="*/ 0 h 10000"/>
              <a:gd name="connsiteX78" fmla="*/ 6095 w 10000"/>
              <a:gd name="connsiteY78" fmla="*/ 597 h 10000"/>
              <a:gd name="connsiteX79" fmla="*/ 6095 w 10000"/>
              <a:gd name="connsiteY79" fmla="*/ 896 h 10000"/>
              <a:gd name="connsiteX80" fmla="*/ 6254 w 10000"/>
              <a:gd name="connsiteY80" fmla="*/ 896 h 10000"/>
              <a:gd name="connsiteX81" fmla="*/ 6556 w 10000"/>
              <a:gd name="connsiteY81" fmla="*/ 1164 h 10000"/>
              <a:gd name="connsiteX82" fmla="*/ 6556 w 10000"/>
              <a:gd name="connsiteY82" fmla="*/ 1463 h 10000"/>
              <a:gd name="connsiteX83" fmla="*/ 6873 w 10000"/>
              <a:gd name="connsiteY83" fmla="*/ 1463 h 10000"/>
              <a:gd name="connsiteX84" fmla="*/ 7190 w 10000"/>
              <a:gd name="connsiteY84" fmla="*/ 896 h 10000"/>
              <a:gd name="connsiteX85" fmla="*/ 7492 w 10000"/>
              <a:gd name="connsiteY85" fmla="*/ 597 h 10000"/>
              <a:gd name="connsiteX86" fmla="*/ 7651 w 10000"/>
              <a:gd name="connsiteY86" fmla="*/ 1463 h 10000"/>
              <a:gd name="connsiteX87" fmla="*/ 8286 w 10000"/>
              <a:gd name="connsiteY87" fmla="*/ 3522 h 10000"/>
              <a:gd name="connsiteX88" fmla="*/ 8429 w 10000"/>
              <a:gd name="connsiteY88" fmla="*/ 2925 h 10000"/>
              <a:gd name="connsiteX89" fmla="*/ 8587 w 10000"/>
              <a:gd name="connsiteY89" fmla="*/ 3522 h 10000"/>
              <a:gd name="connsiteX90" fmla="*/ 9063 w 10000"/>
              <a:gd name="connsiteY90" fmla="*/ 3224 h 10000"/>
              <a:gd name="connsiteX91" fmla="*/ 9524 w 10000"/>
              <a:gd name="connsiteY91" fmla="*/ 4119 h 10000"/>
              <a:gd name="connsiteX92" fmla="*/ 9841 w 10000"/>
              <a:gd name="connsiteY92" fmla="*/ 4418 h 10000"/>
              <a:gd name="connsiteX93" fmla="*/ 9841 w 10000"/>
              <a:gd name="connsiteY93" fmla="*/ 4119 h 10000"/>
              <a:gd name="connsiteX94" fmla="*/ 10000 w 10000"/>
              <a:gd name="connsiteY94" fmla="*/ 4716 h 10000"/>
              <a:gd name="connsiteX95" fmla="*/ 9841 w 10000"/>
              <a:gd name="connsiteY95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286 w 10000"/>
              <a:gd name="connsiteY69" fmla="*/ 2657 h 10000"/>
              <a:gd name="connsiteX70" fmla="*/ 3587 w 10000"/>
              <a:gd name="connsiteY70" fmla="*/ 2358 h 10000"/>
              <a:gd name="connsiteX71" fmla="*/ 3429 w 10000"/>
              <a:gd name="connsiteY71" fmla="*/ 2060 h 10000"/>
              <a:gd name="connsiteX72" fmla="*/ 3587 w 10000"/>
              <a:gd name="connsiteY72" fmla="*/ 1761 h 10000"/>
              <a:gd name="connsiteX73" fmla="*/ 3587 w 10000"/>
              <a:gd name="connsiteY73" fmla="*/ 896 h 10000"/>
              <a:gd name="connsiteX74" fmla="*/ 3905 w 10000"/>
              <a:gd name="connsiteY74" fmla="*/ 1164 h 10000"/>
              <a:gd name="connsiteX75" fmla="*/ 5317 w 10000"/>
              <a:gd name="connsiteY75" fmla="*/ 299 h 10000"/>
              <a:gd name="connsiteX76" fmla="*/ 5937 w 10000"/>
              <a:gd name="connsiteY76" fmla="*/ 0 h 10000"/>
              <a:gd name="connsiteX77" fmla="*/ 6095 w 10000"/>
              <a:gd name="connsiteY77" fmla="*/ 597 h 10000"/>
              <a:gd name="connsiteX78" fmla="*/ 6095 w 10000"/>
              <a:gd name="connsiteY78" fmla="*/ 896 h 10000"/>
              <a:gd name="connsiteX79" fmla="*/ 6254 w 10000"/>
              <a:gd name="connsiteY79" fmla="*/ 896 h 10000"/>
              <a:gd name="connsiteX80" fmla="*/ 6556 w 10000"/>
              <a:gd name="connsiteY80" fmla="*/ 1164 h 10000"/>
              <a:gd name="connsiteX81" fmla="*/ 6556 w 10000"/>
              <a:gd name="connsiteY81" fmla="*/ 1463 h 10000"/>
              <a:gd name="connsiteX82" fmla="*/ 6873 w 10000"/>
              <a:gd name="connsiteY82" fmla="*/ 1463 h 10000"/>
              <a:gd name="connsiteX83" fmla="*/ 7190 w 10000"/>
              <a:gd name="connsiteY83" fmla="*/ 896 h 10000"/>
              <a:gd name="connsiteX84" fmla="*/ 7492 w 10000"/>
              <a:gd name="connsiteY84" fmla="*/ 597 h 10000"/>
              <a:gd name="connsiteX85" fmla="*/ 7651 w 10000"/>
              <a:gd name="connsiteY85" fmla="*/ 1463 h 10000"/>
              <a:gd name="connsiteX86" fmla="*/ 8286 w 10000"/>
              <a:gd name="connsiteY86" fmla="*/ 3522 h 10000"/>
              <a:gd name="connsiteX87" fmla="*/ 8429 w 10000"/>
              <a:gd name="connsiteY87" fmla="*/ 2925 h 10000"/>
              <a:gd name="connsiteX88" fmla="*/ 8587 w 10000"/>
              <a:gd name="connsiteY88" fmla="*/ 3522 h 10000"/>
              <a:gd name="connsiteX89" fmla="*/ 9063 w 10000"/>
              <a:gd name="connsiteY89" fmla="*/ 3224 h 10000"/>
              <a:gd name="connsiteX90" fmla="*/ 9524 w 10000"/>
              <a:gd name="connsiteY90" fmla="*/ 4119 h 10000"/>
              <a:gd name="connsiteX91" fmla="*/ 9841 w 10000"/>
              <a:gd name="connsiteY91" fmla="*/ 4418 h 10000"/>
              <a:gd name="connsiteX92" fmla="*/ 9841 w 10000"/>
              <a:gd name="connsiteY92" fmla="*/ 4119 h 10000"/>
              <a:gd name="connsiteX93" fmla="*/ 10000 w 10000"/>
              <a:gd name="connsiteY93" fmla="*/ 4716 h 10000"/>
              <a:gd name="connsiteX94" fmla="*/ 9841 w 10000"/>
              <a:gd name="connsiteY94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286 w 10000"/>
              <a:gd name="connsiteY69" fmla="*/ 2657 h 10000"/>
              <a:gd name="connsiteX70" fmla="*/ 3587 w 10000"/>
              <a:gd name="connsiteY70" fmla="*/ 2358 h 10000"/>
              <a:gd name="connsiteX71" fmla="*/ 3429 w 10000"/>
              <a:gd name="connsiteY71" fmla="*/ 2060 h 10000"/>
              <a:gd name="connsiteX72" fmla="*/ 3587 w 10000"/>
              <a:gd name="connsiteY72" fmla="*/ 1761 h 10000"/>
              <a:gd name="connsiteX73" fmla="*/ 3587 w 10000"/>
              <a:gd name="connsiteY73" fmla="*/ 896 h 10000"/>
              <a:gd name="connsiteX74" fmla="*/ 3905 w 10000"/>
              <a:gd name="connsiteY74" fmla="*/ 1164 h 10000"/>
              <a:gd name="connsiteX75" fmla="*/ 5937 w 10000"/>
              <a:gd name="connsiteY75" fmla="*/ 0 h 10000"/>
              <a:gd name="connsiteX76" fmla="*/ 6095 w 10000"/>
              <a:gd name="connsiteY76" fmla="*/ 597 h 10000"/>
              <a:gd name="connsiteX77" fmla="*/ 6095 w 10000"/>
              <a:gd name="connsiteY77" fmla="*/ 896 h 10000"/>
              <a:gd name="connsiteX78" fmla="*/ 6254 w 10000"/>
              <a:gd name="connsiteY78" fmla="*/ 896 h 10000"/>
              <a:gd name="connsiteX79" fmla="*/ 6556 w 10000"/>
              <a:gd name="connsiteY79" fmla="*/ 1164 h 10000"/>
              <a:gd name="connsiteX80" fmla="*/ 6556 w 10000"/>
              <a:gd name="connsiteY80" fmla="*/ 1463 h 10000"/>
              <a:gd name="connsiteX81" fmla="*/ 6873 w 10000"/>
              <a:gd name="connsiteY81" fmla="*/ 1463 h 10000"/>
              <a:gd name="connsiteX82" fmla="*/ 7190 w 10000"/>
              <a:gd name="connsiteY82" fmla="*/ 896 h 10000"/>
              <a:gd name="connsiteX83" fmla="*/ 7492 w 10000"/>
              <a:gd name="connsiteY83" fmla="*/ 597 h 10000"/>
              <a:gd name="connsiteX84" fmla="*/ 7651 w 10000"/>
              <a:gd name="connsiteY84" fmla="*/ 1463 h 10000"/>
              <a:gd name="connsiteX85" fmla="*/ 8286 w 10000"/>
              <a:gd name="connsiteY85" fmla="*/ 3522 h 10000"/>
              <a:gd name="connsiteX86" fmla="*/ 8429 w 10000"/>
              <a:gd name="connsiteY86" fmla="*/ 2925 h 10000"/>
              <a:gd name="connsiteX87" fmla="*/ 8587 w 10000"/>
              <a:gd name="connsiteY87" fmla="*/ 3522 h 10000"/>
              <a:gd name="connsiteX88" fmla="*/ 9063 w 10000"/>
              <a:gd name="connsiteY88" fmla="*/ 3224 h 10000"/>
              <a:gd name="connsiteX89" fmla="*/ 9524 w 10000"/>
              <a:gd name="connsiteY89" fmla="*/ 4119 h 10000"/>
              <a:gd name="connsiteX90" fmla="*/ 9841 w 10000"/>
              <a:gd name="connsiteY90" fmla="*/ 4418 h 10000"/>
              <a:gd name="connsiteX91" fmla="*/ 9841 w 10000"/>
              <a:gd name="connsiteY91" fmla="*/ 4119 h 10000"/>
              <a:gd name="connsiteX92" fmla="*/ 10000 w 10000"/>
              <a:gd name="connsiteY92" fmla="*/ 4716 h 10000"/>
              <a:gd name="connsiteX93" fmla="*/ 9841 w 10000"/>
              <a:gd name="connsiteY93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286 w 10000"/>
              <a:gd name="connsiteY69" fmla="*/ 2657 h 10000"/>
              <a:gd name="connsiteX70" fmla="*/ 3587 w 10000"/>
              <a:gd name="connsiteY70" fmla="*/ 2358 h 10000"/>
              <a:gd name="connsiteX71" fmla="*/ 3429 w 10000"/>
              <a:gd name="connsiteY71" fmla="*/ 2060 h 10000"/>
              <a:gd name="connsiteX72" fmla="*/ 3587 w 10000"/>
              <a:gd name="connsiteY72" fmla="*/ 1761 h 10000"/>
              <a:gd name="connsiteX73" fmla="*/ 3905 w 10000"/>
              <a:gd name="connsiteY73" fmla="*/ 1164 h 10000"/>
              <a:gd name="connsiteX74" fmla="*/ 5937 w 10000"/>
              <a:gd name="connsiteY74" fmla="*/ 0 h 10000"/>
              <a:gd name="connsiteX75" fmla="*/ 6095 w 10000"/>
              <a:gd name="connsiteY75" fmla="*/ 597 h 10000"/>
              <a:gd name="connsiteX76" fmla="*/ 6095 w 10000"/>
              <a:gd name="connsiteY76" fmla="*/ 896 h 10000"/>
              <a:gd name="connsiteX77" fmla="*/ 6254 w 10000"/>
              <a:gd name="connsiteY77" fmla="*/ 896 h 10000"/>
              <a:gd name="connsiteX78" fmla="*/ 6556 w 10000"/>
              <a:gd name="connsiteY78" fmla="*/ 1164 h 10000"/>
              <a:gd name="connsiteX79" fmla="*/ 6556 w 10000"/>
              <a:gd name="connsiteY79" fmla="*/ 1463 h 10000"/>
              <a:gd name="connsiteX80" fmla="*/ 6873 w 10000"/>
              <a:gd name="connsiteY80" fmla="*/ 1463 h 10000"/>
              <a:gd name="connsiteX81" fmla="*/ 7190 w 10000"/>
              <a:gd name="connsiteY81" fmla="*/ 896 h 10000"/>
              <a:gd name="connsiteX82" fmla="*/ 7492 w 10000"/>
              <a:gd name="connsiteY82" fmla="*/ 597 h 10000"/>
              <a:gd name="connsiteX83" fmla="*/ 7651 w 10000"/>
              <a:gd name="connsiteY83" fmla="*/ 1463 h 10000"/>
              <a:gd name="connsiteX84" fmla="*/ 8286 w 10000"/>
              <a:gd name="connsiteY84" fmla="*/ 3522 h 10000"/>
              <a:gd name="connsiteX85" fmla="*/ 8429 w 10000"/>
              <a:gd name="connsiteY85" fmla="*/ 2925 h 10000"/>
              <a:gd name="connsiteX86" fmla="*/ 8587 w 10000"/>
              <a:gd name="connsiteY86" fmla="*/ 3522 h 10000"/>
              <a:gd name="connsiteX87" fmla="*/ 9063 w 10000"/>
              <a:gd name="connsiteY87" fmla="*/ 3224 h 10000"/>
              <a:gd name="connsiteX88" fmla="*/ 9524 w 10000"/>
              <a:gd name="connsiteY88" fmla="*/ 4119 h 10000"/>
              <a:gd name="connsiteX89" fmla="*/ 9841 w 10000"/>
              <a:gd name="connsiteY89" fmla="*/ 4418 h 10000"/>
              <a:gd name="connsiteX90" fmla="*/ 9841 w 10000"/>
              <a:gd name="connsiteY90" fmla="*/ 4119 h 10000"/>
              <a:gd name="connsiteX91" fmla="*/ 10000 w 10000"/>
              <a:gd name="connsiteY91" fmla="*/ 4716 h 10000"/>
              <a:gd name="connsiteX92" fmla="*/ 9841 w 10000"/>
              <a:gd name="connsiteY92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286 w 10000"/>
              <a:gd name="connsiteY69" fmla="*/ 2657 h 10000"/>
              <a:gd name="connsiteX70" fmla="*/ 3587 w 10000"/>
              <a:gd name="connsiteY70" fmla="*/ 2358 h 10000"/>
              <a:gd name="connsiteX71" fmla="*/ 3429 w 10000"/>
              <a:gd name="connsiteY71" fmla="*/ 2060 h 10000"/>
              <a:gd name="connsiteX72" fmla="*/ 3587 w 10000"/>
              <a:gd name="connsiteY72" fmla="*/ 1761 h 10000"/>
              <a:gd name="connsiteX73" fmla="*/ 5937 w 10000"/>
              <a:gd name="connsiteY73" fmla="*/ 0 h 10000"/>
              <a:gd name="connsiteX74" fmla="*/ 6095 w 10000"/>
              <a:gd name="connsiteY74" fmla="*/ 597 h 10000"/>
              <a:gd name="connsiteX75" fmla="*/ 6095 w 10000"/>
              <a:gd name="connsiteY75" fmla="*/ 896 h 10000"/>
              <a:gd name="connsiteX76" fmla="*/ 6254 w 10000"/>
              <a:gd name="connsiteY76" fmla="*/ 896 h 10000"/>
              <a:gd name="connsiteX77" fmla="*/ 6556 w 10000"/>
              <a:gd name="connsiteY77" fmla="*/ 1164 h 10000"/>
              <a:gd name="connsiteX78" fmla="*/ 6556 w 10000"/>
              <a:gd name="connsiteY78" fmla="*/ 1463 h 10000"/>
              <a:gd name="connsiteX79" fmla="*/ 6873 w 10000"/>
              <a:gd name="connsiteY79" fmla="*/ 1463 h 10000"/>
              <a:gd name="connsiteX80" fmla="*/ 7190 w 10000"/>
              <a:gd name="connsiteY80" fmla="*/ 896 h 10000"/>
              <a:gd name="connsiteX81" fmla="*/ 7492 w 10000"/>
              <a:gd name="connsiteY81" fmla="*/ 597 h 10000"/>
              <a:gd name="connsiteX82" fmla="*/ 7651 w 10000"/>
              <a:gd name="connsiteY82" fmla="*/ 1463 h 10000"/>
              <a:gd name="connsiteX83" fmla="*/ 8286 w 10000"/>
              <a:gd name="connsiteY83" fmla="*/ 3522 h 10000"/>
              <a:gd name="connsiteX84" fmla="*/ 8429 w 10000"/>
              <a:gd name="connsiteY84" fmla="*/ 2925 h 10000"/>
              <a:gd name="connsiteX85" fmla="*/ 8587 w 10000"/>
              <a:gd name="connsiteY85" fmla="*/ 3522 h 10000"/>
              <a:gd name="connsiteX86" fmla="*/ 9063 w 10000"/>
              <a:gd name="connsiteY86" fmla="*/ 3224 h 10000"/>
              <a:gd name="connsiteX87" fmla="*/ 9524 w 10000"/>
              <a:gd name="connsiteY87" fmla="*/ 4119 h 10000"/>
              <a:gd name="connsiteX88" fmla="*/ 9841 w 10000"/>
              <a:gd name="connsiteY88" fmla="*/ 4418 h 10000"/>
              <a:gd name="connsiteX89" fmla="*/ 9841 w 10000"/>
              <a:gd name="connsiteY89" fmla="*/ 4119 h 10000"/>
              <a:gd name="connsiteX90" fmla="*/ 10000 w 10000"/>
              <a:gd name="connsiteY90" fmla="*/ 4716 h 10000"/>
              <a:gd name="connsiteX91" fmla="*/ 9841 w 10000"/>
              <a:gd name="connsiteY91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286 w 10000"/>
              <a:gd name="connsiteY69" fmla="*/ 2657 h 10000"/>
              <a:gd name="connsiteX70" fmla="*/ 3587 w 10000"/>
              <a:gd name="connsiteY70" fmla="*/ 2358 h 10000"/>
              <a:gd name="connsiteX71" fmla="*/ 3429 w 10000"/>
              <a:gd name="connsiteY71" fmla="*/ 2060 h 10000"/>
              <a:gd name="connsiteX72" fmla="*/ 5937 w 10000"/>
              <a:gd name="connsiteY72" fmla="*/ 0 h 10000"/>
              <a:gd name="connsiteX73" fmla="*/ 6095 w 10000"/>
              <a:gd name="connsiteY73" fmla="*/ 597 h 10000"/>
              <a:gd name="connsiteX74" fmla="*/ 6095 w 10000"/>
              <a:gd name="connsiteY74" fmla="*/ 896 h 10000"/>
              <a:gd name="connsiteX75" fmla="*/ 6254 w 10000"/>
              <a:gd name="connsiteY75" fmla="*/ 896 h 10000"/>
              <a:gd name="connsiteX76" fmla="*/ 6556 w 10000"/>
              <a:gd name="connsiteY76" fmla="*/ 1164 h 10000"/>
              <a:gd name="connsiteX77" fmla="*/ 6556 w 10000"/>
              <a:gd name="connsiteY77" fmla="*/ 1463 h 10000"/>
              <a:gd name="connsiteX78" fmla="*/ 6873 w 10000"/>
              <a:gd name="connsiteY78" fmla="*/ 1463 h 10000"/>
              <a:gd name="connsiteX79" fmla="*/ 7190 w 10000"/>
              <a:gd name="connsiteY79" fmla="*/ 896 h 10000"/>
              <a:gd name="connsiteX80" fmla="*/ 7492 w 10000"/>
              <a:gd name="connsiteY80" fmla="*/ 597 h 10000"/>
              <a:gd name="connsiteX81" fmla="*/ 7651 w 10000"/>
              <a:gd name="connsiteY81" fmla="*/ 1463 h 10000"/>
              <a:gd name="connsiteX82" fmla="*/ 8286 w 10000"/>
              <a:gd name="connsiteY82" fmla="*/ 3522 h 10000"/>
              <a:gd name="connsiteX83" fmla="*/ 8429 w 10000"/>
              <a:gd name="connsiteY83" fmla="*/ 2925 h 10000"/>
              <a:gd name="connsiteX84" fmla="*/ 8587 w 10000"/>
              <a:gd name="connsiteY84" fmla="*/ 3522 h 10000"/>
              <a:gd name="connsiteX85" fmla="*/ 9063 w 10000"/>
              <a:gd name="connsiteY85" fmla="*/ 3224 h 10000"/>
              <a:gd name="connsiteX86" fmla="*/ 9524 w 10000"/>
              <a:gd name="connsiteY86" fmla="*/ 4119 h 10000"/>
              <a:gd name="connsiteX87" fmla="*/ 9841 w 10000"/>
              <a:gd name="connsiteY87" fmla="*/ 4418 h 10000"/>
              <a:gd name="connsiteX88" fmla="*/ 9841 w 10000"/>
              <a:gd name="connsiteY88" fmla="*/ 4119 h 10000"/>
              <a:gd name="connsiteX89" fmla="*/ 10000 w 10000"/>
              <a:gd name="connsiteY89" fmla="*/ 4716 h 10000"/>
              <a:gd name="connsiteX90" fmla="*/ 9841 w 10000"/>
              <a:gd name="connsiteY90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286 w 10000"/>
              <a:gd name="connsiteY69" fmla="*/ 2657 h 10000"/>
              <a:gd name="connsiteX70" fmla="*/ 3587 w 10000"/>
              <a:gd name="connsiteY70" fmla="*/ 2358 h 10000"/>
              <a:gd name="connsiteX71" fmla="*/ 5937 w 10000"/>
              <a:gd name="connsiteY71" fmla="*/ 0 h 10000"/>
              <a:gd name="connsiteX72" fmla="*/ 6095 w 10000"/>
              <a:gd name="connsiteY72" fmla="*/ 597 h 10000"/>
              <a:gd name="connsiteX73" fmla="*/ 6095 w 10000"/>
              <a:gd name="connsiteY73" fmla="*/ 896 h 10000"/>
              <a:gd name="connsiteX74" fmla="*/ 6254 w 10000"/>
              <a:gd name="connsiteY74" fmla="*/ 896 h 10000"/>
              <a:gd name="connsiteX75" fmla="*/ 6556 w 10000"/>
              <a:gd name="connsiteY75" fmla="*/ 1164 h 10000"/>
              <a:gd name="connsiteX76" fmla="*/ 6556 w 10000"/>
              <a:gd name="connsiteY76" fmla="*/ 1463 h 10000"/>
              <a:gd name="connsiteX77" fmla="*/ 6873 w 10000"/>
              <a:gd name="connsiteY77" fmla="*/ 1463 h 10000"/>
              <a:gd name="connsiteX78" fmla="*/ 7190 w 10000"/>
              <a:gd name="connsiteY78" fmla="*/ 896 h 10000"/>
              <a:gd name="connsiteX79" fmla="*/ 7492 w 10000"/>
              <a:gd name="connsiteY79" fmla="*/ 597 h 10000"/>
              <a:gd name="connsiteX80" fmla="*/ 7651 w 10000"/>
              <a:gd name="connsiteY80" fmla="*/ 1463 h 10000"/>
              <a:gd name="connsiteX81" fmla="*/ 8286 w 10000"/>
              <a:gd name="connsiteY81" fmla="*/ 3522 h 10000"/>
              <a:gd name="connsiteX82" fmla="*/ 8429 w 10000"/>
              <a:gd name="connsiteY82" fmla="*/ 2925 h 10000"/>
              <a:gd name="connsiteX83" fmla="*/ 8587 w 10000"/>
              <a:gd name="connsiteY83" fmla="*/ 3522 h 10000"/>
              <a:gd name="connsiteX84" fmla="*/ 9063 w 10000"/>
              <a:gd name="connsiteY84" fmla="*/ 3224 h 10000"/>
              <a:gd name="connsiteX85" fmla="*/ 9524 w 10000"/>
              <a:gd name="connsiteY85" fmla="*/ 4119 h 10000"/>
              <a:gd name="connsiteX86" fmla="*/ 9841 w 10000"/>
              <a:gd name="connsiteY86" fmla="*/ 4418 h 10000"/>
              <a:gd name="connsiteX87" fmla="*/ 9841 w 10000"/>
              <a:gd name="connsiteY87" fmla="*/ 4119 h 10000"/>
              <a:gd name="connsiteX88" fmla="*/ 10000 w 10000"/>
              <a:gd name="connsiteY88" fmla="*/ 4716 h 10000"/>
              <a:gd name="connsiteX89" fmla="*/ 9841 w 10000"/>
              <a:gd name="connsiteY89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3587 w 10000"/>
              <a:gd name="connsiteY69" fmla="*/ 2358 h 10000"/>
              <a:gd name="connsiteX70" fmla="*/ 5937 w 10000"/>
              <a:gd name="connsiteY70" fmla="*/ 0 h 10000"/>
              <a:gd name="connsiteX71" fmla="*/ 6095 w 10000"/>
              <a:gd name="connsiteY71" fmla="*/ 597 h 10000"/>
              <a:gd name="connsiteX72" fmla="*/ 6095 w 10000"/>
              <a:gd name="connsiteY72" fmla="*/ 896 h 10000"/>
              <a:gd name="connsiteX73" fmla="*/ 6254 w 10000"/>
              <a:gd name="connsiteY73" fmla="*/ 896 h 10000"/>
              <a:gd name="connsiteX74" fmla="*/ 6556 w 10000"/>
              <a:gd name="connsiteY74" fmla="*/ 1164 h 10000"/>
              <a:gd name="connsiteX75" fmla="*/ 6556 w 10000"/>
              <a:gd name="connsiteY75" fmla="*/ 1463 h 10000"/>
              <a:gd name="connsiteX76" fmla="*/ 6873 w 10000"/>
              <a:gd name="connsiteY76" fmla="*/ 1463 h 10000"/>
              <a:gd name="connsiteX77" fmla="*/ 7190 w 10000"/>
              <a:gd name="connsiteY77" fmla="*/ 896 h 10000"/>
              <a:gd name="connsiteX78" fmla="*/ 7492 w 10000"/>
              <a:gd name="connsiteY78" fmla="*/ 597 h 10000"/>
              <a:gd name="connsiteX79" fmla="*/ 7651 w 10000"/>
              <a:gd name="connsiteY79" fmla="*/ 1463 h 10000"/>
              <a:gd name="connsiteX80" fmla="*/ 8286 w 10000"/>
              <a:gd name="connsiteY80" fmla="*/ 3522 h 10000"/>
              <a:gd name="connsiteX81" fmla="*/ 8429 w 10000"/>
              <a:gd name="connsiteY81" fmla="*/ 2925 h 10000"/>
              <a:gd name="connsiteX82" fmla="*/ 8587 w 10000"/>
              <a:gd name="connsiteY82" fmla="*/ 3522 h 10000"/>
              <a:gd name="connsiteX83" fmla="*/ 9063 w 10000"/>
              <a:gd name="connsiteY83" fmla="*/ 3224 h 10000"/>
              <a:gd name="connsiteX84" fmla="*/ 9524 w 10000"/>
              <a:gd name="connsiteY84" fmla="*/ 4119 h 10000"/>
              <a:gd name="connsiteX85" fmla="*/ 9841 w 10000"/>
              <a:gd name="connsiteY85" fmla="*/ 4418 h 10000"/>
              <a:gd name="connsiteX86" fmla="*/ 9841 w 10000"/>
              <a:gd name="connsiteY86" fmla="*/ 4119 h 10000"/>
              <a:gd name="connsiteX87" fmla="*/ 10000 w 10000"/>
              <a:gd name="connsiteY87" fmla="*/ 4716 h 10000"/>
              <a:gd name="connsiteX88" fmla="*/ 9841 w 10000"/>
              <a:gd name="connsiteY88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3746 w 10000"/>
              <a:gd name="connsiteY68" fmla="*/ 2925 h 10000"/>
              <a:gd name="connsiteX69" fmla="*/ 5937 w 10000"/>
              <a:gd name="connsiteY69" fmla="*/ 0 h 10000"/>
              <a:gd name="connsiteX70" fmla="*/ 6095 w 10000"/>
              <a:gd name="connsiteY70" fmla="*/ 597 h 10000"/>
              <a:gd name="connsiteX71" fmla="*/ 6095 w 10000"/>
              <a:gd name="connsiteY71" fmla="*/ 896 h 10000"/>
              <a:gd name="connsiteX72" fmla="*/ 6254 w 10000"/>
              <a:gd name="connsiteY72" fmla="*/ 896 h 10000"/>
              <a:gd name="connsiteX73" fmla="*/ 6556 w 10000"/>
              <a:gd name="connsiteY73" fmla="*/ 1164 h 10000"/>
              <a:gd name="connsiteX74" fmla="*/ 6556 w 10000"/>
              <a:gd name="connsiteY74" fmla="*/ 1463 h 10000"/>
              <a:gd name="connsiteX75" fmla="*/ 6873 w 10000"/>
              <a:gd name="connsiteY75" fmla="*/ 1463 h 10000"/>
              <a:gd name="connsiteX76" fmla="*/ 7190 w 10000"/>
              <a:gd name="connsiteY76" fmla="*/ 896 h 10000"/>
              <a:gd name="connsiteX77" fmla="*/ 7492 w 10000"/>
              <a:gd name="connsiteY77" fmla="*/ 597 h 10000"/>
              <a:gd name="connsiteX78" fmla="*/ 7651 w 10000"/>
              <a:gd name="connsiteY78" fmla="*/ 1463 h 10000"/>
              <a:gd name="connsiteX79" fmla="*/ 8286 w 10000"/>
              <a:gd name="connsiteY79" fmla="*/ 3522 h 10000"/>
              <a:gd name="connsiteX80" fmla="*/ 8429 w 10000"/>
              <a:gd name="connsiteY80" fmla="*/ 2925 h 10000"/>
              <a:gd name="connsiteX81" fmla="*/ 8587 w 10000"/>
              <a:gd name="connsiteY81" fmla="*/ 3522 h 10000"/>
              <a:gd name="connsiteX82" fmla="*/ 9063 w 10000"/>
              <a:gd name="connsiteY82" fmla="*/ 3224 h 10000"/>
              <a:gd name="connsiteX83" fmla="*/ 9524 w 10000"/>
              <a:gd name="connsiteY83" fmla="*/ 4119 h 10000"/>
              <a:gd name="connsiteX84" fmla="*/ 9841 w 10000"/>
              <a:gd name="connsiteY84" fmla="*/ 4418 h 10000"/>
              <a:gd name="connsiteX85" fmla="*/ 9841 w 10000"/>
              <a:gd name="connsiteY85" fmla="*/ 4119 h 10000"/>
              <a:gd name="connsiteX86" fmla="*/ 10000 w 10000"/>
              <a:gd name="connsiteY86" fmla="*/ 4716 h 10000"/>
              <a:gd name="connsiteX87" fmla="*/ 9841 w 10000"/>
              <a:gd name="connsiteY87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3587 w 10000"/>
              <a:gd name="connsiteY67" fmla="*/ 3522 h 10000"/>
              <a:gd name="connsiteX68" fmla="*/ 5937 w 10000"/>
              <a:gd name="connsiteY68" fmla="*/ 0 h 10000"/>
              <a:gd name="connsiteX69" fmla="*/ 6095 w 10000"/>
              <a:gd name="connsiteY69" fmla="*/ 597 h 10000"/>
              <a:gd name="connsiteX70" fmla="*/ 6095 w 10000"/>
              <a:gd name="connsiteY70" fmla="*/ 896 h 10000"/>
              <a:gd name="connsiteX71" fmla="*/ 6254 w 10000"/>
              <a:gd name="connsiteY71" fmla="*/ 896 h 10000"/>
              <a:gd name="connsiteX72" fmla="*/ 6556 w 10000"/>
              <a:gd name="connsiteY72" fmla="*/ 1164 h 10000"/>
              <a:gd name="connsiteX73" fmla="*/ 6556 w 10000"/>
              <a:gd name="connsiteY73" fmla="*/ 1463 h 10000"/>
              <a:gd name="connsiteX74" fmla="*/ 6873 w 10000"/>
              <a:gd name="connsiteY74" fmla="*/ 1463 h 10000"/>
              <a:gd name="connsiteX75" fmla="*/ 7190 w 10000"/>
              <a:gd name="connsiteY75" fmla="*/ 896 h 10000"/>
              <a:gd name="connsiteX76" fmla="*/ 7492 w 10000"/>
              <a:gd name="connsiteY76" fmla="*/ 597 h 10000"/>
              <a:gd name="connsiteX77" fmla="*/ 7651 w 10000"/>
              <a:gd name="connsiteY77" fmla="*/ 1463 h 10000"/>
              <a:gd name="connsiteX78" fmla="*/ 8286 w 10000"/>
              <a:gd name="connsiteY78" fmla="*/ 3522 h 10000"/>
              <a:gd name="connsiteX79" fmla="*/ 8429 w 10000"/>
              <a:gd name="connsiteY79" fmla="*/ 2925 h 10000"/>
              <a:gd name="connsiteX80" fmla="*/ 8587 w 10000"/>
              <a:gd name="connsiteY80" fmla="*/ 3522 h 10000"/>
              <a:gd name="connsiteX81" fmla="*/ 9063 w 10000"/>
              <a:gd name="connsiteY81" fmla="*/ 3224 h 10000"/>
              <a:gd name="connsiteX82" fmla="*/ 9524 w 10000"/>
              <a:gd name="connsiteY82" fmla="*/ 4119 h 10000"/>
              <a:gd name="connsiteX83" fmla="*/ 9841 w 10000"/>
              <a:gd name="connsiteY83" fmla="*/ 4418 h 10000"/>
              <a:gd name="connsiteX84" fmla="*/ 9841 w 10000"/>
              <a:gd name="connsiteY84" fmla="*/ 4119 h 10000"/>
              <a:gd name="connsiteX85" fmla="*/ 10000 w 10000"/>
              <a:gd name="connsiteY85" fmla="*/ 4716 h 10000"/>
              <a:gd name="connsiteX86" fmla="*/ 9841 w 10000"/>
              <a:gd name="connsiteY86" fmla="*/ 4985 h 10000"/>
              <a:gd name="connsiteX0" fmla="*/ 9841 w 10000"/>
              <a:gd name="connsiteY0" fmla="*/ 4985 h 10000"/>
              <a:gd name="connsiteX1" fmla="*/ 9683 w 10000"/>
              <a:gd name="connsiteY1" fmla="*/ 5284 h 10000"/>
              <a:gd name="connsiteX2" fmla="*/ 9524 w 10000"/>
              <a:gd name="connsiteY2" fmla="*/ 6179 h 10000"/>
              <a:gd name="connsiteX3" fmla="*/ 9365 w 10000"/>
              <a:gd name="connsiteY3" fmla="*/ 6179 h 10000"/>
              <a:gd name="connsiteX4" fmla="*/ 8905 w 10000"/>
              <a:gd name="connsiteY4" fmla="*/ 6179 h 10000"/>
              <a:gd name="connsiteX5" fmla="*/ 8746 w 10000"/>
              <a:gd name="connsiteY5" fmla="*/ 7343 h 10000"/>
              <a:gd name="connsiteX6" fmla="*/ 8286 w 10000"/>
              <a:gd name="connsiteY6" fmla="*/ 7343 h 10000"/>
              <a:gd name="connsiteX7" fmla="*/ 8286 w 10000"/>
              <a:gd name="connsiteY7" fmla="*/ 7642 h 10000"/>
              <a:gd name="connsiteX8" fmla="*/ 8429 w 10000"/>
              <a:gd name="connsiteY8" fmla="*/ 8806 h 10000"/>
              <a:gd name="connsiteX9" fmla="*/ 8286 w 10000"/>
              <a:gd name="connsiteY9" fmla="*/ 9104 h 10000"/>
              <a:gd name="connsiteX10" fmla="*/ 7968 w 10000"/>
              <a:gd name="connsiteY10" fmla="*/ 8806 h 10000"/>
              <a:gd name="connsiteX11" fmla="*/ 7032 w 10000"/>
              <a:gd name="connsiteY11" fmla="*/ 8806 h 10000"/>
              <a:gd name="connsiteX12" fmla="*/ 6714 w 10000"/>
              <a:gd name="connsiteY12" fmla="*/ 8537 h 10000"/>
              <a:gd name="connsiteX13" fmla="*/ 6556 w 10000"/>
              <a:gd name="connsiteY13" fmla="*/ 8806 h 10000"/>
              <a:gd name="connsiteX14" fmla="*/ 6556 w 10000"/>
              <a:gd name="connsiteY14" fmla="*/ 9104 h 10000"/>
              <a:gd name="connsiteX15" fmla="*/ 6095 w 10000"/>
              <a:gd name="connsiteY15" fmla="*/ 8806 h 10000"/>
              <a:gd name="connsiteX16" fmla="*/ 5937 w 10000"/>
              <a:gd name="connsiteY16" fmla="*/ 9104 h 10000"/>
              <a:gd name="connsiteX17" fmla="*/ 5460 w 10000"/>
              <a:gd name="connsiteY17" fmla="*/ 10000 h 10000"/>
              <a:gd name="connsiteX18" fmla="*/ 5317 w 10000"/>
              <a:gd name="connsiteY18" fmla="*/ 9701 h 10000"/>
              <a:gd name="connsiteX19" fmla="*/ 5000 w 10000"/>
              <a:gd name="connsiteY19" fmla="*/ 9701 h 10000"/>
              <a:gd name="connsiteX20" fmla="*/ 5000 w 10000"/>
              <a:gd name="connsiteY20" fmla="*/ 9403 h 10000"/>
              <a:gd name="connsiteX21" fmla="*/ 4841 w 10000"/>
              <a:gd name="connsiteY21" fmla="*/ 9403 h 10000"/>
              <a:gd name="connsiteX22" fmla="*/ 4841 w 10000"/>
              <a:gd name="connsiteY22" fmla="*/ 8806 h 10000"/>
              <a:gd name="connsiteX23" fmla="*/ 4524 w 10000"/>
              <a:gd name="connsiteY23" fmla="*/ 8239 h 10000"/>
              <a:gd name="connsiteX24" fmla="*/ 3762 w 10000"/>
              <a:gd name="connsiteY24" fmla="*/ 8209 h 10000"/>
              <a:gd name="connsiteX25" fmla="*/ 3540 w 10000"/>
              <a:gd name="connsiteY25" fmla="*/ 7701 h 10000"/>
              <a:gd name="connsiteX26" fmla="*/ 3730 w 10000"/>
              <a:gd name="connsiteY26" fmla="*/ 7612 h 10000"/>
              <a:gd name="connsiteX27" fmla="*/ 3587 w 10000"/>
              <a:gd name="connsiteY27" fmla="*/ 6896 h 10000"/>
              <a:gd name="connsiteX28" fmla="*/ 3762 w 10000"/>
              <a:gd name="connsiteY28" fmla="*/ 6418 h 10000"/>
              <a:gd name="connsiteX29" fmla="*/ 3302 w 10000"/>
              <a:gd name="connsiteY29" fmla="*/ 6448 h 10000"/>
              <a:gd name="connsiteX30" fmla="*/ 3333 w 10000"/>
              <a:gd name="connsiteY30" fmla="*/ 6776 h 10000"/>
              <a:gd name="connsiteX31" fmla="*/ 3159 w 10000"/>
              <a:gd name="connsiteY31" fmla="*/ 7075 h 10000"/>
              <a:gd name="connsiteX32" fmla="*/ 2952 w 10000"/>
              <a:gd name="connsiteY32" fmla="*/ 7045 h 10000"/>
              <a:gd name="connsiteX33" fmla="*/ 2349 w 10000"/>
              <a:gd name="connsiteY33" fmla="*/ 7343 h 10000"/>
              <a:gd name="connsiteX34" fmla="*/ 2349 w 10000"/>
              <a:gd name="connsiteY34" fmla="*/ 9701 h 10000"/>
              <a:gd name="connsiteX35" fmla="*/ 2190 w 10000"/>
              <a:gd name="connsiteY35" fmla="*/ 9701 h 10000"/>
              <a:gd name="connsiteX36" fmla="*/ 1873 w 10000"/>
              <a:gd name="connsiteY36" fmla="*/ 9104 h 10000"/>
              <a:gd name="connsiteX37" fmla="*/ 1413 w 10000"/>
              <a:gd name="connsiteY37" fmla="*/ 9403 h 10000"/>
              <a:gd name="connsiteX38" fmla="*/ 1413 w 10000"/>
              <a:gd name="connsiteY38" fmla="*/ 8806 h 10000"/>
              <a:gd name="connsiteX39" fmla="*/ 1254 w 10000"/>
              <a:gd name="connsiteY39" fmla="*/ 8806 h 10000"/>
              <a:gd name="connsiteX40" fmla="*/ 1095 w 10000"/>
              <a:gd name="connsiteY40" fmla="*/ 7940 h 10000"/>
              <a:gd name="connsiteX41" fmla="*/ 937 w 10000"/>
              <a:gd name="connsiteY41" fmla="*/ 7940 h 10000"/>
              <a:gd name="connsiteX42" fmla="*/ 1254 w 10000"/>
              <a:gd name="connsiteY42" fmla="*/ 7940 h 10000"/>
              <a:gd name="connsiteX43" fmla="*/ 1095 w 10000"/>
              <a:gd name="connsiteY43" fmla="*/ 7642 h 10000"/>
              <a:gd name="connsiteX44" fmla="*/ 1254 w 10000"/>
              <a:gd name="connsiteY44" fmla="*/ 7343 h 10000"/>
              <a:gd name="connsiteX45" fmla="*/ 1873 w 10000"/>
              <a:gd name="connsiteY45" fmla="*/ 7343 h 10000"/>
              <a:gd name="connsiteX46" fmla="*/ 1714 w 10000"/>
              <a:gd name="connsiteY46" fmla="*/ 6478 h 10000"/>
              <a:gd name="connsiteX47" fmla="*/ 1413 w 10000"/>
              <a:gd name="connsiteY47" fmla="*/ 6179 h 10000"/>
              <a:gd name="connsiteX48" fmla="*/ 1095 w 10000"/>
              <a:gd name="connsiteY48" fmla="*/ 5881 h 10000"/>
              <a:gd name="connsiteX49" fmla="*/ 619 w 10000"/>
              <a:gd name="connsiteY49" fmla="*/ 6478 h 10000"/>
              <a:gd name="connsiteX50" fmla="*/ 476 w 10000"/>
              <a:gd name="connsiteY50" fmla="*/ 6478 h 10000"/>
              <a:gd name="connsiteX51" fmla="*/ 619 w 10000"/>
              <a:gd name="connsiteY51" fmla="*/ 6179 h 10000"/>
              <a:gd name="connsiteX52" fmla="*/ 476 w 10000"/>
              <a:gd name="connsiteY52" fmla="*/ 5582 h 10000"/>
              <a:gd name="connsiteX53" fmla="*/ 159 w 10000"/>
              <a:gd name="connsiteY53" fmla="*/ 5582 h 10000"/>
              <a:gd name="connsiteX54" fmla="*/ 0 w 10000"/>
              <a:gd name="connsiteY54" fmla="*/ 4985 h 10000"/>
              <a:gd name="connsiteX55" fmla="*/ 159 w 10000"/>
              <a:gd name="connsiteY55" fmla="*/ 3522 h 10000"/>
              <a:gd name="connsiteX56" fmla="*/ 476 w 10000"/>
              <a:gd name="connsiteY56" fmla="*/ 4119 h 10000"/>
              <a:gd name="connsiteX57" fmla="*/ 619 w 10000"/>
              <a:gd name="connsiteY57" fmla="*/ 4119 h 10000"/>
              <a:gd name="connsiteX58" fmla="*/ 476 w 10000"/>
              <a:gd name="connsiteY58" fmla="*/ 3522 h 10000"/>
              <a:gd name="connsiteX59" fmla="*/ 937 w 10000"/>
              <a:gd name="connsiteY59" fmla="*/ 2657 h 10000"/>
              <a:gd name="connsiteX60" fmla="*/ 1254 w 10000"/>
              <a:gd name="connsiteY60" fmla="*/ 2925 h 10000"/>
              <a:gd name="connsiteX61" fmla="*/ 1413 w 10000"/>
              <a:gd name="connsiteY61" fmla="*/ 2657 h 10000"/>
              <a:gd name="connsiteX62" fmla="*/ 1714 w 10000"/>
              <a:gd name="connsiteY62" fmla="*/ 2925 h 10000"/>
              <a:gd name="connsiteX63" fmla="*/ 2190 w 10000"/>
              <a:gd name="connsiteY63" fmla="*/ 3522 h 10000"/>
              <a:gd name="connsiteX64" fmla="*/ 2492 w 10000"/>
              <a:gd name="connsiteY64" fmla="*/ 3224 h 10000"/>
              <a:gd name="connsiteX65" fmla="*/ 2810 w 10000"/>
              <a:gd name="connsiteY65" fmla="*/ 3224 h 10000"/>
              <a:gd name="connsiteX66" fmla="*/ 2968 w 10000"/>
              <a:gd name="connsiteY66" fmla="*/ 3522 h 10000"/>
              <a:gd name="connsiteX67" fmla="*/ 5937 w 10000"/>
              <a:gd name="connsiteY67" fmla="*/ 0 h 10000"/>
              <a:gd name="connsiteX68" fmla="*/ 6095 w 10000"/>
              <a:gd name="connsiteY68" fmla="*/ 597 h 10000"/>
              <a:gd name="connsiteX69" fmla="*/ 6095 w 10000"/>
              <a:gd name="connsiteY69" fmla="*/ 896 h 10000"/>
              <a:gd name="connsiteX70" fmla="*/ 6254 w 10000"/>
              <a:gd name="connsiteY70" fmla="*/ 896 h 10000"/>
              <a:gd name="connsiteX71" fmla="*/ 6556 w 10000"/>
              <a:gd name="connsiteY71" fmla="*/ 1164 h 10000"/>
              <a:gd name="connsiteX72" fmla="*/ 6556 w 10000"/>
              <a:gd name="connsiteY72" fmla="*/ 1463 h 10000"/>
              <a:gd name="connsiteX73" fmla="*/ 6873 w 10000"/>
              <a:gd name="connsiteY73" fmla="*/ 1463 h 10000"/>
              <a:gd name="connsiteX74" fmla="*/ 7190 w 10000"/>
              <a:gd name="connsiteY74" fmla="*/ 896 h 10000"/>
              <a:gd name="connsiteX75" fmla="*/ 7492 w 10000"/>
              <a:gd name="connsiteY75" fmla="*/ 597 h 10000"/>
              <a:gd name="connsiteX76" fmla="*/ 7651 w 10000"/>
              <a:gd name="connsiteY76" fmla="*/ 1463 h 10000"/>
              <a:gd name="connsiteX77" fmla="*/ 8286 w 10000"/>
              <a:gd name="connsiteY77" fmla="*/ 3522 h 10000"/>
              <a:gd name="connsiteX78" fmla="*/ 8429 w 10000"/>
              <a:gd name="connsiteY78" fmla="*/ 2925 h 10000"/>
              <a:gd name="connsiteX79" fmla="*/ 8587 w 10000"/>
              <a:gd name="connsiteY79" fmla="*/ 3522 h 10000"/>
              <a:gd name="connsiteX80" fmla="*/ 9063 w 10000"/>
              <a:gd name="connsiteY80" fmla="*/ 3224 h 10000"/>
              <a:gd name="connsiteX81" fmla="*/ 9524 w 10000"/>
              <a:gd name="connsiteY81" fmla="*/ 4119 h 10000"/>
              <a:gd name="connsiteX82" fmla="*/ 9841 w 10000"/>
              <a:gd name="connsiteY82" fmla="*/ 4418 h 10000"/>
              <a:gd name="connsiteX83" fmla="*/ 9841 w 10000"/>
              <a:gd name="connsiteY83" fmla="*/ 4119 h 10000"/>
              <a:gd name="connsiteX84" fmla="*/ 10000 w 10000"/>
              <a:gd name="connsiteY84" fmla="*/ 4716 h 10000"/>
              <a:gd name="connsiteX85" fmla="*/ 9841 w 10000"/>
              <a:gd name="connsiteY85" fmla="*/ 4985 h 10000"/>
              <a:gd name="connsiteX0" fmla="*/ 9841 w 10000"/>
              <a:gd name="connsiteY0" fmla="*/ 4388 h 9403"/>
              <a:gd name="connsiteX1" fmla="*/ 9683 w 10000"/>
              <a:gd name="connsiteY1" fmla="*/ 4687 h 9403"/>
              <a:gd name="connsiteX2" fmla="*/ 9524 w 10000"/>
              <a:gd name="connsiteY2" fmla="*/ 5582 h 9403"/>
              <a:gd name="connsiteX3" fmla="*/ 9365 w 10000"/>
              <a:gd name="connsiteY3" fmla="*/ 5582 h 9403"/>
              <a:gd name="connsiteX4" fmla="*/ 8905 w 10000"/>
              <a:gd name="connsiteY4" fmla="*/ 5582 h 9403"/>
              <a:gd name="connsiteX5" fmla="*/ 8746 w 10000"/>
              <a:gd name="connsiteY5" fmla="*/ 6746 h 9403"/>
              <a:gd name="connsiteX6" fmla="*/ 8286 w 10000"/>
              <a:gd name="connsiteY6" fmla="*/ 6746 h 9403"/>
              <a:gd name="connsiteX7" fmla="*/ 8286 w 10000"/>
              <a:gd name="connsiteY7" fmla="*/ 7045 h 9403"/>
              <a:gd name="connsiteX8" fmla="*/ 8429 w 10000"/>
              <a:gd name="connsiteY8" fmla="*/ 8209 h 9403"/>
              <a:gd name="connsiteX9" fmla="*/ 8286 w 10000"/>
              <a:gd name="connsiteY9" fmla="*/ 8507 h 9403"/>
              <a:gd name="connsiteX10" fmla="*/ 7968 w 10000"/>
              <a:gd name="connsiteY10" fmla="*/ 8209 h 9403"/>
              <a:gd name="connsiteX11" fmla="*/ 7032 w 10000"/>
              <a:gd name="connsiteY11" fmla="*/ 8209 h 9403"/>
              <a:gd name="connsiteX12" fmla="*/ 6714 w 10000"/>
              <a:gd name="connsiteY12" fmla="*/ 7940 h 9403"/>
              <a:gd name="connsiteX13" fmla="*/ 6556 w 10000"/>
              <a:gd name="connsiteY13" fmla="*/ 8209 h 9403"/>
              <a:gd name="connsiteX14" fmla="*/ 6556 w 10000"/>
              <a:gd name="connsiteY14" fmla="*/ 8507 h 9403"/>
              <a:gd name="connsiteX15" fmla="*/ 6095 w 10000"/>
              <a:gd name="connsiteY15" fmla="*/ 8209 h 9403"/>
              <a:gd name="connsiteX16" fmla="*/ 5937 w 10000"/>
              <a:gd name="connsiteY16" fmla="*/ 8507 h 9403"/>
              <a:gd name="connsiteX17" fmla="*/ 5460 w 10000"/>
              <a:gd name="connsiteY17" fmla="*/ 9403 h 9403"/>
              <a:gd name="connsiteX18" fmla="*/ 5317 w 10000"/>
              <a:gd name="connsiteY18" fmla="*/ 9104 h 9403"/>
              <a:gd name="connsiteX19" fmla="*/ 5000 w 10000"/>
              <a:gd name="connsiteY19" fmla="*/ 9104 h 9403"/>
              <a:gd name="connsiteX20" fmla="*/ 5000 w 10000"/>
              <a:gd name="connsiteY20" fmla="*/ 8806 h 9403"/>
              <a:gd name="connsiteX21" fmla="*/ 4841 w 10000"/>
              <a:gd name="connsiteY21" fmla="*/ 8806 h 9403"/>
              <a:gd name="connsiteX22" fmla="*/ 4841 w 10000"/>
              <a:gd name="connsiteY22" fmla="*/ 8209 h 9403"/>
              <a:gd name="connsiteX23" fmla="*/ 4524 w 10000"/>
              <a:gd name="connsiteY23" fmla="*/ 7642 h 9403"/>
              <a:gd name="connsiteX24" fmla="*/ 3762 w 10000"/>
              <a:gd name="connsiteY24" fmla="*/ 7612 h 9403"/>
              <a:gd name="connsiteX25" fmla="*/ 3540 w 10000"/>
              <a:gd name="connsiteY25" fmla="*/ 7104 h 9403"/>
              <a:gd name="connsiteX26" fmla="*/ 3730 w 10000"/>
              <a:gd name="connsiteY26" fmla="*/ 7015 h 9403"/>
              <a:gd name="connsiteX27" fmla="*/ 3587 w 10000"/>
              <a:gd name="connsiteY27" fmla="*/ 6299 h 9403"/>
              <a:gd name="connsiteX28" fmla="*/ 3762 w 10000"/>
              <a:gd name="connsiteY28" fmla="*/ 5821 h 9403"/>
              <a:gd name="connsiteX29" fmla="*/ 3302 w 10000"/>
              <a:gd name="connsiteY29" fmla="*/ 5851 h 9403"/>
              <a:gd name="connsiteX30" fmla="*/ 3333 w 10000"/>
              <a:gd name="connsiteY30" fmla="*/ 6179 h 9403"/>
              <a:gd name="connsiteX31" fmla="*/ 3159 w 10000"/>
              <a:gd name="connsiteY31" fmla="*/ 6478 h 9403"/>
              <a:gd name="connsiteX32" fmla="*/ 2952 w 10000"/>
              <a:gd name="connsiteY32" fmla="*/ 6448 h 9403"/>
              <a:gd name="connsiteX33" fmla="*/ 2349 w 10000"/>
              <a:gd name="connsiteY33" fmla="*/ 6746 h 9403"/>
              <a:gd name="connsiteX34" fmla="*/ 2349 w 10000"/>
              <a:gd name="connsiteY34" fmla="*/ 9104 h 9403"/>
              <a:gd name="connsiteX35" fmla="*/ 2190 w 10000"/>
              <a:gd name="connsiteY35" fmla="*/ 9104 h 9403"/>
              <a:gd name="connsiteX36" fmla="*/ 1873 w 10000"/>
              <a:gd name="connsiteY36" fmla="*/ 8507 h 9403"/>
              <a:gd name="connsiteX37" fmla="*/ 1413 w 10000"/>
              <a:gd name="connsiteY37" fmla="*/ 8806 h 9403"/>
              <a:gd name="connsiteX38" fmla="*/ 1413 w 10000"/>
              <a:gd name="connsiteY38" fmla="*/ 8209 h 9403"/>
              <a:gd name="connsiteX39" fmla="*/ 1254 w 10000"/>
              <a:gd name="connsiteY39" fmla="*/ 8209 h 9403"/>
              <a:gd name="connsiteX40" fmla="*/ 1095 w 10000"/>
              <a:gd name="connsiteY40" fmla="*/ 7343 h 9403"/>
              <a:gd name="connsiteX41" fmla="*/ 937 w 10000"/>
              <a:gd name="connsiteY41" fmla="*/ 7343 h 9403"/>
              <a:gd name="connsiteX42" fmla="*/ 1254 w 10000"/>
              <a:gd name="connsiteY42" fmla="*/ 7343 h 9403"/>
              <a:gd name="connsiteX43" fmla="*/ 1095 w 10000"/>
              <a:gd name="connsiteY43" fmla="*/ 7045 h 9403"/>
              <a:gd name="connsiteX44" fmla="*/ 1254 w 10000"/>
              <a:gd name="connsiteY44" fmla="*/ 6746 h 9403"/>
              <a:gd name="connsiteX45" fmla="*/ 1873 w 10000"/>
              <a:gd name="connsiteY45" fmla="*/ 6746 h 9403"/>
              <a:gd name="connsiteX46" fmla="*/ 1714 w 10000"/>
              <a:gd name="connsiteY46" fmla="*/ 5881 h 9403"/>
              <a:gd name="connsiteX47" fmla="*/ 1413 w 10000"/>
              <a:gd name="connsiteY47" fmla="*/ 5582 h 9403"/>
              <a:gd name="connsiteX48" fmla="*/ 1095 w 10000"/>
              <a:gd name="connsiteY48" fmla="*/ 5284 h 9403"/>
              <a:gd name="connsiteX49" fmla="*/ 619 w 10000"/>
              <a:gd name="connsiteY49" fmla="*/ 5881 h 9403"/>
              <a:gd name="connsiteX50" fmla="*/ 476 w 10000"/>
              <a:gd name="connsiteY50" fmla="*/ 5881 h 9403"/>
              <a:gd name="connsiteX51" fmla="*/ 619 w 10000"/>
              <a:gd name="connsiteY51" fmla="*/ 5582 h 9403"/>
              <a:gd name="connsiteX52" fmla="*/ 476 w 10000"/>
              <a:gd name="connsiteY52" fmla="*/ 4985 h 9403"/>
              <a:gd name="connsiteX53" fmla="*/ 159 w 10000"/>
              <a:gd name="connsiteY53" fmla="*/ 4985 h 9403"/>
              <a:gd name="connsiteX54" fmla="*/ 0 w 10000"/>
              <a:gd name="connsiteY54" fmla="*/ 4388 h 9403"/>
              <a:gd name="connsiteX55" fmla="*/ 159 w 10000"/>
              <a:gd name="connsiteY55" fmla="*/ 2925 h 9403"/>
              <a:gd name="connsiteX56" fmla="*/ 476 w 10000"/>
              <a:gd name="connsiteY56" fmla="*/ 3522 h 9403"/>
              <a:gd name="connsiteX57" fmla="*/ 619 w 10000"/>
              <a:gd name="connsiteY57" fmla="*/ 3522 h 9403"/>
              <a:gd name="connsiteX58" fmla="*/ 476 w 10000"/>
              <a:gd name="connsiteY58" fmla="*/ 2925 h 9403"/>
              <a:gd name="connsiteX59" fmla="*/ 937 w 10000"/>
              <a:gd name="connsiteY59" fmla="*/ 2060 h 9403"/>
              <a:gd name="connsiteX60" fmla="*/ 1254 w 10000"/>
              <a:gd name="connsiteY60" fmla="*/ 2328 h 9403"/>
              <a:gd name="connsiteX61" fmla="*/ 1413 w 10000"/>
              <a:gd name="connsiteY61" fmla="*/ 2060 h 9403"/>
              <a:gd name="connsiteX62" fmla="*/ 1714 w 10000"/>
              <a:gd name="connsiteY62" fmla="*/ 2328 h 9403"/>
              <a:gd name="connsiteX63" fmla="*/ 2190 w 10000"/>
              <a:gd name="connsiteY63" fmla="*/ 2925 h 9403"/>
              <a:gd name="connsiteX64" fmla="*/ 2492 w 10000"/>
              <a:gd name="connsiteY64" fmla="*/ 2627 h 9403"/>
              <a:gd name="connsiteX65" fmla="*/ 2810 w 10000"/>
              <a:gd name="connsiteY65" fmla="*/ 2627 h 9403"/>
              <a:gd name="connsiteX66" fmla="*/ 2968 w 10000"/>
              <a:gd name="connsiteY66" fmla="*/ 2925 h 9403"/>
              <a:gd name="connsiteX67" fmla="*/ 6095 w 10000"/>
              <a:gd name="connsiteY67" fmla="*/ 0 h 9403"/>
              <a:gd name="connsiteX68" fmla="*/ 6095 w 10000"/>
              <a:gd name="connsiteY68" fmla="*/ 299 h 9403"/>
              <a:gd name="connsiteX69" fmla="*/ 6254 w 10000"/>
              <a:gd name="connsiteY69" fmla="*/ 299 h 9403"/>
              <a:gd name="connsiteX70" fmla="*/ 6556 w 10000"/>
              <a:gd name="connsiteY70" fmla="*/ 567 h 9403"/>
              <a:gd name="connsiteX71" fmla="*/ 6556 w 10000"/>
              <a:gd name="connsiteY71" fmla="*/ 866 h 9403"/>
              <a:gd name="connsiteX72" fmla="*/ 6873 w 10000"/>
              <a:gd name="connsiteY72" fmla="*/ 866 h 9403"/>
              <a:gd name="connsiteX73" fmla="*/ 7190 w 10000"/>
              <a:gd name="connsiteY73" fmla="*/ 299 h 9403"/>
              <a:gd name="connsiteX74" fmla="*/ 7492 w 10000"/>
              <a:gd name="connsiteY74" fmla="*/ 0 h 9403"/>
              <a:gd name="connsiteX75" fmla="*/ 7651 w 10000"/>
              <a:gd name="connsiteY75" fmla="*/ 866 h 9403"/>
              <a:gd name="connsiteX76" fmla="*/ 8286 w 10000"/>
              <a:gd name="connsiteY76" fmla="*/ 2925 h 9403"/>
              <a:gd name="connsiteX77" fmla="*/ 8429 w 10000"/>
              <a:gd name="connsiteY77" fmla="*/ 2328 h 9403"/>
              <a:gd name="connsiteX78" fmla="*/ 8587 w 10000"/>
              <a:gd name="connsiteY78" fmla="*/ 2925 h 9403"/>
              <a:gd name="connsiteX79" fmla="*/ 9063 w 10000"/>
              <a:gd name="connsiteY79" fmla="*/ 2627 h 9403"/>
              <a:gd name="connsiteX80" fmla="*/ 9524 w 10000"/>
              <a:gd name="connsiteY80" fmla="*/ 3522 h 9403"/>
              <a:gd name="connsiteX81" fmla="*/ 9841 w 10000"/>
              <a:gd name="connsiteY81" fmla="*/ 3821 h 9403"/>
              <a:gd name="connsiteX82" fmla="*/ 9841 w 10000"/>
              <a:gd name="connsiteY82" fmla="*/ 3522 h 9403"/>
              <a:gd name="connsiteX83" fmla="*/ 10000 w 10000"/>
              <a:gd name="connsiteY83" fmla="*/ 4119 h 9403"/>
              <a:gd name="connsiteX84" fmla="*/ 9841 w 10000"/>
              <a:gd name="connsiteY84" fmla="*/ 4388 h 9403"/>
              <a:gd name="connsiteX0" fmla="*/ 9841 w 10000"/>
              <a:gd name="connsiteY0" fmla="*/ 4667 h 10000"/>
              <a:gd name="connsiteX1" fmla="*/ 9683 w 10000"/>
              <a:gd name="connsiteY1" fmla="*/ 4985 h 10000"/>
              <a:gd name="connsiteX2" fmla="*/ 9524 w 10000"/>
              <a:gd name="connsiteY2" fmla="*/ 5936 h 10000"/>
              <a:gd name="connsiteX3" fmla="*/ 9365 w 10000"/>
              <a:gd name="connsiteY3" fmla="*/ 5936 h 10000"/>
              <a:gd name="connsiteX4" fmla="*/ 8905 w 10000"/>
              <a:gd name="connsiteY4" fmla="*/ 5936 h 10000"/>
              <a:gd name="connsiteX5" fmla="*/ 8746 w 10000"/>
              <a:gd name="connsiteY5" fmla="*/ 7174 h 10000"/>
              <a:gd name="connsiteX6" fmla="*/ 8286 w 10000"/>
              <a:gd name="connsiteY6" fmla="*/ 7174 h 10000"/>
              <a:gd name="connsiteX7" fmla="*/ 8286 w 10000"/>
              <a:gd name="connsiteY7" fmla="*/ 7492 h 10000"/>
              <a:gd name="connsiteX8" fmla="*/ 8429 w 10000"/>
              <a:gd name="connsiteY8" fmla="*/ 8730 h 10000"/>
              <a:gd name="connsiteX9" fmla="*/ 8286 w 10000"/>
              <a:gd name="connsiteY9" fmla="*/ 9047 h 10000"/>
              <a:gd name="connsiteX10" fmla="*/ 7968 w 10000"/>
              <a:gd name="connsiteY10" fmla="*/ 8730 h 10000"/>
              <a:gd name="connsiteX11" fmla="*/ 7032 w 10000"/>
              <a:gd name="connsiteY11" fmla="*/ 8730 h 10000"/>
              <a:gd name="connsiteX12" fmla="*/ 6714 w 10000"/>
              <a:gd name="connsiteY12" fmla="*/ 8444 h 10000"/>
              <a:gd name="connsiteX13" fmla="*/ 6556 w 10000"/>
              <a:gd name="connsiteY13" fmla="*/ 8730 h 10000"/>
              <a:gd name="connsiteX14" fmla="*/ 6556 w 10000"/>
              <a:gd name="connsiteY14" fmla="*/ 9047 h 10000"/>
              <a:gd name="connsiteX15" fmla="*/ 6095 w 10000"/>
              <a:gd name="connsiteY15" fmla="*/ 8730 h 10000"/>
              <a:gd name="connsiteX16" fmla="*/ 5937 w 10000"/>
              <a:gd name="connsiteY16" fmla="*/ 9047 h 10000"/>
              <a:gd name="connsiteX17" fmla="*/ 5460 w 10000"/>
              <a:gd name="connsiteY17" fmla="*/ 10000 h 10000"/>
              <a:gd name="connsiteX18" fmla="*/ 5317 w 10000"/>
              <a:gd name="connsiteY18" fmla="*/ 9682 h 10000"/>
              <a:gd name="connsiteX19" fmla="*/ 5000 w 10000"/>
              <a:gd name="connsiteY19" fmla="*/ 9682 h 10000"/>
              <a:gd name="connsiteX20" fmla="*/ 5000 w 10000"/>
              <a:gd name="connsiteY20" fmla="*/ 9365 h 10000"/>
              <a:gd name="connsiteX21" fmla="*/ 4841 w 10000"/>
              <a:gd name="connsiteY21" fmla="*/ 9365 h 10000"/>
              <a:gd name="connsiteX22" fmla="*/ 4841 w 10000"/>
              <a:gd name="connsiteY22" fmla="*/ 8730 h 10000"/>
              <a:gd name="connsiteX23" fmla="*/ 4524 w 10000"/>
              <a:gd name="connsiteY23" fmla="*/ 8127 h 10000"/>
              <a:gd name="connsiteX24" fmla="*/ 3762 w 10000"/>
              <a:gd name="connsiteY24" fmla="*/ 8095 h 10000"/>
              <a:gd name="connsiteX25" fmla="*/ 3540 w 10000"/>
              <a:gd name="connsiteY25" fmla="*/ 7555 h 10000"/>
              <a:gd name="connsiteX26" fmla="*/ 3730 w 10000"/>
              <a:gd name="connsiteY26" fmla="*/ 7460 h 10000"/>
              <a:gd name="connsiteX27" fmla="*/ 3587 w 10000"/>
              <a:gd name="connsiteY27" fmla="*/ 6699 h 10000"/>
              <a:gd name="connsiteX28" fmla="*/ 3762 w 10000"/>
              <a:gd name="connsiteY28" fmla="*/ 6191 h 10000"/>
              <a:gd name="connsiteX29" fmla="*/ 3302 w 10000"/>
              <a:gd name="connsiteY29" fmla="*/ 6222 h 10000"/>
              <a:gd name="connsiteX30" fmla="*/ 3333 w 10000"/>
              <a:gd name="connsiteY30" fmla="*/ 6571 h 10000"/>
              <a:gd name="connsiteX31" fmla="*/ 3159 w 10000"/>
              <a:gd name="connsiteY31" fmla="*/ 6889 h 10000"/>
              <a:gd name="connsiteX32" fmla="*/ 2952 w 10000"/>
              <a:gd name="connsiteY32" fmla="*/ 6857 h 10000"/>
              <a:gd name="connsiteX33" fmla="*/ 2349 w 10000"/>
              <a:gd name="connsiteY33" fmla="*/ 7174 h 10000"/>
              <a:gd name="connsiteX34" fmla="*/ 2349 w 10000"/>
              <a:gd name="connsiteY34" fmla="*/ 9682 h 10000"/>
              <a:gd name="connsiteX35" fmla="*/ 2190 w 10000"/>
              <a:gd name="connsiteY35" fmla="*/ 9682 h 10000"/>
              <a:gd name="connsiteX36" fmla="*/ 1873 w 10000"/>
              <a:gd name="connsiteY36" fmla="*/ 9047 h 10000"/>
              <a:gd name="connsiteX37" fmla="*/ 1413 w 10000"/>
              <a:gd name="connsiteY37" fmla="*/ 9365 h 10000"/>
              <a:gd name="connsiteX38" fmla="*/ 1413 w 10000"/>
              <a:gd name="connsiteY38" fmla="*/ 8730 h 10000"/>
              <a:gd name="connsiteX39" fmla="*/ 1254 w 10000"/>
              <a:gd name="connsiteY39" fmla="*/ 8730 h 10000"/>
              <a:gd name="connsiteX40" fmla="*/ 1095 w 10000"/>
              <a:gd name="connsiteY40" fmla="*/ 7809 h 10000"/>
              <a:gd name="connsiteX41" fmla="*/ 937 w 10000"/>
              <a:gd name="connsiteY41" fmla="*/ 7809 h 10000"/>
              <a:gd name="connsiteX42" fmla="*/ 1254 w 10000"/>
              <a:gd name="connsiteY42" fmla="*/ 7809 h 10000"/>
              <a:gd name="connsiteX43" fmla="*/ 1095 w 10000"/>
              <a:gd name="connsiteY43" fmla="*/ 7492 h 10000"/>
              <a:gd name="connsiteX44" fmla="*/ 1254 w 10000"/>
              <a:gd name="connsiteY44" fmla="*/ 7174 h 10000"/>
              <a:gd name="connsiteX45" fmla="*/ 1873 w 10000"/>
              <a:gd name="connsiteY45" fmla="*/ 7174 h 10000"/>
              <a:gd name="connsiteX46" fmla="*/ 1714 w 10000"/>
              <a:gd name="connsiteY46" fmla="*/ 6254 h 10000"/>
              <a:gd name="connsiteX47" fmla="*/ 1413 w 10000"/>
              <a:gd name="connsiteY47" fmla="*/ 5936 h 10000"/>
              <a:gd name="connsiteX48" fmla="*/ 1095 w 10000"/>
              <a:gd name="connsiteY48" fmla="*/ 5619 h 10000"/>
              <a:gd name="connsiteX49" fmla="*/ 619 w 10000"/>
              <a:gd name="connsiteY49" fmla="*/ 6254 h 10000"/>
              <a:gd name="connsiteX50" fmla="*/ 476 w 10000"/>
              <a:gd name="connsiteY50" fmla="*/ 6254 h 10000"/>
              <a:gd name="connsiteX51" fmla="*/ 619 w 10000"/>
              <a:gd name="connsiteY51" fmla="*/ 5936 h 10000"/>
              <a:gd name="connsiteX52" fmla="*/ 476 w 10000"/>
              <a:gd name="connsiteY52" fmla="*/ 5301 h 10000"/>
              <a:gd name="connsiteX53" fmla="*/ 159 w 10000"/>
              <a:gd name="connsiteY53" fmla="*/ 5301 h 10000"/>
              <a:gd name="connsiteX54" fmla="*/ 0 w 10000"/>
              <a:gd name="connsiteY54" fmla="*/ 4667 h 10000"/>
              <a:gd name="connsiteX55" fmla="*/ 159 w 10000"/>
              <a:gd name="connsiteY55" fmla="*/ 3111 h 10000"/>
              <a:gd name="connsiteX56" fmla="*/ 476 w 10000"/>
              <a:gd name="connsiteY56" fmla="*/ 3746 h 10000"/>
              <a:gd name="connsiteX57" fmla="*/ 619 w 10000"/>
              <a:gd name="connsiteY57" fmla="*/ 3746 h 10000"/>
              <a:gd name="connsiteX58" fmla="*/ 476 w 10000"/>
              <a:gd name="connsiteY58" fmla="*/ 3111 h 10000"/>
              <a:gd name="connsiteX59" fmla="*/ 937 w 10000"/>
              <a:gd name="connsiteY59" fmla="*/ 2191 h 10000"/>
              <a:gd name="connsiteX60" fmla="*/ 1254 w 10000"/>
              <a:gd name="connsiteY60" fmla="*/ 2476 h 10000"/>
              <a:gd name="connsiteX61" fmla="*/ 1413 w 10000"/>
              <a:gd name="connsiteY61" fmla="*/ 2191 h 10000"/>
              <a:gd name="connsiteX62" fmla="*/ 1714 w 10000"/>
              <a:gd name="connsiteY62" fmla="*/ 2476 h 10000"/>
              <a:gd name="connsiteX63" fmla="*/ 2190 w 10000"/>
              <a:gd name="connsiteY63" fmla="*/ 3111 h 10000"/>
              <a:gd name="connsiteX64" fmla="*/ 2492 w 10000"/>
              <a:gd name="connsiteY64" fmla="*/ 2794 h 10000"/>
              <a:gd name="connsiteX65" fmla="*/ 2810 w 10000"/>
              <a:gd name="connsiteY65" fmla="*/ 2794 h 10000"/>
              <a:gd name="connsiteX66" fmla="*/ 2968 w 10000"/>
              <a:gd name="connsiteY66" fmla="*/ 3111 h 10000"/>
              <a:gd name="connsiteX67" fmla="*/ 6095 w 10000"/>
              <a:gd name="connsiteY67" fmla="*/ 318 h 10000"/>
              <a:gd name="connsiteX68" fmla="*/ 6254 w 10000"/>
              <a:gd name="connsiteY68" fmla="*/ 318 h 10000"/>
              <a:gd name="connsiteX69" fmla="*/ 6556 w 10000"/>
              <a:gd name="connsiteY69" fmla="*/ 603 h 10000"/>
              <a:gd name="connsiteX70" fmla="*/ 6556 w 10000"/>
              <a:gd name="connsiteY70" fmla="*/ 921 h 10000"/>
              <a:gd name="connsiteX71" fmla="*/ 6873 w 10000"/>
              <a:gd name="connsiteY71" fmla="*/ 921 h 10000"/>
              <a:gd name="connsiteX72" fmla="*/ 7190 w 10000"/>
              <a:gd name="connsiteY72" fmla="*/ 318 h 10000"/>
              <a:gd name="connsiteX73" fmla="*/ 7492 w 10000"/>
              <a:gd name="connsiteY73" fmla="*/ 0 h 10000"/>
              <a:gd name="connsiteX74" fmla="*/ 7651 w 10000"/>
              <a:gd name="connsiteY74" fmla="*/ 921 h 10000"/>
              <a:gd name="connsiteX75" fmla="*/ 8286 w 10000"/>
              <a:gd name="connsiteY75" fmla="*/ 3111 h 10000"/>
              <a:gd name="connsiteX76" fmla="*/ 8429 w 10000"/>
              <a:gd name="connsiteY76" fmla="*/ 2476 h 10000"/>
              <a:gd name="connsiteX77" fmla="*/ 8587 w 10000"/>
              <a:gd name="connsiteY77" fmla="*/ 3111 h 10000"/>
              <a:gd name="connsiteX78" fmla="*/ 9063 w 10000"/>
              <a:gd name="connsiteY78" fmla="*/ 2794 h 10000"/>
              <a:gd name="connsiteX79" fmla="*/ 9524 w 10000"/>
              <a:gd name="connsiteY79" fmla="*/ 3746 h 10000"/>
              <a:gd name="connsiteX80" fmla="*/ 9841 w 10000"/>
              <a:gd name="connsiteY80" fmla="*/ 4064 h 10000"/>
              <a:gd name="connsiteX81" fmla="*/ 9841 w 10000"/>
              <a:gd name="connsiteY81" fmla="*/ 3746 h 10000"/>
              <a:gd name="connsiteX82" fmla="*/ 10000 w 10000"/>
              <a:gd name="connsiteY82" fmla="*/ 4381 h 10000"/>
              <a:gd name="connsiteX83" fmla="*/ 9841 w 10000"/>
              <a:gd name="connsiteY83" fmla="*/ 4667 h 10000"/>
              <a:gd name="connsiteX0" fmla="*/ 9841 w 10000"/>
              <a:gd name="connsiteY0" fmla="*/ 4667 h 10000"/>
              <a:gd name="connsiteX1" fmla="*/ 9683 w 10000"/>
              <a:gd name="connsiteY1" fmla="*/ 4985 h 10000"/>
              <a:gd name="connsiteX2" fmla="*/ 9524 w 10000"/>
              <a:gd name="connsiteY2" fmla="*/ 5936 h 10000"/>
              <a:gd name="connsiteX3" fmla="*/ 9365 w 10000"/>
              <a:gd name="connsiteY3" fmla="*/ 5936 h 10000"/>
              <a:gd name="connsiteX4" fmla="*/ 8905 w 10000"/>
              <a:gd name="connsiteY4" fmla="*/ 5936 h 10000"/>
              <a:gd name="connsiteX5" fmla="*/ 8746 w 10000"/>
              <a:gd name="connsiteY5" fmla="*/ 7174 h 10000"/>
              <a:gd name="connsiteX6" fmla="*/ 8286 w 10000"/>
              <a:gd name="connsiteY6" fmla="*/ 7174 h 10000"/>
              <a:gd name="connsiteX7" fmla="*/ 8286 w 10000"/>
              <a:gd name="connsiteY7" fmla="*/ 7492 h 10000"/>
              <a:gd name="connsiteX8" fmla="*/ 8429 w 10000"/>
              <a:gd name="connsiteY8" fmla="*/ 8730 h 10000"/>
              <a:gd name="connsiteX9" fmla="*/ 8286 w 10000"/>
              <a:gd name="connsiteY9" fmla="*/ 9047 h 10000"/>
              <a:gd name="connsiteX10" fmla="*/ 7968 w 10000"/>
              <a:gd name="connsiteY10" fmla="*/ 8730 h 10000"/>
              <a:gd name="connsiteX11" fmla="*/ 7032 w 10000"/>
              <a:gd name="connsiteY11" fmla="*/ 8730 h 10000"/>
              <a:gd name="connsiteX12" fmla="*/ 6714 w 10000"/>
              <a:gd name="connsiteY12" fmla="*/ 8444 h 10000"/>
              <a:gd name="connsiteX13" fmla="*/ 6556 w 10000"/>
              <a:gd name="connsiteY13" fmla="*/ 8730 h 10000"/>
              <a:gd name="connsiteX14" fmla="*/ 6556 w 10000"/>
              <a:gd name="connsiteY14" fmla="*/ 9047 h 10000"/>
              <a:gd name="connsiteX15" fmla="*/ 6095 w 10000"/>
              <a:gd name="connsiteY15" fmla="*/ 8730 h 10000"/>
              <a:gd name="connsiteX16" fmla="*/ 5937 w 10000"/>
              <a:gd name="connsiteY16" fmla="*/ 9047 h 10000"/>
              <a:gd name="connsiteX17" fmla="*/ 5460 w 10000"/>
              <a:gd name="connsiteY17" fmla="*/ 10000 h 10000"/>
              <a:gd name="connsiteX18" fmla="*/ 5317 w 10000"/>
              <a:gd name="connsiteY18" fmla="*/ 9682 h 10000"/>
              <a:gd name="connsiteX19" fmla="*/ 5000 w 10000"/>
              <a:gd name="connsiteY19" fmla="*/ 9682 h 10000"/>
              <a:gd name="connsiteX20" fmla="*/ 5000 w 10000"/>
              <a:gd name="connsiteY20" fmla="*/ 9365 h 10000"/>
              <a:gd name="connsiteX21" fmla="*/ 4841 w 10000"/>
              <a:gd name="connsiteY21" fmla="*/ 9365 h 10000"/>
              <a:gd name="connsiteX22" fmla="*/ 4841 w 10000"/>
              <a:gd name="connsiteY22" fmla="*/ 8730 h 10000"/>
              <a:gd name="connsiteX23" fmla="*/ 4524 w 10000"/>
              <a:gd name="connsiteY23" fmla="*/ 8127 h 10000"/>
              <a:gd name="connsiteX24" fmla="*/ 3762 w 10000"/>
              <a:gd name="connsiteY24" fmla="*/ 8095 h 10000"/>
              <a:gd name="connsiteX25" fmla="*/ 3540 w 10000"/>
              <a:gd name="connsiteY25" fmla="*/ 7555 h 10000"/>
              <a:gd name="connsiteX26" fmla="*/ 3730 w 10000"/>
              <a:gd name="connsiteY26" fmla="*/ 7460 h 10000"/>
              <a:gd name="connsiteX27" fmla="*/ 3587 w 10000"/>
              <a:gd name="connsiteY27" fmla="*/ 6699 h 10000"/>
              <a:gd name="connsiteX28" fmla="*/ 3762 w 10000"/>
              <a:gd name="connsiteY28" fmla="*/ 6191 h 10000"/>
              <a:gd name="connsiteX29" fmla="*/ 3302 w 10000"/>
              <a:gd name="connsiteY29" fmla="*/ 6222 h 10000"/>
              <a:gd name="connsiteX30" fmla="*/ 3333 w 10000"/>
              <a:gd name="connsiteY30" fmla="*/ 6571 h 10000"/>
              <a:gd name="connsiteX31" fmla="*/ 3159 w 10000"/>
              <a:gd name="connsiteY31" fmla="*/ 6889 h 10000"/>
              <a:gd name="connsiteX32" fmla="*/ 2952 w 10000"/>
              <a:gd name="connsiteY32" fmla="*/ 6857 h 10000"/>
              <a:gd name="connsiteX33" fmla="*/ 2349 w 10000"/>
              <a:gd name="connsiteY33" fmla="*/ 7174 h 10000"/>
              <a:gd name="connsiteX34" fmla="*/ 2349 w 10000"/>
              <a:gd name="connsiteY34" fmla="*/ 9682 h 10000"/>
              <a:gd name="connsiteX35" fmla="*/ 2190 w 10000"/>
              <a:gd name="connsiteY35" fmla="*/ 9682 h 10000"/>
              <a:gd name="connsiteX36" fmla="*/ 1873 w 10000"/>
              <a:gd name="connsiteY36" fmla="*/ 9047 h 10000"/>
              <a:gd name="connsiteX37" fmla="*/ 1413 w 10000"/>
              <a:gd name="connsiteY37" fmla="*/ 9365 h 10000"/>
              <a:gd name="connsiteX38" fmla="*/ 1413 w 10000"/>
              <a:gd name="connsiteY38" fmla="*/ 8730 h 10000"/>
              <a:gd name="connsiteX39" fmla="*/ 1254 w 10000"/>
              <a:gd name="connsiteY39" fmla="*/ 8730 h 10000"/>
              <a:gd name="connsiteX40" fmla="*/ 1095 w 10000"/>
              <a:gd name="connsiteY40" fmla="*/ 7809 h 10000"/>
              <a:gd name="connsiteX41" fmla="*/ 937 w 10000"/>
              <a:gd name="connsiteY41" fmla="*/ 7809 h 10000"/>
              <a:gd name="connsiteX42" fmla="*/ 1254 w 10000"/>
              <a:gd name="connsiteY42" fmla="*/ 7809 h 10000"/>
              <a:gd name="connsiteX43" fmla="*/ 1095 w 10000"/>
              <a:gd name="connsiteY43" fmla="*/ 7492 h 10000"/>
              <a:gd name="connsiteX44" fmla="*/ 1254 w 10000"/>
              <a:gd name="connsiteY44" fmla="*/ 7174 h 10000"/>
              <a:gd name="connsiteX45" fmla="*/ 1873 w 10000"/>
              <a:gd name="connsiteY45" fmla="*/ 7174 h 10000"/>
              <a:gd name="connsiteX46" fmla="*/ 1714 w 10000"/>
              <a:gd name="connsiteY46" fmla="*/ 6254 h 10000"/>
              <a:gd name="connsiteX47" fmla="*/ 1413 w 10000"/>
              <a:gd name="connsiteY47" fmla="*/ 5936 h 10000"/>
              <a:gd name="connsiteX48" fmla="*/ 1095 w 10000"/>
              <a:gd name="connsiteY48" fmla="*/ 5619 h 10000"/>
              <a:gd name="connsiteX49" fmla="*/ 619 w 10000"/>
              <a:gd name="connsiteY49" fmla="*/ 6254 h 10000"/>
              <a:gd name="connsiteX50" fmla="*/ 476 w 10000"/>
              <a:gd name="connsiteY50" fmla="*/ 6254 h 10000"/>
              <a:gd name="connsiteX51" fmla="*/ 619 w 10000"/>
              <a:gd name="connsiteY51" fmla="*/ 5936 h 10000"/>
              <a:gd name="connsiteX52" fmla="*/ 476 w 10000"/>
              <a:gd name="connsiteY52" fmla="*/ 5301 h 10000"/>
              <a:gd name="connsiteX53" fmla="*/ 159 w 10000"/>
              <a:gd name="connsiteY53" fmla="*/ 5301 h 10000"/>
              <a:gd name="connsiteX54" fmla="*/ 0 w 10000"/>
              <a:gd name="connsiteY54" fmla="*/ 4667 h 10000"/>
              <a:gd name="connsiteX55" fmla="*/ 159 w 10000"/>
              <a:gd name="connsiteY55" fmla="*/ 3111 h 10000"/>
              <a:gd name="connsiteX56" fmla="*/ 476 w 10000"/>
              <a:gd name="connsiteY56" fmla="*/ 3746 h 10000"/>
              <a:gd name="connsiteX57" fmla="*/ 619 w 10000"/>
              <a:gd name="connsiteY57" fmla="*/ 3746 h 10000"/>
              <a:gd name="connsiteX58" fmla="*/ 476 w 10000"/>
              <a:gd name="connsiteY58" fmla="*/ 3111 h 10000"/>
              <a:gd name="connsiteX59" fmla="*/ 937 w 10000"/>
              <a:gd name="connsiteY59" fmla="*/ 2191 h 10000"/>
              <a:gd name="connsiteX60" fmla="*/ 1254 w 10000"/>
              <a:gd name="connsiteY60" fmla="*/ 2476 h 10000"/>
              <a:gd name="connsiteX61" fmla="*/ 1413 w 10000"/>
              <a:gd name="connsiteY61" fmla="*/ 2191 h 10000"/>
              <a:gd name="connsiteX62" fmla="*/ 1714 w 10000"/>
              <a:gd name="connsiteY62" fmla="*/ 2476 h 10000"/>
              <a:gd name="connsiteX63" fmla="*/ 2190 w 10000"/>
              <a:gd name="connsiteY63" fmla="*/ 3111 h 10000"/>
              <a:gd name="connsiteX64" fmla="*/ 2492 w 10000"/>
              <a:gd name="connsiteY64" fmla="*/ 2794 h 10000"/>
              <a:gd name="connsiteX65" fmla="*/ 2810 w 10000"/>
              <a:gd name="connsiteY65" fmla="*/ 2794 h 10000"/>
              <a:gd name="connsiteX66" fmla="*/ 2968 w 10000"/>
              <a:gd name="connsiteY66" fmla="*/ 3111 h 10000"/>
              <a:gd name="connsiteX67" fmla="*/ 6095 w 10000"/>
              <a:gd name="connsiteY67" fmla="*/ 318 h 10000"/>
              <a:gd name="connsiteX68" fmla="*/ 6556 w 10000"/>
              <a:gd name="connsiteY68" fmla="*/ 603 h 10000"/>
              <a:gd name="connsiteX69" fmla="*/ 6556 w 10000"/>
              <a:gd name="connsiteY69" fmla="*/ 921 h 10000"/>
              <a:gd name="connsiteX70" fmla="*/ 6873 w 10000"/>
              <a:gd name="connsiteY70" fmla="*/ 921 h 10000"/>
              <a:gd name="connsiteX71" fmla="*/ 7190 w 10000"/>
              <a:gd name="connsiteY71" fmla="*/ 318 h 10000"/>
              <a:gd name="connsiteX72" fmla="*/ 7492 w 10000"/>
              <a:gd name="connsiteY72" fmla="*/ 0 h 10000"/>
              <a:gd name="connsiteX73" fmla="*/ 7651 w 10000"/>
              <a:gd name="connsiteY73" fmla="*/ 921 h 10000"/>
              <a:gd name="connsiteX74" fmla="*/ 8286 w 10000"/>
              <a:gd name="connsiteY74" fmla="*/ 3111 h 10000"/>
              <a:gd name="connsiteX75" fmla="*/ 8429 w 10000"/>
              <a:gd name="connsiteY75" fmla="*/ 2476 h 10000"/>
              <a:gd name="connsiteX76" fmla="*/ 8587 w 10000"/>
              <a:gd name="connsiteY76" fmla="*/ 3111 h 10000"/>
              <a:gd name="connsiteX77" fmla="*/ 9063 w 10000"/>
              <a:gd name="connsiteY77" fmla="*/ 2794 h 10000"/>
              <a:gd name="connsiteX78" fmla="*/ 9524 w 10000"/>
              <a:gd name="connsiteY78" fmla="*/ 3746 h 10000"/>
              <a:gd name="connsiteX79" fmla="*/ 9841 w 10000"/>
              <a:gd name="connsiteY79" fmla="*/ 4064 h 10000"/>
              <a:gd name="connsiteX80" fmla="*/ 9841 w 10000"/>
              <a:gd name="connsiteY80" fmla="*/ 3746 h 10000"/>
              <a:gd name="connsiteX81" fmla="*/ 10000 w 10000"/>
              <a:gd name="connsiteY81" fmla="*/ 4381 h 10000"/>
              <a:gd name="connsiteX82" fmla="*/ 9841 w 10000"/>
              <a:gd name="connsiteY82" fmla="*/ 4667 h 10000"/>
              <a:gd name="connsiteX0" fmla="*/ 9841 w 10000"/>
              <a:gd name="connsiteY0" fmla="*/ 4667 h 10000"/>
              <a:gd name="connsiteX1" fmla="*/ 9683 w 10000"/>
              <a:gd name="connsiteY1" fmla="*/ 4985 h 10000"/>
              <a:gd name="connsiteX2" fmla="*/ 9524 w 10000"/>
              <a:gd name="connsiteY2" fmla="*/ 5936 h 10000"/>
              <a:gd name="connsiteX3" fmla="*/ 9365 w 10000"/>
              <a:gd name="connsiteY3" fmla="*/ 5936 h 10000"/>
              <a:gd name="connsiteX4" fmla="*/ 8905 w 10000"/>
              <a:gd name="connsiteY4" fmla="*/ 5936 h 10000"/>
              <a:gd name="connsiteX5" fmla="*/ 8746 w 10000"/>
              <a:gd name="connsiteY5" fmla="*/ 7174 h 10000"/>
              <a:gd name="connsiteX6" fmla="*/ 8286 w 10000"/>
              <a:gd name="connsiteY6" fmla="*/ 7174 h 10000"/>
              <a:gd name="connsiteX7" fmla="*/ 8286 w 10000"/>
              <a:gd name="connsiteY7" fmla="*/ 7492 h 10000"/>
              <a:gd name="connsiteX8" fmla="*/ 8429 w 10000"/>
              <a:gd name="connsiteY8" fmla="*/ 8730 h 10000"/>
              <a:gd name="connsiteX9" fmla="*/ 8286 w 10000"/>
              <a:gd name="connsiteY9" fmla="*/ 9047 h 10000"/>
              <a:gd name="connsiteX10" fmla="*/ 7968 w 10000"/>
              <a:gd name="connsiteY10" fmla="*/ 8730 h 10000"/>
              <a:gd name="connsiteX11" fmla="*/ 7032 w 10000"/>
              <a:gd name="connsiteY11" fmla="*/ 8730 h 10000"/>
              <a:gd name="connsiteX12" fmla="*/ 6714 w 10000"/>
              <a:gd name="connsiteY12" fmla="*/ 8444 h 10000"/>
              <a:gd name="connsiteX13" fmla="*/ 6556 w 10000"/>
              <a:gd name="connsiteY13" fmla="*/ 8730 h 10000"/>
              <a:gd name="connsiteX14" fmla="*/ 6556 w 10000"/>
              <a:gd name="connsiteY14" fmla="*/ 9047 h 10000"/>
              <a:gd name="connsiteX15" fmla="*/ 6095 w 10000"/>
              <a:gd name="connsiteY15" fmla="*/ 8730 h 10000"/>
              <a:gd name="connsiteX16" fmla="*/ 5937 w 10000"/>
              <a:gd name="connsiteY16" fmla="*/ 9047 h 10000"/>
              <a:gd name="connsiteX17" fmla="*/ 5460 w 10000"/>
              <a:gd name="connsiteY17" fmla="*/ 10000 h 10000"/>
              <a:gd name="connsiteX18" fmla="*/ 5317 w 10000"/>
              <a:gd name="connsiteY18" fmla="*/ 9682 h 10000"/>
              <a:gd name="connsiteX19" fmla="*/ 5000 w 10000"/>
              <a:gd name="connsiteY19" fmla="*/ 9682 h 10000"/>
              <a:gd name="connsiteX20" fmla="*/ 5000 w 10000"/>
              <a:gd name="connsiteY20" fmla="*/ 9365 h 10000"/>
              <a:gd name="connsiteX21" fmla="*/ 4841 w 10000"/>
              <a:gd name="connsiteY21" fmla="*/ 9365 h 10000"/>
              <a:gd name="connsiteX22" fmla="*/ 4841 w 10000"/>
              <a:gd name="connsiteY22" fmla="*/ 8730 h 10000"/>
              <a:gd name="connsiteX23" fmla="*/ 4524 w 10000"/>
              <a:gd name="connsiteY23" fmla="*/ 8127 h 10000"/>
              <a:gd name="connsiteX24" fmla="*/ 3762 w 10000"/>
              <a:gd name="connsiteY24" fmla="*/ 8095 h 10000"/>
              <a:gd name="connsiteX25" fmla="*/ 3540 w 10000"/>
              <a:gd name="connsiteY25" fmla="*/ 7555 h 10000"/>
              <a:gd name="connsiteX26" fmla="*/ 3730 w 10000"/>
              <a:gd name="connsiteY26" fmla="*/ 7460 h 10000"/>
              <a:gd name="connsiteX27" fmla="*/ 3587 w 10000"/>
              <a:gd name="connsiteY27" fmla="*/ 6699 h 10000"/>
              <a:gd name="connsiteX28" fmla="*/ 3762 w 10000"/>
              <a:gd name="connsiteY28" fmla="*/ 6191 h 10000"/>
              <a:gd name="connsiteX29" fmla="*/ 3302 w 10000"/>
              <a:gd name="connsiteY29" fmla="*/ 6222 h 10000"/>
              <a:gd name="connsiteX30" fmla="*/ 3333 w 10000"/>
              <a:gd name="connsiteY30" fmla="*/ 6571 h 10000"/>
              <a:gd name="connsiteX31" fmla="*/ 3159 w 10000"/>
              <a:gd name="connsiteY31" fmla="*/ 6889 h 10000"/>
              <a:gd name="connsiteX32" fmla="*/ 2952 w 10000"/>
              <a:gd name="connsiteY32" fmla="*/ 6857 h 10000"/>
              <a:gd name="connsiteX33" fmla="*/ 2349 w 10000"/>
              <a:gd name="connsiteY33" fmla="*/ 7174 h 10000"/>
              <a:gd name="connsiteX34" fmla="*/ 2349 w 10000"/>
              <a:gd name="connsiteY34" fmla="*/ 9682 h 10000"/>
              <a:gd name="connsiteX35" fmla="*/ 2190 w 10000"/>
              <a:gd name="connsiteY35" fmla="*/ 9682 h 10000"/>
              <a:gd name="connsiteX36" fmla="*/ 1873 w 10000"/>
              <a:gd name="connsiteY36" fmla="*/ 9047 h 10000"/>
              <a:gd name="connsiteX37" fmla="*/ 1413 w 10000"/>
              <a:gd name="connsiteY37" fmla="*/ 9365 h 10000"/>
              <a:gd name="connsiteX38" fmla="*/ 1413 w 10000"/>
              <a:gd name="connsiteY38" fmla="*/ 8730 h 10000"/>
              <a:gd name="connsiteX39" fmla="*/ 1254 w 10000"/>
              <a:gd name="connsiteY39" fmla="*/ 8730 h 10000"/>
              <a:gd name="connsiteX40" fmla="*/ 1095 w 10000"/>
              <a:gd name="connsiteY40" fmla="*/ 7809 h 10000"/>
              <a:gd name="connsiteX41" fmla="*/ 937 w 10000"/>
              <a:gd name="connsiteY41" fmla="*/ 7809 h 10000"/>
              <a:gd name="connsiteX42" fmla="*/ 1254 w 10000"/>
              <a:gd name="connsiteY42" fmla="*/ 7809 h 10000"/>
              <a:gd name="connsiteX43" fmla="*/ 1095 w 10000"/>
              <a:gd name="connsiteY43" fmla="*/ 7492 h 10000"/>
              <a:gd name="connsiteX44" fmla="*/ 1254 w 10000"/>
              <a:gd name="connsiteY44" fmla="*/ 7174 h 10000"/>
              <a:gd name="connsiteX45" fmla="*/ 1873 w 10000"/>
              <a:gd name="connsiteY45" fmla="*/ 7174 h 10000"/>
              <a:gd name="connsiteX46" fmla="*/ 1714 w 10000"/>
              <a:gd name="connsiteY46" fmla="*/ 6254 h 10000"/>
              <a:gd name="connsiteX47" fmla="*/ 1413 w 10000"/>
              <a:gd name="connsiteY47" fmla="*/ 5936 h 10000"/>
              <a:gd name="connsiteX48" fmla="*/ 1095 w 10000"/>
              <a:gd name="connsiteY48" fmla="*/ 5619 h 10000"/>
              <a:gd name="connsiteX49" fmla="*/ 619 w 10000"/>
              <a:gd name="connsiteY49" fmla="*/ 6254 h 10000"/>
              <a:gd name="connsiteX50" fmla="*/ 476 w 10000"/>
              <a:gd name="connsiteY50" fmla="*/ 6254 h 10000"/>
              <a:gd name="connsiteX51" fmla="*/ 619 w 10000"/>
              <a:gd name="connsiteY51" fmla="*/ 5936 h 10000"/>
              <a:gd name="connsiteX52" fmla="*/ 476 w 10000"/>
              <a:gd name="connsiteY52" fmla="*/ 5301 h 10000"/>
              <a:gd name="connsiteX53" fmla="*/ 159 w 10000"/>
              <a:gd name="connsiteY53" fmla="*/ 5301 h 10000"/>
              <a:gd name="connsiteX54" fmla="*/ 0 w 10000"/>
              <a:gd name="connsiteY54" fmla="*/ 4667 h 10000"/>
              <a:gd name="connsiteX55" fmla="*/ 159 w 10000"/>
              <a:gd name="connsiteY55" fmla="*/ 3111 h 10000"/>
              <a:gd name="connsiteX56" fmla="*/ 476 w 10000"/>
              <a:gd name="connsiteY56" fmla="*/ 3746 h 10000"/>
              <a:gd name="connsiteX57" fmla="*/ 619 w 10000"/>
              <a:gd name="connsiteY57" fmla="*/ 3746 h 10000"/>
              <a:gd name="connsiteX58" fmla="*/ 476 w 10000"/>
              <a:gd name="connsiteY58" fmla="*/ 3111 h 10000"/>
              <a:gd name="connsiteX59" fmla="*/ 937 w 10000"/>
              <a:gd name="connsiteY59" fmla="*/ 2191 h 10000"/>
              <a:gd name="connsiteX60" fmla="*/ 1254 w 10000"/>
              <a:gd name="connsiteY60" fmla="*/ 2476 h 10000"/>
              <a:gd name="connsiteX61" fmla="*/ 1413 w 10000"/>
              <a:gd name="connsiteY61" fmla="*/ 2191 h 10000"/>
              <a:gd name="connsiteX62" fmla="*/ 1714 w 10000"/>
              <a:gd name="connsiteY62" fmla="*/ 2476 h 10000"/>
              <a:gd name="connsiteX63" fmla="*/ 2190 w 10000"/>
              <a:gd name="connsiteY63" fmla="*/ 3111 h 10000"/>
              <a:gd name="connsiteX64" fmla="*/ 2492 w 10000"/>
              <a:gd name="connsiteY64" fmla="*/ 2794 h 10000"/>
              <a:gd name="connsiteX65" fmla="*/ 2810 w 10000"/>
              <a:gd name="connsiteY65" fmla="*/ 2794 h 10000"/>
              <a:gd name="connsiteX66" fmla="*/ 2968 w 10000"/>
              <a:gd name="connsiteY66" fmla="*/ 3111 h 10000"/>
              <a:gd name="connsiteX67" fmla="*/ 6556 w 10000"/>
              <a:gd name="connsiteY67" fmla="*/ 603 h 10000"/>
              <a:gd name="connsiteX68" fmla="*/ 6556 w 10000"/>
              <a:gd name="connsiteY68" fmla="*/ 921 h 10000"/>
              <a:gd name="connsiteX69" fmla="*/ 6873 w 10000"/>
              <a:gd name="connsiteY69" fmla="*/ 921 h 10000"/>
              <a:gd name="connsiteX70" fmla="*/ 7190 w 10000"/>
              <a:gd name="connsiteY70" fmla="*/ 318 h 10000"/>
              <a:gd name="connsiteX71" fmla="*/ 7492 w 10000"/>
              <a:gd name="connsiteY71" fmla="*/ 0 h 10000"/>
              <a:gd name="connsiteX72" fmla="*/ 7651 w 10000"/>
              <a:gd name="connsiteY72" fmla="*/ 921 h 10000"/>
              <a:gd name="connsiteX73" fmla="*/ 8286 w 10000"/>
              <a:gd name="connsiteY73" fmla="*/ 3111 h 10000"/>
              <a:gd name="connsiteX74" fmla="*/ 8429 w 10000"/>
              <a:gd name="connsiteY74" fmla="*/ 2476 h 10000"/>
              <a:gd name="connsiteX75" fmla="*/ 8587 w 10000"/>
              <a:gd name="connsiteY75" fmla="*/ 3111 h 10000"/>
              <a:gd name="connsiteX76" fmla="*/ 9063 w 10000"/>
              <a:gd name="connsiteY76" fmla="*/ 2794 h 10000"/>
              <a:gd name="connsiteX77" fmla="*/ 9524 w 10000"/>
              <a:gd name="connsiteY77" fmla="*/ 3746 h 10000"/>
              <a:gd name="connsiteX78" fmla="*/ 9841 w 10000"/>
              <a:gd name="connsiteY78" fmla="*/ 4064 h 10000"/>
              <a:gd name="connsiteX79" fmla="*/ 9841 w 10000"/>
              <a:gd name="connsiteY79" fmla="*/ 3746 h 10000"/>
              <a:gd name="connsiteX80" fmla="*/ 10000 w 10000"/>
              <a:gd name="connsiteY80" fmla="*/ 4381 h 10000"/>
              <a:gd name="connsiteX81" fmla="*/ 9841 w 10000"/>
              <a:gd name="connsiteY81" fmla="*/ 4667 h 10000"/>
              <a:gd name="connsiteX0" fmla="*/ 9841 w 10000"/>
              <a:gd name="connsiteY0" fmla="*/ 4667 h 10000"/>
              <a:gd name="connsiteX1" fmla="*/ 9683 w 10000"/>
              <a:gd name="connsiteY1" fmla="*/ 4985 h 10000"/>
              <a:gd name="connsiteX2" fmla="*/ 9524 w 10000"/>
              <a:gd name="connsiteY2" fmla="*/ 5936 h 10000"/>
              <a:gd name="connsiteX3" fmla="*/ 9365 w 10000"/>
              <a:gd name="connsiteY3" fmla="*/ 5936 h 10000"/>
              <a:gd name="connsiteX4" fmla="*/ 8905 w 10000"/>
              <a:gd name="connsiteY4" fmla="*/ 5936 h 10000"/>
              <a:gd name="connsiteX5" fmla="*/ 8746 w 10000"/>
              <a:gd name="connsiteY5" fmla="*/ 7174 h 10000"/>
              <a:gd name="connsiteX6" fmla="*/ 8286 w 10000"/>
              <a:gd name="connsiteY6" fmla="*/ 7174 h 10000"/>
              <a:gd name="connsiteX7" fmla="*/ 8286 w 10000"/>
              <a:gd name="connsiteY7" fmla="*/ 7492 h 10000"/>
              <a:gd name="connsiteX8" fmla="*/ 8429 w 10000"/>
              <a:gd name="connsiteY8" fmla="*/ 8730 h 10000"/>
              <a:gd name="connsiteX9" fmla="*/ 8286 w 10000"/>
              <a:gd name="connsiteY9" fmla="*/ 9047 h 10000"/>
              <a:gd name="connsiteX10" fmla="*/ 7968 w 10000"/>
              <a:gd name="connsiteY10" fmla="*/ 8730 h 10000"/>
              <a:gd name="connsiteX11" fmla="*/ 7032 w 10000"/>
              <a:gd name="connsiteY11" fmla="*/ 8730 h 10000"/>
              <a:gd name="connsiteX12" fmla="*/ 6714 w 10000"/>
              <a:gd name="connsiteY12" fmla="*/ 8444 h 10000"/>
              <a:gd name="connsiteX13" fmla="*/ 6556 w 10000"/>
              <a:gd name="connsiteY13" fmla="*/ 8730 h 10000"/>
              <a:gd name="connsiteX14" fmla="*/ 6556 w 10000"/>
              <a:gd name="connsiteY14" fmla="*/ 9047 h 10000"/>
              <a:gd name="connsiteX15" fmla="*/ 6095 w 10000"/>
              <a:gd name="connsiteY15" fmla="*/ 8730 h 10000"/>
              <a:gd name="connsiteX16" fmla="*/ 5937 w 10000"/>
              <a:gd name="connsiteY16" fmla="*/ 9047 h 10000"/>
              <a:gd name="connsiteX17" fmla="*/ 5460 w 10000"/>
              <a:gd name="connsiteY17" fmla="*/ 10000 h 10000"/>
              <a:gd name="connsiteX18" fmla="*/ 5317 w 10000"/>
              <a:gd name="connsiteY18" fmla="*/ 9682 h 10000"/>
              <a:gd name="connsiteX19" fmla="*/ 5000 w 10000"/>
              <a:gd name="connsiteY19" fmla="*/ 9682 h 10000"/>
              <a:gd name="connsiteX20" fmla="*/ 5000 w 10000"/>
              <a:gd name="connsiteY20" fmla="*/ 9365 h 10000"/>
              <a:gd name="connsiteX21" fmla="*/ 4841 w 10000"/>
              <a:gd name="connsiteY21" fmla="*/ 9365 h 10000"/>
              <a:gd name="connsiteX22" fmla="*/ 4841 w 10000"/>
              <a:gd name="connsiteY22" fmla="*/ 8730 h 10000"/>
              <a:gd name="connsiteX23" fmla="*/ 4524 w 10000"/>
              <a:gd name="connsiteY23" fmla="*/ 8127 h 10000"/>
              <a:gd name="connsiteX24" fmla="*/ 3762 w 10000"/>
              <a:gd name="connsiteY24" fmla="*/ 8095 h 10000"/>
              <a:gd name="connsiteX25" fmla="*/ 3540 w 10000"/>
              <a:gd name="connsiteY25" fmla="*/ 7555 h 10000"/>
              <a:gd name="connsiteX26" fmla="*/ 3730 w 10000"/>
              <a:gd name="connsiteY26" fmla="*/ 7460 h 10000"/>
              <a:gd name="connsiteX27" fmla="*/ 3587 w 10000"/>
              <a:gd name="connsiteY27" fmla="*/ 6699 h 10000"/>
              <a:gd name="connsiteX28" fmla="*/ 3762 w 10000"/>
              <a:gd name="connsiteY28" fmla="*/ 6191 h 10000"/>
              <a:gd name="connsiteX29" fmla="*/ 3302 w 10000"/>
              <a:gd name="connsiteY29" fmla="*/ 6222 h 10000"/>
              <a:gd name="connsiteX30" fmla="*/ 3333 w 10000"/>
              <a:gd name="connsiteY30" fmla="*/ 6571 h 10000"/>
              <a:gd name="connsiteX31" fmla="*/ 3159 w 10000"/>
              <a:gd name="connsiteY31" fmla="*/ 6889 h 10000"/>
              <a:gd name="connsiteX32" fmla="*/ 2952 w 10000"/>
              <a:gd name="connsiteY32" fmla="*/ 6857 h 10000"/>
              <a:gd name="connsiteX33" fmla="*/ 2349 w 10000"/>
              <a:gd name="connsiteY33" fmla="*/ 7174 h 10000"/>
              <a:gd name="connsiteX34" fmla="*/ 2349 w 10000"/>
              <a:gd name="connsiteY34" fmla="*/ 9682 h 10000"/>
              <a:gd name="connsiteX35" fmla="*/ 2190 w 10000"/>
              <a:gd name="connsiteY35" fmla="*/ 9682 h 10000"/>
              <a:gd name="connsiteX36" fmla="*/ 1873 w 10000"/>
              <a:gd name="connsiteY36" fmla="*/ 9047 h 10000"/>
              <a:gd name="connsiteX37" fmla="*/ 1413 w 10000"/>
              <a:gd name="connsiteY37" fmla="*/ 9365 h 10000"/>
              <a:gd name="connsiteX38" fmla="*/ 1413 w 10000"/>
              <a:gd name="connsiteY38" fmla="*/ 8730 h 10000"/>
              <a:gd name="connsiteX39" fmla="*/ 1254 w 10000"/>
              <a:gd name="connsiteY39" fmla="*/ 8730 h 10000"/>
              <a:gd name="connsiteX40" fmla="*/ 1095 w 10000"/>
              <a:gd name="connsiteY40" fmla="*/ 7809 h 10000"/>
              <a:gd name="connsiteX41" fmla="*/ 937 w 10000"/>
              <a:gd name="connsiteY41" fmla="*/ 7809 h 10000"/>
              <a:gd name="connsiteX42" fmla="*/ 1254 w 10000"/>
              <a:gd name="connsiteY42" fmla="*/ 7809 h 10000"/>
              <a:gd name="connsiteX43" fmla="*/ 1095 w 10000"/>
              <a:gd name="connsiteY43" fmla="*/ 7492 h 10000"/>
              <a:gd name="connsiteX44" fmla="*/ 1254 w 10000"/>
              <a:gd name="connsiteY44" fmla="*/ 7174 h 10000"/>
              <a:gd name="connsiteX45" fmla="*/ 1873 w 10000"/>
              <a:gd name="connsiteY45" fmla="*/ 7174 h 10000"/>
              <a:gd name="connsiteX46" fmla="*/ 1714 w 10000"/>
              <a:gd name="connsiteY46" fmla="*/ 6254 h 10000"/>
              <a:gd name="connsiteX47" fmla="*/ 1413 w 10000"/>
              <a:gd name="connsiteY47" fmla="*/ 5936 h 10000"/>
              <a:gd name="connsiteX48" fmla="*/ 1095 w 10000"/>
              <a:gd name="connsiteY48" fmla="*/ 5619 h 10000"/>
              <a:gd name="connsiteX49" fmla="*/ 619 w 10000"/>
              <a:gd name="connsiteY49" fmla="*/ 6254 h 10000"/>
              <a:gd name="connsiteX50" fmla="*/ 476 w 10000"/>
              <a:gd name="connsiteY50" fmla="*/ 6254 h 10000"/>
              <a:gd name="connsiteX51" fmla="*/ 619 w 10000"/>
              <a:gd name="connsiteY51" fmla="*/ 5936 h 10000"/>
              <a:gd name="connsiteX52" fmla="*/ 476 w 10000"/>
              <a:gd name="connsiteY52" fmla="*/ 5301 h 10000"/>
              <a:gd name="connsiteX53" fmla="*/ 159 w 10000"/>
              <a:gd name="connsiteY53" fmla="*/ 5301 h 10000"/>
              <a:gd name="connsiteX54" fmla="*/ 0 w 10000"/>
              <a:gd name="connsiteY54" fmla="*/ 4667 h 10000"/>
              <a:gd name="connsiteX55" fmla="*/ 159 w 10000"/>
              <a:gd name="connsiteY55" fmla="*/ 3111 h 10000"/>
              <a:gd name="connsiteX56" fmla="*/ 476 w 10000"/>
              <a:gd name="connsiteY56" fmla="*/ 3746 h 10000"/>
              <a:gd name="connsiteX57" fmla="*/ 619 w 10000"/>
              <a:gd name="connsiteY57" fmla="*/ 3746 h 10000"/>
              <a:gd name="connsiteX58" fmla="*/ 476 w 10000"/>
              <a:gd name="connsiteY58" fmla="*/ 3111 h 10000"/>
              <a:gd name="connsiteX59" fmla="*/ 937 w 10000"/>
              <a:gd name="connsiteY59" fmla="*/ 2191 h 10000"/>
              <a:gd name="connsiteX60" fmla="*/ 1254 w 10000"/>
              <a:gd name="connsiteY60" fmla="*/ 2476 h 10000"/>
              <a:gd name="connsiteX61" fmla="*/ 1413 w 10000"/>
              <a:gd name="connsiteY61" fmla="*/ 2191 h 10000"/>
              <a:gd name="connsiteX62" fmla="*/ 1714 w 10000"/>
              <a:gd name="connsiteY62" fmla="*/ 2476 h 10000"/>
              <a:gd name="connsiteX63" fmla="*/ 2190 w 10000"/>
              <a:gd name="connsiteY63" fmla="*/ 3111 h 10000"/>
              <a:gd name="connsiteX64" fmla="*/ 2492 w 10000"/>
              <a:gd name="connsiteY64" fmla="*/ 2794 h 10000"/>
              <a:gd name="connsiteX65" fmla="*/ 2810 w 10000"/>
              <a:gd name="connsiteY65" fmla="*/ 2794 h 10000"/>
              <a:gd name="connsiteX66" fmla="*/ 2968 w 10000"/>
              <a:gd name="connsiteY66" fmla="*/ 3111 h 10000"/>
              <a:gd name="connsiteX67" fmla="*/ 6556 w 10000"/>
              <a:gd name="connsiteY67" fmla="*/ 921 h 10000"/>
              <a:gd name="connsiteX68" fmla="*/ 6873 w 10000"/>
              <a:gd name="connsiteY68" fmla="*/ 921 h 10000"/>
              <a:gd name="connsiteX69" fmla="*/ 7190 w 10000"/>
              <a:gd name="connsiteY69" fmla="*/ 318 h 10000"/>
              <a:gd name="connsiteX70" fmla="*/ 7492 w 10000"/>
              <a:gd name="connsiteY70" fmla="*/ 0 h 10000"/>
              <a:gd name="connsiteX71" fmla="*/ 7651 w 10000"/>
              <a:gd name="connsiteY71" fmla="*/ 921 h 10000"/>
              <a:gd name="connsiteX72" fmla="*/ 8286 w 10000"/>
              <a:gd name="connsiteY72" fmla="*/ 3111 h 10000"/>
              <a:gd name="connsiteX73" fmla="*/ 8429 w 10000"/>
              <a:gd name="connsiteY73" fmla="*/ 2476 h 10000"/>
              <a:gd name="connsiteX74" fmla="*/ 8587 w 10000"/>
              <a:gd name="connsiteY74" fmla="*/ 3111 h 10000"/>
              <a:gd name="connsiteX75" fmla="*/ 9063 w 10000"/>
              <a:gd name="connsiteY75" fmla="*/ 2794 h 10000"/>
              <a:gd name="connsiteX76" fmla="*/ 9524 w 10000"/>
              <a:gd name="connsiteY76" fmla="*/ 3746 h 10000"/>
              <a:gd name="connsiteX77" fmla="*/ 9841 w 10000"/>
              <a:gd name="connsiteY77" fmla="*/ 4064 h 10000"/>
              <a:gd name="connsiteX78" fmla="*/ 9841 w 10000"/>
              <a:gd name="connsiteY78" fmla="*/ 3746 h 10000"/>
              <a:gd name="connsiteX79" fmla="*/ 10000 w 10000"/>
              <a:gd name="connsiteY79" fmla="*/ 4381 h 10000"/>
              <a:gd name="connsiteX80" fmla="*/ 9841 w 10000"/>
              <a:gd name="connsiteY80" fmla="*/ 4667 h 10000"/>
              <a:gd name="connsiteX0" fmla="*/ 9841 w 10000"/>
              <a:gd name="connsiteY0" fmla="*/ 4667 h 10000"/>
              <a:gd name="connsiteX1" fmla="*/ 9683 w 10000"/>
              <a:gd name="connsiteY1" fmla="*/ 4985 h 10000"/>
              <a:gd name="connsiteX2" fmla="*/ 9524 w 10000"/>
              <a:gd name="connsiteY2" fmla="*/ 5936 h 10000"/>
              <a:gd name="connsiteX3" fmla="*/ 9365 w 10000"/>
              <a:gd name="connsiteY3" fmla="*/ 5936 h 10000"/>
              <a:gd name="connsiteX4" fmla="*/ 8905 w 10000"/>
              <a:gd name="connsiteY4" fmla="*/ 5936 h 10000"/>
              <a:gd name="connsiteX5" fmla="*/ 8746 w 10000"/>
              <a:gd name="connsiteY5" fmla="*/ 7174 h 10000"/>
              <a:gd name="connsiteX6" fmla="*/ 8286 w 10000"/>
              <a:gd name="connsiteY6" fmla="*/ 7174 h 10000"/>
              <a:gd name="connsiteX7" fmla="*/ 8286 w 10000"/>
              <a:gd name="connsiteY7" fmla="*/ 7492 h 10000"/>
              <a:gd name="connsiteX8" fmla="*/ 8429 w 10000"/>
              <a:gd name="connsiteY8" fmla="*/ 8730 h 10000"/>
              <a:gd name="connsiteX9" fmla="*/ 8286 w 10000"/>
              <a:gd name="connsiteY9" fmla="*/ 9047 h 10000"/>
              <a:gd name="connsiteX10" fmla="*/ 7968 w 10000"/>
              <a:gd name="connsiteY10" fmla="*/ 8730 h 10000"/>
              <a:gd name="connsiteX11" fmla="*/ 7032 w 10000"/>
              <a:gd name="connsiteY11" fmla="*/ 8730 h 10000"/>
              <a:gd name="connsiteX12" fmla="*/ 6714 w 10000"/>
              <a:gd name="connsiteY12" fmla="*/ 8444 h 10000"/>
              <a:gd name="connsiteX13" fmla="*/ 6556 w 10000"/>
              <a:gd name="connsiteY13" fmla="*/ 8730 h 10000"/>
              <a:gd name="connsiteX14" fmla="*/ 6556 w 10000"/>
              <a:gd name="connsiteY14" fmla="*/ 9047 h 10000"/>
              <a:gd name="connsiteX15" fmla="*/ 6095 w 10000"/>
              <a:gd name="connsiteY15" fmla="*/ 8730 h 10000"/>
              <a:gd name="connsiteX16" fmla="*/ 5937 w 10000"/>
              <a:gd name="connsiteY16" fmla="*/ 9047 h 10000"/>
              <a:gd name="connsiteX17" fmla="*/ 5460 w 10000"/>
              <a:gd name="connsiteY17" fmla="*/ 10000 h 10000"/>
              <a:gd name="connsiteX18" fmla="*/ 5317 w 10000"/>
              <a:gd name="connsiteY18" fmla="*/ 9682 h 10000"/>
              <a:gd name="connsiteX19" fmla="*/ 5000 w 10000"/>
              <a:gd name="connsiteY19" fmla="*/ 9682 h 10000"/>
              <a:gd name="connsiteX20" fmla="*/ 5000 w 10000"/>
              <a:gd name="connsiteY20" fmla="*/ 9365 h 10000"/>
              <a:gd name="connsiteX21" fmla="*/ 4841 w 10000"/>
              <a:gd name="connsiteY21" fmla="*/ 9365 h 10000"/>
              <a:gd name="connsiteX22" fmla="*/ 4841 w 10000"/>
              <a:gd name="connsiteY22" fmla="*/ 8730 h 10000"/>
              <a:gd name="connsiteX23" fmla="*/ 4524 w 10000"/>
              <a:gd name="connsiteY23" fmla="*/ 8127 h 10000"/>
              <a:gd name="connsiteX24" fmla="*/ 3762 w 10000"/>
              <a:gd name="connsiteY24" fmla="*/ 8095 h 10000"/>
              <a:gd name="connsiteX25" fmla="*/ 3540 w 10000"/>
              <a:gd name="connsiteY25" fmla="*/ 7555 h 10000"/>
              <a:gd name="connsiteX26" fmla="*/ 3730 w 10000"/>
              <a:gd name="connsiteY26" fmla="*/ 7460 h 10000"/>
              <a:gd name="connsiteX27" fmla="*/ 3587 w 10000"/>
              <a:gd name="connsiteY27" fmla="*/ 6699 h 10000"/>
              <a:gd name="connsiteX28" fmla="*/ 3762 w 10000"/>
              <a:gd name="connsiteY28" fmla="*/ 6191 h 10000"/>
              <a:gd name="connsiteX29" fmla="*/ 3302 w 10000"/>
              <a:gd name="connsiteY29" fmla="*/ 6222 h 10000"/>
              <a:gd name="connsiteX30" fmla="*/ 3333 w 10000"/>
              <a:gd name="connsiteY30" fmla="*/ 6571 h 10000"/>
              <a:gd name="connsiteX31" fmla="*/ 3159 w 10000"/>
              <a:gd name="connsiteY31" fmla="*/ 6889 h 10000"/>
              <a:gd name="connsiteX32" fmla="*/ 2952 w 10000"/>
              <a:gd name="connsiteY32" fmla="*/ 6857 h 10000"/>
              <a:gd name="connsiteX33" fmla="*/ 2349 w 10000"/>
              <a:gd name="connsiteY33" fmla="*/ 7174 h 10000"/>
              <a:gd name="connsiteX34" fmla="*/ 2349 w 10000"/>
              <a:gd name="connsiteY34" fmla="*/ 9682 h 10000"/>
              <a:gd name="connsiteX35" fmla="*/ 2190 w 10000"/>
              <a:gd name="connsiteY35" fmla="*/ 9682 h 10000"/>
              <a:gd name="connsiteX36" fmla="*/ 1873 w 10000"/>
              <a:gd name="connsiteY36" fmla="*/ 9047 h 10000"/>
              <a:gd name="connsiteX37" fmla="*/ 1413 w 10000"/>
              <a:gd name="connsiteY37" fmla="*/ 9365 h 10000"/>
              <a:gd name="connsiteX38" fmla="*/ 1413 w 10000"/>
              <a:gd name="connsiteY38" fmla="*/ 8730 h 10000"/>
              <a:gd name="connsiteX39" fmla="*/ 1254 w 10000"/>
              <a:gd name="connsiteY39" fmla="*/ 8730 h 10000"/>
              <a:gd name="connsiteX40" fmla="*/ 1095 w 10000"/>
              <a:gd name="connsiteY40" fmla="*/ 7809 h 10000"/>
              <a:gd name="connsiteX41" fmla="*/ 937 w 10000"/>
              <a:gd name="connsiteY41" fmla="*/ 7809 h 10000"/>
              <a:gd name="connsiteX42" fmla="*/ 1254 w 10000"/>
              <a:gd name="connsiteY42" fmla="*/ 7809 h 10000"/>
              <a:gd name="connsiteX43" fmla="*/ 1095 w 10000"/>
              <a:gd name="connsiteY43" fmla="*/ 7492 h 10000"/>
              <a:gd name="connsiteX44" fmla="*/ 1254 w 10000"/>
              <a:gd name="connsiteY44" fmla="*/ 7174 h 10000"/>
              <a:gd name="connsiteX45" fmla="*/ 1873 w 10000"/>
              <a:gd name="connsiteY45" fmla="*/ 7174 h 10000"/>
              <a:gd name="connsiteX46" fmla="*/ 1714 w 10000"/>
              <a:gd name="connsiteY46" fmla="*/ 6254 h 10000"/>
              <a:gd name="connsiteX47" fmla="*/ 1413 w 10000"/>
              <a:gd name="connsiteY47" fmla="*/ 5936 h 10000"/>
              <a:gd name="connsiteX48" fmla="*/ 1095 w 10000"/>
              <a:gd name="connsiteY48" fmla="*/ 5619 h 10000"/>
              <a:gd name="connsiteX49" fmla="*/ 619 w 10000"/>
              <a:gd name="connsiteY49" fmla="*/ 6254 h 10000"/>
              <a:gd name="connsiteX50" fmla="*/ 476 w 10000"/>
              <a:gd name="connsiteY50" fmla="*/ 6254 h 10000"/>
              <a:gd name="connsiteX51" fmla="*/ 619 w 10000"/>
              <a:gd name="connsiteY51" fmla="*/ 5936 h 10000"/>
              <a:gd name="connsiteX52" fmla="*/ 476 w 10000"/>
              <a:gd name="connsiteY52" fmla="*/ 5301 h 10000"/>
              <a:gd name="connsiteX53" fmla="*/ 159 w 10000"/>
              <a:gd name="connsiteY53" fmla="*/ 5301 h 10000"/>
              <a:gd name="connsiteX54" fmla="*/ 0 w 10000"/>
              <a:gd name="connsiteY54" fmla="*/ 4667 h 10000"/>
              <a:gd name="connsiteX55" fmla="*/ 159 w 10000"/>
              <a:gd name="connsiteY55" fmla="*/ 3111 h 10000"/>
              <a:gd name="connsiteX56" fmla="*/ 476 w 10000"/>
              <a:gd name="connsiteY56" fmla="*/ 3746 h 10000"/>
              <a:gd name="connsiteX57" fmla="*/ 619 w 10000"/>
              <a:gd name="connsiteY57" fmla="*/ 3746 h 10000"/>
              <a:gd name="connsiteX58" fmla="*/ 476 w 10000"/>
              <a:gd name="connsiteY58" fmla="*/ 3111 h 10000"/>
              <a:gd name="connsiteX59" fmla="*/ 937 w 10000"/>
              <a:gd name="connsiteY59" fmla="*/ 2191 h 10000"/>
              <a:gd name="connsiteX60" fmla="*/ 1254 w 10000"/>
              <a:gd name="connsiteY60" fmla="*/ 2476 h 10000"/>
              <a:gd name="connsiteX61" fmla="*/ 1413 w 10000"/>
              <a:gd name="connsiteY61" fmla="*/ 2191 h 10000"/>
              <a:gd name="connsiteX62" fmla="*/ 1714 w 10000"/>
              <a:gd name="connsiteY62" fmla="*/ 2476 h 10000"/>
              <a:gd name="connsiteX63" fmla="*/ 2190 w 10000"/>
              <a:gd name="connsiteY63" fmla="*/ 3111 h 10000"/>
              <a:gd name="connsiteX64" fmla="*/ 2492 w 10000"/>
              <a:gd name="connsiteY64" fmla="*/ 2794 h 10000"/>
              <a:gd name="connsiteX65" fmla="*/ 2810 w 10000"/>
              <a:gd name="connsiteY65" fmla="*/ 2794 h 10000"/>
              <a:gd name="connsiteX66" fmla="*/ 2968 w 10000"/>
              <a:gd name="connsiteY66" fmla="*/ 3111 h 10000"/>
              <a:gd name="connsiteX67" fmla="*/ 6873 w 10000"/>
              <a:gd name="connsiteY67" fmla="*/ 921 h 10000"/>
              <a:gd name="connsiteX68" fmla="*/ 7190 w 10000"/>
              <a:gd name="connsiteY68" fmla="*/ 318 h 10000"/>
              <a:gd name="connsiteX69" fmla="*/ 7492 w 10000"/>
              <a:gd name="connsiteY69" fmla="*/ 0 h 10000"/>
              <a:gd name="connsiteX70" fmla="*/ 7651 w 10000"/>
              <a:gd name="connsiteY70" fmla="*/ 921 h 10000"/>
              <a:gd name="connsiteX71" fmla="*/ 8286 w 10000"/>
              <a:gd name="connsiteY71" fmla="*/ 3111 h 10000"/>
              <a:gd name="connsiteX72" fmla="*/ 8429 w 10000"/>
              <a:gd name="connsiteY72" fmla="*/ 2476 h 10000"/>
              <a:gd name="connsiteX73" fmla="*/ 8587 w 10000"/>
              <a:gd name="connsiteY73" fmla="*/ 3111 h 10000"/>
              <a:gd name="connsiteX74" fmla="*/ 9063 w 10000"/>
              <a:gd name="connsiteY74" fmla="*/ 2794 h 10000"/>
              <a:gd name="connsiteX75" fmla="*/ 9524 w 10000"/>
              <a:gd name="connsiteY75" fmla="*/ 3746 h 10000"/>
              <a:gd name="connsiteX76" fmla="*/ 9841 w 10000"/>
              <a:gd name="connsiteY76" fmla="*/ 4064 h 10000"/>
              <a:gd name="connsiteX77" fmla="*/ 9841 w 10000"/>
              <a:gd name="connsiteY77" fmla="*/ 3746 h 10000"/>
              <a:gd name="connsiteX78" fmla="*/ 10000 w 10000"/>
              <a:gd name="connsiteY78" fmla="*/ 4381 h 10000"/>
              <a:gd name="connsiteX79" fmla="*/ 9841 w 10000"/>
              <a:gd name="connsiteY79" fmla="*/ 4667 h 10000"/>
              <a:gd name="connsiteX0" fmla="*/ 9841 w 10000"/>
              <a:gd name="connsiteY0" fmla="*/ 4667 h 10000"/>
              <a:gd name="connsiteX1" fmla="*/ 9683 w 10000"/>
              <a:gd name="connsiteY1" fmla="*/ 4985 h 10000"/>
              <a:gd name="connsiteX2" fmla="*/ 9524 w 10000"/>
              <a:gd name="connsiteY2" fmla="*/ 5936 h 10000"/>
              <a:gd name="connsiteX3" fmla="*/ 9365 w 10000"/>
              <a:gd name="connsiteY3" fmla="*/ 5936 h 10000"/>
              <a:gd name="connsiteX4" fmla="*/ 8905 w 10000"/>
              <a:gd name="connsiteY4" fmla="*/ 5936 h 10000"/>
              <a:gd name="connsiteX5" fmla="*/ 8746 w 10000"/>
              <a:gd name="connsiteY5" fmla="*/ 7174 h 10000"/>
              <a:gd name="connsiteX6" fmla="*/ 8286 w 10000"/>
              <a:gd name="connsiteY6" fmla="*/ 7174 h 10000"/>
              <a:gd name="connsiteX7" fmla="*/ 8286 w 10000"/>
              <a:gd name="connsiteY7" fmla="*/ 7492 h 10000"/>
              <a:gd name="connsiteX8" fmla="*/ 8429 w 10000"/>
              <a:gd name="connsiteY8" fmla="*/ 8730 h 10000"/>
              <a:gd name="connsiteX9" fmla="*/ 8286 w 10000"/>
              <a:gd name="connsiteY9" fmla="*/ 9047 h 10000"/>
              <a:gd name="connsiteX10" fmla="*/ 7968 w 10000"/>
              <a:gd name="connsiteY10" fmla="*/ 8730 h 10000"/>
              <a:gd name="connsiteX11" fmla="*/ 7032 w 10000"/>
              <a:gd name="connsiteY11" fmla="*/ 8730 h 10000"/>
              <a:gd name="connsiteX12" fmla="*/ 6714 w 10000"/>
              <a:gd name="connsiteY12" fmla="*/ 8444 h 10000"/>
              <a:gd name="connsiteX13" fmla="*/ 6556 w 10000"/>
              <a:gd name="connsiteY13" fmla="*/ 8730 h 10000"/>
              <a:gd name="connsiteX14" fmla="*/ 6556 w 10000"/>
              <a:gd name="connsiteY14" fmla="*/ 9047 h 10000"/>
              <a:gd name="connsiteX15" fmla="*/ 6095 w 10000"/>
              <a:gd name="connsiteY15" fmla="*/ 8730 h 10000"/>
              <a:gd name="connsiteX16" fmla="*/ 5937 w 10000"/>
              <a:gd name="connsiteY16" fmla="*/ 9047 h 10000"/>
              <a:gd name="connsiteX17" fmla="*/ 5460 w 10000"/>
              <a:gd name="connsiteY17" fmla="*/ 10000 h 10000"/>
              <a:gd name="connsiteX18" fmla="*/ 5317 w 10000"/>
              <a:gd name="connsiteY18" fmla="*/ 9682 h 10000"/>
              <a:gd name="connsiteX19" fmla="*/ 5000 w 10000"/>
              <a:gd name="connsiteY19" fmla="*/ 9682 h 10000"/>
              <a:gd name="connsiteX20" fmla="*/ 5000 w 10000"/>
              <a:gd name="connsiteY20" fmla="*/ 9365 h 10000"/>
              <a:gd name="connsiteX21" fmla="*/ 4841 w 10000"/>
              <a:gd name="connsiteY21" fmla="*/ 9365 h 10000"/>
              <a:gd name="connsiteX22" fmla="*/ 4841 w 10000"/>
              <a:gd name="connsiteY22" fmla="*/ 8730 h 10000"/>
              <a:gd name="connsiteX23" fmla="*/ 4524 w 10000"/>
              <a:gd name="connsiteY23" fmla="*/ 8127 h 10000"/>
              <a:gd name="connsiteX24" fmla="*/ 3762 w 10000"/>
              <a:gd name="connsiteY24" fmla="*/ 8095 h 10000"/>
              <a:gd name="connsiteX25" fmla="*/ 3540 w 10000"/>
              <a:gd name="connsiteY25" fmla="*/ 7555 h 10000"/>
              <a:gd name="connsiteX26" fmla="*/ 3730 w 10000"/>
              <a:gd name="connsiteY26" fmla="*/ 7460 h 10000"/>
              <a:gd name="connsiteX27" fmla="*/ 3587 w 10000"/>
              <a:gd name="connsiteY27" fmla="*/ 6699 h 10000"/>
              <a:gd name="connsiteX28" fmla="*/ 3762 w 10000"/>
              <a:gd name="connsiteY28" fmla="*/ 6191 h 10000"/>
              <a:gd name="connsiteX29" fmla="*/ 3302 w 10000"/>
              <a:gd name="connsiteY29" fmla="*/ 6222 h 10000"/>
              <a:gd name="connsiteX30" fmla="*/ 3333 w 10000"/>
              <a:gd name="connsiteY30" fmla="*/ 6571 h 10000"/>
              <a:gd name="connsiteX31" fmla="*/ 3159 w 10000"/>
              <a:gd name="connsiteY31" fmla="*/ 6889 h 10000"/>
              <a:gd name="connsiteX32" fmla="*/ 2952 w 10000"/>
              <a:gd name="connsiteY32" fmla="*/ 6857 h 10000"/>
              <a:gd name="connsiteX33" fmla="*/ 2349 w 10000"/>
              <a:gd name="connsiteY33" fmla="*/ 7174 h 10000"/>
              <a:gd name="connsiteX34" fmla="*/ 2349 w 10000"/>
              <a:gd name="connsiteY34" fmla="*/ 9682 h 10000"/>
              <a:gd name="connsiteX35" fmla="*/ 2190 w 10000"/>
              <a:gd name="connsiteY35" fmla="*/ 9682 h 10000"/>
              <a:gd name="connsiteX36" fmla="*/ 1873 w 10000"/>
              <a:gd name="connsiteY36" fmla="*/ 9047 h 10000"/>
              <a:gd name="connsiteX37" fmla="*/ 1413 w 10000"/>
              <a:gd name="connsiteY37" fmla="*/ 9365 h 10000"/>
              <a:gd name="connsiteX38" fmla="*/ 1413 w 10000"/>
              <a:gd name="connsiteY38" fmla="*/ 8730 h 10000"/>
              <a:gd name="connsiteX39" fmla="*/ 1254 w 10000"/>
              <a:gd name="connsiteY39" fmla="*/ 8730 h 10000"/>
              <a:gd name="connsiteX40" fmla="*/ 1095 w 10000"/>
              <a:gd name="connsiteY40" fmla="*/ 7809 h 10000"/>
              <a:gd name="connsiteX41" fmla="*/ 937 w 10000"/>
              <a:gd name="connsiteY41" fmla="*/ 7809 h 10000"/>
              <a:gd name="connsiteX42" fmla="*/ 1254 w 10000"/>
              <a:gd name="connsiteY42" fmla="*/ 7809 h 10000"/>
              <a:gd name="connsiteX43" fmla="*/ 1095 w 10000"/>
              <a:gd name="connsiteY43" fmla="*/ 7492 h 10000"/>
              <a:gd name="connsiteX44" fmla="*/ 1254 w 10000"/>
              <a:gd name="connsiteY44" fmla="*/ 7174 h 10000"/>
              <a:gd name="connsiteX45" fmla="*/ 1873 w 10000"/>
              <a:gd name="connsiteY45" fmla="*/ 7174 h 10000"/>
              <a:gd name="connsiteX46" fmla="*/ 1714 w 10000"/>
              <a:gd name="connsiteY46" fmla="*/ 6254 h 10000"/>
              <a:gd name="connsiteX47" fmla="*/ 1413 w 10000"/>
              <a:gd name="connsiteY47" fmla="*/ 5936 h 10000"/>
              <a:gd name="connsiteX48" fmla="*/ 1095 w 10000"/>
              <a:gd name="connsiteY48" fmla="*/ 5619 h 10000"/>
              <a:gd name="connsiteX49" fmla="*/ 619 w 10000"/>
              <a:gd name="connsiteY49" fmla="*/ 6254 h 10000"/>
              <a:gd name="connsiteX50" fmla="*/ 476 w 10000"/>
              <a:gd name="connsiteY50" fmla="*/ 6254 h 10000"/>
              <a:gd name="connsiteX51" fmla="*/ 619 w 10000"/>
              <a:gd name="connsiteY51" fmla="*/ 5936 h 10000"/>
              <a:gd name="connsiteX52" fmla="*/ 476 w 10000"/>
              <a:gd name="connsiteY52" fmla="*/ 5301 h 10000"/>
              <a:gd name="connsiteX53" fmla="*/ 159 w 10000"/>
              <a:gd name="connsiteY53" fmla="*/ 5301 h 10000"/>
              <a:gd name="connsiteX54" fmla="*/ 0 w 10000"/>
              <a:gd name="connsiteY54" fmla="*/ 4667 h 10000"/>
              <a:gd name="connsiteX55" fmla="*/ 159 w 10000"/>
              <a:gd name="connsiteY55" fmla="*/ 3111 h 10000"/>
              <a:gd name="connsiteX56" fmla="*/ 476 w 10000"/>
              <a:gd name="connsiteY56" fmla="*/ 3746 h 10000"/>
              <a:gd name="connsiteX57" fmla="*/ 619 w 10000"/>
              <a:gd name="connsiteY57" fmla="*/ 3746 h 10000"/>
              <a:gd name="connsiteX58" fmla="*/ 476 w 10000"/>
              <a:gd name="connsiteY58" fmla="*/ 3111 h 10000"/>
              <a:gd name="connsiteX59" fmla="*/ 937 w 10000"/>
              <a:gd name="connsiteY59" fmla="*/ 2191 h 10000"/>
              <a:gd name="connsiteX60" fmla="*/ 1254 w 10000"/>
              <a:gd name="connsiteY60" fmla="*/ 2476 h 10000"/>
              <a:gd name="connsiteX61" fmla="*/ 1413 w 10000"/>
              <a:gd name="connsiteY61" fmla="*/ 2191 h 10000"/>
              <a:gd name="connsiteX62" fmla="*/ 1714 w 10000"/>
              <a:gd name="connsiteY62" fmla="*/ 2476 h 10000"/>
              <a:gd name="connsiteX63" fmla="*/ 2190 w 10000"/>
              <a:gd name="connsiteY63" fmla="*/ 3111 h 10000"/>
              <a:gd name="connsiteX64" fmla="*/ 2492 w 10000"/>
              <a:gd name="connsiteY64" fmla="*/ 2794 h 10000"/>
              <a:gd name="connsiteX65" fmla="*/ 2810 w 10000"/>
              <a:gd name="connsiteY65" fmla="*/ 2794 h 10000"/>
              <a:gd name="connsiteX66" fmla="*/ 2968 w 10000"/>
              <a:gd name="connsiteY66" fmla="*/ 3111 h 10000"/>
              <a:gd name="connsiteX67" fmla="*/ 7190 w 10000"/>
              <a:gd name="connsiteY67" fmla="*/ 318 h 10000"/>
              <a:gd name="connsiteX68" fmla="*/ 7492 w 10000"/>
              <a:gd name="connsiteY68" fmla="*/ 0 h 10000"/>
              <a:gd name="connsiteX69" fmla="*/ 7651 w 10000"/>
              <a:gd name="connsiteY69" fmla="*/ 921 h 10000"/>
              <a:gd name="connsiteX70" fmla="*/ 8286 w 10000"/>
              <a:gd name="connsiteY70" fmla="*/ 3111 h 10000"/>
              <a:gd name="connsiteX71" fmla="*/ 8429 w 10000"/>
              <a:gd name="connsiteY71" fmla="*/ 2476 h 10000"/>
              <a:gd name="connsiteX72" fmla="*/ 8587 w 10000"/>
              <a:gd name="connsiteY72" fmla="*/ 3111 h 10000"/>
              <a:gd name="connsiteX73" fmla="*/ 9063 w 10000"/>
              <a:gd name="connsiteY73" fmla="*/ 2794 h 10000"/>
              <a:gd name="connsiteX74" fmla="*/ 9524 w 10000"/>
              <a:gd name="connsiteY74" fmla="*/ 3746 h 10000"/>
              <a:gd name="connsiteX75" fmla="*/ 9841 w 10000"/>
              <a:gd name="connsiteY75" fmla="*/ 4064 h 10000"/>
              <a:gd name="connsiteX76" fmla="*/ 9841 w 10000"/>
              <a:gd name="connsiteY76" fmla="*/ 3746 h 10000"/>
              <a:gd name="connsiteX77" fmla="*/ 10000 w 10000"/>
              <a:gd name="connsiteY77" fmla="*/ 4381 h 10000"/>
              <a:gd name="connsiteX78" fmla="*/ 9841 w 10000"/>
              <a:gd name="connsiteY78" fmla="*/ 4667 h 10000"/>
              <a:gd name="connsiteX0" fmla="*/ 9841 w 10000"/>
              <a:gd name="connsiteY0" fmla="*/ 4667 h 10000"/>
              <a:gd name="connsiteX1" fmla="*/ 9683 w 10000"/>
              <a:gd name="connsiteY1" fmla="*/ 4985 h 10000"/>
              <a:gd name="connsiteX2" fmla="*/ 9524 w 10000"/>
              <a:gd name="connsiteY2" fmla="*/ 5936 h 10000"/>
              <a:gd name="connsiteX3" fmla="*/ 9365 w 10000"/>
              <a:gd name="connsiteY3" fmla="*/ 5936 h 10000"/>
              <a:gd name="connsiteX4" fmla="*/ 8905 w 10000"/>
              <a:gd name="connsiteY4" fmla="*/ 5936 h 10000"/>
              <a:gd name="connsiteX5" fmla="*/ 8746 w 10000"/>
              <a:gd name="connsiteY5" fmla="*/ 7174 h 10000"/>
              <a:gd name="connsiteX6" fmla="*/ 8286 w 10000"/>
              <a:gd name="connsiteY6" fmla="*/ 7174 h 10000"/>
              <a:gd name="connsiteX7" fmla="*/ 8286 w 10000"/>
              <a:gd name="connsiteY7" fmla="*/ 7492 h 10000"/>
              <a:gd name="connsiteX8" fmla="*/ 8429 w 10000"/>
              <a:gd name="connsiteY8" fmla="*/ 8730 h 10000"/>
              <a:gd name="connsiteX9" fmla="*/ 8286 w 10000"/>
              <a:gd name="connsiteY9" fmla="*/ 9047 h 10000"/>
              <a:gd name="connsiteX10" fmla="*/ 7968 w 10000"/>
              <a:gd name="connsiteY10" fmla="*/ 8730 h 10000"/>
              <a:gd name="connsiteX11" fmla="*/ 7032 w 10000"/>
              <a:gd name="connsiteY11" fmla="*/ 8730 h 10000"/>
              <a:gd name="connsiteX12" fmla="*/ 6714 w 10000"/>
              <a:gd name="connsiteY12" fmla="*/ 8444 h 10000"/>
              <a:gd name="connsiteX13" fmla="*/ 6556 w 10000"/>
              <a:gd name="connsiteY13" fmla="*/ 8730 h 10000"/>
              <a:gd name="connsiteX14" fmla="*/ 6556 w 10000"/>
              <a:gd name="connsiteY14" fmla="*/ 9047 h 10000"/>
              <a:gd name="connsiteX15" fmla="*/ 6095 w 10000"/>
              <a:gd name="connsiteY15" fmla="*/ 8730 h 10000"/>
              <a:gd name="connsiteX16" fmla="*/ 5937 w 10000"/>
              <a:gd name="connsiteY16" fmla="*/ 9047 h 10000"/>
              <a:gd name="connsiteX17" fmla="*/ 5460 w 10000"/>
              <a:gd name="connsiteY17" fmla="*/ 10000 h 10000"/>
              <a:gd name="connsiteX18" fmla="*/ 5317 w 10000"/>
              <a:gd name="connsiteY18" fmla="*/ 9682 h 10000"/>
              <a:gd name="connsiteX19" fmla="*/ 5000 w 10000"/>
              <a:gd name="connsiteY19" fmla="*/ 9682 h 10000"/>
              <a:gd name="connsiteX20" fmla="*/ 5000 w 10000"/>
              <a:gd name="connsiteY20" fmla="*/ 9365 h 10000"/>
              <a:gd name="connsiteX21" fmla="*/ 4841 w 10000"/>
              <a:gd name="connsiteY21" fmla="*/ 9365 h 10000"/>
              <a:gd name="connsiteX22" fmla="*/ 4841 w 10000"/>
              <a:gd name="connsiteY22" fmla="*/ 8730 h 10000"/>
              <a:gd name="connsiteX23" fmla="*/ 4524 w 10000"/>
              <a:gd name="connsiteY23" fmla="*/ 8127 h 10000"/>
              <a:gd name="connsiteX24" fmla="*/ 3762 w 10000"/>
              <a:gd name="connsiteY24" fmla="*/ 8095 h 10000"/>
              <a:gd name="connsiteX25" fmla="*/ 3540 w 10000"/>
              <a:gd name="connsiteY25" fmla="*/ 7555 h 10000"/>
              <a:gd name="connsiteX26" fmla="*/ 3730 w 10000"/>
              <a:gd name="connsiteY26" fmla="*/ 7460 h 10000"/>
              <a:gd name="connsiteX27" fmla="*/ 3587 w 10000"/>
              <a:gd name="connsiteY27" fmla="*/ 6699 h 10000"/>
              <a:gd name="connsiteX28" fmla="*/ 3762 w 10000"/>
              <a:gd name="connsiteY28" fmla="*/ 6191 h 10000"/>
              <a:gd name="connsiteX29" fmla="*/ 3302 w 10000"/>
              <a:gd name="connsiteY29" fmla="*/ 6222 h 10000"/>
              <a:gd name="connsiteX30" fmla="*/ 3333 w 10000"/>
              <a:gd name="connsiteY30" fmla="*/ 6571 h 10000"/>
              <a:gd name="connsiteX31" fmla="*/ 3159 w 10000"/>
              <a:gd name="connsiteY31" fmla="*/ 6889 h 10000"/>
              <a:gd name="connsiteX32" fmla="*/ 2952 w 10000"/>
              <a:gd name="connsiteY32" fmla="*/ 6857 h 10000"/>
              <a:gd name="connsiteX33" fmla="*/ 2349 w 10000"/>
              <a:gd name="connsiteY33" fmla="*/ 7174 h 10000"/>
              <a:gd name="connsiteX34" fmla="*/ 2349 w 10000"/>
              <a:gd name="connsiteY34" fmla="*/ 9682 h 10000"/>
              <a:gd name="connsiteX35" fmla="*/ 2190 w 10000"/>
              <a:gd name="connsiteY35" fmla="*/ 9682 h 10000"/>
              <a:gd name="connsiteX36" fmla="*/ 1873 w 10000"/>
              <a:gd name="connsiteY36" fmla="*/ 9047 h 10000"/>
              <a:gd name="connsiteX37" fmla="*/ 1413 w 10000"/>
              <a:gd name="connsiteY37" fmla="*/ 9365 h 10000"/>
              <a:gd name="connsiteX38" fmla="*/ 1413 w 10000"/>
              <a:gd name="connsiteY38" fmla="*/ 8730 h 10000"/>
              <a:gd name="connsiteX39" fmla="*/ 1254 w 10000"/>
              <a:gd name="connsiteY39" fmla="*/ 8730 h 10000"/>
              <a:gd name="connsiteX40" fmla="*/ 1095 w 10000"/>
              <a:gd name="connsiteY40" fmla="*/ 7809 h 10000"/>
              <a:gd name="connsiteX41" fmla="*/ 937 w 10000"/>
              <a:gd name="connsiteY41" fmla="*/ 7809 h 10000"/>
              <a:gd name="connsiteX42" fmla="*/ 1254 w 10000"/>
              <a:gd name="connsiteY42" fmla="*/ 7809 h 10000"/>
              <a:gd name="connsiteX43" fmla="*/ 1095 w 10000"/>
              <a:gd name="connsiteY43" fmla="*/ 7492 h 10000"/>
              <a:gd name="connsiteX44" fmla="*/ 1254 w 10000"/>
              <a:gd name="connsiteY44" fmla="*/ 7174 h 10000"/>
              <a:gd name="connsiteX45" fmla="*/ 1873 w 10000"/>
              <a:gd name="connsiteY45" fmla="*/ 7174 h 10000"/>
              <a:gd name="connsiteX46" fmla="*/ 1714 w 10000"/>
              <a:gd name="connsiteY46" fmla="*/ 6254 h 10000"/>
              <a:gd name="connsiteX47" fmla="*/ 1413 w 10000"/>
              <a:gd name="connsiteY47" fmla="*/ 5936 h 10000"/>
              <a:gd name="connsiteX48" fmla="*/ 1095 w 10000"/>
              <a:gd name="connsiteY48" fmla="*/ 5619 h 10000"/>
              <a:gd name="connsiteX49" fmla="*/ 619 w 10000"/>
              <a:gd name="connsiteY49" fmla="*/ 6254 h 10000"/>
              <a:gd name="connsiteX50" fmla="*/ 476 w 10000"/>
              <a:gd name="connsiteY50" fmla="*/ 6254 h 10000"/>
              <a:gd name="connsiteX51" fmla="*/ 619 w 10000"/>
              <a:gd name="connsiteY51" fmla="*/ 5936 h 10000"/>
              <a:gd name="connsiteX52" fmla="*/ 476 w 10000"/>
              <a:gd name="connsiteY52" fmla="*/ 5301 h 10000"/>
              <a:gd name="connsiteX53" fmla="*/ 159 w 10000"/>
              <a:gd name="connsiteY53" fmla="*/ 5301 h 10000"/>
              <a:gd name="connsiteX54" fmla="*/ 0 w 10000"/>
              <a:gd name="connsiteY54" fmla="*/ 4667 h 10000"/>
              <a:gd name="connsiteX55" fmla="*/ 159 w 10000"/>
              <a:gd name="connsiteY55" fmla="*/ 3111 h 10000"/>
              <a:gd name="connsiteX56" fmla="*/ 476 w 10000"/>
              <a:gd name="connsiteY56" fmla="*/ 3746 h 10000"/>
              <a:gd name="connsiteX57" fmla="*/ 619 w 10000"/>
              <a:gd name="connsiteY57" fmla="*/ 3746 h 10000"/>
              <a:gd name="connsiteX58" fmla="*/ 476 w 10000"/>
              <a:gd name="connsiteY58" fmla="*/ 3111 h 10000"/>
              <a:gd name="connsiteX59" fmla="*/ 937 w 10000"/>
              <a:gd name="connsiteY59" fmla="*/ 2191 h 10000"/>
              <a:gd name="connsiteX60" fmla="*/ 1254 w 10000"/>
              <a:gd name="connsiteY60" fmla="*/ 2476 h 10000"/>
              <a:gd name="connsiteX61" fmla="*/ 1413 w 10000"/>
              <a:gd name="connsiteY61" fmla="*/ 2191 h 10000"/>
              <a:gd name="connsiteX62" fmla="*/ 1714 w 10000"/>
              <a:gd name="connsiteY62" fmla="*/ 2476 h 10000"/>
              <a:gd name="connsiteX63" fmla="*/ 2190 w 10000"/>
              <a:gd name="connsiteY63" fmla="*/ 3111 h 10000"/>
              <a:gd name="connsiteX64" fmla="*/ 2492 w 10000"/>
              <a:gd name="connsiteY64" fmla="*/ 2794 h 10000"/>
              <a:gd name="connsiteX65" fmla="*/ 2810 w 10000"/>
              <a:gd name="connsiteY65" fmla="*/ 2794 h 10000"/>
              <a:gd name="connsiteX66" fmla="*/ 2968 w 10000"/>
              <a:gd name="connsiteY66" fmla="*/ 3111 h 10000"/>
              <a:gd name="connsiteX67" fmla="*/ 7492 w 10000"/>
              <a:gd name="connsiteY67" fmla="*/ 0 h 10000"/>
              <a:gd name="connsiteX68" fmla="*/ 7651 w 10000"/>
              <a:gd name="connsiteY68" fmla="*/ 921 h 10000"/>
              <a:gd name="connsiteX69" fmla="*/ 8286 w 10000"/>
              <a:gd name="connsiteY69" fmla="*/ 3111 h 10000"/>
              <a:gd name="connsiteX70" fmla="*/ 8429 w 10000"/>
              <a:gd name="connsiteY70" fmla="*/ 2476 h 10000"/>
              <a:gd name="connsiteX71" fmla="*/ 8587 w 10000"/>
              <a:gd name="connsiteY71" fmla="*/ 3111 h 10000"/>
              <a:gd name="connsiteX72" fmla="*/ 9063 w 10000"/>
              <a:gd name="connsiteY72" fmla="*/ 2794 h 10000"/>
              <a:gd name="connsiteX73" fmla="*/ 9524 w 10000"/>
              <a:gd name="connsiteY73" fmla="*/ 3746 h 10000"/>
              <a:gd name="connsiteX74" fmla="*/ 9841 w 10000"/>
              <a:gd name="connsiteY74" fmla="*/ 4064 h 10000"/>
              <a:gd name="connsiteX75" fmla="*/ 9841 w 10000"/>
              <a:gd name="connsiteY75" fmla="*/ 3746 h 10000"/>
              <a:gd name="connsiteX76" fmla="*/ 10000 w 10000"/>
              <a:gd name="connsiteY76" fmla="*/ 4381 h 10000"/>
              <a:gd name="connsiteX77" fmla="*/ 9841 w 10000"/>
              <a:gd name="connsiteY77" fmla="*/ 4667 h 10000"/>
              <a:gd name="connsiteX0" fmla="*/ 9841 w 10000"/>
              <a:gd name="connsiteY0" fmla="*/ 3746 h 9079"/>
              <a:gd name="connsiteX1" fmla="*/ 9683 w 10000"/>
              <a:gd name="connsiteY1" fmla="*/ 4064 h 9079"/>
              <a:gd name="connsiteX2" fmla="*/ 9524 w 10000"/>
              <a:gd name="connsiteY2" fmla="*/ 5015 h 9079"/>
              <a:gd name="connsiteX3" fmla="*/ 9365 w 10000"/>
              <a:gd name="connsiteY3" fmla="*/ 5015 h 9079"/>
              <a:gd name="connsiteX4" fmla="*/ 8905 w 10000"/>
              <a:gd name="connsiteY4" fmla="*/ 5015 h 9079"/>
              <a:gd name="connsiteX5" fmla="*/ 8746 w 10000"/>
              <a:gd name="connsiteY5" fmla="*/ 6253 h 9079"/>
              <a:gd name="connsiteX6" fmla="*/ 8286 w 10000"/>
              <a:gd name="connsiteY6" fmla="*/ 6253 h 9079"/>
              <a:gd name="connsiteX7" fmla="*/ 8286 w 10000"/>
              <a:gd name="connsiteY7" fmla="*/ 6571 h 9079"/>
              <a:gd name="connsiteX8" fmla="*/ 8429 w 10000"/>
              <a:gd name="connsiteY8" fmla="*/ 7809 h 9079"/>
              <a:gd name="connsiteX9" fmla="*/ 8286 w 10000"/>
              <a:gd name="connsiteY9" fmla="*/ 8126 h 9079"/>
              <a:gd name="connsiteX10" fmla="*/ 7968 w 10000"/>
              <a:gd name="connsiteY10" fmla="*/ 7809 h 9079"/>
              <a:gd name="connsiteX11" fmla="*/ 7032 w 10000"/>
              <a:gd name="connsiteY11" fmla="*/ 7809 h 9079"/>
              <a:gd name="connsiteX12" fmla="*/ 6714 w 10000"/>
              <a:gd name="connsiteY12" fmla="*/ 7523 h 9079"/>
              <a:gd name="connsiteX13" fmla="*/ 6556 w 10000"/>
              <a:gd name="connsiteY13" fmla="*/ 7809 h 9079"/>
              <a:gd name="connsiteX14" fmla="*/ 6556 w 10000"/>
              <a:gd name="connsiteY14" fmla="*/ 8126 h 9079"/>
              <a:gd name="connsiteX15" fmla="*/ 6095 w 10000"/>
              <a:gd name="connsiteY15" fmla="*/ 7809 h 9079"/>
              <a:gd name="connsiteX16" fmla="*/ 5937 w 10000"/>
              <a:gd name="connsiteY16" fmla="*/ 8126 h 9079"/>
              <a:gd name="connsiteX17" fmla="*/ 5460 w 10000"/>
              <a:gd name="connsiteY17" fmla="*/ 9079 h 9079"/>
              <a:gd name="connsiteX18" fmla="*/ 5317 w 10000"/>
              <a:gd name="connsiteY18" fmla="*/ 8761 h 9079"/>
              <a:gd name="connsiteX19" fmla="*/ 5000 w 10000"/>
              <a:gd name="connsiteY19" fmla="*/ 8761 h 9079"/>
              <a:gd name="connsiteX20" fmla="*/ 5000 w 10000"/>
              <a:gd name="connsiteY20" fmla="*/ 8444 h 9079"/>
              <a:gd name="connsiteX21" fmla="*/ 4841 w 10000"/>
              <a:gd name="connsiteY21" fmla="*/ 8444 h 9079"/>
              <a:gd name="connsiteX22" fmla="*/ 4841 w 10000"/>
              <a:gd name="connsiteY22" fmla="*/ 7809 h 9079"/>
              <a:gd name="connsiteX23" fmla="*/ 4524 w 10000"/>
              <a:gd name="connsiteY23" fmla="*/ 7206 h 9079"/>
              <a:gd name="connsiteX24" fmla="*/ 3762 w 10000"/>
              <a:gd name="connsiteY24" fmla="*/ 7174 h 9079"/>
              <a:gd name="connsiteX25" fmla="*/ 3540 w 10000"/>
              <a:gd name="connsiteY25" fmla="*/ 6634 h 9079"/>
              <a:gd name="connsiteX26" fmla="*/ 3730 w 10000"/>
              <a:gd name="connsiteY26" fmla="*/ 6539 h 9079"/>
              <a:gd name="connsiteX27" fmla="*/ 3587 w 10000"/>
              <a:gd name="connsiteY27" fmla="*/ 5778 h 9079"/>
              <a:gd name="connsiteX28" fmla="*/ 3762 w 10000"/>
              <a:gd name="connsiteY28" fmla="*/ 5270 h 9079"/>
              <a:gd name="connsiteX29" fmla="*/ 3302 w 10000"/>
              <a:gd name="connsiteY29" fmla="*/ 5301 h 9079"/>
              <a:gd name="connsiteX30" fmla="*/ 3333 w 10000"/>
              <a:gd name="connsiteY30" fmla="*/ 5650 h 9079"/>
              <a:gd name="connsiteX31" fmla="*/ 3159 w 10000"/>
              <a:gd name="connsiteY31" fmla="*/ 5968 h 9079"/>
              <a:gd name="connsiteX32" fmla="*/ 2952 w 10000"/>
              <a:gd name="connsiteY32" fmla="*/ 5936 h 9079"/>
              <a:gd name="connsiteX33" fmla="*/ 2349 w 10000"/>
              <a:gd name="connsiteY33" fmla="*/ 6253 h 9079"/>
              <a:gd name="connsiteX34" fmla="*/ 2349 w 10000"/>
              <a:gd name="connsiteY34" fmla="*/ 8761 h 9079"/>
              <a:gd name="connsiteX35" fmla="*/ 2190 w 10000"/>
              <a:gd name="connsiteY35" fmla="*/ 8761 h 9079"/>
              <a:gd name="connsiteX36" fmla="*/ 1873 w 10000"/>
              <a:gd name="connsiteY36" fmla="*/ 8126 h 9079"/>
              <a:gd name="connsiteX37" fmla="*/ 1413 w 10000"/>
              <a:gd name="connsiteY37" fmla="*/ 8444 h 9079"/>
              <a:gd name="connsiteX38" fmla="*/ 1413 w 10000"/>
              <a:gd name="connsiteY38" fmla="*/ 7809 h 9079"/>
              <a:gd name="connsiteX39" fmla="*/ 1254 w 10000"/>
              <a:gd name="connsiteY39" fmla="*/ 7809 h 9079"/>
              <a:gd name="connsiteX40" fmla="*/ 1095 w 10000"/>
              <a:gd name="connsiteY40" fmla="*/ 6888 h 9079"/>
              <a:gd name="connsiteX41" fmla="*/ 937 w 10000"/>
              <a:gd name="connsiteY41" fmla="*/ 6888 h 9079"/>
              <a:gd name="connsiteX42" fmla="*/ 1254 w 10000"/>
              <a:gd name="connsiteY42" fmla="*/ 6888 h 9079"/>
              <a:gd name="connsiteX43" fmla="*/ 1095 w 10000"/>
              <a:gd name="connsiteY43" fmla="*/ 6571 h 9079"/>
              <a:gd name="connsiteX44" fmla="*/ 1254 w 10000"/>
              <a:gd name="connsiteY44" fmla="*/ 6253 h 9079"/>
              <a:gd name="connsiteX45" fmla="*/ 1873 w 10000"/>
              <a:gd name="connsiteY45" fmla="*/ 6253 h 9079"/>
              <a:gd name="connsiteX46" fmla="*/ 1714 w 10000"/>
              <a:gd name="connsiteY46" fmla="*/ 5333 h 9079"/>
              <a:gd name="connsiteX47" fmla="*/ 1413 w 10000"/>
              <a:gd name="connsiteY47" fmla="*/ 5015 h 9079"/>
              <a:gd name="connsiteX48" fmla="*/ 1095 w 10000"/>
              <a:gd name="connsiteY48" fmla="*/ 4698 h 9079"/>
              <a:gd name="connsiteX49" fmla="*/ 619 w 10000"/>
              <a:gd name="connsiteY49" fmla="*/ 5333 h 9079"/>
              <a:gd name="connsiteX50" fmla="*/ 476 w 10000"/>
              <a:gd name="connsiteY50" fmla="*/ 5333 h 9079"/>
              <a:gd name="connsiteX51" fmla="*/ 619 w 10000"/>
              <a:gd name="connsiteY51" fmla="*/ 5015 h 9079"/>
              <a:gd name="connsiteX52" fmla="*/ 476 w 10000"/>
              <a:gd name="connsiteY52" fmla="*/ 4380 h 9079"/>
              <a:gd name="connsiteX53" fmla="*/ 159 w 10000"/>
              <a:gd name="connsiteY53" fmla="*/ 4380 h 9079"/>
              <a:gd name="connsiteX54" fmla="*/ 0 w 10000"/>
              <a:gd name="connsiteY54" fmla="*/ 3746 h 9079"/>
              <a:gd name="connsiteX55" fmla="*/ 159 w 10000"/>
              <a:gd name="connsiteY55" fmla="*/ 2190 h 9079"/>
              <a:gd name="connsiteX56" fmla="*/ 476 w 10000"/>
              <a:gd name="connsiteY56" fmla="*/ 2825 h 9079"/>
              <a:gd name="connsiteX57" fmla="*/ 619 w 10000"/>
              <a:gd name="connsiteY57" fmla="*/ 2825 h 9079"/>
              <a:gd name="connsiteX58" fmla="*/ 476 w 10000"/>
              <a:gd name="connsiteY58" fmla="*/ 2190 h 9079"/>
              <a:gd name="connsiteX59" fmla="*/ 937 w 10000"/>
              <a:gd name="connsiteY59" fmla="*/ 1270 h 9079"/>
              <a:gd name="connsiteX60" fmla="*/ 1254 w 10000"/>
              <a:gd name="connsiteY60" fmla="*/ 1555 h 9079"/>
              <a:gd name="connsiteX61" fmla="*/ 1413 w 10000"/>
              <a:gd name="connsiteY61" fmla="*/ 1270 h 9079"/>
              <a:gd name="connsiteX62" fmla="*/ 1714 w 10000"/>
              <a:gd name="connsiteY62" fmla="*/ 1555 h 9079"/>
              <a:gd name="connsiteX63" fmla="*/ 2190 w 10000"/>
              <a:gd name="connsiteY63" fmla="*/ 2190 h 9079"/>
              <a:gd name="connsiteX64" fmla="*/ 2492 w 10000"/>
              <a:gd name="connsiteY64" fmla="*/ 1873 h 9079"/>
              <a:gd name="connsiteX65" fmla="*/ 2810 w 10000"/>
              <a:gd name="connsiteY65" fmla="*/ 1873 h 9079"/>
              <a:gd name="connsiteX66" fmla="*/ 2968 w 10000"/>
              <a:gd name="connsiteY66" fmla="*/ 2190 h 9079"/>
              <a:gd name="connsiteX67" fmla="*/ 7651 w 10000"/>
              <a:gd name="connsiteY67" fmla="*/ 0 h 9079"/>
              <a:gd name="connsiteX68" fmla="*/ 8286 w 10000"/>
              <a:gd name="connsiteY68" fmla="*/ 2190 h 9079"/>
              <a:gd name="connsiteX69" fmla="*/ 8429 w 10000"/>
              <a:gd name="connsiteY69" fmla="*/ 1555 h 9079"/>
              <a:gd name="connsiteX70" fmla="*/ 8587 w 10000"/>
              <a:gd name="connsiteY70" fmla="*/ 2190 h 9079"/>
              <a:gd name="connsiteX71" fmla="*/ 9063 w 10000"/>
              <a:gd name="connsiteY71" fmla="*/ 1873 h 9079"/>
              <a:gd name="connsiteX72" fmla="*/ 9524 w 10000"/>
              <a:gd name="connsiteY72" fmla="*/ 2825 h 9079"/>
              <a:gd name="connsiteX73" fmla="*/ 9841 w 10000"/>
              <a:gd name="connsiteY73" fmla="*/ 3143 h 9079"/>
              <a:gd name="connsiteX74" fmla="*/ 9841 w 10000"/>
              <a:gd name="connsiteY74" fmla="*/ 2825 h 9079"/>
              <a:gd name="connsiteX75" fmla="*/ 10000 w 10000"/>
              <a:gd name="connsiteY75" fmla="*/ 3460 h 9079"/>
              <a:gd name="connsiteX76" fmla="*/ 9841 w 10000"/>
              <a:gd name="connsiteY76" fmla="*/ 3746 h 9079"/>
              <a:gd name="connsiteX0" fmla="*/ 9841 w 10000"/>
              <a:gd name="connsiteY0" fmla="*/ 2727 h 8601"/>
              <a:gd name="connsiteX1" fmla="*/ 9683 w 10000"/>
              <a:gd name="connsiteY1" fmla="*/ 3077 h 8601"/>
              <a:gd name="connsiteX2" fmla="*/ 9524 w 10000"/>
              <a:gd name="connsiteY2" fmla="*/ 4125 h 8601"/>
              <a:gd name="connsiteX3" fmla="*/ 9365 w 10000"/>
              <a:gd name="connsiteY3" fmla="*/ 4125 h 8601"/>
              <a:gd name="connsiteX4" fmla="*/ 8905 w 10000"/>
              <a:gd name="connsiteY4" fmla="*/ 4125 h 8601"/>
              <a:gd name="connsiteX5" fmla="*/ 8746 w 10000"/>
              <a:gd name="connsiteY5" fmla="*/ 5488 h 8601"/>
              <a:gd name="connsiteX6" fmla="*/ 8286 w 10000"/>
              <a:gd name="connsiteY6" fmla="*/ 5488 h 8601"/>
              <a:gd name="connsiteX7" fmla="*/ 8286 w 10000"/>
              <a:gd name="connsiteY7" fmla="*/ 5839 h 8601"/>
              <a:gd name="connsiteX8" fmla="*/ 8429 w 10000"/>
              <a:gd name="connsiteY8" fmla="*/ 7202 h 8601"/>
              <a:gd name="connsiteX9" fmla="*/ 8286 w 10000"/>
              <a:gd name="connsiteY9" fmla="*/ 7551 h 8601"/>
              <a:gd name="connsiteX10" fmla="*/ 7968 w 10000"/>
              <a:gd name="connsiteY10" fmla="*/ 7202 h 8601"/>
              <a:gd name="connsiteX11" fmla="*/ 7032 w 10000"/>
              <a:gd name="connsiteY11" fmla="*/ 7202 h 8601"/>
              <a:gd name="connsiteX12" fmla="*/ 6714 w 10000"/>
              <a:gd name="connsiteY12" fmla="*/ 6887 h 8601"/>
              <a:gd name="connsiteX13" fmla="*/ 6556 w 10000"/>
              <a:gd name="connsiteY13" fmla="*/ 7202 h 8601"/>
              <a:gd name="connsiteX14" fmla="*/ 6556 w 10000"/>
              <a:gd name="connsiteY14" fmla="*/ 7551 h 8601"/>
              <a:gd name="connsiteX15" fmla="*/ 6095 w 10000"/>
              <a:gd name="connsiteY15" fmla="*/ 7202 h 8601"/>
              <a:gd name="connsiteX16" fmla="*/ 5937 w 10000"/>
              <a:gd name="connsiteY16" fmla="*/ 7551 h 8601"/>
              <a:gd name="connsiteX17" fmla="*/ 5460 w 10000"/>
              <a:gd name="connsiteY17" fmla="*/ 8601 h 8601"/>
              <a:gd name="connsiteX18" fmla="*/ 5317 w 10000"/>
              <a:gd name="connsiteY18" fmla="*/ 8251 h 8601"/>
              <a:gd name="connsiteX19" fmla="*/ 5000 w 10000"/>
              <a:gd name="connsiteY19" fmla="*/ 8251 h 8601"/>
              <a:gd name="connsiteX20" fmla="*/ 5000 w 10000"/>
              <a:gd name="connsiteY20" fmla="*/ 7902 h 8601"/>
              <a:gd name="connsiteX21" fmla="*/ 4841 w 10000"/>
              <a:gd name="connsiteY21" fmla="*/ 7902 h 8601"/>
              <a:gd name="connsiteX22" fmla="*/ 4841 w 10000"/>
              <a:gd name="connsiteY22" fmla="*/ 7202 h 8601"/>
              <a:gd name="connsiteX23" fmla="*/ 4524 w 10000"/>
              <a:gd name="connsiteY23" fmla="*/ 6538 h 8601"/>
              <a:gd name="connsiteX24" fmla="*/ 3762 w 10000"/>
              <a:gd name="connsiteY24" fmla="*/ 6503 h 8601"/>
              <a:gd name="connsiteX25" fmla="*/ 3540 w 10000"/>
              <a:gd name="connsiteY25" fmla="*/ 5908 h 8601"/>
              <a:gd name="connsiteX26" fmla="*/ 3730 w 10000"/>
              <a:gd name="connsiteY26" fmla="*/ 5803 h 8601"/>
              <a:gd name="connsiteX27" fmla="*/ 3587 w 10000"/>
              <a:gd name="connsiteY27" fmla="*/ 4965 h 8601"/>
              <a:gd name="connsiteX28" fmla="*/ 3762 w 10000"/>
              <a:gd name="connsiteY28" fmla="*/ 4406 h 8601"/>
              <a:gd name="connsiteX29" fmla="*/ 3302 w 10000"/>
              <a:gd name="connsiteY29" fmla="*/ 4440 h 8601"/>
              <a:gd name="connsiteX30" fmla="*/ 3333 w 10000"/>
              <a:gd name="connsiteY30" fmla="*/ 4824 h 8601"/>
              <a:gd name="connsiteX31" fmla="*/ 3159 w 10000"/>
              <a:gd name="connsiteY31" fmla="*/ 5174 h 8601"/>
              <a:gd name="connsiteX32" fmla="*/ 2952 w 10000"/>
              <a:gd name="connsiteY32" fmla="*/ 5139 h 8601"/>
              <a:gd name="connsiteX33" fmla="*/ 2349 w 10000"/>
              <a:gd name="connsiteY33" fmla="*/ 5488 h 8601"/>
              <a:gd name="connsiteX34" fmla="*/ 2349 w 10000"/>
              <a:gd name="connsiteY34" fmla="*/ 8251 h 8601"/>
              <a:gd name="connsiteX35" fmla="*/ 2190 w 10000"/>
              <a:gd name="connsiteY35" fmla="*/ 8251 h 8601"/>
              <a:gd name="connsiteX36" fmla="*/ 1873 w 10000"/>
              <a:gd name="connsiteY36" fmla="*/ 7551 h 8601"/>
              <a:gd name="connsiteX37" fmla="*/ 1413 w 10000"/>
              <a:gd name="connsiteY37" fmla="*/ 7902 h 8601"/>
              <a:gd name="connsiteX38" fmla="*/ 1413 w 10000"/>
              <a:gd name="connsiteY38" fmla="*/ 7202 h 8601"/>
              <a:gd name="connsiteX39" fmla="*/ 1254 w 10000"/>
              <a:gd name="connsiteY39" fmla="*/ 7202 h 8601"/>
              <a:gd name="connsiteX40" fmla="*/ 1095 w 10000"/>
              <a:gd name="connsiteY40" fmla="*/ 6188 h 8601"/>
              <a:gd name="connsiteX41" fmla="*/ 937 w 10000"/>
              <a:gd name="connsiteY41" fmla="*/ 6188 h 8601"/>
              <a:gd name="connsiteX42" fmla="*/ 1254 w 10000"/>
              <a:gd name="connsiteY42" fmla="*/ 6188 h 8601"/>
              <a:gd name="connsiteX43" fmla="*/ 1095 w 10000"/>
              <a:gd name="connsiteY43" fmla="*/ 5839 h 8601"/>
              <a:gd name="connsiteX44" fmla="*/ 1254 w 10000"/>
              <a:gd name="connsiteY44" fmla="*/ 5488 h 8601"/>
              <a:gd name="connsiteX45" fmla="*/ 1873 w 10000"/>
              <a:gd name="connsiteY45" fmla="*/ 5488 h 8601"/>
              <a:gd name="connsiteX46" fmla="*/ 1714 w 10000"/>
              <a:gd name="connsiteY46" fmla="*/ 4475 h 8601"/>
              <a:gd name="connsiteX47" fmla="*/ 1413 w 10000"/>
              <a:gd name="connsiteY47" fmla="*/ 4125 h 8601"/>
              <a:gd name="connsiteX48" fmla="*/ 1095 w 10000"/>
              <a:gd name="connsiteY48" fmla="*/ 3776 h 8601"/>
              <a:gd name="connsiteX49" fmla="*/ 619 w 10000"/>
              <a:gd name="connsiteY49" fmla="*/ 4475 h 8601"/>
              <a:gd name="connsiteX50" fmla="*/ 476 w 10000"/>
              <a:gd name="connsiteY50" fmla="*/ 4475 h 8601"/>
              <a:gd name="connsiteX51" fmla="*/ 619 w 10000"/>
              <a:gd name="connsiteY51" fmla="*/ 4125 h 8601"/>
              <a:gd name="connsiteX52" fmla="*/ 476 w 10000"/>
              <a:gd name="connsiteY52" fmla="*/ 3425 h 8601"/>
              <a:gd name="connsiteX53" fmla="*/ 159 w 10000"/>
              <a:gd name="connsiteY53" fmla="*/ 3425 h 8601"/>
              <a:gd name="connsiteX54" fmla="*/ 0 w 10000"/>
              <a:gd name="connsiteY54" fmla="*/ 2727 h 8601"/>
              <a:gd name="connsiteX55" fmla="*/ 159 w 10000"/>
              <a:gd name="connsiteY55" fmla="*/ 1013 h 8601"/>
              <a:gd name="connsiteX56" fmla="*/ 476 w 10000"/>
              <a:gd name="connsiteY56" fmla="*/ 1713 h 8601"/>
              <a:gd name="connsiteX57" fmla="*/ 619 w 10000"/>
              <a:gd name="connsiteY57" fmla="*/ 1713 h 8601"/>
              <a:gd name="connsiteX58" fmla="*/ 476 w 10000"/>
              <a:gd name="connsiteY58" fmla="*/ 1013 h 8601"/>
              <a:gd name="connsiteX59" fmla="*/ 937 w 10000"/>
              <a:gd name="connsiteY59" fmla="*/ 0 h 8601"/>
              <a:gd name="connsiteX60" fmla="*/ 1254 w 10000"/>
              <a:gd name="connsiteY60" fmla="*/ 314 h 8601"/>
              <a:gd name="connsiteX61" fmla="*/ 1413 w 10000"/>
              <a:gd name="connsiteY61" fmla="*/ 0 h 8601"/>
              <a:gd name="connsiteX62" fmla="*/ 1714 w 10000"/>
              <a:gd name="connsiteY62" fmla="*/ 314 h 8601"/>
              <a:gd name="connsiteX63" fmla="*/ 2190 w 10000"/>
              <a:gd name="connsiteY63" fmla="*/ 1013 h 8601"/>
              <a:gd name="connsiteX64" fmla="*/ 2492 w 10000"/>
              <a:gd name="connsiteY64" fmla="*/ 664 h 8601"/>
              <a:gd name="connsiteX65" fmla="*/ 2810 w 10000"/>
              <a:gd name="connsiteY65" fmla="*/ 664 h 8601"/>
              <a:gd name="connsiteX66" fmla="*/ 2968 w 10000"/>
              <a:gd name="connsiteY66" fmla="*/ 1013 h 8601"/>
              <a:gd name="connsiteX67" fmla="*/ 8286 w 10000"/>
              <a:gd name="connsiteY67" fmla="*/ 1013 h 8601"/>
              <a:gd name="connsiteX68" fmla="*/ 8429 w 10000"/>
              <a:gd name="connsiteY68" fmla="*/ 314 h 8601"/>
              <a:gd name="connsiteX69" fmla="*/ 8587 w 10000"/>
              <a:gd name="connsiteY69" fmla="*/ 1013 h 8601"/>
              <a:gd name="connsiteX70" fmla="*/ 9063 w 10000"/>
              <a:gd name="connsiteY70" fmla="*/ 664 h 8601"/>
              <a:gd name="connsiteX71" fmla="*/ 9524 w 10000"/>
              <a:gd name="connsiteY71" fmla="*/ 1713 h 8601"/>
              <a:gd name="connsiteX72" fmla="*/ 9841 w 10000"/>
              <a:gd name="connsiteY72" fmla="*/ 2063 h 8601"/>
              <a:gd name="connsiteX73" fmla="*/ 9841 w 10000"/>
              <a:gd name="connsiteY73" fmla="*/ 1713 h 8601"/>
              <a:gd name="connsiteX74" fmla="*/ 10000 w 10000"/>
              <a:gd name="connsiteY74" fmla="*/ 2412 h 8601"/>
              <a:gd name="connsiteX75" fmla="*/ 9841 w 10000"/>
              <a:gd name="connsiteY75" fmla="*/ 2727 h 8601"/>
              <a:gd name="connsiteX0" fmla="*/ 9841 w 10000"/>
              <a:gd name="connsiteY0" fmla="*/ 3171 h 10000"/>
              <a:gd name="connsiteX1" fmla="*/ 9683 w 10000"/>
              <a:gd name="connsiteY1" fmla="*/ 3577 h 10000"/>
              <a:gd name="connsiteX2" fmla="*/ 9524 w 10000"/>
              <a:gd name="connsiteY2" fmla="*/ 4796 h 10000"/>
              <a:gd name="connsiteX3" fmla="*/ 9365 w 10000"/>
              <a:gd name="connsiteY3" fmla="*/ 4796 h 10000"/>
              <a:gd name="connsiteX4" fmla="*/ 8905 w 10000"/>
              <a:gd name="connsiteY4" fmla="*/ 4796 h 10000"/>
              <a:gd name="connsiteX5" fmla="*/ 8746 w 10000"/>
              <a:gd name="connsiteY5" fmla="*/ 6381 h 10000"/>
              <a:gd name="connsiteX6" fmla="*/ 8286 w 10000"/>
              <a:gd name="connsiteY6" fmla="*/ 6381 h 10000"/>
              <a:gd name="connsiteX7" fmla="*/ 8286 w 10000"/>
              <a:gd name="connsiteY7" fmla="*/ 6789 h 10000"/>
              <a:gd name="connsiteX8" fmla="*/ 8429 w 10000"/>
              <a:gd name="connsiteY8" fmla="*/ 8373 h 10000"/>
              <a:gd name="connsiteX9" fmla="*/ 8286 w 10000"/>
              <a:gd name="connsiteY9" fmla="*/ 8779 h 10000"/>
              <a:gd name="connsiteX10" fmla="*/ 7968 w 10000"/>
              <a:gd name="connsiteY10" fmla="*/ 8373 h 10000"/>
              <a:gd name="connsiteX11" fmla="*/ 7032 w 10000"/>
              <a:gd name="connsiteY11" fmla="*/ 8373 h 10000"/>
              <a:gd name="connsiteX12" fmla="*/ 6714 w 10000"/>
              <a:gd name="connsiteY12" fmla="*/ 8007 h 10000"/>
              <a:gd name="connsiteX13" fmla="*/ 6556 w 10000"/>
              <a:gd name="connsiteY13" fmla="*/ 8373 h 10000"/>
              <a:gd name="connsiteX14" fmla="*/ 6556 w 10000"/>
              <a:gd name="connsiteY14" fmla="*/ 8779 h 10000"/>
              <a:gd name="connsiteX15" fmla="*/ 6095 w 10000"/>
              <a:gd name="connsiteY15" fmla="*/ 8373 h 10000"/>
              <a:gd name="connsiteX16" fmla="*/ 5937 w 10000"/>
              <a:gd name="connsiteY16" fmla="*/ 8779 h 10000"/>
              <a:gd name="connsiteX17" fmla="*/ 5460 w 10000"/>
              <a:gd name="connsiteY17" fmla="*/ 10000 h 10000"/>
              <a:gd name="connsiteX18" fmla="*/ 5317 w 10000"/>
              <a:gd name="connsiteY18" fmla="*/ 9593 h 10000"/>
              <a:gd name="connsiteX19" fmla="*/ 5000 w 10000"/>
              <a:gd name="connsiteY19" fmla="*/ 9593 h 10000"/>
              <a:gd name="connsiteX20" fmla="*/ 5000 w 10000"/>
              <a:gd name="connsiteY20" fmla="*/ 9187 h 10000"/>
              <a:gd name="connsiteX21" fmla="*/ 4841 w 10000"/>
              <a:gd name="connsiteY21" fmla="*/ 9187 h 10000"/>
              <a:gd name="connsiteX22" fmla="*/ 4841 w 10000"/>
              <a:gd name="connsiteY22" fmla="*/ 8373 h 10000"/>
              <a:gd name="connsiteX23" fmla="*/ 4524 w 10000"/>
              <a:gd name="connsiteY23" fmla="*/ 7601 h 10000"/>
              <a:gd name="connsiteX24" fmla="*/ 3762 w 10000"/>
              <a:gd name="connsiteY24" fmla="*/ 7561 h 10000"/>
              <a:gd name="connsiteX25" fmla="*/ 3540 w 10000"/>
              <a:gd name="connsiteY25" fmla="*/ 6869 h 10000"/>
              <a:gd name="connsiteX26" fmla="*/ 3730 w 10000"/>
              <a:gd name="connsiteY26" fmla="*/ 6747 h 10000"/>
              <a:gd name="connsiteX27" fmla="*/ 3587 w 10000"/>
              <a:gd name="connsiteY27" fmla="*/ 5773 h 10000"/>
              <a:gd name="connsiteX28" fmla="*/ 3762 w 10000"/>
              <a:gd name="connsiteY28" fmla="*/ 5123 h 10000"/>
              <a:gd name="connsiteX29" fmla="*/ 3302 w 10000"/>
              <a:gd name="connsiteY29" fmla="*/ 5162 h 10000"/>
              <a:gd name="connsiteX30" fmla="*/ 3333 w 10000"/>
              <a:gd name="connsiteY30" fmla="*/ 5609 h 10000"/>
              <a:gd name="connsiteX31" fmla="*/ 3159 w 10000"/>
              <a:gd name="connsiteY31" fmla="*/ 6016 h 10000"/>
              <a:gd name="connsiteX32" fmla="*/ 2952 w 10000"/>
              <a:gd name="connsiteY32" fmla="*/ 5975 h 10000"/>
              <a:gd name="connsiteX33" fmla="*/ 2349 w 10000"/>
              <a:gd name="connsiteY33" fmla="*/ 6381 h 10000"/>
              <a:gd name="connsiteX34" fmla="*/ 2349 w 10000"/>
              <a:gd name="connsiteY34" fmla="*/ 9593 h 10000"/>
              <a:gd name="connsiteX35" fmla="*/ 2190 w 10000"/>
              <a:gd name="connsiteY35" fmla="*/ 9593 h 10000"/>
              <a:gd name="connsiteX36" fmla="*/ 1873 w 10000"/>
              <a:gd name="connsiteY36" fmla="*/ 8779 h 10000"/>
              <a:gd name="connsiteX37" fmla="*/ 1413 w 10000"/>
              <a:gd name="connsiteY37" fmla="*/ 9187 h 10000"/>
              <a:gd name="connsiteX38" fmla="*/ 1413 w 10000"/>
              <a:gd name="connsiteY38" fmla="*/ 8373 h 10000"/>
              <a:gd name="connsiteX39" fmla="*/ 1254 w 10000"/>
              <a:gd name="connsiteY39" fmla="*/ 8373 h 10000"/>
              <a:gd name="connsiteX40" fmla="*/ 1095 w 10000"/>
              <a:gd name="connsiteY40" fmla="*/ 7195 h 10000"/>
              <a:gd name="connsiteX41" fmla="*/ 937 w 10000"/>
              <a:gd name="connsiteY41" fmla="*/ 7195 h 10000"/>
              <a:gd name="connsiteX42" fmla="*/ 1254 w 10000"/>
              <a:gd name="connsiteY42" fmla="*/ 7195 h 10000"/>
              <a:gd name="connsiteX43" fmla="*/ 1095 w 10000"/>
              <a:gd name="connsiteY43" fmla="*/ 6789 h 10000"/>
              <a:gd name="connsiteX44" fmla="*/ 1254 w 10000"/>
              <a:gd name="connsiteY44" fmla="*/ 6381 h 10000"/>
              <a:gd name="connsiteX45" fmla="*/ 1873 w 10000"/>
              <a:gd name="connsiteY45" fmla="*/ 6381 h 10000"/>
              <a:gd name="connsiteX46" fmla="*/ 1714 w 10000"/>
              <a:gd name="connsiteY46" fmla="*/ 5203 h 10000"/>
              <a:gd name="connsiteX47" fmla="*/ 1413 w 10000"/>
              <a:gd name="connsiteY47" fmla="*/ 4796 h 10000"/>
              <a:gd name="connsiteX48" fmla="*/ 1095 w 10000"/>
              <a:gd name="connsiteY48" fmla="*/ 4390 h 10000"/>
              <a:gd name="connsiteX49" fmla="*/ 619 w 10000"/>
              <a:gd name="connsiteY49" fmla="*/ 5203 h 10000"/>
              <a:gd name="connsiteX50" fmla="*/ 476 w 10000"/>
              <a:gd name="connsiteY50" fmla="*/ 5203 h 10000"/>
              <a:gd name="connsiteX51" fmla="*/ 619 w 10000"/>
              <a:gd name="connsiteY51" fmla="*/ 4796 h 10000"/>
              <a:gd name="connsiteX52" fmla="*/ 476 w 10000"/>
              <a:gd name="connsiteY52" fmla="*/ 3982 h 10000"/>
              <a:gd name="connsiteX53" fmla="*/ 159 w 10000"/>
              <a:gd name="connsiteY53" fmla="*/ 3982 h 10000"/>
              <a:gd name="connsiteX54" fmla="*/ 0 w 10000"/>
              <a:gd name="connsiteY54" fmla="*/ 3171 h 10000"/>
              <a:gd name="connsiteX55" fmla="*/ 159 w 10000"/>
              <a:gd name="connsiteY55" fmla="*/ 1178 h 10000"/>
              <a:gd name="connsiteX56" fmla="*/ 476 w 10000"/>
              <a:gd name="connsiteY56" fmla="*/ 1992 h 10000"/>
              <a:gd name="connsiteX57" fmla="*/ 619 w 10000"/>
              <a:gd name="connsiteY57" fmla="*/ 1992 h 10000"/>
              <a:gd name="connsiteX58" fmla="*/ 476 w 10000"/>
              <a:gd name="connsiteY58" fmla="*/ 1178 h 10000"/>
              <a:gd name="connsiteX59" fmla="*/ 937 w 10000"/>
              <a:gd name="connsiteY59" fmla="*/ 0 h 10000"/>
              <a:gd name="connsiteX60" fmla="*/ 1254 w 10000"/>
              <a:gd name="connsiteY60" fmla="*/ 365 h 10000"/>
              <a:gd name="connsiteX61" fmla="*/ 1413 w 10000"/>
              <a:gd name="connsiteY61" fmla="*/ 0 h 10000"/>
              <a:gd name="connsiteX62" fmla="*/ 1714 w 10000"/>
              <a:gd name="connsiteY62" fmla="*/ 365 h 10000"/>
              <a:gd name="connsiteX63" fmla="*/ 2190 w 10000"/>
              <a:gd name="connsiteY63" fmla="*/ 1178 h 10000"/>
              <a:gd name="connsiteX64" fmla="*/ 2492 w 10000"/>
              <a:gd name="connsiteY64" fmla="*/ 772 h 10000"/>
              <a:gd name="connsiteX65" fmla="*/ 2810 w 10000"/>
              <a:gd name="connsiteY65" fmla="*/ 772 h 10000"/>
              <a:gd name="connsiteX66" fmla="*/ 2968 w 10000"/>
              <a:gd name="connsiteY66" fmla="*/ 1178 h 10000"/>
              <a:gd name="connsiteX67" fmla="*/ 8429 w 10000"/>
              <a:gd name="connsiteY67" fmla="*/ 365 h 10000"/>
              <a:gd name="connsiteX68" fmla="*/ 8587 w 10000"/>
              <a:gd name="connsiteY68" fmla="*/ 1178 h 10000"/>
              <a:gd name="connsiteX69" fmla="*/ 9063 w 10000"/>
              <a:gd name="connsiteY69" fmla="*/ 772 h 10000"/>
              <a:gd name="connsiteX70" fmla="*/ 9524 w 10000"/>
              <a:gd name="connsiteY70" fmla="*/ 1992 h 10000"/>
              <a:gd name="connsiteX71" fmla="*/ 9841 w 10000"/>
              <a:gd name="connsiteY71" fmla="*/ 2399 h 10000"/>
              <a:gd name="connsiteX72" fmla="*/ 9841 w 10000"/>
              <a:gd name="connsiteY72" fmla="*/ 1992 h 10000"/>
              <a:gd name="connsiteX73" fmla="*/ 10000 w 10000"/>
              <a:gd name="connsiteY73" fmla="*/ 2804 h 10000"/>
              <a:gd name="connsiteX74" fmla="*/ 9841 w 10000"/>
              <a:gd name="connsiteY74" fmla="*/ 3171 h 10000"/>
              <a:gd name="connsiteX0" fmla="*/ 9841 w 10000"/>
              <a:gd name="connsiteY0" fmla="*/ 3171 h 10000"/>
              <a:gd name="connsiteX1" fmla="*/ 9683 w 10000"/>
              <a:gd name="connsiteY1" fmla="*/ 3577 h 10000"/>
              <a:gd name="connsiteX2" fmla="*/ 9524 w 10000"/>
              <a:gd name="connsiteY2" fmla="*/ 4796 h 10000"/>
              <a:gd name="connsiteX3" fmla="*/ 9365 w 10000"/>
              <a:gd name="connsiteY3" fmla="*/ 4796 h 10000"/>
              <a:gd name="connsiteX4" fmla="*/ 8905 w 10000"/>
              <a:gd name="connsiteY4" fmla="*/ 4796 h 10000"/>
              <a:gd name="connsiteX5" fmla="*/ 8746 w 10000"/>
              <a:gd name="connsiteY5" fmla="*/ 6381 h 10000"/>
              <a:gd name="connsiteX6" fmla="*/ 8286 w 10000"/>
              <a:gd name="connsiteY6" fmla="*/ 6381 h 10000"/>
              <a:gd name="connsiteX7" fmla="*/ 8286 w 10000"/>
              <a:gd name="connsiteY7" fmla="*/ 6789 h 10000"/>
              <a:gd name="connsiteX8" fmla="*/ 8429 w 10000"/>
              <a:gd name="connsiteY8" fmla="*/ 8373 h 10000"/>
              <a:gd name="connsiteX9" fmla="*/ 8286 w 10000"/>
              <a:gd name="connsiteY9" fmla="*/ 8779 h 10000"/>
              <a:gd name="connsiteX10" fmla="*/ 7968 w 10000"/>
              <a:gd name="connsiteY10" fmla="*/ 8373 h 10000"/>
              <a:gd name="connsiteX11" fmla="*/ 7032 w 10000"/>
              <a:gd name="connsiteY11" fmla="*/ 8373 h 10000"/>
              <a:gd name="connsiteX12" fmla="*/ 6714 w 10000"/>
              <a:gd name="connsiteY12" fmla="*/ 8007 h 10000"/>
              <a:gd name="connsiteX13" fmla="*/ 6556 w 10000"/>
              <a:gd name="connsiteY13" fmla="*/ 8373 h 10000"/>
              <a:gd name="connsiteX14" fmla="*/ 6556 w 10000"/>
              <a:gd name="connsiteY14" fmla="*/ 8779 h 10000"/>
              <a:gd name="connsiteX15" fmla="*/ 6095 w 10000"/>
              <a:gd name="connsiteY15" fmla="*/ 8373 h 10000"/>
              <a:gd name="connsiteX16" fmla="*/ 5937 w 10000"/>
              <a:gd name="connsiteY16" fmla="*/ 8779 h 10000"/>
              <a:gd name="connsiteX17" fmla="*/ 5460 w 10000"/>
              <a:gd name="connsiteY17" fmla="*/ 10000 h 10000"/>
              <a:gd name="connsiteX18" fmla="*/ 5317 w 10000"/>
              <a:gd name="connsiteY18" fmla="*/ 9593 h 10000"/>
              <a:gd name="connsiteX19" fmla="*/ 5000 w 10000"/>
              <a:gd name="connsiteY19" fmla="*/ 9593 h 10000"/>
              <a:gd name="connsiteX20" fmla="*/ 5000 w 10000"/>
              <a:gd name="connsiteY20" fmla="*/ 9187 h 10000"/>
              <a:gd name="connsiteX21" fmla="*/ 4841 w 10000"/>
              <a:gd name="connsiteY21" fmla="*/ 9187 h 10000"/>
              <a:gd name="connsiteX22" fmla="*/ 4841 w 10000"/>
              <a:gd name="connsiteY22" fmla="*/ 8373 h 10000"/>
              <a:gd name="connsiteX23" fmla="*/ 4524 w 10000"/>
              <a:gd name="connsiteY23" fmla="*/ 7601 h 10000"/>
              <a:gd name="connsiteX24" fmla="*/ 3762 w 10000"/>
              <a:gd name="connsiteY24" fmla="*/ 7561 h 10000"/>
              <a:gd name="connsiteX25" fmla="*/ 3540 w 10000"/>
              <a:gd name="connsiteY25" fmla="*/ 6869 h 10000"/>
              <a:gd name="connsiteX26" fmla="*/ 3730 w 10000"/>
              <a:gd name="connsiteY26" fmla="*/ 6747 h 10000"/>
              <a:gd name="connsiteX27" fmla="*/ 3587 w 10000"/>
              <a:gd name="connsiteY27" fmla="*/ 5773 h 10000"/>
              <a:gd name="connsiteX28" fmla="*/ 3762 w 10000"/>
              <a:gd name="connsiteY28" fmla="*/ 5123 h 10000"/>
              <a:gd name="connsiteX29" fmla="*/ 3302 w 10000"/>
              <a:gd name="connsiteY29" fmla="*/ 5162 h 10000"/>
              <a:gd name="connsiteX30" fmla="*/ 3333 w 10000"/>
              <a:gd name="connsiteY30" fmla="*/ 5609 h 10000"/>
              <a:gd name="connsiteX31" fmla="*/ 3159 w 10000"/>
              <a:gd name="connsiteY31" fmla="*/ 6016 h 10000"/>
              <a:gd name="connsiteX32" fmla="*/ 2952 w 10000"/>
              <a:gd name="connsiteY32" fmla="*/ 5975 h 10000"/>
              <a:gd name="connsiteX33" fmla="*/ 2349 w 10000"/>
              <a:gd name="connsiteY33" fmla="*/ 6381 h 10000"/>
              <a:gd name="connsiteX34" fmla="*/ 2349 w 10000"/>
              <a:gd name="connsiteY34" fmla="*/ 9593 h 10000"/>
              <a:gd name="connsiteX35" fmla="*/ 2190 w 10000"/>
              <a:gd name="connsiteY35" fmla="*/ 9593 h 10000"/>
              <a:gd name="connsiteX36" fmla="*/ 1873 w 10000"/>
              <a:gd name="connsiteY36" fmla="*/ 8779 h 10000"/>
              <a:gd name="connsiteX37" fmla="*/ 1413 w 10000"/>
              <a:gd name="connsiteY37" fmla="*/ 9187 h 10000"/>
              <a:gd name="connsiteX38" fmla="*/ 1413 w 10000"/>
              <a:gd name="connsiteY38" fmla="*/ 8373 h 10000"/>
              <a:gd name="connsiteX39" fmla="*/ 1254 w 10000"/>
              <a:gd name="connsiteY39" fmla="*/ 8373 h 10000"/>
              <a:gd name="connsiteX40" fmla="*/ 1095 w 10000"/>
              <a:gd name="connsiteY40" fmla="*/ 7195 h 10000"/>
              <a:gd name="connsiteX41" fmla="*/ 937 w 10000"/>
              <a:gd name="connsiteY41" fmla="*/ 7195 h 10000"/>
              <a:gd name="connsiteX42" fmla="*/ 1254 w 10000"/>
              <a:gd name="connsiteY42" fmla="*/ 7195 h 10000"/>
              <a:gd name="connsiteX43" fmla="*/ 1095 w 10000"/>
              <a:gd name="connsiteY43" fmla="*/ 6789 h 10000"/>
              <a:gd name="connsiteX44" fmla="*/ 1254 w 10000"/>
              <a:gd name="connsiteY44" fmla="*/ 6381 h 10000"/>
              <a:gd name="connsiteX45" fmla="*/ 1873 w 10000"/>
              <a:gd name="connsiteY45" fmla="*/ 6381 h 10000"/>
              <a:gd name="connsiteX46" fmla="*/ 1714 w 10000"/>
              <a:gd name="connsiteY46" fmla="*/ 5203 h 10000"/>
              <a:gd name="connsiteX47" fmla="*/ 1413 w 10000"/>
              <a:gd name="connsiteY47" fmla="*/ 4796 h 10000"/>
              <a:gd name="connsiteX48" fmla="*/ 1095 w 10000"/>
              <a:gd name="connsiteY48" fmla="*/ 4390 h 10000"/>
              <a:gd name="connsiteX49" fmla="*/ 619 w 10000"/>
              <a:gd name="connsiteY49" fmla="*/ 5203 h 10000"/>
              <a:gd name="connsiteX50" fmla="*/ 476 w 10000"/>
              <a:gd name="connsiteY50" fmla="*/ 5203 h 10000"/>
              <a:gd name="connsiteX51" fmla="*/ 619 w 10000"/>
              <a:gd name="connsiteY51" fmla="*/ 4796 h 10000"/>
              <a:gd name="connsiteX52" fmla="*/ 476 w 10000"/>
              <a:gd name="connsiteY52" fmla="*/ 3982 h 10000"/>
              <a:gd name="connsiteX53" fmla="*/ 159 w 10000"/>
              <a:gd name="connsiteY53" fmla="*/ 3982 h 10000"/>
              <a:gd name="connsiteX54" fmla="*/ 0 w 10000"/>
              <a:gd name="connsiteY54" fmla="*/ 3171 h 10000"/>
              <a:gd name="connsiteX55" fmla="*/ 159 w 10000"/>
              <a:gd name="connsiteY55" fmla="*/ 1178 h 10000"/>
              <a:gd name="connsiteX56" fmla="*/ 476 w 10000"/>
              <a:gd name="connsiteY56" fmla="*/ 1992 h 10000"/>
              <a:gd name="connsiteX57" fmla="*/ 619 w 10000"/>
              <a:gd name="connsiteY57" fmla="*/ 1992 h 10000"/>
              <a:gd name="connsiteX58" fmla="*/ 476 w 10000"/>
              <a:gd name="connsiteY58" fmla="*/ 1178 h 10000"/>
              <a:gd name="connsiteX59" fmla="*/ 937 w 10000"/>
              <a:gd name="connsiteY59" fmla="*/ 0 h 10000"/>
              <a:gd name="connsiteX60" fmla="*/ 1254 w 10000"/>
              <a:gd name="connsiteY60" fmla="*/ 365 h 10000"/>
              <a:gd name="connsiteX61" fmla="*/ 1413 w 10000"/>
              <a:gd name="connsiteY61" fmla="*/ 0 h 10000"/>
              <a:gd name="connsiteX62" fmla="*/ 1714 w 10000"/>
              <a:gd name="connsiteY62" fmla="*/ 365 h 10000"/>
              <a:gd name="connsiteX63" fmla="*/ 2190 w 10000"/>
              <a:gd name="connsiteY63" fmla="*/ 1178 h 10000"/>
              <a:gd name="connsiteX64" fmla="*/ 2492 w 10000"/>
              <a:gd name="connsiteY64" fmla="*/ 772 h 10000"/>
              <a:gd name="connsiteX65" fmla="*/ 2810 w 10000"/>
              <a:gd name="connsiteY65" fmla="*/ 772 h 10000"/>
              <a:gd name="connsiteX66" fmla="*/ 2968 w 10000"/>
              <a:gd name="connsiteY66" fmla="*/ 1178 h 10000"/>
              <a:gd name="connsiteX67" fmla="*/ 8587 w 10000"/>
              <a:gd name="connsiteY67" fmla="*/ 1178 h 10000"/>
              <a:gd name="connsiteX68" fmla="*/ 9063 w 10000"/>
              <a:gd name="connsiteY68" fmla="*/ 772 h 10000"/>
              <a:gd name="connsiteX69" fmla="*/ 9524 w 10000"/>
              <a:gd name="connsiteY69" fmla="*/ 1992 h 10000"/>
              <a:gd name="connsiteX70" fmla="*/ 9841 w 10000"/>
              <a:gd name="connsiteY70" fmla="*/ 2399 h 10000"/>
              <a:gd name="connsiteX71" fmla="*/ 9841 w 10000"/>
              <a:gd name="connsiteY71" fmla="*/ 1992 h 10000"/>
              <a:gd name="connsiteX72" fmla="*/ 10000 w 10000"/>
              <a:gd name="connsiteY72" fmla="*/ 2804 h 10000"/>
              <a:gd name="connsiteX73" fmla="*/ 9841 w 10000"/>
              <a:gd name="connsiteY73" fmla="*/ 3171 h 10000"/>
              <a:gd name="connsiteX0" fmla="*/ 9841 w 10000"/>
              <a:gd name="connsiteY0" fmla="*/ 3171 h 10000"/>
              <a:gd name="connsiteX1" fmla="*/ 9683 w 10000"/>
              <a:gd name="connsiteY1" fmla="*/ 3577 h 10000"/>
              <a:gd name="connsiteX2" fmla="*/ 9524 w 10000"/>
              <a:gd name="connsiteY2" fmla="*/ 4796 h 10000"/>
              <a:gd name="connsiteX3" fmla="*/ 9365 w 10000"/>
              <a:gd name="connsiteY3" fmla="*/ 4796 h 10000"/>
              <a:gd name="connsiteX4" fmla="*/ 8905 w 10000"/>
              <a:gd name="connsiteY4" fmla="*/ 4796 h 10000"/>
              <a:gd name="connsiteX5" fmla="*/ 8746 w 10000"/>
              <a:gd name="connsiteY5" fmla="*/ 6381 h 10000"/>
              <a:gd name="connsiteX6" fmla="*/ 8286 w 10000"/>
              <a:gd name="connsiteY6" fmla="*/ 6381 h 10000"/>
              <a:gd name="connsiteX7" fmla="*/ 8286 w 10000"/>
              <a:gd name="connsiteY7" fmla="*/ 6789 h 10000"/>
              <a:gd name="connsiteX8" fmla="*/ 8429 w 10000"/>
              <a:gd name="connsiteY8" fmla="*/ 8373 h 10000"/>
              <a:gd name="connsiteX9" fmla="*/ 8286 w 10000"/>
              <a:gd name="connsiteY9" fmla="*/ 8779 h 10000"/>
              <a:gd name="connsiteX10" fmla="*/ 7968 w 10000"/>
              <a:gd name="connsiteY10" fmla="*/ 8373 h 10000"/>
              <a:gd name="connsiteX11" fmla="*/ 7032 w 10000"/>
              <a:gd name="connsiteY11" fmla="*/ 8373 h 10000"/>
              <a:gd name="connsiteX12" fmla="*/ 6714 w 10000"/>
              <a:gd name="connsiteY12" fmla="*/ 8007 h 10000"/>
              <a:gd name="connsiteX13" fmla="*/ 6556 w 10000"/>
              <a:gd name="connsiteY13" fmla="*/ 8373 h 10000"/>
              <a:gd name="connsiteX14" fmla="*/ 6556 w 10000"/>
              <a:gd name="connsiteY14" fmla="*/ 8779 h 10000"/>
              <a:gd name="connsiteX15" fmla="*/ 6095 w 10000"/>
              <a:gd name="connsiteY15" fmla="*/ 8373 h 10000"/>
              <a:gd name="connsiteX16" fmla="*/ 5937 w 10000"/>
              <a:gd name="connsiteY16" fmla="*/ 8779 h 10000"/>
              <a:gd name="connsiteX17" fmla="*/ 5460 w 10000"/>
              <a:gd name="connsiteY17" fmla="*/ 10000 h 10000"/>
              <a:gd name="connsiteX18" fmla="*/ 5317 w 10000"/>
              <a:gd name="connsiteY18" fmla="*/ 9593 h 10000"/>
              <a:gd name="connsiteX19" fmla="*/ 5000 w 10000"/>
              <a:gd name="connsiteY19" fmla="*/ 9593 h 10000"/>
              <a:gd name="connsiteX20" fmla="*/ 5000 w 10000"/>
              <a:gd name="connsiteY20" fmla="*/ 9187 h 10000"/>
              <a:gd name="connsiteX21" fmla="*/ 4841 w 10000"/>
              <a:gd name="connsiteY21" fmla="*/ 9187 h 10000"/>
              <a:gd name="connsiteX22" fmla="*/ 4841 w 10000"/>
              <a:gd name="connsiteY22" fmla="*/ 8373 h 10000"/>
              <a:gd name="connsiteX23" fmla="*/ 4524 w 10000"/>
              <a:gd name="connsiteY23" fmla="*/ 7601 h 10000"/>
              <a:gd name="connsiteX24" fmla="*/ 3762 w 10000"/>
              <a:gd name="connsiteY24" fmla="*/ 7561 h 10000"/>
              <a:gd name="connsiteX25" fmla="*/ 3540 w 10000"/>
              <a:gd name="connsiteY25" fmla="*/ 6869 h 10000"/>
              <a:gd name="connsiteX26" fmla="*/ 3730 w 10000"/>
              <a:gd name="connsiteY26" fmla="*/ 6747 h 10000"/>
              <a:gd name="connsiteX27" fmla="*/ 3587 w 10000"/>
              <a:gd name="connsiteY27" fmla="*/ 5773 h 10000"/>
              <a:gd name="connsiteX28" fmla="*/ 3762 w 10000"/>
              <a:gd name="connsiteY28" fmla="*/ 5123 h 10000"/>
              <a:gd name="connsiteX29" fmla="*/ 3302 w 10000"/>
              <a:gd name="connsiteY29" fmla="*/ 5162 h 10000"/>
              <a:gd name="connsiteX30" fmla="*/ 3333 w 10000"/>
              <a:gd name="connsiteY30" fmla="*/ 5609 h 10000"/>
              <a:gd name="connsiteX31" fmla="*/ 3159 w 10000"/>
              <a:gd name="connsiteY31" fmla="*/ 6016 h 10000"/>
              <a:gd name="connsiteX32" fmla="*/ 2952 w 10000"/>
              <a:gd name="connsiteY32" fmla="*/ 5975 h 10000"/>
              <a:gd name="connsiteX33" fmla="*/ 2349 w 10000"/>
              <a:gd name="connsiteY33" fmla="*/ 6381 h 10000"/>
              <a:gd name="connsiteX34" fmla="*/ 2349 w 10000"/>
              <a:gd name="connsiteY34" fmla="*/ 9593 h 10000"/>
              <a:gd name="connsiteX35" fmla="*/ 2190 w 10000"/>
              <a:gd name="connsiteY35" fmla="*/ 9593 h 10000"/>
              <a:gd name="connsiteX36" fmla="*/ 1873 w 10000"/>
              <a:gd name="connsiteY36" fmla="*/ 8779 h 10000"/>
              <a:gd name="connsiteX37" fmla="*/ 1413 w 10000"/>
              <a:gd name="connsiteY37" fmla="*/ 9187 h 10000"/>
              <a:gd name="connsiteX38" fmla="*/ 1413 w 10000"/>
              <a:gd name="connsiteY38" fmla="*/ 8373 h 10000"/>
              <a:gd name="connsiteX39" fmla="*/ 1254 w 10000"/>
              <a:gd name="connsiteY39" fmla="*/ 8373 h 10000"/>
              <a:gd name="connsiteX40" fmla="*/ 1095 w 10000"/>
              <a:gd name="connsiteY40" fmla="*/ 7195 h 10000"/>
              <a:gd name="connsiteX41" fmla="*/ 937 w 10000"/>
              <a:gd name="connsiteY41" fmla="*/ 7195 h 10000"/>
              <a:gd name="connsiteX42" fmla="*/ 1254 w 10000"/>
              <a:gd name="connsiteY42" fmla="*/ 7195 h 10000"/>
              <a:gd name="connsiteX43" fmla="*/ 1095 w 10000"/>
              <a:gd name="connsiteY43" fmla="*/ 6789 h 10000"/>
              <a:gd name="connsiteX44" fmla="*/ 1254 w 10000"/>
              <a:gd name="connsiteY44" fmla="*/ 6381 h 10000"/>
              <a:gd name="connsiteX45" fmla="*/ 1873 w 10000"/>
              <a:gd name="connsiteY45" fmla="*/ 6381 h 10000"/>
              <a:gd name="connsiteX46" fmla="*/ 1714 w 10000"/>
              <a:gd name="connsiteY46" fmla="*/ 5203 h 10000"/>
              <a:gd name="connsiteX47" fmla="*/ 1413 w 10000"/>
              <a:gd name="connsiteY47" fmla="*/ 4796 h 10000"/>
              <a:gd name="connsiteX48" fmla="*/ 1095 w 10000"/>
              <a:gd name="connsiteY48" fmla="*/ 4390 h 10000"/>
              <a:gd name="connsiteX49" fmla="*/ 619 w 10000"/>
              <a:gd name="connsiteY49" fmla="*/ 5203 h 10000"/>
              <a:gd name="connsiteX50" fmla="*/ 476 w 10000"/>
              <a:gd name="connsiteY50" fmla="*/ 5203 h 10000"/>
              <a:gd name="connsiteX51" fmla="*/ 619 w 10000"/>
              <a:gd name="connsiteY51" fmla="*/ 4796 h 10000"/>
              <a:gd name="connsiteX52" fmla="*/ 476 w 10000"/>
              <a:gd name="connsiteY52" fmla="*/ 3982 h 10000"/>
              <a:gd name="connsiteX53" fmla="*/ 159 w 10000"/>
              <a:gd name="connsiteY53" fmla="*/ 3982 h 10000"/>
              <a:gd name="connsiteX54" fmla="*/ 0 w 10000"/>
              <a:gd name="connsiteY54" fmla="*/ 3171 h 10000"/>
              <a:gd name="connsiteX55" fmla="*/ 159 w 10000"/>
              <a:gd name="connsiteY55" fmla="*/ 1178 h 10000"/>
              <a:gd name="connsiteX56" fmla="*/ 476 w 10000"/>
              <a:gd name="connsiteY56" fmla="*/ 1992 h 10000"/>
              <a:gd name="connsiteX57" fmla="*/ 619 w 10000"/>
              <a:gd name="connsiteY57" fmla="*/ 1992 h 10000"/>
              <a:gd name="connsiteX58" fmla="*/ 476 w 10000"/>
              <a:gd name="connsiteY58" fmla="*/ 1178 h 10000"/>
              <a:gd name="connsiteX59" fmla="*/ 937 w 10000"/>
              <a:gd name="connsiteY59" fmla="*/ 0 h 10000"/>
              <a:gd name="connsiteX60" fmla="*/ 1254 w 10000"/>
              <a:gd name="connsiteY60" fmla="*/ 365 h 10000"/>
              <a:gd name="connsiteX61" fmla="*/ 1413 w 10000"/>
              <a:gd name="connsiteY61" fmla="*/ 0 h 10000"/>
              <a:gd name="connsiteX62" fmla="*/ 1714 w 10000"/>
              <a:gd name="connsiteY62" fmla="*/ 365 h 10000"/>
              <a:gd name="connsiteX63" fmla="*/ 2190 w 10000"/>
              <a:gd name="connsiteY63" fmla="*/ 1178 h 10000"/>
              <a:gd name="connsiteX64" fmla="*/ 2492 w 10000"/>
              <a:gd name="connsiteY64" fmla="*/ 772 h 10000"/>
              <a:gd name="connsiteX65" fmla="*/ 2810 w 10000"/>
              <a:gd name="connsiteY65" fmla="*/ 772 h 10000"/>
              <a:gd name="connsiteX66" fmla="*/ 2968 w 10000"/>
              <a:gd name="connsiteY66" fmla="*/ 1178 h 10000"/>
              <a:gd name="connsiteX67" fmla="*/ 9063 w 10000"/>
              <a:gd name="connsiteY67" fmla="*/ 772 h 10000"/>
              <a:gd name="connsiteX68" fmla="*/ 9524 w 10000"/>
              <a:gd name="connsiteY68" fmla="*/ 1992 h 10000"/>
              <a:gd name="connsiteX69" fmla="*/ 9841 w 10000"/>
              <a:gd name="connsiteY69" fmla="*/ 2399 h 10000"/>
              <a:gd name="connsiteX70" fmla="*/ 9841 w 10000"/>
              <a:gd name="connsiteY70" fmla="*/ 1992 h 10000"/>
              <a:gd name="connsiteX71" fmla="*/ 10000 w 10000"/>
              <a:gd name="connsiteY71" fmla="*/ 2804 h 10000"/>
              <a:gd name="connsiteX72" fmla="*/ 9841 w 10000"/>
              <a:gd name="connsiteY72" fmla="*/ 3171 h 10000"/>
              <a:gd name="connsiteX0" fmla="*/ 9841 w 10000"/>
              <a:gd name="connsiteY0" fmla="*/ 3171 h 10000"/>
              <a:gd name="connsiteX1" fmla="*/ 9683 w 10000"/>
              <a:gd name="connsiteY1" fmla="*/ 3577 h 10000"/>
              <a:gd name="connsiteX2" fmla="*/ 9524 w 10000"/>
              <a:gd name="connsiteY2" fmla="*/ 4796 h 10000"/>
              <a:gd name="connsiteX3" fmla="*/ 9365 w 10000"/>
              <a:gd name="connsiteY3" fmla="*/ 4796 h 10000"/>
              <a:gd name="connsiteX4" fmla="*/ 8905 w 10000"/>
              <a:gd name="connsiteY4" fmla="*/ 4796 h 10000"/>
              <a:gd name="connsiteX5" fmla="*/ 8746 w 10000"/>
              <a:gd name="connsiteY5" fmla="*/ 6381 h 10000"/>
              <a:gd name="connsiteX6" fmla="*/ 8286 w 10000"/>
              <a:gd name="connsiteY6" fmla="*/ 6381 h 10000"/>
              <a:gd name="connsiteX7" fmla="*/ 8286 w 10000"/>
              <a:gd name="connsiteY7" fmla="*/ 6789 h 10000"/>
              <a:gd name="connsiteX8" fmla="*/ 8429 w 10000"/>
              <a:gd name="connsiteY8" fmla="*/ 8373 h 10000"/>
              <a:gd name="connsiteX9" fmla="*/ 8286 w 10000"/>
              <a:gd name="connsiteY9" fmla="*/ 8779 h 10000"/>
              <a:gd name="connsiteX10" fmla="*/ 7968 w 10000"/>
              <a:gd name="connsiteY10" fmla="*/ 8373 h 10000"/>
              <a:gd name="connsiteX11" fmla="*/ 7032 w 10000"/>
              <a:gd name="connsiteY11" fmla="*/ 8373 h 10000"/>
              <a:gd name="connsiteX12" fmla="*/ 6714 w 10000"/>
              <a:gd name="connsiteY12" fmla="*/ 8007 h 10000"/>
              <a:gd name="connsiteX13" fmla="*/ 6556 w 10000"/>
              <a:gd name="connsiteY13" fmla="*/ 8373 h 10000"/>
              <a:gd name="connsiteX14" fmla="*/ 6556 w 10000"/>
              <a:gd name="connsiteY14" fmla="*/ 8779 h 10000"/>
              <a:gd name="connsiteX15" fmla="*/ 6095 w 10000"/>
              <a:gd name="connsiteY15" fmla="*/ 8373 h 10000"/>
              <a:gd name="connsiteX16" fmla="*/ 5937 w 10000"/>
              <a:gd name="connsiteY16" fmla="*/ 8779 h 10000"/>
              <a:gd name="connsiteX17" fmla="*/ 5460 w 10000"/>
              <a:gd name="connsiteY17" fmla="*/ 10000 h 10000"/>
              <a:gd name="connsiteX18" fmla="*/ 5317 w 10000"/>
              <a:gd name="connsiteY18" fmla="*/ 9593 h 10000"/>
              <a:gd name="connsiteX19" fmla="*/ 5000 w 10000"/>
              <a:gd name="connsiteY19" fmla="*/ 9593 h 10000"/>
              <a:gd name="connsiteX20" fmla="*/ 5000 w 10000"/>
              <a:gd name="connsiteY20" fmla="*/ 9187 h 10000"/>
              <a:gd name="connsiteX21" fmla="*/ 4841 w 10000"/>
              <a:gd name="connsiteY21" fmla="*/ 9187 h 10000"/>
              <a:gd name="connsiteX22" fmla="*/ 4841 w 10000"/>
              <a:gd name="connsiteY22" fmla="*/ 8373 h 10000"/>
              <a:gd name="connsiteX23" fmla="*/ 4524 w 10000"/>
              <a:gd name="connsiteY23" fmla="*/ 7601 h 10000"/>
              <a:gd name="connsiteX24" fmla="*/ 3762 w 10000"/>
              <a:gd name="connsiteY24" fmla="*/ 7561 h 10000"/>
              <a:gd name="connsiteX25" fmla="*/ 3540 w 10000"/>
              <a:gd name="connsiteY25" fmla="*/ 6869 h 10000"/>
              <a:gd name="connsiteX26" fmla="*/ 3730 w 10000"/>
              <a:gd name="connsiteY26" fmla="*/ 6747 h 10000"/>
              <a:gd name="connsiteX27" fmla="*/ 3587 w 10000"/>
              <a:gd name="connsiteY27" fmla="*/ 5773 h 10000"/>
              <a:gd name="connsiteX28" fmla="*/ 3762 w 10000"/>
              <a:gd name="connsiteY28" fmla="*/ 5123 h 10000"/>
              <a:gd name="connsiteX29" fmla="*/ 3302 w 10000"/>
              <a:gd name="connsiteY29" fmla="*/ 5162 h 10000"/>
              <a:gd name="connsiteX30" fmla="*/ 3333 w 10000"/>
              <a:gd name="connsiteY30" fmla="*/ 5609 h 10000"/>
              <a:gd name="connsiteX31" fmla="*/ 3159 w 10000"/>
              <a:gd name="connsiteY31" fmla="*/ 6016 h 10000"/>
              <a:gd name="connsiteX32" fmla="*/ 2952 w 10000"/>
              <a:gd name="connsiteY32" fmla="*/ 5975 h 10000"/>
              <a:gd name="connsiteX33" fmla="*/ 2349 w 10000"/>
              <a:gd name="connsiteY33" fmla="*/ 6381 h 10000"/>
              <a:gd name="connsiteX34" fmla="*/ 2349 w 10000"/>
              <a:gd name="connsiteY34" fmla="*/ 9593 h 10000"/>
              <a:gd name="connsiteX35" fmla="*/ 2190 w 10000"/>
              <a:gd name="connsiteY35" fmla="*/ 9593 h 10000"/>
              <a:gd name="connsiteX36" fmla="*/ 1873 w 10000"/>
              <a:gd name="connsiteY36" fmla="*/ 8779 h 10000"/>
              <a:gd name="connsiteX37" fmla="*/ 1413 w 10000"/>
              <a:gd name="connsiteY37" fmla="*/ 9187 h 10000"/>
              <a:gd name="connsiteX38" fmla="*/ 1413 w 10000"/>
              <a:gd name="connsiteY38" fmla="*/ 8373 h 10000"/>
              <a:gd name="connsiteX39" fmla="*/ 1254 w 10000"/>
              <a:gd name="connsiteY39" fmla="*/ 8373 h 10000"/>
              <a:gd name="connsiteX40" fmla="*/ 1095 w 10000"/>
              <a:gd name="connsiteY40" fmla="*/ 7195 h 10000"/>
              <a:gd name="connsiteX41" fmla="*/ 937 w 10000"/>
              <a:gd name="connsiteY41" fmla="*/ 7195 h 10000"/>
              <a:gd name="connsiteX42" fmla="*/ 1254 w 10000"/>
              <a:gd name="connsiteY42" fmla="*/ 7195 h 10000"/>
              <a:gd name="connsiteX43" fmla="*/ 1095 w 10000"/>
              <a:gd name="connsiteY43" fmla="*/ 6789 h 10000"/>
              <a:gd name="connsiteX44" fmla="*/ 1254 w 10000"/>
              <a:gd name="connsiteY44" fmla="*/ 6381 h 10000"/>
              <a:gd name="connsiteX45" fmla="*/ 1873 w 10000"/>
              <a:gd name="connsiteY45" fmla="*/ 6381 h 10000"/>
              <a:gd name="connsiteX46" fmla="*/ 1714 w 10000"/>
              <a:gd name="connsiteY46" fmla="*/ 5203 h 10000"/>
              <a:gd name="connsiteX47" fmla="*/ 1413 w 10000"/>
              <a:gd name="connsiteY47" fmla="*/ 4796 h 10000"/>
              <a:gd name="connsiteX48" fmla="*/ 1095 w 10000"/>
              <a:gd name="connsiteY48" fmla="*/ 4390 h 10000"/>
              <a:gd name="connsiteX49" fmla="*/ 619 w 10000"/>
              <a:gd name="connsiteY49" fmla="*/ 5203 h 10000"/>
              <a:gd name="connsiteX50" fmla="*/ 476 w 10000"/>
              <a:gd name="connsiteY50" fmla="*/ 5203 h 10000"/>
              <a:gd name="connsiteX51" fmla="*/ 619 w 10000"/>
              <a:gd name="connsiteY51" fmla="*/ 4796 h 10000"/>
              <a:gd name="connsiteX52" fmla="*/ 476 w 10000"/>
              <a:gd name="connsiteY52" fmla="*/ 3982 h 10000"/>
              <a:gd name="connsiteX53" fmla="*/ 159 w 10000"/>
              <a:gd name="connsiteY53" fmla="*/ 3982 h 10000"/>
              <a:gd name="connsiteX54" fmla="*/ 0 w 10000"/>
              <a:gd name="connsiteY54" fmla="*/ 3171 h 10000"/>
              <a:gd name="connsiteX55" fmla="*/ 159 w 10000"/>
              <a:gd name="connsiteY55" fmla="*/ 1178 h 10000"/>
              <a:gd name="connsiteX56" fmla="*/ 476 w 10000"/>
              <a:gd name="connsiteY56" fmla="*/ 1992 h 10000"/>
              <a:gd name="connsiteX57" fmla="*/ 619 w 10000"/>
              <a:gd name="connsiteY57" fmla="*/ 1992 h 10000"/>
              <a:gd name="connsiteX58" fmla="*/ 476 w 10000"/>
              <a:gd name="connsiteY58" fmla="*/ 1178 h 10000"/>
              <a:gd name="connsiteX59" fmla="*/ 937 w 10000"/>
              <a:gd name="connsiteY59" fmla="*/ 0 h 10000"/>
              <a:gd name="connsiteX60" fmla="*/ 1254 w 10000"/>
              <a:gd name="connsiteY60" fmla="*/ 365 h 10000"/>
              <a:gd name="connsiteX61" fmla="*/ 1413 w 10000"/>
              <a:gd name="connsiteY61" fmla="*/ 0 h 10000"/>
              <a:gd name="connsiteX62" fmla="*/ 1714 w 10000"/>
              <a:gd name="connsiteY62" fmla="*/ 365 h 10000"/>
              <a:gd name="connsiteX63" fmla="*/ 2190 w 10000"/>
              <a:gd name="connsiteY63" fmla="*/ 1178 h 10000"/>
              <a:gd name="connsiteX64" fmla="*/ 2492 w 10000"/>
              <a:gd name="connsiteY64" fmla="*/ 772 h 10000"/>
              <a:gd name="connsiteX65" fmla="*/ 2810 w 10000"/>
              <a:gd name="connsiteY65" fmla="*/ 772 h 10000"/>
              <a:gd name="connsiteX66" fmla="*/ 2968 w 10000"/>
              <a:gd name="connsiteY66" fmla="*/ 1178 h 10000"/>
              <a:gd name="connsiteX67" fmla="*/ 9524 w 10000"/>
              <a:gd name="connsiteY67" fmla="*/ 1992 h 10000"/>
              <a:gd name="connsiteX68" fmla="*/ 9841 w 10000"/>
              <a:gd name="connsiteY68" fmla="*/ 2399 h 10000"/>
              <a:gd name="connsiteX69" fmla="*/ 9841 w 10000"/>
              <a:gd name="connsiteY69" fmla="*/ 1992 h 10000"/>
              <a:gd name="connsiteX70" fmla="*/ 10000 w 10000"/>
              <a:gd name="connsiteY70" fmla="*/ 2804 h 10000"/>
              <a:gd name="connsiteX71" fmla="*/ 9841 w 10000"/>
              <a:gd name="connsiteY71" fmla="*/ 3171 h 10000"/>
              <a:gd name="connsiteX0" fmla="*/ 9841 w 10000"/>
              <a:gd name="connsiteY0" fmla="*/ 3171 h 10000"/>
              <a:gd name="connsiteX1" fmla="*/ 9683 w 10000"/>
              <a:gd name="connsiteY1" fmla="*/ 3577 h 10000"/>
              <a:gd name="connsiteX2" fmla="*/ 9524 w 10000"/>
              <a:gd name="connsiteY2" fmla="*/ 4796 h 10000"/>
              <a:gd name="connsiteX3" fmla="*/ 9365 w 10000"/>
              <a:gd name="connsiteY3" fmla="*/ 4796 h 10000"/>
              <a:gd name="connsiteX4" fmla="*/ 8905 w 10000"/>
              <a:gd name="connsiteY4" fmla="*/ 4796 h 10000"/>
              <a:gd name="connsiteX5" fmla="*/ 8746 w 10000"/>
              <a:gd name="connsiteY5" fmla="*/ 6381 h 10000"/>
              <a:gd name="connsiteX6" fmla="*/ 8286 w 10000"/>
              <a:gd name="connsiteY6" fmla="*/ 6381 h 10000"/>
              <a:gd name="connsiteX7" fmla="*/ 8286 w 10000"/>
              <a:gd name="connsiteY7" fmla="*/ 6789 h 10000"/>
              <a:gd name="connsiteX8" fmla="*/ 8429 w 10000"/>
              <a:gd name="connsiteY8" fmla="*/ 8373 h 10000"/>
              <a:gd name="connsiteX9" fmla="*/ 8286 w 10000"/>
              <a:gd name="connsiteY9" fmla="*/ 8779 h 10000"/>
              <a:gd name="connsiteX10" fmla="*/ 7968 w 10000"/>
              <a:gd name="connsiteY10" fmla="*/ 8373 h 10000"/>
              <a:gd name="connsiteX11" fmla="*/ 7032 w 10000"/>
              <a:gd name="connsiteY11" fmla="*/ 8373 h 10000"/>
              <a:gd name="connsiteX12" fmla="*/ 6714 w 10000"/>
              <a:gd name="connsiteY12" fmla="*/ 8007 h 10000"/>
              <a:gd name="connsiteX13" fmla="*/ 6556 w 10000"/>
              <a:gd name="connsiteY13" fmla="*/ 8373 h 10000"/>
              <a:gd name="connsiteX14" fmla="*/ 6556 w 10000"/>
              <a:gd name="connsiteY14" fmla="*/ 8779 h 10000"/>
              <a:gd name="connsiteX15" fmla="*/ 6095 w 10000"/>
              <a:gd name="connsiteY15" fmla="*/ 8373 h 10000"/>
              <a:gd name="connsiteX16" fmla="*/ 5937 w 10000"/>
              <a:gd name="connsiteY16" fmla="*/ 8779 h 10000"/>
              <a:gd name="connsiteX17" fmla="*/ 5460 w 10000"/>
              <a:gd name="connsiteY17" fmla="*/ 10000 h 10000"/>
              <a:gd name="connsiteX18" fmla="*/ 5317 w 10000"/>
              <a:gd name="connsiteY18" fmla="*/ 9593 h 10000"/>
              <a:gd name="connsiteX19" fmla="*/ 5000 w 10000"/>
              <a:gd name="connsiteY19" fmla="*/ 9593 h 10000"/>
              <a:gd name="connsiteX20" fmla="*/ 5000 w 10000"/>
              <a:gd name="connsiteY20" fmla="*/ 9187 h 10000"/>
              <a:gd name="connsiteX21" fmla="*/ 4841 w 10000"/>
              <a:gd name="connsiteY21" fmla="*/ 9187 h 10000"/>
              <a:gd name="connsiteX22" fmla="*/ 4841 w 10000"/>
              <a:gd name="connsiteY22" fmla="*/ 8373 h 10000"/>
              <a:gd name="connsiteX23" fmla="*/ 4524 w 10000"/>
              <a:gd name="connsiteY23" fmla="*/ 7601 h 10000"/>
              <a:gd name="connsiteX24" fmla="*/ 3762 w 10000"/>
              <a:gd name="connsiteY24" fmla="*/ 7561 h 10000"/>
              <a:gd name="connsiteX25" fmla="*/ 3540 w 10000"/>
              <a:gd name="connsiteY25" fmla="*/ 6869 h 10000"/>
              <a:gd name="connsiteX26" fmla="*/ 3730 w 10000"/>
              <a:gd name="connsiteY26" fmla="*/ 6747 h 10000"/>
              <a:gd name="connsiteX27" fmla="*/ 3587 w 10000"/>
              <a:gd name="connsiteY27" fmla="*/ 5773 h 10000"/>
              <a:gd name="connsiteX28" fmla="*/ 3762 w 10000"/>
              <a:gd name="connsiteY28" fmla="*/ 5123 h 10000"/>
              <a:gd name="connsiteX29" fmla="*/ 3302 w 10000"/>
              <a:gd name="connsiteY29" fmla="*/ 5162 h 10000"/>
              <a:gd name="connsiteX30" fmla="*/ 3333 w 10000"/>
              <a:gd name="connsiteY30" fmla="*/ 5609 h 10000"/>
              <a:gd name="connsiteX31" fmla="*/ 3159 w 10000"/>
              <a:gd name="connsiteY31" fmla="*/ 6016 h 10000"/>
              <a:gd name="connsiteX32" fmla="*/ 2952 w 10000"/>
              <a:gd name="connsiteY32" fmla="*/ 5975 h 10000"/>
              <a:gd name="connsiteX33" fmla="*/ 2349 w 10000"/>
              <a:gd name="connsiteY33" fmla="*/ 6381 h 10000"/>
              <a:gd name="connsiteX34" fmla="*/ 2349 w 10000"/>
              <a:gd name="connsiteY34" fmla="*/ 9593 h 10000"/>
              <a:gd name="connsiteX35" fmla="*/ 2190 w 10000"/>
              <a:gd name="connsiteY35" fmla="*/ 9593 h 10000"/>
              <a:gd name="connsiteX36" fmla="*/ 1873 w 10000"/>
              <a:gd name="connsiteY36" fmla="*/ 8779 h 10000"/>
              <a:gd name="connsiteX37" fmla="*/ 1413 w 10000"/>
              <a:gd name="connsiteY37" fmla="*/ 9187 h 10000"/>
              <a:gd name="connsiteX38" fmla="*/ 1413 w 10000"/>
              <a:gd name="connsiteY38" fmla="*/ 8373 h 10000"/>
              <a:gd name="connsiteX39" fmla="*/ 1254 w 10000"/>
              <a:gd name="connsiteY39" fmla="*/ 8373 h 10000"/>
              <a:gd name="connsiteX40" fmla="*/ 1095 w 10000"/>
              <a:gd name="connsiteY40" fmla="*/ 7195 h 10000"/>
              <a:gd name="connsiteX41" fmla="*/ 937 w 10000"/>
              <a:gd name="connsiteY41" fmla="*/ 7195 h 10000"/>
              <a:gd name="connsiteX42" fmla="*/ 1254 w 10000"/>
              <a:gd name="connsiteY42" fmla="*/ 7195 h 10000"/>
              <a:gd name="connsiteX43" fmla="*/ 1095 w 10000"/>
              <a:gd name="connsiteY43" fmla="*/ 6789 h 10000"/>
              <a:gd name="connsiteX44" fmla="*/ 1254 w 10000"/>
              <a:gd name="connsiteY44" fmla="*/ 6381 h 10000"/>
              <a:gd name="connsiteX45" fmla="*/ 1873 w 10000"/>
              <a:gd name="connsiteY45" fmla="*/ 6381 h 10000"/>
              <a:gd name="connsiteX46" fmla="*/ 1714 w 10000"/>
              <a:gd name="connsiteY46" fmla="*/ 5203 h 10000"/>
              <a:gd name="connsiteX47" fmla="*/ 1413 w 10000"/>
              <a:gd name="connsiteY47" fmla="*/ 4796 h 10000"/>
              <a:gd name="connsiteX48" fmla="*/ 1095 w 10000"/>
              <a:gd name="connsiteY48" fmla="*/ 4390 h 10000"/>
              <a:gd name="connsiteX49" fmla="*/ 619 w 10000"/>
              <a:gd name="connsiteY49" fmla="*/ 5203 h 10000"/>
              <a:gd name="connsiteX50" fmla="*/ 476 w 10000"/>
              <a:gd name="connsiteY50" fmla="*/ 5203 h 10000"/>
              <a:gd name="connsiteX51" fmla="*/ 619 w 10000"/>
              <a:gd name="connsiteY51" fmla="*/ 4796 h 10000"/>
              <a:gd name="connsiteX52" fmla="*/ 476 w 10000"/>
              <a:gd name="connsiteY52" fmla="*/ 3982 h 10000"/>
              <a:gd name="connsiteX53" fmla="*/ 159 w 10000"/>
              <a:gd name="connsiteY53" fmla="*/ 3982 h 10000"/>
              <a:gd name="connsiteX54" fmla="*/ 0 w 10000"/>
              <a:gd name="connsiteY54" fmla="*/ 3171 h 10000"/>
              <a:gd name="connsiteX55" fmla="*/ 159 w 10000"/>
              <a:gd name="connsiteY55" fmla="*/ 1178 h 10000"/>
              <a:gd name="connsiteX56" fmla="*/ 476 w 10000"/>
              <a:gd name="connsiteY56" fmla="*/ 1992 h 10000"/>
              <a:gd name="connsiteX57" fmla="*/ 619 w 10000"/>
              <a:gd name="connsiteY57" fmla="*/ 1992 h 10000"/>
              <a:gd name="connsiteX58" fmla="*/ 476 w 10000"/>
              <a:gd name="connsiteY58" fmla="*/ 1178 h 10000"/>
              <a:gd name="connsiteX59" fmla="*/ 937 w 10000"/>
              <a:gd name="connsiteY59" fmla="*/ 0 h 10000"/>
              <a:gd name="connsiteX60" fmla="*/ 1254 w 10000"/>
              <a:gd name="connsiteY60" fmla="*/ 365 h 10000"/>
              <a:gd name="connsiteX61" fmla="*/ 1413 w 10000"/>
              <a:gd name="connsiteY61" fmla="*/ 0 h 10000"/>
              <a:gd name="connsiteX62" fmla="*/ 1714 w 10000"/>
              <a:gd name="connsiteY62" fmla="*/ 365 h 10000"/>
              <a:gd name="connsiteX63" fmla="*/ 2190 w 10000"/>
              <a:gd name="connsiteY63" fmla="*/ 1178 h 10000"/>
              <a:gd name="connsiteX64" fmla="*/ 2492 w 10000"/>
              <a:gd name="connsiteY64" fmla="*/ 772 h 10000"/>
              <a:gd name="connsiteX65" fmla="*/ 2810 w 10000"/>
              <a:gd name="connsiteY65" fmla="*/ 772 h 10000"/>
              <a:gd name="connsiteX66" fmla="*/ 2968 w 10000"/>
              <a:gd name="connsiteY66" fmla="*/ 1178 h 10000"/>
              <a:gd name="connsiteX67" fmla="*/ 9841 w 10000"/>
              <a:gd name="connsiteY67" fmla="*/ 2399 h 10000"/>
              <a:gd name="connsiteX68" fmla="*/ 9841 w 10000"/>
              <a:gd name="connsiteY68" fmla="*/ 1992 h 10000"/>
              <a:gd name="connsiteX69" fmla="*/ 10000 w 10000"/>
              <a:gd name="connsiteY69" fmla="*/ 2804 h 10000"/>
              <a:gd name="connsiteX70" fmla="*/ 9841 w 10000"/>
              <a:gd name="connsiteY70" fmla="*/ 3171 h 10000"/>
              <a:gd name="connsiteX0" fmla="*/ 9841 w 10000"/>
              <a:gd name="connsiteY0" fmla="*/ 3171 h 10000"/>
              <a:gd name="connsiteX1" fmla="*/ 9683 w 10000"/>
              <a:gd name="connsiteY1" fmla="*/ 3577 h 10000"/>
              <a:gd name="connsiteX2" fmla="*/ 9524 w 10000"/>
              <a:gd name="connsiteY2" fmla="*/ 4796 h 10000"/>
              <a:gd name="connsiteX3" fmla="*/ 9365 w 10000"/>
              <a:gd name="connsiteY3" fmla="*/ 4796 h 10000"/>
              <a:gd name="connsiteX4" fmla="*/ 8905 w 10000"/>
              <a:gd name="connsiteY4" fmla="*/ 4796 h 10000"/>
              <a:gd name="connsiteX5" fmla="*/ 8746 w 10000"/>
              <a:gd name="connsiteY5" fmla="*/ 6381 h 10000"/>
              <a:gd name="connsiteX6" fmla="*/ 8286 w 10000"/>
              <a:gd name="connsiteY6" fmla="*/ 6381 h 10000"/>
              <a:gd name="connsiteX7" fmla="*/ 8286 w 10000"/>
              <a:gd name="connsiteY7" fmla="*/ 6789 h 10000"/>
              <a:gd name="connsiteX8" fmla="*/ 8429 w 10000"/>
              <a:gd name="connsiteY8" fmla="*/ 8373 h 10000"/>
              <a:gd name="connsiteX9" fmla="*/ 8286 w 10000"/>
              <a:gd name="connsiteY9" fmla="*/ 8779 h 10000"/>
              <a:gd name="connsiteX10" fmla="*/ 7968 w 10000"/>
              <a:gd name="connsiteY10" fmla="*/ 8373 h 10000"/>
              <a:gd name="connsiteX11" fmla="*/ 7032 w 10000"/>
              <a:gd name="connsiteY11" fmla="*/ 8373 h 10000"/>
              <a:gd name="connsiteX12" fmla="*/ 6714 w 10000"/>
              <a:gd name="connsiteY12" fmla="*/ 8007 h 10000"/>
              <a:gd name="connsiteX13" fmla="*/ 6556 w 10000"/>
              <a:gd name="connsiteY13" fmla="*/ 8373 h 10000"/>
              <a:gd name="connsiteX14" fmla="*/ 6556 w 10000"/>
              <a:gd name="connsiteY14" fmla="*/ 8779 h 10000"/>
              <a:gd name="connsiteX15" fmla="*/ 6095 w 10000"/>
              <a:gd name="connsiteY15" fmla="*/ 8373 h 10000"/>
              <a:gd name="connsiteX16" fmla="*/ 5937 w 10000"/>
              <a:gd name="connsiteY16" fmla="*/ 8779 h 10000"/>
              <a:gd name="connsiteX17" fmla="*/ 5460 w 10000"/>
              <a:gd name="connsiteY17" fmla="*/ 10000 h 10000"/>
              <a:gd name="connsiteX18" fmla="*/ 5317 w 10000"/>
              <a:gd name="connsiteY18" fmla="*/ 9593 h 10000"/>
              <a:gd name="connsiteX19" fmla="*/ 5000 w 10000"/>
              <a:gd name="connsiteY19" fmla="*/ 9593 h 10000"/>
              <a:gd name="connsiteX20" fmla="*/ 5000 w 10000"/>
              <a:gd name="connsiteY20" fmla="*/ 9187 h 10000"/>
              <a:gd name="connsiteX21" fmla="*/ 4841 w 10000"/>
              <a:gd name="connsiteY21" fmla="*/ 9187 h 10000"/>
              <a:gd name="connsiteX22" fmla="*/ 4841 w 10000"/>
              <a:gd name="connsiteY22" fmla="*/ 8373 h 10000"/>
              <a:gd name="connsiteX23" fmla="*/ 4524 w 10000"/>
              <a:gd name="connsiteY23" fmla="*/ 7601 h 10000"/>
              <a:gd name="connsiteX24" fmla="*/ 3762 w 10000"/>
              <a:gd name="connsiteY24" fmla="*/ 7561 h 10000"/>
              <a:gd name="connsiteX25" fmla="*/ 3540 w 10000"/>
              <a:gd name="connsiteY25" fmla="*/ 6869 h 10000"/>
              <a:gd name="connsiteX26" fmla="*/ 3730 w 10000"/>
              <a:gd name="connsiteY26" fmla="*/ 6747 h 10000"/>
              <a:gd name="connsiteX27" fmla="*/ 3587 w 10000"/>
              <a:gd name="connsiteY27" fmla="*/ 5773 h 10000"/>
              <a:gd name="connsiteX28" fmla="*/ 3762 w 10000"/>
              <a:gd name="connsiteY28" fmla="*/ 5123 h 10000"/>
              <a:gd name="connsiteX29" fmla="*/ 3302 w 10000"/>
              <a:gd name="connsiteY29" fmla="*/ 5162 h 10000"/>
              <a:gd name="connsiteX30" fmla="*/ 3333 w 10000"/>
              <a:gd name="connsiteY30" fmla="*/ 5609 h 10000"/>
              <a:gd name="connsiteX31" fmla="*/ 3159 w 10000"/>
              <a:gd name="connsiteY31" fmla="*/ 6016 h 10000"/>
              <a:gd name="connsiteX32" fmla="*/ 2952 w 10000"/>
              <a:gd name="connsiteY32" fmla="*/ 5975 h 10000"/>
              <a:gd name="connsiteX33" fmla="*/ 2349 w 10000"/>
              <a:gd name="connsiteY33" fmla="*/ 6381 h 10000"/>
              <a:gd name="connsiteX34" fmla="*/ 2349 w 10000"/>
              <a:gd name="connsiteY34" fmla="*/ 9593 h 10000"/>
              <a:gd name="connsiteX35" fmla="*/ 2190 w 10000"/>
              <a:gd name="connsiteY35" fmla="*/ 9593 h 10000"/>
              <a:gd name="connsiteX36" fmla="*/ 1873 w 10000"/>
              <a:gd name="connsiteY36" fmla="*/ 8779 h 10000"/>
              <a:gd name="connsiteX37" fmla="*/ 1413 w 10000"/>
              <a:gd name="connsiteY37" fmla="*/ 9187 h 10000"/>
              <a:gd name="connsiteX38" fmla="*/ 1413 w 10000"/>
              <a:gd name="connsiteY38" fmla="*/ 8373 h 10000"/>
              <a:gd name="connsiteX39" fmla="*/ 1254 w 10000"/>
              <a:gd name="connsiteY39" fmla="*/ 8373 h 10000"/>
              <a:gd name="connsiteX40" fmla="*/ 1095 w 10000"/>
              <a:gd name="connsiteY40" fmla="*/ 7195 h 10000"/>
              <a:gd name="connsiteX41" fmla="*/ 937 w 10000"/>
              <a:gd name="connsiteY41" fmla="*/ 7195 h 10000"/>
              <a:gd name="connsiteX42" fmla="*/ 1254 w 10000"/>
              <a:gd name="connsiteY42" fmla="*/ 7195 h 10000"/>
              <a:gd name="connsiteX43" fmla="*/ 1095 w 10000"/>
              <a:gd name="connsiteY43" fmla="*/ 6789 h 10000"/>
              <a:gd name="connsiteX44" fmla="*/ 1254 w 10000"/>
              <a:gd name="connsiteY44" fmla="*/ 6381 h 10000"/>
              <a:gd name="connsiteX45" fmla="*/ 1873 w 10000"/>
              <a:gd name="connsiteY45" fmla="*/ 6381 h 10000"/>
              <a:gd name="connsiteX46" fmla="*/ 1714 w 10000"/>
              <a:gd name="connsiteY46" fmla="*/ 5203 h 10000"/>
              <a:gd name="connsiteX47" fmla="*/ 1413 w 10000"/>
              <a:gd name="connsiteY47" fmla="*/ 4796 h 10000"/>
              <a:gd name="connsiteX48" fmla="*/ 1095 w 10000"/>
              <a:gd name="connsiteY48" fmla="*/ 4390 h 10000"/>
              <a:gd name="connsiteX49" fmla="*/ 619 w 10000"/>
              <a:gd name="connsiteY49" fmla="*/ 5203 h 10000"/>
              <a:gd name="connsiteX50" fmla="*/ 476 w 10000"/>
              <a:gd name="connsiteY50" fmla="*/ 5203 h 10000"/>
              <a:gd name="connsiteX51" fmla="*/ 619 w 10000"/>
              <a:gd name="connsiteY51" fmla="*/ 4796 h 10000"/>
              <a:gd name="connsiteX52" fmla="*/ 476 w 10000"/>
              <a:gd name="connsiteY52" fmla="*/ 3982 h 10000"/>
              <a:gd name="connsiteX53" fmla="*/ 159 w 10000"/>
              <a:gd name="connsiteY53" fmla="*/ 3982 h 10000"/>
              <a:gd name="connsiteX54" fmla="*/ 0 w 10000"/>
              <a:gd name="connsiteY54" fmla="*/ 3171 h 10000"/>
              <a:gd name="connsiteX55" fmla="*/ 159 w 10000"/>
              <a:gd name="connsiteY55" fmla="*/ 1178 h 10000"/>
              <a:gd name="connsiteX56" fmla="*/ 476 w 10000"/>
              <a:gd name="connsiteY56" fmla="*/ 1992 h 10000"/>
              <a:gd name="connsiteX57" fmla="*/ 619 w 10000"/>
              <a:gd name="connsiteY57" fmla="*/ 1992 h 10000"/>
              <a:gd name="connsiteX58" fmla="*/ 476 w 10000"/>
              <a:gd name="connsiteY58" fmla="*/ 1178 h 10000"/>
              <a:gd name="connsiteX59" fmla="*/ 937 w 10000"/>
              <a:gd name="connsiteY59" fmla="*/ 0 h 10000"/>
              <a:gd name="connsiteX60" fmla="*/ 1254 w 10000"/>
              <a:gd name="connsiteY60" fmla="*/ 365 h 10000"/>
              <a:gd name="connsiteX61" fmla="*/ 1413 w 10000"/>
              <a:gd name="connsiteY61" fmla="*/ 0 h 10000"/>
              <a:gd name="connsiteX62" fmla="*/ 1714 w 10000"/>
              <a:gd name="connsiteY62" fmla="*/ 365 h 10000"/>
              <a:gd name="connsiteX63" fmla="*/ 2190 w 10000"/>
              <a:gd name="connsiteY63" fmla="*/ 1178 h 10000"/>
              <a:gd name="connsiteX64" fmla="*/ 2492 w 10000"/>
              <a:gd name="connsiteY64" fmla="*/ 772 h 10000"/>
              <a:gd name="connsiteX65" fmla="*/ 2810 w 10000"/>
              <a:gd name="connsiteY65" fmla="*/ 772 h 10000"/>
              <a:gd name="connsiteX66" fmla="*/ 2968 w 10000"/>
              <a:gd name="connsiteY66" fmla="*/ 1178 h 10000"/>
              <a:gd name="connsiteX67" fmla="*/ 9841 w 10000"/>
              <a:gd name="connsiteY67" fmla="*/ 2399 h 10000"/>
              <a:gd name="connsiteX68" fmla="*/ 10000 w 10000"/>
              <a:gd name="connsiteY68" fmla="*/ 2804 h 10000"/>
              <a:gd name="connsiteX69" fmla="*/ 9841 w 10000"/>
              <a:gd name="connsiteY69" fmla="*/ 3171 h 10000"/>
              <a:gd name="connsiteX0" fmla="*/ 9841 w 9841"/>
              <a:gd name="connsiteY0" fmla="*/ 3171 h 10000"/>
              <a:gd name="connsiteX1" fmla="*/ 9683 w 9841"/>
              <a:gd name="connsiteY1" fmla="*/ 3577 h 10000"/>
              <a:gd name="connsiteX2" fmla="*/ 9524 w 9841"/>
              <a:gd name="connsiteY2" fmla="*/ 4796 h 10000"/>
              <a:gd name="connsiteX3" fmla="*/ 9365 w 9841"/>
              <a:gd name="connsiteY3" fmla="*/ 4796 h 10000"/>
              <a:gd name="connsiteX4" fmla="*/ 8905 w 9841"/>
              <a:gd name="connsiteY4" fmla="*/ 4796 h 10000"/>
              <a:gd name="connsiteX5" fmla="*/ 8746 w 9841"/>
              <a:gd name="connsiteY5" fmla="*/ 6381 h 10000"/>
              <a:gd name="connsiteX6" fmla="*/ 8286 w 9841"/>
              <a:gd name="connsiteY6" fmla="*/ 6381 h 10000"/>
              <a:gd name="connsiteX7" fmla="*/ 8286 w 9841"/>
              <a:gd name="connsiteY7" fmla="*/ 6789 h 10000"/>
              <a:gd name="connsiteX8" fmla="*/ 8429 w 9841"/>
              <a:gd name="connsiteY8" fmla="*/ 8373 h 10000"/>
              <a:gd name="connsiteX9" fmla="*/ 8286 w 9841"/>
              <a:gd name="connsiteY9" fmla="*/ 8779 h 10000"/>
              <a:gd name="connsiteX10" fmla="*/ 7968 w 9841"/>
              <a:gd name="connsiteY10" fmla="*/ 8373 h 10000"/>
              <a:gd name="connsiteX11" fmla="*/ 7032 w 9841"/>
              <a:gd name="connsiteY11" fmla="*/ 8373 h 10000"/>
              <a:gd name="connsiteX12" fmla="*/ 6714 w 9841"/>
              <a:gd name="connsiteY12" fmla="*/ 8007 h 10000"/>
              <a:gd name="connsiteX13" fmla="*/ 6556 w 9841"/>
              <a:gd name="connsiteY13" fmla="*/ 8373 h 10000"/>
              <a:gd name="connsiteX14" fmla="*/ 6556 w 9841"/>
              <a:gd name="connsiteY14" fmla="*/ 8779 h 10000"/>
              <a:gd name="connsiteX15" fmla="*/ 6095 w 9841"/>
              <a:gd name="connsiteY15" fmla="*/ 8373 h 10000"/>
              <a:gd name="connsiteX16" fmla="*/ 5937 w 9841"/>
              <a:gd name="connsiteY16" fmla="*/ 8779 h 10000"/>
              <a:gd name="connsiteX17" fmla="*/ 5460 w 9841"/>
              <a:gd name="connsiteY17" fmla="*/ 10000 h 10000"/>
              <a:gd name="connsiteX18" fmla="*/ 5317 w 9841"/>
              <a:gd name="connsiteY18" fmla="*/ 9593 h 10000"/>
              <a:gd name="connsiteX19" fmla="*/ 5000 w 9841"/>
              <a:gd name="connsiteY19" fmla="*/ 9593 h 10000"/>
              <a:gd name="connsiteX20" fmla="*/ 5000 w 9841"/>
              <a:gd name="connsiteY20" fmla="*/ 9187 h 10000"/>
              <a:gd name="connsiteX21" fmla="*/ 4841 w 9841"/>
              <a:gd name="connsiteY21" fmla="*/ 9187 h 10000"/>
              <a:gd name="connsiteX22" fmla="*/ 4841 w 9841"/>
              <a:gd name="connsiteY22" fmla="*/ 8373 h 10000"/>
              <a:gd name="connsiteX23" fmla="*/ 4524 w 9841"/>
              <a:gd name="connsiteY23" fmla="*/ 7601 h 10000"/>
              <a:gd name="connsiteX24" fmla="*/ 3762 w 9841"/>
              <a:gd name="connsiteY24" fmla="*/ 7561 h 10000"/>
              <a:gd name="connsiteX25" fmla="*/ 3540 w 9841"/>
              <a:gd name="connsiteY25" fmla="*/ 6869 h 10000"/>
              <a:gd name="connsiteX26" fmla="*/ 3730 w 9841"/>
              <a:gd name="connsiteY26" fmla="*/ 6747 h 10000"/>
              <a:gd name="connsiteX27" fmla="*/ 3587 w 9841"/>
              <a:gd name="connsiteY27" fmla="*/ 5773 h 10000"/>
              <a:gd name="connsiteX28" fmla="*/ 3762 w 9841"/>
              <a:gd name="connsiteY28" fmla="*/ 5123 h 10000"/>
              <a:gd name="connsiteX29" fmla="*/ 3302 w 9841"/>
              <a:gd name="connsiteY29" fmla="*/ 5162 h 10000"/>
              <a:gd name="connsiteX30" fmla="*/ 3333 w 9841"/>
              <a:gd name="connsiteY30" fmla="*/ 5609 h 10000"/>
              <a:gd name="connsiteX31" fmla="*/ 3159 w 9841"/>
              <a:gd name="connsiteY31" fmla="*/ 6016 h 10000"/>
              <a:gd name="connsiteX32" fmla="*/ 2952 w 9841"/>
              <a:gd name="connsiteY32" fmla="*/ 5975 h 10000"/>
              <a:gd name="connsiteX33" fmla="*/ 2349 w 9841"/>
              <a:gd name="connsiteY33" fmla="*/ 6381 h 10000"/>
              <a:gd name="connsiteX34" fmla="*/ 2349 w 9841"/>
              <a:gd name="connsiteY34" fmla="*/ 9593 h 10000"/>
              <a:gd name="connsiteX35" fmla="*/ 2190 w 9841"/>
              <a:gd name="connsiteY35" fmla="*/ 9593 h 10000"/>
              <a:gd name="connsiteX36" fmla="*/ 1873 w 9841"/>
              <a:gd name="connsiteY36" fmla="*/ 8779 h 10000"/>
              <a:gd name="connsiteX37" fmla="*/ 1413 w 9841"/>
              <a:gd name="connsiteY37" fmla="*/ 9187 h 10000"/>
              <a:gd name="connsiteX38" fmla="*/ 1413 w 9841"/>
              <a:gd name="connsiteY38" fmla="*/ 8373 h 10000"/>
              <a:gd name="connsiteX39" fmla="*/ 1254 w 9841"/>
              <a:gd name="connsiteY39" fmla="*/ 8373 h 10000"/>
              <a:gd name="connsiteX40" fmla="*/ 1095 w 9841"/>
              <a:gd name="connsiteY40" fmla="*/ 7195 h 10000"/>
              <a:gd name="connsiteX41" fmla="*/ 937 w 9841"/>
              <a:gd name="connsiteY41" fmla="*/ 7195 h 10000"/>
              <a:gd name="connsiteX42" fmla="*/ 1254 w 9841"/>
              <a:gd name="connsiteY42" fmla="*/ 7195 h 10000"/>
              <a:gd name="connsiteX43" fmla="*/ 1095 w 9841"/>
              <a:gd name="connsiteY43" fmla="*/ 6789 h 10000"/>
              <a:gd name="connsiteX44" fmla="*/ 1254 w 9841"/>
              <a:gd name="connsiteY44" fmla="*/ 6381 h 10000"/>
              <a:gd name="connsiteX45" fmla="*/ 1873 w 9841"/>
              <a:gd name="connsiteY45" fmla="*/ 6381 h 10000"/>
              <a:gd name="connsiteX46" fmla="*/ 1714 w 9841"/>
              <a:gd name="connsiteY46" fmla="*/ 5203 h 10000"/>
              <a:gd name="connsiteX47" fmla="*/ 1413 w 9841"/>
              <a:gd name="connsiteY47" fmla="*/ 4796 h 10000"/>
              <a:gd name="connsiteX48" fmla="*/ 1095 w 9841"/>
              <a:gd name="connsiteY48" fmla="*/ 4390 h 10000"/>
              <a:gd name="connsiteX49" fmla="*/ 619 w 9841"/>
              <a:gd name="connsiteY49" fmla="*/ 5203 h 10000"/>
              <a:gd name="connsiteX50" fmla="*/ 476 w 9841"/>
              <a:gd name="connsiteY50" fmla="*/ 5203 h 10000"/>
              <a:gd name="connsiteX51" fmla="*/ 619 w 9841"/>
              <a:gd name="connsiteY51" fmla="*/ 4796 h 10000"/>
              <a:gd name="connsiteX52" fmla="*/ 476 w 9841"/>
              <a:gd name="connsiteY52" fmla="*/ 3982 h 10000"/>
              <a:gd name="connsiteX53" fmla="*/ 159 w 9841"/>
              <a:gd name="connsiteY53" fmla="*/ 3982 h 10000"/>
              <a:gd name="connsiteX54" fmla="*/ 0 w 9841"/>
              <a:gd name="connsiteY54" fmla="*/ 3171 h 10000"/>
              <a:gd name="connsiteX55" fmla="*/ 159 w 9841"/>
              <a:gd name="connsiteY55" fmla="*/ 1178 h 10000"/>
              <a:gd name="connsiteX56" fmla="*/ 476 w 9841"/>
              <a:gd name="connsiteY56" fmla="*/ 1992 h 10000"/>
              <a:gd name="connsiteX57" fmla="*/ 619 w 9841"/>
              <a:gd name="connsiteY57" fmla="*/ 1992 h 10000"/>
              <a:gd name="connsiteX58" fmla="*/ 476 w 9841"/>
              <a:gd name="connsiteY58" fmla="*/ 1178 h 10000"/>
              <a:gd name="connsiteX59" fmla="*/ 937 w 9841"/>
              <a:gd name="connsiteY59" fmla="*/ 0 h 10000"/>
              <a:gd name="connsiteX60" fmla="*/ 1254 w 9841"/>
              <a:gd name="connsiteY60" fmla="*/ 365 h 10000"/>
              <a:gd name="connsiteX61" fmla="*/ 1413 w 9841"/>
              <a:gd name="connsiteY61" fmla="*/ 0 h 10000"/>
              <a:gd name="connsiteX62" fmla="*/ 1714 w 9841"/>
              <a:gd name="connsiteY62" fmla="*/ 365 h 10000"/>
              <a:gd name="connsiteX63" fmla="*/ 2190 w 9841"/>
              <a:gd name="connsiteY63" fmla="*/ 1178 h 10000"/>
              <a:gd name="connsiteX64" fmla="*/ 2492 w 9841"/>
              <a:gd name="connsiteY64" fmla="*/ 772 h 10000"/>
              <a:gd name="connsiteX65" fmla="*/ 2810 w 9841"/>
              <a:gd name="connsiteY65" fmla="*/ 772 h 10000"/>
              <a:gd name="connsiteX66" fmla="*/ 2968 w 9841"/>
              <a:gd name="connsiteY66" fmla="*/ 1178 h 10000"/>
              <a:gd name="connsiteX67" fmla="*/ 9841 w 9841"/>
              <a:gd name="connsiteY67" fmla="*/ 2399 h 10000"/>
              <a:gd name="connsiteX68" fmla="*/ 9841 w 9841"/>
              <a:gd name="connsiteY68" fmla="*/ 3171 h 10000"/>
              <a:gd name="connsiteX0" fmla="*/ 10000 w 10000"/>
              <a:gd name="connsiteY0" fmla="*/ 3171 h 10000"/>
              <a:gd name="connsiteX1" fmla="*/ 9839 w 10000"/>
              <a:gd name="connsiteY1" fmla="*/ 3577 h 10000"/>
              <a:gd name="connsiteX2" fmla="*/ 9678 w 10000"/>
              <a:gd name="connsiteY2" fmla="*/ 4796 h 10000"/>
              <a:gd name="connsiteX3" fmla="*/ 9516 w 10000"/>
              <a:gd name="connsiteY3" fmla="*/ 4796 h 10000"/>
              <a:gd name="connsiteX4" fmla="*/ 9049 w 10000"/>
              <a:gd name="connsiteY4" fmla="*/ 4796 h 10000"/>
              <a:gd name="connsiteX5" fmla="*/ 8887 w 10000"/>
              <a:gd name="connsiteY5" fmla="*/ 6381 h 10000"/>
              <a:gd name="connsiteX6" fmla="*/ 8420 w 10000"/>
              <a:gd name="connsiteY6" fmla="*/ 6381 h 10000"/>
              <a:gd name="connsiteX7" fmla="*/ 8420 w 10000"/>
              <a:gd name="connsiteY7" fmla="*/ 6789 h 10000"/>
              <a:gd name="connsiteX8" fmla="*/ 8565 w 10000"/>
              <a:gd name="connsiteY8" fmla="*/ 8373 h 10000"/>
              <a:gd name="connsiteX9" fmla="*/ 8420 w 10000"/>
              <a:gd name="connsiteY9" fmla="*/ 8779 h 10000"/>
              <a:gd name="connsiteX10" fmla="*/ 8097 w 10000"/>
              <a:gd name="connsiteY10" fmla="*/ 8373 h 10000"/>
              <a:gd name="connsiteX11" fmla="*/ 7146 w 10000"/>
              <a:gd name="connsiteY11" fmla="*/ 8373 h 10000"/>
              <a:gd name="connsiteX12" fmla="*/ 6822 w 10000"/>
              <a:gd name="connsiteY12" fmla="*/ 8007 h 10000"/>
              <a:gd name="connsiteX13" fmla="*/ 6662 w 10000"/>
              <a:gd name="connsiteY13" fmla="*/ 8373 h 10000"/>
              <a:gd name="connsiteX14" fmla="*/ 6662 w 10000"/>
              <a:gd name="connsiteY14" fmla="*/ 8779 h 10000"/>
              <a:gd name="connsiteX15" fmla="*/ 6193 w 10000"/>
              <a:gd name="connsiteY15" fmla="*/ 8373 h 10000"/>
              <a:gd name="connsiteX16" fmla="*/ 6033 w 10000"/>
              <a:gd name="connsiteY16" fmla="*/ 8779 h 10000"/>
              <a:gd name="connsiteX17" fmla="*/ 5548 w 10000"/>
              <a:gd name="connsiteY17" fmla="*/ 10000 h 10000"/>
              <a:gd name="connsiteX18" fmla="*/ 5403 w 10000"/>
              <a:gd name="connsiteY18" fmla="*/ 9593 h 10000"/>
              <a:gd name="connsiteX19" fmla="*/ 5081 w 10000"/>
              <a:gd name="connsiteY19" fmla="*/ 9593 h 10000"/>
              <a:gd name="connsiteX20" fmla="*/ 5081 w 10000"/>
              <a:gd name="connsiteY20" fmla="*/ 9187 h 10000"/>
              <a:gd name="connsiteX21" fmla="*/ 4919 w 10000"/>
              <a:gd name="connsiteY21" fmla="*/ 9187 h 10000"/>
              <a:gd name="connsiteX22" fmla="*/ 4919 w 10000"/>
              <a:gd name="connsiteY22" fmla="*/ 8373 h 10000"/>
              <a:gd name="connsiteX23" fmla="*/ 4597 w 10000"/>
              <a:gd name="connsiteY23" fmla="*/ 7601 h 10000"/>
              <a:gd name="connsiteX24" fmla="*/ 3823 w 10000"/>
              <a:gd name="connsiteY24" fmla="*/ 7561 h 10000"/>
              <a:gd name="connsiteX25" fmla="*/ 3597 w 10000"/>
              <a:gd name="connsiteY25" fmla="*/ 6869 h 10000"/>
              <a:gd name="connsiteX26" fmla="*/ 3790 w 10000"/>
              <a:gd name="connsiteY26" fmla="*/ 6747 h 10000"/>
              <a:gd name="connsiteX27" fmla="*/ 3645 w 10000"/>
              <a:gd name="connsiteY27" fmla="*/ 5773 h 10000"/>
              <a:gd name="connsiteX28" fmla="*/ 3823 w 10000"/>
              <a:gd name="connsiteY28" fmla="*/ 5123 h 10000"/>
              <a:gd name="connsiteX29" fmla="*/ 3355 w 10000"/>
              <a:gd name="connsiteY29" fmla="*/ 5162 h 10000"/>
              <a:gd name="connsiteX30" fmla="*/ 3387 w 10000"/>
              <a:gd name="connsiteY30" fmla="*/ 5609 h 10000"/>
              <a:gd name="connsiteX31" fmla="*/ 3210 w 10000"/>
              <a:gd name="connsiteY31" fmla="*/ 6016 h 10000"/>
              <a:gd name="connsiteX32" fmla="*/ 3000 w 10000"/>
              <a:gd name="connsiteY32" fmla="*/ 5975 h 10000"/>
              <a:gd name="connsiteX33" fmla="*/ 2387 w 10000"/>
              <a:gd name="connsiteY33" fmla="*/ 6381 h 10000"/>
              <a:gd name="connsiteX34" fmla="*/ 2387 w 10000"/>
              <a:gd name="connsiteY34" fmla="*/ 9593 h 10000"/>
              <a:gd name="connsiteX35" fmla="*/ 2225 w 10000"/>
              <a:gd name="connsiteY35" fmla="*/ 9593 h 10000"/>
              <a:gd name="connsiteX36" fmla="*/ 1903 w 10000"/>
              <a:gd name="connsiteY36" fmla="*/ 8779 h 10000"/>
              <a:gd name="connsiteX37" fmla="*/ 1436 w 10000"/>
              <a:gd name="connsiteY37" fmla="*/ 9187 h 10000"/>
              <a:gd name="connsiteX38" fmla="*/ 1436 w 10000"/>
              <a:gd name="connsiteY38" fmla="*/ 8373 h 10000"/>
              <a:gd name="connsiteX39" fmla="*/ 1274 w 10000"/>
              <a:gd name="connsiteY39" fmla="*/ 8373 h 10000"/>
              <a:gd name="connsiteX40" fmla="*/ 1113 w 10000"/>
              <a:gd name="connsiteY40" fmla="*/ 7195 h 10000"/>
              <a:gd name="connsiteX41" fmla="*/ 952 w 10000"/>
              <a:gd name="connsiteY41" fmla="*/ 7195 h 10000"/>
              <a:gd name="connsiteX42" fmla="*/ 1274 w 10000"/>
              <a:gd name="connsiteY42" fmla="*/ 7195 h 10000"/>
              <a:gd name="connsiteX43" fmla="*/ 1113 w 10000"/>
              <a:gd name="connsiteY43" fmla="*/ 6789 h 10000"/>
              <a:gd name="connsiteX44" fmla="*/ 1274 w 10000"/>
              <a:gd name="connsiteY44" fmla="*/ 6381 h 10000"/>
              <a:gd name="connsiteX45" fmla="*/ 1903 w 10000"/>
              <a:gd name="connsiteY45" fmla="*/ 6381 h 10000"/>
              <a:gd name="connsiteX46" fmla="*/ 1742 w 10000"/>
              <a:gd name="connsiteY46" fmla="*/ 5203 h 10000"/>
              <a:gd name="connsiteX47" fmla="*/ 1436 w 10000"/>
              <a:gd name="connsiteY47" fmla="*/ 4796 h 10000"/>
              <a:gd name="connsiteX48" fmla="*/ 1113 w 10000"/>
              <a:gd name="connsiteY48" fmla="*/ 4390 h 10000"/>
              <a:gd name="connsiteX49" fmla="*/ 629 w 10000"/>
              <a:gd name="connsiteY49" fmla="*/ 5203 h 10000"/>
              <a:gd name="connsiteX50" fmla="*/ 484 w 10000"/>
              <a:gd name="connsiteY50" fmla="*/ 5203 h 10000"/>
              <a:gd name="connsiteX51" fmla="*/ 629 w 10000"/>
              <a:gd name="connsiteY51" fmla="*/ 4796 h 10000"/>
              <a:gd name="connsiteX52" fmla="*/ 484 w 10000"/>
              <a:gd name="connsiteY52" fmla="*/ 3982 h 10000"/>
              <a:gd name="connsiteX53" fmla="*/ 162 w 10000"/>
              <a:gd name="connsiteY53" fmla="*/ 3982 h 10000"/>
              <a:gd name="connsiteX54" fmla="*/ 0 w 10000"/>
              <a:gd name="connsiteY54" fmla="*/ 3171 h 10000"/>
              <a:gd name="connsiteX55" fmla="*/ 162 w 10000"/>
              <a:gd name="connsiteY55" fmla="*/ 1178 h 10000"/>
              <a:gd name="connsiteX56" fmla="*/ 484 w 10000"/>
              <a:gd name="connsiteY56" fmla="*/ 1992 h 10000"/>
              <a:gd name="connsiteX57" fmla="*/ 629 w 10000"/>
              <a:gd name="connsiteY57" fmla="*/ 1992 h 10000"/>
              <a:gd name="connsiteX58" fmla="*/ 484 w 10000"/>
              <a:gd name="connsiteY58" fmla="*/ 1178 h 10000"/>
              <a:gd name="connsiteX59" fmla="*/ 952 w 10000"/>
              <a:gd name="connsiteY59" fmla="*/ 0 h 10000"/>
              <a:gd name="connsiteX60" fmla="*/ 1274 w 10000"/>
              <a:gd name="connsiteY60" fmla="*/ 365 h 10000"/>
              <a:gd name="connsiteX61" fmla="*/ 1436 w 10000"/>
              <a:gd name="connsiteY61" fmla="*/ 0 h 10000"/>
              <a:gd name="connsiteX62" fmla="*/ 1742 w 10000"/>
              <a:gd name="connsiteY62" fmla="*/ 365 h 10000"/>
              <a:gd name="connsiteX63" fmla="*/ 2225 w 10000"/>
              <a:gd name="connsiteY63" fmla="*/ 1178 h 10000"/>
              <a:gd name="connsiteX64" fmla="*/ 2532 w 10000"/>
              <a:gd name="connsiteY64" fmla="*/ 772 h 10000"/>
              <a:gd name="connsiteX65" fmla="*/ 2855 w 10000"/>
              <a:gd name="connsiteY65" fmla="*/ 772 h 10000"/>
              <a:gd name="connsiteX66" fmla="*/ 3016 w 10000"/>
              <a:gd name="connsiteY66" fmla="*/ 1178 h 10000"/>
              <a:gd name="connsiteX67" fmla="*/ 10000 w 10000"/>
              <a:gd name="connsiteY67" fmla="*/ 3171 h 10000"/>
              <a:gd name="connsiteX0" fmla="*/ 10000 w 10000"/>
              <a:gd name="connsiteY0" fmla="*/ 3171 h 10000"/>
              <a:gd name="connsiteX1" fmla="*/ 9839 w 10000"/>
              <a:gd name="connsiteY1" fmla="*/ 3577 h 10000"/>
              <a:gd name="connsiteX2" fmla="*/ 9678 w 10000"/>
              <a:gd name="connsiteY2" fmla="*/ 4796 h 10000"/>
              <a:gd name="connsiteX3" fmla="*/ 9516 w 10000"/>
              <a:gd name="connsiteY3" fmla="*/ 4796 h 10000"/>
              <a:gd name="connsiteX4" fmla="*/ 9049 w 10000"/>
              <a:gd name="connsiteY4" fmla="*/ 4796 h 10000"/>
              <a:gd name="connsiteX5" fmla="*/ 8887 w 10000"/>
              <a:gd name="connsiteY5" fmla="*/ 6381 h 10000"/>
              <a:gd name="connsiteX6" fmla="*/ 8420 w 10000"/>
              <a:gd name="connsiteY6" fmla="*/ 6381 h 10000"/>
              <a:gd name="connsiteX7" fmla="*/ 8420 w 10000"/>
              <a:gd name="connsiteY7" fmla="*/ 6789 h 10000"/>
              <a:gd name="connsiteX8" fmla="*/ 8565 w 10000"/>
              <a:gd name="connsiteY8" fmla="*/ 8373 h 10000"/>
              <a:gd name="connsiteX9" fmla="*/ 8420 w 10000"/>
              <a:gd name="connsiteY9" fmla="*/ 8779 h 10000"/>
              <a:gd name="connsiteX10" fmla="*/ 8097 w 10000"/>
              <a:gd name="connsiteY10" fmla="*/ 8373 h 10000"/>
              <a:gd name="connsiteX11" fmla="*/ 7146 w 10000"/>
              <a:gd name="connsiteY11" fmla="*/ 8373 h 10000"/>
              <a:gd name="connsiteX12" fmla="*/ 6822 w 10000"/>
              <a:gd name="connsiteY12" fmla="*/ 8007 h 10000"/>
              <a:gd name="connsiteX13" fmla="*/ 6662 w 10000"/>
              <a:gd name="connsiteY13" fmla="*/ 8373 h 10000"/>
              <a:gd name="connsiteX14" fmla="*/ 6662 w 10000"/>
              <a:gd name="connsiteY14" fmla="*/ 8779 h 10000"/>
              <a:gd name="connsiteX15" fmla="*/ 6193 w 10000"/>
              <a:gd name="connsiteY15" fmla="*/ 8373 h 10000"/>
              <a:gd name="connsiteX16" fmla="*/ 6033 w 10000"/>
              <a:gd name="connsiteY16" fmla="*/ 8779 h 10000"/>
              <a:gd name="connsiteX17" fmla="*/ 5548 w 10000"/>
              <a:gd name="connsiteY17" fmla="*/ 10000 h 10000"/>
              <a:gd name="connsiteX18" fmla="*/ 5403 w 10000"/>
              <a:gd name="connsiteY18" fmla="*/ 9593 h 10000"/>
              <a:gd name="connsiteX19" fmla="*/ 5081 w 10000"/>
              <a:gd name="connsiteY19" fmla="*/ 9593 h 10000"/>
              <a:gd name="connsiteX20" fmla="*/ 5081 w 10000"/>
              <a:gd name="connsiteY20" fmla="*/ 9187 h 10000"/>
              <a:gd name="connsiteX21" fmla="*/ 4919 w 10000"/>
              <a:gd name="connsiteY21" fmla="*/ 9187 h 10000"/>
              <a:gd name="connsiteX22" fmla="*/ 4919 w 10000"/>
              <a:gd name="connsiteY22" fmla="*/ 8373 h 10000"/>
              <a:gd name="connsiteX23" fmla="*/ 4597 w 10000"/>
              <a:gd name="connsiteY23" fmla="*/ 7601 h 10000"/>
              <a:gd name="connsiteX24" fmla="*/ 3823 w 10000"/>
              <a:gd name="connsiteY24" fmla="*/ 7561 h 10000"/>
              <a:gd name="connsiteX25" fmla="*/ 3597 w 10000"/>
              <a:gd name="connsiteY25" fmla="*/ 6869 h 10000"/>
              <a:gd name="connsiteX26" fmla="*/ 3790 w 10000"/>
              <a:gd name="connsiteY26" fmla="*/ 6747 h 10000"/>
              <a:gd name="connsiteX27" fmla="*/ 3645 w 10000"/>
              <a:gd name="connsiteY27" fmla="*/ 5773 h 10000"/>
              <a:gd name="connsiteX28" fmla="*/ 3823 w 10000"/>
              <a:gd name="connsiteY28" fmla="*/ 5123 h 10000"/>
              <a:gd name="connsiteX29" fmla="*/ 3355 w 10000"/>
              <a:gd name="connsiteY29" fmla="*/ 5162 h 10000"/>
              <a:gd name="connsiteX30" fmla="*/ 3387 w 10000"/>
              <a:gd name="connsiteY30" fmla="*/ 5609 h 10000"/>
              <a:gd name="connsiteX31" fmla="*/ 3210 w 10000"/>
              <a:gd name="connsiteY31" fmla="*/ 6016 h 10000"/>
              <a:gd name="connsiteX32" fmla="*/ 3000 w 10000"/>
              <a:gd name="connsiteY32" fmla="*/ 5975 h 10000"/>
              <a:gd name="connsiteX33" fmla="*/ 2387 w 10000"/>
              <a:gd name="connsiteY33" fmla="*/ 6381 h 10000"/>
              <a:gd name="connsiteX34" fmla="*/ 2387 w 10000"/>
              <a:gd name="connsiteY34" fmla="*/ 9593 h 10000"/>
              <a:gd name="connsiteX35" fmla="*/ 2225 w 10000"/>
              <a:gd name="connsiteY35" fmla="*/ 9593 h 10000"/>
              <a:gd name="connsiteX36" fmla="*/ 1903 w 10000"/>
              <a:gd name="connsiteY36" fmla="*/ 8779 h 10000"/>
              <a:gd name="connsiteX37" fmla="*/ 1436 w 10000"/>
              <a:gd name="connsiteY37" fmla="*/ 9187 h 10000"/>
              <a:gd name="connsiteX38" fmla="*/ 1436 w 10000"/>
              <a:gd name="connsiteY38" fmla="*/ 8373 h 10000"/>
              <a:gd name="connsiteX39" fmla="*/ 1274 w 10000"/>
              <a:gd name="connsiteY39" fmla="*/ 8373 h 10000"/>
              <a:gd name="connsiteX40" fmla="*/ 1113 w 10000"/>
              <a:gd name="connsiteY40" fmla="*/ 7195 h 10000"/>
              <a:gd name="connsiteX41" fmla="*/ 952 w 10000"/>
              <a:gd name="connsiteY41" fmla="*/ 7195 h 10000"/>
              <a:gd name="connsiteX42" fmla="*/ 1274 w 10000"/>
              <a:gd name="connsiteY42" fmla="*/ 7195 h 10000"/>
              <a:gd name="connsiteX43" fmla="*/ 1113 w 10000"/>
              <a:gd name="connsiteY43" fmla="*/ 6789 h 10000"/>
              <a:gd name="connsiteX44" fmla="*/ 1274 w 10000"/>
              <a:gd name="connsiteY44" fmla="*/ 6381 h 10000"/>
              <a:gd name="connsiteX45" fmla="*/ 1903 w 10000"/>
              <a:gd name="connsiteY45" fmla="*/ 6381 h 10000"/>
              <a:gd name="connsiteX46" fmla="*/ 1742 w 10000"/>
              <a:gd name="connsiteY46" fmla="*/ 5203 h 10000"/>
              <a:gd name="connsiteX47" fmla="*/ 1436 w 10000"/>
              <a:gd name="connsiteY47" fmla="*/ 4796 h 10000"/>
              <a:gd name="connsiteX48" fmla="*/ 1113 w 10000"/>
              <a:gd name="connsiteY48" fmla="*/ 4390 h 10000"/>
              <a:gd name="connsiteX49" fmla="*/ 629 w 10000"/>
              <a:gd name="connsiteY49" fmla="*/ 5203 h 10000"/>
              <a:gd name="connsiteX50" fmla="*/ 484 w 10000"/>
              <a:gd name="connsiteY50" fmla="*/ 5203 h 10000"/>
              <a:gd name="connsiteX51" fmla="*/ 629 w 10000"/>
              <a:gd name="connsiteY51" fmla="*/ 4796 h 10000"/>
              <a:gd name="connsiteX52" fmla="*/ 484 w 10000"/>
              <a:gd name="connsiteY52" fmla="*/ 3982 h 10000"/>
              <a:gd name="connsiteX53" fmla="*/ 162 w 10000"/>
              <a:gd name="connsiteY53" fmla="*/ 3982 h 10000"/>
              <a:gd name="connsiteX54" fmla="*/ 0 w 10000"/>
              <a:gd name="connsiteY54" fmla="*/ 3171 h 10000"/>
              <a:gd name="connsiteX55" fmla="*/ 162 w 10000"/>
              <a:gd name="connsiteY55" fmla="*/ 1178 h 10000"/>
              <a:gd name="connsiteX56" fmla="*/ 484 w 10000"/>
              <a:gd name="connsiteY56" fmla="*/ 1992 h 10000"/>
              <a:gd name="connsiteX57" fmla="*/ 629 w 10000"/>
              <a:gd name="connsiteY57" fmla="*/ 1992 h 10000"/>
              <a:gd name="connsiteX58" fmla="*/ 484 w 10000"/>
              <a:gd name="connsiteY58" fmla="*/ 1178 h 10000"/>
              <a:gd name="connsiteX59" fmla="*/ 952 w 10000"/>
              <a:gd name="connsiteY59" fmla="*/ 0 h 10000"/>
              <a:gd name="connsiteX60" fmla="*/ 1274 w 10000"/>
              <a:gd name="connsiteY60" fmla="*/ 365 h 10000"/>
              <a:gd name="connsiteX61" fmla="*/ 1436 w 10000"/>
              <a:gd name="connsiteY61" fmla="*/ 0 h 10000"/>
              <a:gd name="connsiteX62" fmla="*/ 1742 w 10000"/>
              <a:gd name="connsiteY62" fmla="*/ 365 h 10000"/>
              <a:gd name="connsiteX63" fmla="*/ 2225 w 10000"/>
              <a:gd name="connsiteY63" fmla="*/ 1178 h 10000"/>
              <a:gd name="connsiteX64" fmla="*/ 2532 w 10000"/>
              <a:gd name="connsiteY64" fmla="*/ 772 h 10000"/>
              <a:gd name="connsiteX65" fmla="*/ 2855 w 10000"/>
              <a:gd name="connsiteY65" fmla="*/ 772 h 10000"/>
              <a:gd name="connsiteX66" fmla="*/ 3016 w 10000"/>
              <a:gd name="connsiteY66" fmla="*/ 1178 h 10000"/>
              <a:gd name="connsiteX0" fmla="*/ 10000 w 10000"/>
              <a:gd name="connsiteY0" fmla="*/ 3171 h 10000"/>
              <a:gd name="connsiteX1" fmla="*/ 9678 w 10000"/>
              <a:gd name="connsiteY1" fmla="*/ 4796 h 10000"/>
              <a:gd name="connsiteX2" fmla="*/ 9516 w 10000"/>
              <a:gd name="connsiteY2" fmla="*/ 4796 h 10000"/>
              <a:gd name="connsiteX3" fmla="*/ 9049 w 10000"/>
              <a:gd name="connsiteY3" fmla="*/ 4796 h 10000"/>
              <a:gd name="connsiteX4" fmla="*/ 8887 w 10000"/>
              <a:gd name="connsiteY4" fmla="*/ 6381 h 10000"/>
              <a:gd name="connsiteX5" fmla="*/ 8420 w 10000"/>
              <a:gd name="connsiteY5" fmla="*/ 6381 h 10000"/>
              <a:gd name="connsiteX6" fmla="*/ 8420 w 10000"/>
              <a:gd name="connsiteY6" fmla="*/ 6789 h 10000"/>
              <a:gd name="connsiteX7" fmla="*/ 8565 w 10000"/>
              <a:gd name="connsiteY7" fmla="*/ 8373 h 10000"/>
              <a:gd name="connsiteX8" fmla="*/ 8420 w 10000"/>
              <a:gd name="connsiteY8" fmla="*/ 8779 h 10000"/>
              <a:gd name="connsiteX9" fmla="*/ 8097 w 10000"/>
              <a:gd name="connsiteY9" fmla="*/ 8373 h 10000"/>
              <a:gd name="connsiteX10" fmla="*/ 7146 w 10000"/>
              <a:gd name="connsiteY10" fmla="*/ 8373 h 10000"/>
              <a:gd name="connsiteX11" fmla="*/ 6822 w 10000"/>
              <a:gd name="connsiteY11" fmla="*/ 8007 h 10000"/>
              <a:gd name="connsiteX12" fmla="*/ 6662 w 10000"/>
              <a:gd name="connsiteY12" fmla="*/ 8373 h 10000"/>
              <a:gd name="connsiteX13" fmla="*/ 6662 w 10000"/>
              <a:gd name="connsiteY13" fmla="*/ 8779 h 10000"/>
              <a:gd name="connsiteX14" fmla="*/ 6193 w 10000"/>
              <a:gd name="connsiteY14" fmla="*/ 8373 h 10000"/>
              <a:gd name="connsiteX15" fmla="*/ 6033 w 10000"/>
              <a:gd name="connsiteY15" fmla="*/ 8779 h 10000"/>
              <a:gd name="connsiteX16" fmla="*/ 5548 w 10000"/>
              <a:gd name="connsiteY16" fmla="*/ 10000 h 10000"/>
              <a:gd name="connsiteX17" fmla="*/ 5403 w 10000"/>
              <a:gd name="connsiteY17" fmla="*/ 9593 h 10000"/>
              <a:gd name="connsiteX18" fmla="*/ 5081 w 10000"/>
              <a:gd name="connsiteY18" fmla="*/ 9593 h 10000"/>
              <a:gd name="connsiteX19" fmla="*/ 5081 w 10000"/>
              <a:gd name="connsiteY19" fmla="*/ 9187 h 10000"/>
              <a:gd name="connsiteX20" fmla="*/ 4919 w 10000"/>
              <a:gd name="connsiteY20" fmla="*/ 9187 h 10000"/>
              <a:gd name="connsiteX21" fmla="*/ 4919 w 10000"/>
              <a:gd name="connsiteY21" fmla="*/ 8373 h 10000"/>
              <a:gd name="connsiteX22" fmla="*/ 4597 w 10000"/>
              <a:gd name="connsiteY22" fmla="*/ 7601 h 10000"/>
              <a:gd name="connsiteX23" fmla="*/ 3823 w 10000"/>
              <a:gd name="connsiteY23" fmla="*/ 7561 h 10000"/>
              <a:gd name="connsiteX24" fmla="*/ 3597 w 10000"/>
              <a:gd name="connsiteY24" fmla="*/ 6869 h 10000"/>
              <a:gd name="connsiteX25" fmla="*/ 3790 w 10000"/>
              <a:gd name="connsiteY25" fmla="*/ 6747 h 10000"/>
              <a:gd name="connsiteX26" fmla="*/ 3645 w 10000"/>
              <a:gd name="connsiteY26" fmla="*/ 5773 h 10000"/>
              <a:gd name="connsiteX27" fmla="*/ 3823 w 10000"/>
              <a:gd name="connsiteY27" fmla="*/ 5123 h 10000"/>
              <a:gd name="connsiteX28" fmla="*/ 3355 w 10000"/>
              <a:gd name="connsiteY28" fmla="*/ 5162 h 10000"/>
              <a:gd name="connsiteX29" fmla="*/ 3387 w 10000"/>
              <a:gd name="connsiteY29" fmla="*/ 5609 h 10000"/>
              <a:gd name="connsiteX30" fmla="*/ 3210 w 10000"/>
              <a:gd name="connsiteY30" fmla="*/ 6016 h 10000"/>
              <a:gd name="connsiteX31" fmla="*/ 3000 w 10000"/>
              <a:gd name="connsiteY31" fmla="*/ 5975 h 10000"/>
              <a:gd name="connsiteX32" fmla="*/ 2387 w 10000"/>
              <a:gd name="connsiteY32" fmla="*/ 6381 h 10000"/>
              <a:gd name="connsiteX33" fmla="*/ 2387 w 10000"/>
              <a:gd name="connsiteY33" fmla="*/ 9593 h 10000"/>
              <a:gd name="connsiteX34" fmla="*/ 2225 w 10000"/>
              <a:gd name="connsiteY34" fmla="*/ 9593 h 10000"/>
              <a:gd name="connsiteX35" fmla="*/ 1903 w 10000"/>
              <a:gd name="connsiteY35" fmla="*/ 8779 h 10000"/>
              <a:gd name="connsiteX36" fmla="*/ 1436 w 10000"/>
              <a:gd name="connsiteY36" fmla="*/ 9187 h 10000"/>
              <a:gd name="connsiteX37" fmla="*/ 1436 w 10000"/>
              <a:gd name="connsiteY37" fmla="*/ 8373 h 10000"/>
              <a:gd name="connsiteX38" fmla="*/ 1274 w 10000"/>
              <a:gd name="connsiteY38" fmla="*/ 8373 h 10000"/>
              <a:gd name="connsiteX39" fmla="*/ 1113 w 10000"/>
              <a:gd name="connsiteY39" fmla="*/ 7195 h 10000"/>
              <a:gd name="connsiteX40" fmla="*/ 952 w 10000"/>
              <a:gd name="connsiteY40" fmla="*/ 7195 h 10000"/>
              <a:gd name="connsiteX41" fmla="*/ 1274 w 10000"/>
              <a:gd name="connsiteY41" fmla="*/ 7195 h 10000"/>
              <a:gd name="connsiteX42" fmla="*/ 1113 w 10000"/>
              <a:gd name="connsiteY42" fmla="*/ 6789 h 10000"/>
              <a:gd name="connsiteX43" fmla="*/ 1274 w 10000"/>
              <a:gd name="connsiteY43" fmla="*/ 6381 h 10000"/>
              <a:gd name="connsiteX44" fmla="*/ 1903 w 10000"/>
              <a:gd name="connsiteY44" fmla="*/ 6381 h 10000"/>
              <a:gd name="connsiteX45" fmla="*/ 1742 w 10000"/>
              <a:gd name="connsiteY45" fmla="*/ 5203 h 10000"/>
              <a:gd name="connsiteX46" fmla="*/ 1436 w 10000"/>
              <a:gd name="connsiteY46" fmla="*/ 4796 h 10000"/>
              <a:gd name="connsiteX47" fmla="*/ 1113 w 10000"/>
              <a:gd name="connsiteY47" fmla="*/ 4390 h 10000"/>
              <a:gd name="connsiteX48" fmla="*/ 629 w 10000"/>
              <a:gd name="connsiteY48" fmla="*/ 5203 h 10000"/>
              <a:gd name="connsiteX49" fmla="*/ 484 w 10000"/>
              <a:gd name="connsiteY49" fmla="*/ 5203 h 10000"/>
              <a:gd name="connsiteX50" fmla="*/ 629 w 10000"/>
              <a:gd name="connsiteY50" fmla="*/ 4796 h 10000"/>
              <a:gd name="connsiteX51" fmla="*/ 484 w 10000"/>
              <a:gd name="connsiteY51" fmla="*/ 3982 h 10000"/>
              <a:gd name="connsiteX52" fmla="*/ 162 w 10000"/>
              <a:gd name="connsiteY52" fmla="*/ 3982 h 10000"/>
              <a:gd name="connsiteX53" fmla="*/ 0 w 10000"/>
              <a:gd name="connsiteY53" fmla="*/ 3171 h 10000"/>
              <a:gd name="connsiteX54" fmla="*/ 162 w 10000"/>
              <a:gd name="connsiteY54" fmla="*/ 1178 h 10000"/>
              <a:gd name="connsiteX55" fmla="*/ 484 w 10000"/>
              <a:gd name="connsiteY55" fmla="*/ 1992 h 10000"/>
              <a:gd name="connsiteX56" fmla="*/ 629 w 10000"/>
              <a:gd name="connsiteY56" fmla="*/ 1992 h 10000"/>
              <a:gd name="connsiteX57" fmla="*/ 484 w 10000"/>
              <a:gd name="connsiteY57" fmla="*/ 1178 h 10000"/>
              <a:gd name="connsiteX58" fmla="*/ 952 w 10000"/>
              <a:gd name="connsiteY58" fmla="*/ 0 h 10000"/>
              <a:gd name="connsiteX59" fmla="*/ 1274 w 10000"/>
              <a:gd name="connsiteY59" fmla="*/ 365 h 10000"/>
              <a:gd name="connsiteX60" fmla="*/ 1436 w 10000"/>
              <a:gd name="connsiteY60" fmla="*/ 0 h 10000"/>
              <a:gd name="connsiteX61" fmla="*/ 1742 w 10000"/>
              <a:gd name="connsiteY61" fmla="*/ 365 h 10000"/>
              <a:gd name="connsiteX62" fmla="*/ 2225 w 10000"/>
              <a:gd name="connsiteY62" fmla="*/ 1178 h 10000"/>
              <a:gd name="connsiteX63" fmla="*/ 2532 w 10000"/>
              <a:gd name="connsiteY63" fmla="*/ 772 h 10000"/>
              <a:gd name="connsiteX64" fmla="*/ 2855 w 10000"/>
              <a:gd name="connsiteY64" fmla="*/ 772 h 10000"/>
              <a:gd name="connsiteX65" fmla="*/ 3016 w 10000"/>
              <a:gd name="connsiteY65" fmla="*/ 1178 h 10000"/>
              <a:gd name="connsiteX0" fmla="*/ 9678 w 9678"/>
              <a:gd name="connsiteY0" fmla="*/ 4796 h 10000"/>
              <a:gd name="connsiteX1" fmla="*/ 9516 w 9678"/>
              <a:gd name="connsiteY1" fmla="*/ 4796 h 10000"/>
              <a:gd name="connsiteX2" fmla="*/ 9049 w 9678"/>
              <a:gd name="connsiteY2" fmla="*/ 4796 h 10000"/>
              <a:gd name="connsiteX3" fmla="*/ 8887 w 9678"/>
              <a:gd name="connsiteY3" fmla="*/ 6381 h 10000"/>
              <a:gd name="connsiteX4" fmla="*/ 8420 w 9678"/>
              <a:gd name="connsiteY4" fmla="*/ 6381 h 10000"/>
              <a:gd name="connsiteX5" fmla="*/ 8420 w 9678"/>
              <a:gd name="connsiteY5" fmla="*/ 6789 h 10000"/>
              <a:gd name="connsiteX6" fmla="*/ 8565 w 9678"/>
              <a:gd name="connsiteY6" fmla="*/ 8373 h 10000"/>
              <a:gd name="connsiteX7" fmla="*/ 8420 w 9678"/>
              <a:gd name="connsiteY7" fmla="*/ 8779 h 10000"/>
              <a:gd name="connsiteX8" fmla="*/ 8097 w 9678"/>
              <a:gd name="connsiteY8" fmla="*/ 8373 h 10000"/>
              <a:gd name="connsiteX9" fmla="*/ 7146 w 9678"/>
              <a:gd name="connsiteY9" fmla="*/ 8373 h 10000"/>
              <a:gd name="connsiteX10" fmla="*/ 6822 w 9678"/>
              <a:gd name="connsiteY10" fmla="*/ 8007 h 10000"/>
              <a:gd name="connsiteX11" fmla="*/ 6662 w 9678"/>
              <a:gd name="connsiteY11" fmla="*/ 8373 h 10000"/>
              <a:gd name="connsiteX12" fmla="*/ 6662 w 9678"/>
              <a:gd name="connsiteY12" fmla="*/ 8779 h 10000"/>
              <a:gd name="connsiteX13" fmla="*/ 6193 w 9678"/>
              <a:gd name="connsiteY13" fmla="*/ 8373 h 10000"/>
              <a:gd name="connsiteX14" fmla="*/ 6033 w 9678"/>
              <a:gd name="connsiteY14" fmla="*/ 8779 h 10000"/>
              <a:gd name="connsiteX15" fmla="*/ 5548 w 9678"/>
              <a:gd name="connsiteY15" fmla="*/ 10000 h 10000"/>
              <a:gd name="connsiteX16" fmla="*/ 5403 w 9678"/>
              <a:gd name="connsiteY16" fmla="*/ 9593 h 10000"/>
              <a:gd name="connsiteX17" fmla="*/ 5081 w 9678"/>
              <a:gd name="connsiteY17" fmla="*/ 9593 h 10000"/>
              <a:gd name="connsiteX18" fmla="*/ 5081 w 9678"/>
              <a:gd name="connsiteY18" fmla="*/ 9187 h 10000"/>
              <a:gd name="connsiteX19" fmla="*/ 4919 w 9678"/>
              <a:gd name="connsiteY19" fmla="*/ 9187 h 10000"/>
              <a:gd name="connsiteX20" fmla="*/ 4919 w 9678"/>
              <a:gd name="connsiteY20" fmla="*/ 8373 h 10000"/>
              <a:gd name="connsiteX21" fmla="*/ 4597 w 9678"/>
              <a:gd name="connsiteY21" fmla="*/ 7601 h 10000"/>
              <a:gd name="connsiteX22" fmla="*/ 3823 w 9678"/>
              <a:gd name="connsiteY22" fmla="*/ 7561 h 10000"/>
              <a:gd name="connsiteX23" fmla="*/ 3597 w 9678"/>
              <a:gd name="connsiteY23" fmla="*/ 6869 h 10000"/>
              <a:gd name="connsiteX24" fmla="*/ 3790 w 9678"/>
              <a:gd name="connsiteY24" fmla="*/ 6747 h 10000"/>
              <a:gd name="connsiteX25" fmla="*/ 3645 w 9678"/>
              <a:gd name="connsiteY25" fmla="*/ 5773 h 10000"/>
              <a:gd name="connsiteX26" fmla="*/ 3823 w 9678"/>
              <a:gd name="connsiteY26" fmla="*/ 5123 h 10000"/>
              <a:gd name="connsiteX27" fmla="*/ 3355 w 9678"/>
              <a:gd name="connsiteY27" fmla="*/ 5162 h 10000"/>
              <a:gd name="connsiteX28" fmla="*/ 3387 w 9678"/>
              <a:gd name="connsiteY28" fmla="*/ 5609 h 10000"/>
              <a:gd name="connsiteX29" fmla="*/ 3210 w 9678"/>
              <a:gd name="connsiteY29" fmla="*/ 6016 h 10000"/>
              <a:gd name="connsiteX30" fmla="*/ 3000 w 9678"/>
              <a:gd name="connsiteY30" fmla="*/ 5975 h 10000"/>
              <a:gd name="connsiteX31" fmla="*/ 2387 w 9678"/>
              <a:gd name="connsiteY31" fmla="*/ 6381 h 10000"/>
              <a:gd name="connsiteX32" fmla="*/ 2387 w 9678"/>
              <a:gd name="connsiteY32" fmla="*/ 9593 h 10000"/>
              <a:gd name="connsiteX33" fmla="*/ 2225 w 9678"/>
              <a:gd name="connsiteY33" fmla="*/ 9593 h 10000"/>
              <a:gd name="connsiteX34" fmla="*/ 1903 w 9678"/>
              <a:gd name="connsiteY34" fmla="*/ 8779 h 10000"/>
              <a:gd name="connsiteX35" fmla="*/ 1436 w 9678"/>
              <a:gd name="connsiteY35" fmla="*/ 9187 h 10000"/>
              <a:gd name="connsiteX36" fmla="*/ 1436 w 9678"/>
              <a:gd name="connsiteY36" fmla="*/ 8373 h 10000"/>
              <a:gd name="connsiteX37" fmla="*/ 1274 w 9678"/>
              <a:gd name="connsiteY37" fmla="*/ 8373 h 10000"/>
              <a:gd name="connsiteX38" fmla="*/ 1113 w 9678"/>
              <a:gd name="connsiteY38" fmla="*/ 7195 h 10000"/>
              <a:gd name="connsiteX39" fmla="*/ 952 w 9678"/>
              <a:gd name="connsiteY39" fmla="*/ 7195 h 10000"/>
              <a:gd name="connsiteX40" fmla="*/ 1274 w 9678"/>
              <a:gd name="connsiteY40" fmla="*/ 7195 h 10000"/>
              <a:gd name="connsiteX41" fmla="*/ 1113 w 9678"/>
              <a:gd name="connsiteY41" fmla="*/ 6789 h 10000"/>
              <a:gd name="connsiteX42" fmla="*/ 1274 w 9678"/>
              <a:gd name="connsiteY42" fmla="*/ 6381 h 10000"/>
              <a:gd name="connsiteX43" fmla="*/ 1903 w 9678"/>
              <a:gd name="connsiteY43" fmla="*/ 6381 h 10000"/>
              <a:gd name="connsiteX44" fmla="*/ 1742 w 9678"/>
              <a:gd name="connsiteY44" fmla="*/ 5203 h 10000"/>
              <a:gd name="connsiteX45" fmla="*/ 1436 w 9678"/>
              <a:gd name="connsiteY45" fmla="*/ 4796 h 10000"/>
              <a:gd name="connsiteX46" fmla="*/ 1113 w 9678"/>
              <a:gd name="connsiteY46" fmla="*/ 4390 h 10000"/>
              <a:gd name="connsiteX47" fmla="*/ 629 w 9678"/>
              <a:gd name="connsiteY47" fmla="*/ 5203 h 10000"/>
              <a:gd name="connsiteX48" fmla="*/ 484 w 9678"/>
              <a:gd name="connsiteY48" fmla="*/ 5203 h 10000"/>
              <a:gd name="connsiteX49" fmla="*/ 629 w 9678"/>
              <a:gd name="connsiteY49" fmla="*/ 4796 h 10000"/>
              <a:gd name="connsiteX50" fmla="*/ 484 w 9678"/>
              <a:gd name="connsiteY50" fmla="*/ 3982 h 10000"/>
              <a:gd name="connsiteX51" fmla="*/ 162 w 9678"/>
              <a:gd name="connsiteY51" fmla="*/ 3982 h 10000"/>
              <a:gd name="connsiteX52" fmla="*/ 0 w 9678"/>
              <a:gd name="connsiteY52" fmla="*/ 3171 h 10000"/>
              <a:gd name="connsiteX53" fmla="*/ 162 w 9678"/>
              <a:gd name="connsiteY53" fmla="*/ 1178 h 10000"/>
              <a:gd name="connsiteX54" fmla="*/ 484 w 9678"/>
              <a:gd name="connsiteY54" fmla="*/ 1992 h 10000"/>
              <a:gd name="connsiteX55" fmla="*/ 629 w 9678"/>
              <a:gd name="connsiteY55" fmla="*/ 1992 h 10000"/>
              <a:gd name="connsiteX56" fmla="*/ 484 w 9678"/>
              <a:gd name="connsiteY56" fmla="*/ 1178 h 10000"/>
              <a:gd name="connsiteX57" fmla="*/ 952 w 9678"/>
              <a:gd name="connsiteY57" fmla="*/ 0 h 10000"/>
              <a:gd name="connsiteX58" fmla="*/ 1274 w 9678"/>
              <a:gd name="connsiteY58" fmla="*/ 365 h 10000"/>
              <a:gd name="connsiteX59" fmla="*/ 1436 w 9678"/>
              <a:gd name="connsiteY59" fmla="*/ 0 h 10000"/>
              <a:gd name="connsiteX60" fmla="*/ 1742 w 9678"/>
              <a:gd name="connsiteY60" fmla="*/ 365 h 10000"/>
              <a:gd name="connsiteX61" fmla="*/ 2225 w 9678"/>
              <a:gd name="connsiteY61" fmla="*/ 1178 h 10000"/>
              <a:gd name="connsiteX62" fmla="*/ 2532 w 9678"/>
              <a:gd name="connsiteY62" fmla="*/ 772 h 10000"/>
              <a:gd name="connsiteX63" fmla="*/ 2855 w 9678"/>
              <a:gd name="connsiteY63" fmla="*/ 772 h 10000"/>
              <a:gd name="connsiteX64" fmla="*/ 3016 w 9678"/>
              <a:gd name="connsiteY64" fmla="*/ 1178 h 10000"/>
              <a:gd name="connsiteX0" fmla="*/ 9833 w 9833"/>
              <a:gd name="connsiteY0" fmla="*/ 4796 h 10000"/>
              <a:gd name="connsiteX1" fmla="*/ 9350 w 9833"/>
              <a:gd name="connsiteY1" fmla="*/ 4796 h 10000"/>
              <a:gd name="connsiteX2" fmla="*/ 9183 w 9833"/>
              <a:gd name="connsiteY2" fmla="*/ 6381 h 10000"/>
              <a:gd name="connsiteX3" fmla="*/ 8700 w 9833"/>
              <a:gd name="connsiteY3" fmla="*/ 6381 h 10000"/>
              <a:gd name="connsiteX4" fmla="*/ 8700 w 9833"/>
              <a:gd name="connsiteY4" fmla="*/ 6789 h 10000"/>
              <a:gd name="connsiteX5" fmla="*/ 8850 w 9833"/>
              <a:gd name="connsiteY5" fmla="*/ 8373 h 10000"/>
              <a:gd name="connsiteX6" fmla="*/ 8700 w 9833"/>
              <a:gd name="connsiteY6" fmla="*/ 8779 h 10000"/>
              <a:gd name="connsiteX7" fmla="*/ 8366 w 9833"/>
              <a:gd name="connsiteY7" fmla="*/ 8373 h 10000"/>
              <a:gd name="connsiteX8" fmla="*/ 7384 w 9833"/>
              <a:gd name="connsiteY8" fmla="*/ 8373 h 10000"/>
              <a:gd name="connsiteX9" fmla="*/ 7049 w 9833"/>
              <a:gd name="connsiteY9" fmla="*/ 8007 h 10000"/>
              <a:gd name="connsiteX10" fmla="*/ 6884 w 9833"/>
              <a:gd name="connsiteY10" fmla="*/ 8373 h 10000"/>
              <a:gd name="connsiteX11" fmla="*/ 6884 w 9833"/>
              <a:gd name="connsiteY11" fmla="*/ 8779 h 10000"/>
              <a:gd name="connsiteX12" fmla="*/ 6399 w 9833"/>
              <a:gd name="connsiteY12" fmla="*/ 8373 h 10000"/>
              <a:gd name="connsiteX13" fmla="*/ 6234 w 9833"/>
              <a:gd name="connsiteY13" fmla="*/ 8779 h 10000"/>
              <a:gd name="connsiteX14" fmla="*/ 5733 w 9833"/>
              <a:gd name="connsiteY14" fmla="*/ 10000 h 10000"/>
              <a:gd name="connsiteX15" fmla="*/ 5583 w 9833"/>
              <a:gd name="connsiteY15" fmla="*/ 9593 h 10000"/>
              <a:gd name="connsiteX16" fmla="*/ 5250 w 9833"/>
              <a:gd name="connsiteY16" fmla="*/ 9593 h 10000"/>
              <a:gd name="connsiteX17" fmla="*/ 5250 w 9833"/>
              <a:gd name="connsiteY17" fmla="*/ 9187 h 10000"/>
              <a:gd name="connsiteX18" fmla="*/ 5083 w 9833"/>
              <a:gd name="connsiteY18" fmla="*/ 9187 h 10000"/>
              <a:gd name="connsiteX19" fmla="*/ 5083 w 9833"/>
              <a:gd name="connsiteY19" fmla="*/ 8373 h 10000"/>
              <a:gd name="connsiteX20" fmla="*/ 4750 w 9833"/>
              <a:gd name="connsiteY20" fmla="*/ 7601 h 10000"/>
              <a:gd name="connsiteX21" fmla="*/ 3950 w 9833"/>
              <a:gd name="connsiteY21" fmla="*/ 7561 h 10000"/>
              <a:gd name="connsiteX22" fmla="*/ 3717 w 9833"/>
              <a:gd name="connsiteY22" fmla="*/ 6869 h 10000"/>
              <a:gd name="connsiteX23" fmla="*/ 3916 w 9833"/>
              <a:gd name="connsiteY23" fmla="*/ 6747 h 10000"/>
              <a:gd name="connsiteX24" fmla="*/ 3766 w 9833"/>
              <a:gd name="connsiteY24" fmla="*/ 5773 h 10000"/>
              <a:gd name="connsiteX25" fmla="*/ 3950 w 9833"/>
              <a:gd name="connsiteY25" fmla="*/ 5123 h 10000"/>
              <a:gd name="connsiteX26" fmla="*/ 3467 w 9833"/>
              <a:gd name="connsiteY26" fmla="*/ 5162 h 10000"/>
              <a:gd name="connsiteX27" fmla="*/ 3500 w 9833"/>
              <a:gd name="connsiteY27" fmla="*/ 5609 h 10000"/>
              <a:gd name="connsiteX28" fmla="*/ 3317 w 9833"/>
              <a:gd name="connsiteY28" fmla="*/ 6016 h 10000"/>
              <a:gd name="connsiteX29" fmla="*/ 3100 w 9833"/>
              <a:gd name="connsiteY29" fmla="*/ 5975 h 10000"/>
              <a:gd name="connsiteX30" fmla="*/ 2466 w 9833"/>
              <a:gd name="connsiteY30" fmla="*/ 6381 h 10000"/>
              <a:gd name="connsiteX31" fmla="*/ 2466 w 9833"/>
              <a:gd name="connsiteY31" fmla="*/ 9593 h 10000"/>
              <a:gd name="connsiteX32" fmla="*/ 2299 w 9833"/>
              <a:gd name="connsiteY32" fmla="*/ 9593 h 10000"/>
              <a:gd name="connsiteX33" fmla="*/ 1966 w 9833"/>
              <a:gd name="connsiteY33" fmla="*/ 8779 h 10000"/>
              <a:gd name="connsiteX34" fmla="*/ 1484 w 9833"/>
              <a:gd name="connsiteY34" fmla="*/ 9187 h 10000"/>
              <a:gd name="connsiteX35" fmla="*/ 1484 w 9833"/>
              <a:gd name="connsiteY35" fmla="*/ 8373 h 10000"/>
              <a:gd name="connsiteX36" fmla="*/ 1316 w 9833"/>
              <a:gd name="connsiteY36" fmla="*/ 8373 h 10000"/>
              <a:gd name="connsiteX37" fmla="*/ 1150 w 9833"/>
              <a:gd name="connsiteY37" fmla="*/ 7195 h 10000"/>
              <a:gd name="connsiteX38" fmla="*/ 984 w 9833"/>
              <a:gd name="connsiteY38" fmla="*/ 7195 h 10000"/>
              <a:gd name="connsiteX39" fmla="*/ 1316 w 9833"/>
              <a:gd name="connsiteY39" fmla="*/ 7195 h 10000"/>
              <a:gd name="connsiteX40" fmla="*/ 1150 w 9833"/>
              <a:gd name="connsiteY40" fmla="*/ 6789 h 10000"/>
              <a:gd name="connsiteX41" fmla="*/ 1316 w 9833"/>
              <a:gd name="connsiteY41" fmla="*/ 6381 h 10000"/>
              <a:gd name="connsiteX42" fmla="*/ 1966 w 9833"/>
              <a:gd name="connsiteY42" fmla="*/ 6381 h 10000"/>
              <a:gd name="connsiteX43" fmla="*/ 1800 w 9833"/>
              <a:gd name="connsiteY43" fmla="*/ 5203 h 10000"/>
              <a:gd name="connsiteX44" fmla="*/ 1484 w 9833"/>
              <a:gd name="connsiteY44" fmla="*/ 4796 h 10000"/>
              <a:gd name="connsiteX45" fmla="*/ 1150 w 9833"/>
              <a:gd name="connsiteY45" fmla="*/ 4390 h 10000"/>
              <a:gd name="connsiteX46" fmla="*/ 650 w 9833"/>
              <a:gd name="connsiteY46" fmla="*/ 5203 h 10000"/>
              <a:gd name="connsiteX47" fmla="*/ 500 w 9833"/>
              <a:gd name="connsiteY47" fmla="*/ 5203 h 10000"/>
              <a:gd name="connsiteX48" fmla="*/ 650 w 9833"/>
              <a:gd name="connsiteY48" fmla="*/ 4796 h 10000"/>
              <a:gd name="connsiteX49" fmla="*/ 500 w 9833"/>
              <a:gd name="connsiteY49" fmla="*/ 3982 h 10000"/>
              <a:gd name="connsiteX50" fmla="*/ 167 w 9833"/>
              <a:gd name="connsiteY50" fmla="*/ 3982 h 10000"/>
              <a:gd name="connsiteX51" fmla="*/ 0 w 9833"/>
              <a:gd name="connsiteY51" fmla="*/ 3171 h 10000"/>
              <a:gd name="connsiteX52" fmla="*/ 167 w 9833"/>
              <a:gd name="connsiteY52" fmla="*/ 1178 h 10000"/>
              <a:gd name="connsiteX53" fmla="*/ 500 w 9833"/>
              <a:gd name="connsiteY53" fmla="*/ 1992 h 10000"/>
              <a:gd name="connsiteX54" fmla="*/ 650 w 9833"/>
              <a:gd name="connsiteY54" fmla="*/ 1992 h 10000"/>
              <a:gd name="connsiteX55" fmla="*/ 500 w 9833"/>
              <a:gd name="connsiteY55" fmla="*/ 1178 h 10000"/>
              <a:gd name="connsiteX56" fmla="*/ 984 w 9833"/>
              <a:gd name="connsiteY56" fmla="*/ 0 h 10000"/>
              <a:gd name="connsiteX57" fmla="*/ 1316 w 9833"/>
              <a:gd name="connsiteY57" fmla="*/ 365 h 10000"/>
              <a:gd name="connsiteX58" fmla="*/ 1484 w 9833"/>
              <a:gd name="connsiteY58" fmla="*/ 0 h 10000"/>
              <a:gd name="connsiteX59" fmla="*/ 1800 w 9833"/>
              <a:gd name="connsiteY59" fmla="*/ 365 h 10000"/>
              <a:gd name="connsiteX60" fmla="*/ 2299 w 9833"/>
              <a:gd name="connsiteY60" fmla="*/ 1178 h 10000"/>
              <a:gd name="connsiteX61" fmla="*/ 2616 w 9833"/>
              <a:gd name="connsiteY61" fmla="*/ 772 h 10000"/>
              <a:gd name="connsiteX62" fmla="*/ 2950 w 9833"/>
              <a:gd name="connsiteY62" fmla="*/ 772 h 10000"/>
              <a:gd name="connsiteX63" fmla="*/ 3116 w 9833"/>
              <a:gd name="connsiteY63" fmla="*/ 1178 h 10000"/>
              <a:gd name="connsiteX0" fmla="*/ 9509 w 9509"/>
              <a:gd name="connsiteY0" fmla="*/ 4796 h 10000"/>
              <a:gd name="connsiteX1" fmla="*/ 9339 w 9509"/>
              <a:gd name="connsiteY1" fmla="*/ 6381 h 10000"/>
              <a:gd name="connsiteX2" fmla="*/ 8848 w 9509"/>
              <a:gd name="connsiteY2" fmla="*/ 6381 h 10000"/>
              <a:gd name="connsiteX3" fmla="*/ 8848 w 9509"/>
              <a:gd name="connsiteY3" fmla="*/ 6789 h 10000"/>
              <a:gd name="connsiteX4" fmla="*/ 9000 w 9509"/>
              <a:gd name="connsiteY4" fmla="*/ 8373 h 10000"/>
              <a:gd name="connsiteX5" fmla="*/ 8848 w 9509"/>
              <a:gd name="connsiteY5" fmla="*/ 8779 h 10000"/>
              <a:gd name="connsiteX6" fmla="*/ 8508 w 9509"/>
              <a:gd name="connsiteY6" fmla="*/ 8373 h 10000"/>
              <a:gd name="connsiteX7" fmla="*/ 7509 w 9509"/>
              <a:gd name="connsiteY7" fmla="*/ 8373 h 10000"/>
              <a:gd name="connsiteX8" fmla="*/ 7169 w 9509"/>
              <a:gd name="connsiteY8" fmla="*/ 8007 h 10000"/>
              <a:gd name="connsiteX9" fmla="*/ 7001 w 9509"/>
              <a:gd name="connsiteY9" fmla="*/ 8373 h 10000"/>
              <a:gd name="connsiteX10" fmla="*/ 7001 w 9509"/>
              <a:gd name="connsiteY10" fmla="*/ 8779 h 10000"/>
              <a:gd name="connsiteX11" fmla="*/ 6508 w 9509"/>
              <a:gd name="connsiteY11" fmla="*/ 8373 h 10000"/>
              <a:gd name="connsiteX12" fmla="*/ 6340 w 9509"/>
              <a:gd name="connsiteY12" fmla="*/ 8779 h 10000"/>
              <a:gd name="connsiteX13" fmla="*/ 5830 w 9509"/>
              <a:gd name="connsiteY13" fmla="*/ 10000 h 10000"/>
              <a:gd name="connsiteX14" fmla="*/ 5678 w 9509"/>
              <a:gd name="connsiteY14" fmla="*/ 9593 h 10000"/>
              <a:gd name="connsiteX15" fmla="*/ 5339 w 9509"/>
              <a:gd name="connsiteY15" fmla="*/ 9593 h 10000"/>
              <a:gd name="connsiteX16" fmla="*/ 5339 w 9509"/>
              <a:gd name="connsiteY16" fmla="*/ 9187 h 10000"/>
              <a:gd name="connsiteX17" fmla="*/ 5169 w 9509"/>
              <a:gd name="connsiteY17" fmla="*/ 9187 h 10000"/>
              <a:gd name="connsiteX18" fmla="*/ 5169 w 9509"/>
              <a:gd name="connsiteY18" fmla="*/ 8373 h 10000"/>
              <a:gd name="connsiteX19" fmla="*/ 4831 w 9509"/>
              <a:gd name="connsiteY19" fmla="*/ 7601 h 10000"/>
              <a:gd name="connsiteX20" fmla="*/ 4017 w 9509"/>
              <a:gd name="connsiteY20" fmla="*/ 7561 h 10000"/>
              <a:gd name="connsiteX21" fmla="*/ 3780 w 9509"/>
              <a:gd name="connsiteY21" fmla="*/ 6869 h 10000"/>
              <a:gd name="connsiteX22" fmla="*/ 3983 w 9509"/>
              <a:gd name="connsiteY22" fmla="*/ 6747 h 10000"/>
              <a:gd name="connsiteX23" fmla="*/ 3830 w 9509"/>
              <a:gd name="connsiteY23" fmla="*/ 5773 h 10000"/>
              <a:gd name="connsiteX24" fmla="*/ 4017 w 9509"/>
              <a:gd name="connsiteY24" fmla="*/ 5123 h 10000"/>
              <a:gd name="connsiteX25" fmla="*/ 3526 w 9509"/>
              <a:gd name="connsiteY25" fmla="*/ 5162 h 10000"/>
              <a:gd name="connsiteX26" fmla="*/ 3559 w 9509"/>
              <a:gd name="connsiteY26" fmla="*/ 5609 h 10000"/>
              <a:gd name="connsiteX27" fmla="*/ 3373 w 9509"/>
              <a:gd name="connsiteY27" fmla="*/ 6016 h 10000"/>
              <a:gd name="connsiteX28" fmla="*/ 3153 w 9509"/>
              <a:gd name="connsiteY28" fmla="*/ 5975 h 10000"/>
              <a:gd name="connsiteX29" fmla="*/ 2508 w 9509"/>
              <a:gd name="connsiteY29" fmla="*/ 6381 h 10000"/>
              <a:gd name="connsiteX30" fmla="*/ 2508 w 9509"/>
              <a:gd name="connsiteY30" fmla="*/ 9593 h 10000"/>
              <a:gd name="connsiteX31" fmla="*/ 2338 w 9509"/>
              <a:gd name="connsiteY31" fmla="*/ 9593 h 10000"/>
              <a:gd name="connsiteX32" fmla="*/ 1999 w 9509"/>
              <a:gd name="connsiteY32" fmla="*/ 8779 h 10000"/>
              <a:gd name="connsiteX33" fmla="*/ 1509 w 9509"/>
              <a:gd name="connsiteY33" fmla="*/ 9187 h 10000"/>
              <a:gd name="connsiteX34" fmla="*/ 1509 w 9509"/>
              <a:gd name="connsiteY34" fmla="*/ 8373 h 10000"/>
              <a:gd name="connsiteX35" fmla="*/ 1338 w 9509"/>
              <a:gd name="connsiteY35" fmla="*/ 8373 h 10000"/>
              <a:gd name="connsiteX36" fmla="*/ 1170 w 9509"/>
              <a:gd name="connsiteY36" fmla="*/ 7195 h 10000"/>
              <a:gd name="connsiteX37" fmla="*/ 1001 w 9509"/>
              <a:gd name="connsiteY37" fmla="*/ 7195 h 10000"/>
              <a:gd name="connsiteX38" fmla="*/ 1338 w 9509"/>
              <a:gd name="connsiteY38" fmla="*/ 7195 h 10000"/>
              <a:gd name="connsiteX39" fmla="*/ 1170 w 9509"/>
              <a:gd name="connsiteY39" fmla="*/ 6789 h 10000"/>
              <a:gd name="connsiteX40" fmla="*/ 1338 w 9509"/>
              <a:gd name="connsiteY40" fmla="*/ 6381 h 10000"/>
              <a:gd name="connsiteX41" fmla="*/ 1999 w 9509"/>
              <a:gd name="connsiteY41" fmla="*/ 6381 h 10000"/>
              <a:gd name="connsiteX42" fmla="*/ 1831 w 9509"/>
              <a:gd name="connsiteY42" fmla="*/ 5203 h 10000"/>
              <a:gd name="connsiteX43" fmla="*/ 1509 w 9509"/>
              <a:gd name="connsiteY43" fmla="*/ 4796 h 10000"/>
              <a:gd name="connsiteX44" fmla="*/ 1170 w 9509"/>
              <a:gd name="connsiteY44" fmla="*/ 4390 h 10000"/>
              <a:gd name="connsiteX45" fmla="*/ 661 w 9509"/>
              <a:gd name="connsiteY45" fmla="*/ 5203 h 10000"/>
              <a:gd name="connsiteX46" fmla="*/ 508 w 9509"/>
              <a:gd name="connsiteY46" fmla="*/ 5203 h 10000"/>
              <a:gd name="connsiteX47" fmla="*/ 661 w 9509"/>
              <a:gd name="connsiteY47" fmla="*/ 4796 h 10000"/>
              <a:gd name="connsiteX48" fmla="*/ 508 w 9509"/>
              <a:gd name="connsiteY48" fmla="*/ 3982 h 10000"/>
              <a:gd name="connsiteX49" fmla="*/ 170 w 9509"/>
              <a:gd name="connsiteY49" fmla="*/ 3982 h 10000"/>
              <a:gd name="connsiteX50" fmla="*/ 0 w 9509"/>
              <a:gd name="connsiteY50" fmla="*/ 3171 h 10000"/>
              <a:gd name="connsiteX51" fmla="*/ 170 w 9509"/>
              <a:gd name="connsiteY51" fmla="*/ 1178 h 10000"/>
              <a:gd name="connsiteX52" fmla="*/ 508 w 9509"/>
              <a:gd name="connsiteY52" fmla="*/ 1992 h 10000"/>
              <a:gd name="connsiteX53" fmla="*/ 661 w 9509"/>
              <a:gd name="connsiteY53" fmla="*/ 1992 h 10000"/>
              <a:gd name="connsiteX54" fmla="*/ 508 w 9509"/>
              <a:gd name="connsiteY54" fmla="*/ 1178 h 10000"/>
              <a:gd name="connsiteX55" fmla="*/ 1001 w 9509"/>
              <a:gd name="connsiteY55" fmla="*/ 0 h 10000"/>
              <a:gd name="connsiteX56" fmla="*/ 1338 w 9509"/>
              <a:gd name="connsiteY56" fmla="*/ 365 h 10000"/>
              <a:gd name="connsiteX57" fmla="*/ 1509 w 9509"/>
              <a:gd name="connsiteY57" fmla="*/ 0 h 10000"/>
              <a:gd name="connsiteX58" fmla="*/ 1831 w 9509"/>
              <a:gd name="connsiteY58" fmla="*/ 365 h 10000"/>
              <a:gd name="connsiteX59" fmla="*/ 2338 w 9509"/>
              <a:gd name="connsiteY59" fmla="*/ 1178 h 10000"/>
              <a:gd name="connsiteX60" fmla="*/ 2660 w 9509"/>
              <a:gd name="connsiteY60" fmla="*/ 772 h 10000"/>
              <a:gd name="connsiteX61" fmla="*/ 3000 w 9509"/>
              <a:gd name="connsiteY61" fmla="*/ 772 h 10000"/>
              <a:gd name="connsiteX62" fmla="*/ 3169 w 9509"/>
              <a:gd name="connsiteY62" fmla="*/ 1178 h 10000"/>
              <a:gd name="connsiteX0" fmla="*/ 9821 w 9821"/>
              <a:gd name="connsiteY0" fmla="*/ 6381 h 10000"/>
              <a:gd name="connsiteX1" fmla="*/ 9305 w 9821"/>
              <a:gd name="connsiteY1" fmla="*/ 6381 h 10000"/>
              <a:gd name="connsiteX2" fmla="*/ 9305 w 9821"/>
              <a:gd name="connsiteY2" fmla="*/ 6789 h 10000"/>
              <a:gd name="connsiteX3" fmla="*/ 9465 w 9821"/>
              <a:gd name="connsiteY3" fmla="*/ 8373 h 10000"/>
              <a:gd name="connsiteX4" fmla="*/ 9305 w 9821"/>
              <a:gd name="connsiteY4" fmla="*/ 8779 h 10000"/>
              <a:gd name="connsiteX5" fmla="*/ 8947 w 9821"/>
              <a:gd name="connsiteY5" fmla="*/ 8373 h 10000"/>
              <a:gd name="connsiteX6" fmla="*/ 7897 w 9821"/>
              <a:gd name="connsiteY6" fmla="*/ 8373 h 10000"/>
              <a:gd name="connsiteX7" fmla="*/ 7539 w 9821"/>
              <a:gd name="connsiteY7" fmla="*/ 8007 h 10000"/>
              <a:gd name="connsiteX8" fmla="*/ 7362 w 9821"/>
              <a:gd name="connsiteY8" fmla="*/ 8373 h 10000"/>
              <a:gd name="connsiteX9" fmla="*/ 7362 w 9821"/>
              <a:gd name="connsiteY9" fmla="*/ 8779 h 10000"/>
              <a:gd name="connsiteX10" fmla="*/ 6844 w 9821"/>
              <a:gd name="connsiteY10" fmla="*/ 8373 h 10000"/>
              <a:gd name="connsiteX11" fmla="*/ 6667 w 9821"/>
              <a:gd name="connsiteY11" fmla="*/ 8779 h 10000"/>
              <a:gd name="connsiteX12" fmla="*/ 6131 w 9821"/>
              <a:gd name="connsiteY12" fmla="*/ 10000 h 10000"/>
              <a:gd name="connsiteX13" fmla="*/ 5971 w 9821"/>
              <a:gd name="connsiteY13" fmla="*/ 9593 h 10000"/>
              <a:gd name="connsiteX14" fmla="*/ 5615 w 9821"/>
              <a:gd name="connsiteY14" fmla="*/ 9593 h 10000"/>
              <a:gd name="connsiteX15" fmla="*/ 5615 w 9821"/>
              <a:gd name="connsiteY15" fmla="*/ 9187 h 10000"/>
              <a:gd name="connsiteX16" fmla="*/ 5436 w 9821"/>
              <a:gd name="connsiteY16" fmla="*/ 9187 h 10000"/>
              <a:gd name="connsiteX17" fmla="*/ 5436 w 9821"/>
              <a:gd name="connsiteY17" fmla="*/ 8373 h 10000"/>
              <a:gd name="connsiteX18" fmla="*/ 5080 w 9821"/>
              <a:gd name="connsiteY18" fmla="*/ 7601 h 10000"/>
              <a:gd name="connsiteX19" fmla="*/ 4224 w 9821"/>
              <a:gd name="connsiteY19" fmla="*/ 7561 h 10000"/>
              <a:gd name="connsiteX20" fmla="*/ 3975 w 9821"/>
              <a:gd name="connsiteY20" fmla="*/ 6869 h 10000"/>
              <a:gd name="connsiteX21" fmla="*/ 4189 w 9821"/>
              <a:gd name="connsiteY21" fmla="*/ 6747 h 10000"/>
              <a:gd name="connsiteX22" fmla="*/ 4028 w 9821"/>
              <a:gd name="connsiteY22" fmla="*/ 5773 h 10000"/>
              <a:gd name="connsiteX23" fmla="*/ 4224 w 9821"/>
              <a:gd name="connsiteY23" fmla="*/ 5123 h 10000"/>
              <a:gd name="connsiteX24" fmla="*/ 3708 w 9821"/>
              <a:gd name="connsiteY24" fmla="*/ 5162 h 10000"/>
              <a:gd name="connsiteX25" fmla="*/ 3743 w 9821"/>
              <a:gd name="connsiteY25" fmla="*/ 5609 h 10000"/>
              <a:gd name="connsiteX26" fmla="*/ 3547 w 9821"/>
              <a:gd name="connsiteY26" fmla="*/ 6016 h 10000"/>
              <a:gd name="connsiteX27" fmla="*/ 3316 w 9821"/>
              <a:gd name="connsiteY27" fmla="*/ 5975 h 10000"/>
              <a:gd name="connsiteX28" fmla="*/ 2638 w 9821"/>
              <a:gd name="connsiteY28" fmla="*/ 6381 h 10000"/>
              <a:gd name="connsiteX29" fmla="*/ 2638 w 9821"/>
              <a:gd name="connsiteY29" fmla="*/ 9593 h 10000"/>
              <a:gd name="connsiteX30" fmla="*/ 2459 w 9821"/>
              <a:gd name="connsiteY30" fmla="*/ 9593 h 10000"/>
              <a:gd name="connsiteX31" fmla="*/ 2102 w 9821"/>
              <a:gd name="connsiteY31" fmla="*/ 8779 h 10000"/>
              <a:gd name="connsiteX32" fmla="*/ 1587 w 9821"/>
              <a:gd name="connsiteY32" fmla="*/ 9187 h 10000"/>
              <a:gd name="connsiteX33" fmla="*/ 1587 w 9821"/>
              <a:gd name="connsiteY33" fmla="*/ 8373 h 10000"/>
              <a:gd name="connsiteX34" fmla="*/ 1407 w 9821"/>
              <a:gd name="connsiteY34" fmla="*/ 8373 h 10000"/>
              <a:gd name="connsiteX35" fmla="*/ 1230 w 9821"/>
              <a:gd name="connsiteY35" fmla="*/ 7195 h 10000"/>
              <a:gd name="connsiteX36" fmla="*/ 1053 w 9821"/>
              <a:gd name="connsiteY36" fmla="*/ 7195 h 10000"/>
              <a:gd name="connsiteX37" fmla="*/ 1407 w 9821"/>
              <a:gd name="connsiteY37" fmla="*/ 7195 h 10000"/>
              <a:gd name="connsiteX38" fmla="*/ 1230 w 9821"/>
              <a:gd name="connsiteY38" fmla="*/ 6789 h 10000"/>
              <a:gd name="connsiteX39" fmla="*/ 1407 w 9821"/>
              <a:gd name="connsiteY39" fmla="*/ 6381 h 10000"/>
              <a:gd name="connsiteX40" fmla="*/ 2102 w 9821"/>
              <a:gd name="connsiteY40" fmla="*/ 6381 h 10000"/>
              <a:gd name="connsiteX41" fmla="*/ 1926 w 9821"/>
              <a:gd name="connsiteY41" fmla="*/ 5203 h 10000"/>
              <a:gd name="connsiteX42" fmla="*/ 1587 w 9821"/>
              <a:gd name="connsiteY42" fmla="*/ 4796 h 10000"/>
              <a:gd name="connsiteX43" fmla="*/ 1230 w 9821"/>
              <a:gd name="connsiteY43" fmla="*/ 4390 h 10000"/>
              <a:gd name="connsiteX44" fmla="*/ 695 w 9821"/>
              <a:gd name="connsiteY44" fmla="*/ 5203 h 10000"/>
              <a:gd name="connsiteX45" fmla="*/ 534 w 9821"/>
              <a:gd name="connsiteY45" fmla="*/ 5203 h 10000"/>
              <a:gd name="connsiteX46" fmla="*/ 695 w 9821"/>
              <a:gd name="connsiteY46" fmla="*/ 4796 h 10000"/>
              <a:gd name="connsiteX47" fmla="*/ 534 w 9821"/>
              <a:gd name="connsiteY47" fmla="*/ 3982 h 10000"/>
              <a:gd name="connsiteX48" fmla="*/ 179 w 9821"/>
              <a:gd name="connsiteY48" fmla="*/ 3982 h 10000"/>
              <a:gd name="connsiteX49" fmla="*/ 0 w 9821"/>
              <a:gd name="connsiteY49" fmla="*/ 3171 h 10000"/>
              <a:gd name="connsiteX50" fmla="*/ 179 w 9821"/>
              <a:gd name="connsiteY50" fmla="*/ 1178 h 10000"/>
              <a:gd name="connsiteX51" fmla="*/ 534 w 9821"/>
              <a:gd name="connsiteY51" fmla="*/ 1992 h 10000"/>
              <a:gd name="connsiteX52" fmla="*/ 695 w 9821"/>
              <a:gd name="connsiteY52" fmla="*/ 1992 h 10000"/>
              <a:gd name="connsiteX53" fmla="*/ 534 w 9821"/>
              <a:gd name="connsiteY53" fmla="*/ 1178 h 10000"/>
              <a:gd name="connsiteX54" fmla="*/ 1053 w 9821"/>
              <a:gd name="connsiteY54" fmla="*/ 0 h 10000"/>
              <a:gd name="connsiteX55" fmla="*/ 1407 w 9821"/>
              <a:gd name="connsiteY55" fmla="*/ 365 h 10000"/>
              <a:gd name="connsiteX56" fmla="*/ 1587 w 9821"/>
              <a:gd name="connsiteY56" fmla="*/ 0 h 10000"/>
              <a:gd name="connsiteX57" fmla="*/ 1926 w 9821"/>
              <a:gd name="connsiteY57" fmla="*/ 365 h 10000"/>
              <a:gd name="connsiteX58" fmla="*/ 2459 w 9821"/>
              <a:gd name="connsiteY58" fmla="*/ 1178 h 10000"/>
              <a:gd name="connsiteX59" fmla="*/ 2797 w 9821"/>
              <a:gd name="connsiteY59" fmla="*/ 772 h 10000"/>
              <a:gd name="connsiteX60" fmla="*/ 3155 w 9821"/>
              <a:gd name="connsiteY60" fmla="*/ 772 h 10000"/>
              <a:gd name="connsiteX61" fmla="*/ 3333 w 9821"/>
              <a:gd name="connsiteY61" fmla="*/ 1178 h 10000"/>
              <a:gd name="connsiteX0" fmla="*/ 9475 w 9638"/>
              <a:gd name="connsiteY0" fmla="*/ 6381 h 10000"/>
              <a:gd name="connsiteX1" fmla="*/ 9475 w 9638"/>
              <a:gd name="connsiteY1" fmla="*/ 6789 h 10000"/>
              <a:gd name="connsiteX2" fmla="*/ 9638 w 9638"/>
              <a:gd name="connsiteY2" fmla="*/ 8373 h 10000"/>
              <a:gd name="connsiteX3" fmla="*/ 9475 w 9638"/>
              <a:gd name="connsiteY3" fmla="*/ 8779 h 10000"/>
              <a:gd name="connsiteX4" fmla="*/ 9110 w 9638"/>
              <a:gd name="connsiteY4" fmla="*/ 8373 h 10000"/>
              <a:gd name="connsiteX5" fmla="*/ 8041 w 9638"/>
              <a:gd name="connsiteY5" fmla="*/ 8373 h 10000"/>
              <a:gd name="connsiteX6" fmla="*/ 7676 w 9638"/>
              <a:gd name="connsiteY6" fmla="*/ 8007 h 10000"/>
              <a:gd name="connsiteX7" fmla="*/ 7496 w 9638"/>
              <a:gd name="connsiteY7" fmla="*/ 8373 h 10000"/>
              <a:gd name="connsiteX8" fmla="*/ 7496 w 9638"/>
              <a:gd name="connsiteY8" fmla="*/ 8779 h 10000"/>
              <a:gd name="connsiteX9" fmla="*/ 6969 w 9638"/>
              <a:gd name="connsiteY9" fmla="*/ 8373 h 10000"/>
              <a:gd name="connsiteX10" fmla="*/ 6789 w 9638"/>
              <a:gd name="connsiteY10" fmla="*/ 8779 h 10000"/>
              <a:gd name="connsiteX11" fmla="*/ 6243 w 9638"/>
              <a:gd name="connsiteY11" fmla="*/ 10000 h 10000"/>
              <a:gd name="connsiteX12" fmla="*/ 6080 w 9638"/>
              <a:gd name="connsiteY12" fmla="*/ 9593 h 10000"/>
              <a:gd name="connsiteX13" fmla="*/ 5717 w 9638"/>
              <a:gd name="connsiteY13" fmla="*/ 9593 h 10000"/>
              <a:gd name="connsiteX14" fmla="*/ 5717 w 9638"/>
              <a:gd name="connsiteY14" fmla="*/ 9187 h 10000"/>
              <a:gd name="connsiteX15" fmla="*/ 5535 w 9638"/>
              <a:gd name="connsiteY15" fmla="*/ 9187 h 10000"/>
              <a:gd name="connsiteX16" fmla="*/ 5535 w 9638"/>
              <a:gd name="connsiteY16" fmla="*/ 8373 h 10000"/>
              <a:gd name="connsiteX17" fmla="*/ 5173 w 9638"/>
              <a:gd name="connsiteY17" fmla="*/ 7601 h 10000"/>
              <a:gd name="connsiteX18" fmla="*/ 4301 w 9638"/>
              <a:gd name="connsiteY18" fmla="*/ 7561 h 10000"/>
              <a:gd name="connsiteX19" fmla="*/ 4047 w 9638"/>
              <a:gd name="connsiteY19" fmla="*/ 6869 h 10000"/>
              <a:gd name="connsiteX20" fmla="*/ 4265 w 9638"/>
              <a:gd name="connsiteY20" fmla="*/ 6747 h 10000"/>
              <a:gd name="connsiteX21" fmla="*/ 4101 w 9638"/>
              <a:gd name="connsiteY21" fmla="*/ 5773 h 10000"/>
              <a:gd name="connsiteX22" fmla="*/ 4301 w 9638"/>
              <a:gd name="connsiteY22" fmla="*/ 5123 h 10000"/>
              <a:gd name="connsiteX23" fmla="*/ 3776 w 9638"/>
              <a:gd name="connsiteY23" fmla="*/ 5162 h 10000"/>
              <a:gd name="connsiteX24" fmla="*/ 3811 w 9638"/>
              <a:gd name="connsiteY24" fmla="*/ 5609 h 10000"/>
              <a:gd name="connsiteX25" fmla="*/ 3612 w 9638"/>
              <a:gd name="connsiteY25" fmla="*/ 6016 h 10000"/>
              <a:gd name="connsiteX26" fmla="*/ 3376 w 9638"/>
              <a:gd name="connsiteY26" fmla="*/ 5975 h 10000"/>
              <a:gd name="connsiteX27" fmla="*/ 2686 w 9638"/>
              <a:gd name="connsiteY27" fmla="*/ 6381 h 10000"/>
              <a:gd name="connsiteX28" fmla="*/ 2686 w 9638"/>
              <a:gd name="connsiteY28" fmla="*/ 9593 h 10000"/>
              <a:gd name="connsiteX29" fmla="*/ 2504 w 9638"/>
              <a:gd name="connsiteY29" fmla="*/ 9593 h 10000"/>
              <a:gd name="connsiteX30" fmla="*/ 2140 w 9638"/>
              <a:gd name="connsiteY30" fmla="*/ 8779 h 10000"/>
              <a:gd name="connsiteX31" fmla="*/ 1616 w 9638"/>
              <a:gd name="connsiteY31" fmla="*/ 9187 h 10000"/>
              <a:gd name="connsiteX32" fmla="*/ 1616 w 9638"/>
              <a:gd name="connsiteY32" fmla="*/ 8373 h 10000"/>
              <a:gd name="connsiteX33" fmla="*/ 1433 w 9638"/>
              <a:gd name="connsiteY33" fmla="*/ 8373 h 10000"/>
              <a:gd name="connsiteX34" fmla="*/ 1252 w 9638"/>
              <a:gd name="connsiteY34" fmla="*/ 7195 h 10000"/>
              <a:gd name="connsiteX35" fmla="*/ 1072 w 9638"/>
              <a:gd name="connsiteY35" fmla="*/ 7195 h 10000"/>
              <a:gd name="connsiteX36" fmla="*/ 1433 w 9638"/>
              <a:gd name="connsiteY36" fmla="*/ 7195 h 10000"/>
              <a:gd name="connsiteX37" fmla="*/ 1252 w 9638"/>
              <a:gd name="connsiteY37" fmla="*/ 6789 h 10000"/>
              <a:gd name="connsiteX38" fmla="*/ 1433 w 9638"/>
              <a:gd name="connsiteY38" fmla="*/ 6381 h 10000"/>
              <a:gd name="connsiteX39" fmla="*/ 2140 w 9638"/>
              <a:gd name="connsiteY39" fmla="*/ 6381 h 10000"/>
              <a:gd name="connsiteX40" fmla="*/ 1961 w 9638"/>
              <a:gd name="connsiteY40" fmla="*/ 5203 h 10000"/>
              <a:gd name="connsiteX41" fmla="*/ 1616 w 9638"/>
              <a:gd name="connsiteY41" fmla="*/ 4796 h 10000"/>
              <a:gd name="connsiteX42" fmla="*/ 1252 w 9638"/>
              <a:gd name="connsiteY42" fmla="*/ 4390 h 10000"/>
              <a:gd name="connsiteX43" fmla="*/ 708 w 9638"/>
              <a:gd name="connsiteY43" fmla="*/ 5203 h 10000"/>
              <a:gd name="connsiteX44" fmla="*/ 544 w 9638"/>
              <a:gd name="connsiteY44" fmla="*/ 5203 h 10000"/>
              <a:gd name="connsiteX45" fmla="*/ 708 w 9638"/>
              <a:gd name="connsiteY45" fmla="*/ 4796 h 10000"/>
              <a:gd name="connsiteX46" fmla="*/ 544 w 9638"/>
              <a:gd name="connsiteY46" fmla="*/ 3982 h 10000"/>
              <a:gd name="connsiteX47" fmla="*/ 182 w 9638"/>
              <a:gd name="connsiteY47" fmla="*/ 3982 h 10000"/>
              <a:gd name="connsiteX48" fmla="*/ 0 w 9638"/>
              <a:gd name="connsiteY48" fmla="*/ 3171 h 10000"/>
              <a:gd name="connsiteX49" fmla="*/ 182 w 9638"/>
              <a:gd name="connsiteY49" fmla="*/ 1178 h 10000"/>
              <a:gd name="connsiteX50" fmla="*/ 544 w 9638"/>
              <a:gd name="connsiteY50" fmla="*/ 1992 h 10000"/>
              <a:gd name="connsiteX51" fmla="*/ 708 w 9638"/>
              <a:gd name="connsiteY51" fmla="*/ 1992 h 10000"/>
              <a:gd name="connsiteX52" fmla="*/ 544 w 9638"/>
              <a:gd name="connsiteY52" fmla="*/ 1178 h 10000"/>
              <a:gd name="connsiteX53" fmla="*/ 1072 w 9638"/>
              <a:gd name="connsiteY53" fmla="*/ 0 h 10000"/>
              <a:gd name="connsiteX54" fmla="*/ 1433 w 9638"/>
              <a:gd name="connsiteY54" fmla="*/ 365 h 10000"/>
              <a:gd name="connsiteX55" fmla="*/ 1616 w 9638"/>
              <a:gd name="connsiteY55" fmla="*/ 0 h 10000"/>
              <a:gd name="connsiteX56" fmla="*/ 1961 w 9638"/>
              <a:gd name="connsiteY56" fmla="*/ 365 h 10000"/>
              <a:gd name="connsiteX57" fmla="*/ 2504 w 9638"/>
              <a:gd name="connsiteY57" fmla="*/ 1178 h 10000"/>
              <a:gd name="connsiteX58" fmla="*/ 2848 w 9638"/>
              <a:gd name="connsiteY58" fmla="*/ 772 h 10000"/>
              <a:gd name="connsiteX59" fmla="*/ 3213 w 9638"/>
              <a:gd name="connsiteY59" fmla="*/ 772 h 10000"/>
              <a:gd name="connsiteX60" fmla="*/ 3394 w 9638"/>
              <a:gd name="connsiteY60" fmla="*/ 1178 h 10000"/>
              <a:gd name="connsiteX0" fmla="*/ 9831 w 10000"/>
              <a:gd name="connsiteY0" fmla="*/ 6381 h 10000"/>
              <a:gd name="connsiteX1" fmla="*/ 10000 w 10000"/>
              <a:gd name="connsiteY1" fmla="*/ 8373 h 10000"/>
              <a:gd name="connsiteX2" fmla="*/ 9831 w 10000"/>
              <a:gd name="connsiteY2" fmla="*/ 8779 h 10000"/>
              <a:gd name="connsiteX3" fmla="*/ 9452 w 10000"/>
              <a:gd name="connsiteY3" fmla="*/ 8373 h 10000"/>
              <a:gd name="connsiteX4" fmla="*/ 8343 w 10000"/>
              <a:gd name="connsiteY4" fmla="*/ 8373 h 10000"/>
              <a:gd name="connsiteX5" fmla="*/ 7964 w 10000"/>
              <a:gd name="connsiteY5" fmla="*/ 8007 h 10000"/>
              <a:gd name="connsiteX6" fmla="*/ 7778 w 10000"/>
              <a:gd name="connsiteY6" fmla="*/ 8373 h 10000"/>
              <a:gd name="connsiteX7" fmla="*/ 7778 w 10000"/>
              <a:gd name="connsiteY7" fmla="*/ 8779 h 10000"/>
              <a:gd name="connsiteX8" fmla="*/ 7231 w 10000"/>
              <a:gd name="connsiteY8" fmla="*/ 8373 h 10000"/>
              <a:gd name="connsiteX9" fmla="*/ 7044 w 10000"/>
              <a:gd name="connsiteY9" fmla="*/ 8779 h 10000"/>
              <a:gd name="connsiteX10" fmla="*/ 6477 w 10000"/>
              <a:gd name="connsiteY10" fmla="*/ 10000 h 10000"/>
              <a:gd name="connsiteX11" fmla="*/ 6308 w 10000"/>
              <a:gd name="connsiteY11" fmla="*/ 9593 h 10000"/>
              <a:gd name="connsiteX12" fmla="*/ 5932 w 10000"/>
              <a:gd name="connsiteY12" fmla="*/ 9593 h 10000"/>
              <a:gd name="connsiteX13" fmla="*/ 5932 w 10000"/>
              <a:gd name="connsiteY13" fmla="*/ 9187 h 10000"/>
              <a:gd name="connsiteX14" fmla="*/ 5743 w 10000"/>
              <a:gd name="connsiteY14" fmla="*/ 9187 h 10000"/>
              <a:gd name="connsiteX15" fmla="*/ 5743 w 10000"/>
              <a:gd name="connsiteY15" fmla="*/ 8373 h 10000"/>
              <a:gd name="connsiteX16" fmla="*/ 5367 w 10000"/>
              <a:gd name="connsiteY16" fmla="*/ 7601 h 10000"/>
              <a:gd name="connsiteX17" fmla="*/ 4463 w 10000"/>
              <a:gd name="connsiteY17" fmla="*/ 7561 h 10000"/>
              <a:gd name="connsiteX18" fmla="*/ 4199 w 10000"/>
              <a:gd name="connsiteY18" fmla="*/ 6869 h 10000"/>
              <a:gd name="connsiteX19" fmla="*/ 4425 w 10000"/>
              <a:gd name="connsiteY19" fmla="*/ 6747 h 10000"/>
              <a:gd name="connsiteX20" fmla="*/ 4255 w 10000"/>
              <a:gd name="connsiteY20" fmla="*/ 5773 h 10000"/>
              <a:gd name="connsiteX21" fmla="*/ 4463 w 10000"/>
              <a:gd name="connsiteY21" fmla="*/ 5123 h 10000"/>
              <a:gd name="connsiteX22" fmla="*/ 3918 w 10000"/>
              <a:gd name="connsiteY22" fmla="*/ 5162 h 10000"/>
              <a:gd name="connsiteX23" fmla="*/ 3954 w 10000"/>
              <a:gd name="connsiteY23" fmla="*/ 5609 h 10000"/>
              <a:gd name="connsiteX24" fmla="*/ 3748 w 10000"/>
              <a:gd name="connsiteY24" fmla="*/ 6016 h 10000"/>
              <a:gd name="connsiteX25" fmla="*/ 3503 w 10000"/>
              <a:gd name="connsiteY25" fmla="*/ 5975 h 10000"/>
              <a:gd name="connsiteX26" fmla="*/ 2787 w 10000"/>
              <a:gd name="connsiteY26" fmla="*/ 6381 h 10000"/>
              <a:gd name="connsiteX27" fmla="*/ 2787 w 10000"/>
              <a:gd name="connsiteY27" fmla="*/ 9593 h 10000"/>
              <a:gd name="connsiteX28" fmla="*/ 2598 w 10000"/>
              <a:gd name="connsiteY28" fmla="*/ 9593 h 10000"/>
              <a:gd name="connsiteX29" fmla="*/ 2220 w 10000"/>
              <a:gd name="connsiteY29" fmla="*/ 8779 h 10000"/>
              <a:gd name="connsiteX30" fmla="*/ 1677 w 10000"/>
              <a:gd name="connsiteY30" fmla="*/ 9187 h 10000"/>
              <a:gd name="connsiteX31" fmla="*/ 1677 w 10000"/>
              <a:gd name="connsiteY31" fmla="*/ 8373 h 10000"/>
              <a:gd name="connsiteX32" fmla="*/ 1487 w 10000"/>
              <a:gd name="connsiteY32" fmla="*/ 8373 h 10000"/>
              <a:gd name="connsiteX33" fmla="*/ 1299 w 10000"/>
              <a:gd name="connsiteY33" fmla="*/ 7195 h 10000"/>
              <a:gd name="connsiteX34" fmla="*/ 1112 w 10000"/>
              <a:gd name="connsiteY34" fmla="*/ 7195 h 10000"/>
              <a:gd name="connsiteX35" fmla="*/ 1487 w 10000"/>
              <a:gd name="connsiteY35" fmla="*/ 7195 h 10000"/>
              <a:gd name="connsiteX36" fmla="*/ 1299 w 10000"/>
              <a:gd name="connsiteY36" fmla="*/ 6789 h 10000"/>
              <a:gd name="connsiteX37" fmla="*/ 1487 w 10000"/>
              <a:gd name="connsiteY37" fmla="*/ 6381 h 10000"/>
              <a:gd name="connsiteX38" fmla="*/ 2220 w 10000"/>
              <a:gd name="connsiteY38" fmla="*/ 6381 h 10000"/>
              <a:gd name="connsiteX39" fmla="*/ 2035 w 10000"/>
              <a:gd name="connsiteY39" fmla="*/ 5203 h 10000"/>
              <a:gd name="connsiteX40" fmla="*/ 1677 w 10000"/>
              <a:gd name="connsiteY40" fmla="*/ 4796 h 10000"/>
              <a:gd name="connsiteX41" fmla="*/ 1299 w 10000"/>
              <a:gd name="connsiteY41" fmla="*/ 4390 h 10000"/>
              <a:gd name="connsiteX42" fmla="*/ 735 w 10000"/>
              <a:gd name="connsiteY42" fmla="*/ 5203 h 10000"/>
              <a:gd name="connsiteX43" fmla="*/ 564 w 10000"/>
              <a:gd name="connsiteY43" fmla="*/ 5203 h 10000"/>
              <a:gd name="connsiteX44" fmla="*/ 735 w 10000"/>
              <a:gd name="connsiteY44" fmla="*/ 4796 h 10000"/>
              <a:gd name="connsiteX45" fmla="*/ 564 w 10000"/>
              <a:gd name="connsiteY45" fmla="*/ 3982 h 10000"/>
              <a:gd name="connsiteX46" fmla="*/ 189 w 10000"/>
              <a:gd name="connsiteY46" fmla="*/ 3982 h 10000"/>
              <a:gd name="connsiteX47" fmla="*/ 0 w 10000"/>
              <a:gd name="connsiteY47" fmla="*/ 3171 h 10000"/>
              <a:gd name="connsiteX48" fmla="*/ 189 w 10000"/>
              <a:gd name="connsiteY48" fmla="*/ 1178 h 10000"/>
              <a:gd name="connsiteX49" fmla="*/ 564 w 10000"/>
              <a:gd name="connsiteY49" fmla="*/ 1992 h 10000"/>
              <a:gd name="connsiteX50" fmla="*/ 735 w 10000"/>
              <a:gd name="connsiteY50" fmla="*/ 1992 h 10000"/>
              <a:gd name="connsiteX51" fmla="*/ 564 w 10000"/>
              <a:gd name="connsiteY51" fmla="*/ 1178 h 10000"/>
              <a:gd name="connsiteX52" fmla="*/ 1112 w 10000"/>
              <a:gd name="connsiteY52" fmla="*/ 0 h 10000"/>
              <a:gd name="connsiteX53" fmla="*/ 1487 w 10000"/>
              <a:gd name="connsiteY53" fmla="*/ 365 h 10000"/>
              <a:gd name="connsiteX54" fmla="*/ 1677 w 10000"/>
              <a:gd name="connsiteY54" fmla="*/ 0 h 10000"/>
              <a:gd name="connsiteX55" fmla="*/ 2035 w 10000"/>
              <a:gd name="connsiteY55" fmla="*/ 365 h 10000"/>
              <a:gd name="connsiteX56" fmla="*/ 2598 w 10000"/>
              <a:gd name="connsiteY56" fmla="*/ 1178 h 10000"/>
              <a:gd name="connsiteX57" fmla="*/ 2955 w 10000"/>
              <a:gd name="connsiteY57" fmla="*/ 772 h 10000"/>
              <a:gd name="connsiteX58" fmla="*/ 3334 w 10000"/>
              <a:gd name="connsiteY58" fmla="*/ 772 h 10000"/>
              <a:gd name="connsiteX59" fmla="*/ 3521 w 10000"/>
              <a:gd name="connsiteY59" fmla="*/ 1178 h 10000"/>
              <a:gd name="connsiteX0" fmla="*/ 10000 w 10000"/>
              <a:gd name="connsiteY0" fmla="*/ 8373 h 10000"/>
              <a:gd name="connsiteX1" fmla="*/ 9831 w 10000"/>
              <a:gd name="connsiteY1" fmla="*/ 8779 h 10000"/>
              <a:gd name="connsiteX2" fmla="*/ 9452 w 10000"/>
              <a:gd name="connsiteY2" fmla="*/ 8373 h 10000"/>
              <a:gd name="connsiteX3" fmla="*/ 8343 w 10000"/>
              <a:gd name="connsiteY3" fmla="*/ 8373 h 10000"/>
              <a:gd name="connsiteX4" fmla="*/ 7964 w 10000"/>
              <a:gd name="connsiteY4" fmla="*/ 8007 h 10000"/>
              <a:gd name="connsiteX5" fmla="*/ 7778 w 10000"/>
              <a:gd name="connsiteY5" fmla="*/ 8373 h 10000"/>
              <a:gd name="connsiteX6" fmla="*/ 7778 w 10000"/>
              <a:gd name="connsiteY6" fmla="*/ 8779 h 10000"/>
              <a:gd name="connsiteX7" fmla="*/ 7231 w 10000"/>
              <a:gd name="connsiteY7" fmla="*/ 8373 h 10000"/>
              <a:gd name="connsiteX8" fmla="*/ 7044 w 10000"/>
              <a:gd name="connsiteY8" fmla="*/ 8779 h 10000"/>
              <a:gd name="connsiteX9" fmla="*/ 6477 w 10000"/>
              <a:gd name="connsiteY9" fmla="*/ 10000 h 10000"/>
              <a:gd name="connsiteX10" fmla="*/ 6308 w 10000"/>
              <a:gd name="connsiteY10" fmla="*/ 9593 h 10000"/>
              <a:gd name="connsiteX11" fmla="*/ 5932 w 10000"/>
              <a:gd name="connsiteY11" fmla="*/ 9593 h 10000"/>
              <a:gd name="connsiteX12" fmla="*/ 5932 w 10000"/>
              <a:gd name="connsiteY12" fmla="*/ 9187 h 10000"/>
              <a:gd name="connsiteX13" fmla="*/ 5743 w 10000"/>
              <a:gd name="connsiteY13" fmla="*/ 9187 h 10000"/>
              <a:gd name="connsiteX14" fmla="*/ 5743 w 10000"/>
              <a:gd name="connsiteY14" fmla="*/ 8373 h 10000"/>
              <a:gd name="connsiteX15" fmla="*/ 5367 w 10000"/>
              <a:gd name="connsiteY15" fmla="*/ 7601 h 10000"/>
              <a:gd name="connsiteX16" fmla="*/ 4463 w 10000"/>
              <a:gd name="connsiteY16" fmla="*/ 7561 h 10000"/>
              <a:gd name="connsiteX17" fmla="*/ 4199 w 10000"/>
              <a:gd name="connsiteY17" fmla="*/ 6869 h 10000"/>
              <a:gd name="connsiteX18" fmla="*/ 4425 w 10000"/>
              <a:gd name="connsiteY18" fmla="*/ 6747 h 10000"/>
              <a:gd name="connsiteX19" fmla="*/ 4255 w 10000"/>
              <a:gd name="connsiteY19" fmla="*/ 5773 h 10000"/>
              <a:gd name="connsiteX20" fmla="*/ 4463 w 10000"/>
              <a:gd name="connsiteY20" fmla="*/ 5123 h 10000"/>
              <a:gd name="connsiteX21" fmla="*/ 3918 w 10000"/>
              <a:gd name="connsiteY21" fmla="*/ 5162 h 10000"/>
              <a:gd name="connsiteX22" fmla="*/ 3954 w 10000"/>
              <a:gd name="connsiteY22" fmla="*/ 5609 h 10000"/>
              <a:gd name="connsiteX23" fmla="*/ 3748 w 10000"/>
              <a:gd name="connsiteY23" fmla="*/ 6016 h 10000"/>
              <a:gd name="connsiteX24" fmla="*/ 3503 w 10000"/>
              <a:gd name="connsiteY24" fmla="*/ 5975 h 10000"/>
              <a:gd name="connsiteX25" fmla="*/ 2787 w 10000"/>
              <a:gd name="connsiteY25" fmla="*/ 6381 h 10000"/>
              <a:gd name="connsiteX26" fmla="*/ 2787 w 10000"/>
              <a:gd name="connsiteY26" fmla="*/ 9593 h 10000"/>
              <a:gd name="connsiteX27" fmla="*/ 2598 w 10000"/>
              <a:gd name="connsiteY27" fmla="*/ 9593 h 10000"/>
              <a:gd name="connsiteX28" fmla="*/ 2220 w 10000"/>
              <a:gd name="connsiteY28" fmla="*/ 8779 h 10000"/>
              <a:gd name="connsiteX29" fmla="*/ 1677 w 10000"/>
              <a:gd name="connsiteY29" fmla="*/ 9187 h 10000"/>
              <a:gd name="connsiteX30" fmla="*/ 1677 w 10000"/>
              <a:gd name="connsiteY30" fmla="*/ 8373 h 10000"/>
              <a:gd name="connsiteX31" fmla="*/ 1487 w 10000"/>
              <a:gd name="connsiteY31" fmla="*/ 8373 h 10000"/>
              <a:gd name="connsiteX32" fmla="*/ 1299 w 10000"/>
              <a:gd name="connsiteY32" fmla="*/ 7195 h 10000"/>
              <a:gd name="connsiteX33" fmla="*/ 1112 w 10000"/>
              <a:gd name="connsiteY33" fmla="*/ 7195 h 10000"/>
              <a:gd name="connsiteX34" fmla="*/ 1487 w 10000"/>
              <a:gd name="connsiteY34" fmla="*/ 7195 h 10000"/>
              <a:gd name="connsiteX35" fmla="*/ 1299 w 10000"/>
              <a:gd name="connsiteY35" fmla="*/ 6789 h 10000"/>
              <a:gd name="connsiteX36" fmla="*/ 1487 w 10000"/>
              <a:gd name="connsiteY36" fmla="*/ 6381 h 10000"/>
              <a:gd name="connsiteX37" fmla="*/ 2220 w 10000"/>
              <a:gd name="connsiteY37" fmla="*/ 6381 h 10000"/>
              <a:gd name="connsiteX38" fmla="*/ 2035 w 10000"/>
              <a:gd name="connsiteY38" fmla="*/ 5203 h 10000"/>
              <a:gd name="connsiteX39" fmla="*/ 1677 w 10000"/>
              <a:gd name="connsiteY39" fmla="*/ 4796 h 10000"/>
              <a:gd name="connsiteX40" fmla="*/ 1299 w 10000"/>
              <a:gd name="connsiteY40" fmla="*/ 4390 h 10000"/>
              <a:gd name="connsiteX41" fmla="*/ 735 w 10000"/>
              <a:gd name="connsiteY41" fmla="*/ 5203 h 10000"/>
              <a:gd name="connsiteX42" fmla="*/ 564 w 10000"/>
              <a:gd name="connsiteY42" fmla="*/ 5203 h 10000"/>
              <a:gd name="connsiteX43" fmla="*/ 735 w 10000"/>
              <a:gd name="connsiteY43" fmla="*/ 4796 h 10000"/>
              <a:gd name="connsiteX44" fmla="*/ 564 w 10000"/>
              <a:gd name="connsiteY44" fmla="*/ 3982 h 10000"/>
              <a:gd name="connsiteX45" fmla="*/ 189 w 10000"/>
              <a:gd name="connsiteY45" fmla="*/ 3982 h 10000"/>
              <a:gd name="connsiteX46" fmla="*/ 0 w 10000"/>
              <a:gd name="connsiteY46" fmla="*/ 3171 h 10000"/>
              <a:gd name="connsiteX47" fmla="*/ 189 w 10000"/>
              <a:gd name="connsiteY47" fmla="*/ 1178 h 10000"/>
              <a:gd name="connsiteX48" fmla="*/ 564 w 10000"/>
              <a:gd name="connsiteY48" fmla="*/ 1992 h 10000"/>
              <a:gd name="connsiteX49" fmla="*/ 735 w 10000"/>
              <a:gd name="connsiteY49" fmla="*/ 1992 h 10000"/>
              <a:gd name="connsiteX50" fmla="*/ 564 w 10000"/>
              <a:gd name="connsiteY50" fmla="*/ 1178 h 10000"/>
              <a:gd name="connsiteX51" fmla="*/ 1112 w 10000"/>
              <a:gd name="connsiteY51" fmla="*/ 0 h 10000"/>
              <a:gd name="connsiteX52" fmla="*/ 1487 w 10000"/>
              <a:gd name="connsiteY52" fmla="*/ 365 h 10000"/>
              <a:gd name="connsiteX53" fmla="*/ 1677 w 10000"/>
              <a:gd name="connsiteY53" fmla="*/ 0 h 10000"/>
              <a:gd name="connsiteX54" fmla="*/ 2035 w 10000"/>
              <a:gd name="connsiteY54" fmla="*/ 365 h 10000"/>
              <a:gd name="connsiteX55" fmla="*/ 2598 w 10000"/>
              <a:gd name="connsiteY55" fmla="*/ 1178 h 10000"/>
              <a:gd name="connsiteX56" fmla="*/ 2955 w 10000"/>
              <a:gd name="connsiteY56" fmla="*/ 772 h 10000"/>
              <a:gd name="connsiteX57" fmla="*/ 3334 w 10000"/>
              <a:gd name="connsiteY57" fmla="*/ 772 h 10000"/>
              <a:gd name="connsiteX58" fmla="*/ 3521 w 10000"/>
              <a:gd name="connsiteY58" fmla="*/ 1178 h 10000"/>
              <a:gd name="connsiteX0" fmla="*/ 9831 w 9831"/>
              <a:gd name="connsiteY0" fmla="*/ 8779 h 10000"/>
              <a:gd name="connsiteX1" fmla="*/ 9452 w 9831"/>
              <a:gd name="connsiteY1" fmla="*/ 8373 h 10000"/>
              <a:gd name="connsiteX2" fmla="*/ 8343 w 9831"/>
              <a:gd name="connsiteY2" fmla="*/ 8373 h 10000"/>
              <a:gd name="connsiteX3" fmla="*/ 7964 w 9831"/>
              <a:gd name="connsiteY3" fmla="*/ 8007 h 10000"/>
              <a:gd name="connsiteX4" fmla="*/ 7778 w 9831"/>
              <a:gd name="connsiteY4" fmla="*/ 8373 h 10000"/>
              <a:gd name="connsiteX5" fmla="*/ 7778 w 9831"/>
              <a:gd name="connsiteY5" fmla="*/ 8779 h 10000"/>
              <a:gd name="connsiteX6" fmla="*/ 7231 w 9831"/>
              <a:gd name="connsiteY6" fmla="*/ 8373 h 10000"/>
              <a:gd name="connsiteX7" fmla="*/ 7044 w 9831"/>
              <a:gd name="connsiteY7" fmla="*/ 8779 h 10000"/>
              <a:gd name="connsiteX8" fmla="*/ 6477 w 9831"/>
              <a:gd name="connsiteY8" fmla="*/ 10000 h 10000"/>
              <a:gd name="connsiteX9" fmla="*/ 6308 w 9831"/>
              <a:gd name="connsiteY9" fmla="*/ 9593 h 10000"/>
              <a:gd name="connsiteX10" fmla="*/ 5932 w 9831"/>
              <a:gd name="connsiteY10" fmla="*/ 9593 h 10000"/>
              <a:gd name="connsiteX11" fmla="*/ 5932 w 9831"/>
              <a:gd name="connsiteY11" fmla="*/ 9187 h 10000"/>
              <a:gd name="connsiteX12" fmla="*/ 5743 w 9831"/>
              <a:gd name="connsiteY12" fmla="*/ 9187 h 10000"/>
              <a:gd name="connsiteX13" fmla="*/ 5743 w 9831"/>
              <a:gd name="connsiteY13" fmla="*/ 8373 h 10000"/>
              <a:gd name="connsiteX14" fmla="*/ 5367 w 9831"/>
              <a:gd name="connsiteY14" fmla="*/ 7601 h 10000"/>
              <a:gd name="connsiteX15" fmla="*/ 4463 w 9831"/>
              <a:gd name="connsiteY15" fmla="*/ 7561 h 10000"/>
              <a:gd name="connsiteX16" fmla="*/ 4199 w 9831"/>
              <a:gd name="connsiteY16" fmla="*/ 6869 h 10000"/>
              <a:gd name="connsiteX17" fmla="*/ 4425 w 9831"/>
              <a:gd name="connsiteY17" fmla="*/ 6747 h 10000"/>
              <a:gd name="connsiteX18" fmla="*/ 4255 w 9831"/>
              <a:gd name="connsiteY18" fmla="*/ 5773 h 10000"/>
              <a:gd name="connsiteX19" fmla="*/ 4463 w 9831"/>
              <a:gd name="connsiteY19" fmla="*/ 5123 h 10000"/>
              <a:gd name="connsiteX20" fmla="*/ 3918 w 9831"/>
              <a:gd name="connsiteY20" fmla="*/ 5162 h 10000"/>
              <a:gd name="connsiteX21" fmla="*/ 3954 w 9831"/>
              <a:gd name="connsiteY21" fmla="*/ 5609 h 10000"/>
              <a:gd name="connsiteX22" fmla="*/ 3748 w 9831"/>
              <a:gd name="connsiteY22" fmla="*/ 6016 h 10000"/>
              <a:gd name="connsiteX23" fmla="*/ 3503 w 9831"/>
              <a:gd name="connsiteY23" fmla="*/ 5975 h 10000"/>
              <a:gd name="connsiteX24" fmla="*/ 2787 w 9831"/>
              <a:gd name="connsiteY24" fmla="*/ 6381 h 10000"/>
              <a:gd name="connsiteX25" fmla="*/ 2787 w 9831"/>
              <a:gd name="connsiteY25" fmla="*/ 9593 h 10000"/>
              <a:gd name="connsiteX26" fmla="*/ 2598 w 9831"/>
              <a:gd name="connsiteY26" fmla="*/ 9593 h 10000"/>
              <a:gd name="connsiteX27" fmla="*/ 2220 w 9831"/>
              <a:gd name="connsiteY27" fmla="*/ 8779 h 10000"/>
              <a:gd name="connsiteX28" fmla="*/ 1677 w 9831"/>
              <a:gd name="connsiteY28" fmla="*/ 9187 h 10000"/>
              <a:gd name="connsiteX29" fmla="*/ 1677 w 9831"/>
              <a:gd name="connsiteY29" fmla="*/ 8373 h 10000"/>
              <a:gd name="connsiteX30" fmla="*/ 1487 w 9831"/>
              <a:gd name="connsiteY30" fmla="*/ 8373 h 10000"/>
              <a:gd name="connsiteX31" fmla="*/ 1299 w 9831"/>
              <a:gd name="connsiteY31" fmla="*/ 7195 h 10000"/>
              <a:gd name="connsiteX32" fmla="*/ 1112 w 9831"/>
              <a:gd name="connsiteY32" fmla="*/ 7195 h 10000"/>
              <a:gd name="connsiteX33" fmla="*/ 1487 w 9831"/>
              <a:gd name="connsiteY33" fmla="*/ 7195 h 10000"/>
              <a:gd name="connsiteX34" fmla="*/ 1299 w 9831"/>
              <a:gd name="connsiteY34" fmla="*/ 6789 h 10000"/>
              <a:gd name="connsiteX35" fmla="*/ 1487 w 9831"/>
              <a:gd name="connsiteY35" fmla="*/ 6381 h 10000"/>
              <a:gd name="connsiteX36" fmla="*/ 2220 w 9831"/>
              <a:gd name="connsiteY36" fmla="*/ 6381 h 10000"/>
              <a:gd name="connsiteX37" fmla="*/ 2035 w 9831"/>
              <a:gd name="connsiteY37" fmla="*/ 5203 h 10000"/>
              <a:gd name="connsiteX38" fmla="*/ 1677 w 9831"/>
              <a:gd name="connsiteY38" fmla="*/ 4796 h 10000"/>
              <a:gd name="connsiteX39" fmla="*/ 1299 w 9831"/>
              <a:gd name="connsiteY39" fmla="*/ 4390 h 10000"/>
              <a:gd name="connsiteX40" fmla="*/ 735 w 9831"/>
              <a:gd name="connsiteY40" fmla="*/ 5203 h 10000"/>
              <a:gd name="connsiteX41" fmla="*/ 564 w 9831"/>
              <a:gd name="connsiteY41" fmla="*/ 5203 h 10000"/>
              <a:gd name="connsiteX42" fmla="*/ 735 w 9831"/>
              <a:gd name="connsiteY42" fmla="*/ 4796 h 10000"/>
              <a:gd name="connsiteX43" fmla="*/ 564 w 9831"/>
              <a:gd name="connsiteY43" fmla="*/ 3982 h 10000"/>
              <a:gd name="connsiteX44" fmla="*/ 189 w 9831"/>
              <a:gd name="connsiteY44" fmla="*/ 3982 h 10000"/>
              <a:gd name="connsiteX45" fmla="*/ 0 w 9831"/>
              <a:gd name="connsiteY45" fmla="*/ 3171 h 10000"/>
              <a:gd name="connsiteX46" fmla="*/ 189 w 9831"/>
              <a:gd name="connsiteY46" fmla="*/ 1178 h 10000"/>
              <a:gd name="connsiteX47" fmla="*/ 564 w 9831"/>
              <a:gd name="connsiteY47" fmla="*/ 1992 h 10000"/>
              <a:gd name="connsiteX48" fmla="*/ 735 w 9831"/>
              <a:gd name="connsiteY48" fmla="*/ 1992 h 10000"/>
              <a:gd name="connsiteX49" fmla="*/ 564 w 9831"/>
              <a:gd name="connsiteY49" fmla="*/ 1178 h 10000"/>
              <a:gd name="connsiteX50" fmla="*/ 1112 w 9831"/>
              <a:gd name="connsiteY50" fmla="*/ 0 h 10000"/>
              <a:gd name="connsiteX51" fmla="*/ 1487 w 9831"/>
              <a:gd name="connsiteY51" fmla="*/ 365 h 10000"/>
              <a:gd name="connsiteX52" fmla="*/ 1677 w 9831"/>
              <a:gd name="connsiteY52" fmla="*/ 0 h 10000"/>
              <a:gd name="connsiteX53" fmla="*/ 2035 w 9831"/>
              <a:gd name="connsiteY53" fmla="*/ 365 h 10000"/>
              <a:gd name="connsiteX54" fmla="*/ 2598 w 9831"/>
              <a:gd name="connsiteY54" fmla="*/ 1178 h 10000"/>
              <a:gd name="connsiteX55" fmla="*/ 2955 w 9831"/>
              <a:gd name="connsiteY55" fmla="*/ 772 h 10000"/>
              <a:gd name="connsiteX56" fmla="*/ 3334 w 9831"/>
              <a:gd name="connsiteY56" fmla="*/ 772 h 10000"/>
              <a:gd name="connsiteX57" fmla="*/ 3521 w 9831"/>
              <a:gd name="connsiteY57" fmla="*/ 1178 h 10000"/>
              <a:gd name="connsiteX0" fmla="*/ 9614 w 9614"/>
              <a:gd name="connsiteY0" fmla="*/ 8373 h 10000"/>
              <a:gd name="connsiteX1" fmla="*/ 8486 w 9614"/>
              <a:gd name="connsiteY1" fmla="*/ 8373 h 10000"/>
              <a:gd name="connsiteX2" fmla="*/ 8101 w 9614"/>
              <a:gd name="connsiteY2" fmla="*/ 8007 h 10000"/>
              <a:gd name="connsiteX3" fmla="*/ 7912 w 9614"/>
              <a:gd name="connsiteY3" fmla="*/ 8373 h 10000"/>
              <a:gd name="connsiteX4" fmla="*/ 7912 w 9614"/>
              <a:gd name="connsiteY4" fmla="*/ 8779 h 10000"/>
              <a:gd name="connsiteX5" fmla="*/ 7355 w 9614"/>
              <a:gd name="connsiteY5" fmla="*/ 8373 h 10000"/>
              <a:gd name="connsiteX6" fmla="*/ 7165 w 9614"/>
              <a:gd name="connsiteY6" fmla="*/ 8779 h 10000"/>
              <a:gd name="connsiteX7" fmla="*/ 6588 w 9614"/>
              <a:gd name="connsiteY7" fmla="*/ 10000 h 10000"/>
              <a:gd name="connsiteX8" fmla="*/ 6416 w 9614"/>
              <a:gd name="connsiteY8" fmla="*/ 9593 h 10000"/>
              <a:gd name="connsiteX9" fmla="*/ 6034 w 9614"/>
              <a:gd name="connsiteY9" fmla="*/ 9593 h 10000"/>
              <a:gd name="connsiteX10" fmla="*/ 6034 w 9614"/>
              <a:gd name="connsiteY10" fmla="*/ 9187 h 10000"/>
              <a:gd name="connsiteX11" fmla="*/ 5842 w 9614"/>
              <a:gd name="connsiteY11" fmla="*/ 9187 h 10000"/>
              <a:gd name="connsiteX12" fmla="*/ 5842 w 9614"/>
              <a:gd name="connsiteY12" fmla="*/ 8373 h 10000"/>
              <a:gd name="connsiteX13" fmla="*/ 5459 w 9614"/>
              <a:gd name="connsiteY13" fmla="*/ 7601 h 10000"/>
              <a:gd name="connsiteX14" fmla="*/ 4540 w 9614"/>
              <a:gd name="connsiteY14" fmla="*/ 7561 h 10000"/>
              <a:gd name="connsiteX15" fmla="*/ 4271 w 9614"/>
              <a:gd name="connsiteY15" fmla="*/ 6869 h 10000"/>
              <a:gd name="connsiteX16" fmla="*/ 4501 w 9614"/>
              <a:gd name="connsiteY16" fmla="*/ 6747 h 10000"/>
              <a:gd name="connsiteX17" fmla="*/ 4328 w 9614"/>
              <a:gd name="connsiteY17" fmla="*/ 5773 h 10000"/>
              <a:gd name="connsiteX18" fmla="*/ 4540 w 9614"/>
              <a:gd name="connsiteY18" fmla="*/ 5123 h 10000"/>
              <a:gd name="connsiteX19" fmla="*/ 3985 w 9614"/>
              <a:gd name="connsiteY19" fmla="*/ 5162 h 10000"/>
              <a:gd name="connsiteX20" fmla="*/ 4022 w 9614"/>
              <a:gd name="connsiteY20" fmla="*/ 5609 h 10000"/>
              <a:gd name="connsiteX21" fmla="*/ 3812 w 9614"/>
              <a:gd name="connsiteY21" fmla="*/ 6016 h 10000"/>
              <a:gd name="connsiteX22" fmla="*/ 3563 w 9614"/>
              <a:gd name="connsiteY22" fmla="*/ 5975 h 10000"/>
              <a:gd name="connsiteX23" fmla="*/ 2835 w 9614"/>
              <a:gd name="connsiteY23" fmla="*/ 6381 h 10000"/>
              <a:gd name="connsiteX24" fmla="*/ 2835 w 9614"/>
              <a:gd name="connsiteY24" fmla="*/ 9593 h 10000"/>
              <a:gd name="connsiteX25" fmla="*/ 2643 w 9614"/>
              <a:gd name="connsiteY25" fmla="*/ 9593 h 10000"/>
              <a:gd name="connsiteX26" fmla="*/ 2258 w 9614"/>
              <a:gd name="connsiteY26" fmla="*/ 8779 h 10000"/>
              <a:gd name="connsiteX27" fmla="*/ 1706 w 9614"/>
              <a:gd name="connsiteY27" fmla="*/ 9187 h 10000"/>
              <a:gd name="connsiteX28" fmla="*/ 1706 w 9614"/>
              <a:gd name="connsiteY28" fmla="*/ 8373 h 10000"/>
              <a:gd name="connsiteX29" fmla="*/ 1513 w 9614"/>
              <a:gd name="connsiteY29" fmla="*/ 8373 h 10000"/>
              <a:gd name="connsiteX30" fmla="*/ 1321 w 9614"/>
              <a:gd name="connsiteY30" fmla="*/ 7195 h 10000"/>
              <a:gd name="connsiteX31" fmla="*/ 1131 w 9614"/>
              <a:gd name="connsiteY31" fmla="*/ 7195 h 10000"/>
              <a:gd name="connsiteX32" fmla="*/ 1513 w 9614"/>
              <a:gd name="connsiteY32" fmla="*/ 7195 h 10000"/>
              <a:gd name="connsiteX33" fmla="*/ 1321 w 9614"/>
              <a:gd name="connsiteY33" fmla="*/ 6789 h 10000"/>
              <a:gd name="connsiteX34" fmla="*/ 1513 w 9614"/>
              <a:gd name="connsiteY34" fmla="*/ 6381 h 10000"/>
              <a:gd name="connsiteX35" fmla="*/ 2258 w 9614"/>
              <a:gd name="connsiteY35" fmla="*/ 6381 h 10000"/>
              <a:gd name="connsiteX36" fmla="*/ 2070 w 9614"/>
              <a:gd name="connsiteY36" fmla="*/ 5203 h 10000"/>
              <a:gd name="connsiteX37" fmla="*/ 1706 w 9614"/>
              <a:gd name="connsiteY37" fmla="*/ 4796 h 10000"/>
              <a:gd name="connsiteX38" fmla="*/ 1321 w 9614"/>
              <a:gd name="connsiteY38" fmla="*/ 4390 h 10000"/>
              <a:gd name="connsiteX39" fmla="*/ 748 w 9614"/>
              <a:gd name="connsiteY39" fmla="*/ 5203 h 10000"/>
              <a:gd name="connsiteX40" fmla="*/ 574 w 9614"/>
              <a:gd name="connsiteY40" fmla="*/ 5203 h 10000"/>
              <a:gd name="connsiteX41" fmla="*/ 748 w 9614"/>
              <a:gd name="connsiteY41" fmla="*/ 4796 h 10000"/>
              <a:gd name="connsiteX42" fmla="*/ 574 w 9614"/>
              <a:gd name="connsiteY42" fmla="*/ 3982 h 10000"/>
              <a:gd name="connsiteX43" fmla="*/ 192 w 9614"/>
              <a:gd name="connsiteY43" fmla="*/ 3982 h 10000"/>
              <a:gd name="connsiteX44" fmla="*/ 0 w 9614"/>
              <a:gd name="connsiteY44" fmla="*/ 3171 h 10000"/>
              <a:gd name="connsiteX45" fmla="*/ 192 w 9614"/>
              <a:gd name="connsiteY45" fmla="*/ 1178 h 10000"/>
              <a:gd name="connsiteX46" fmla="*/ 574 w 9614"/>
              <a:gd name="connsiteY46" fmla="*/ 1992 h 10000"/>
              <a:gd name="connsiteX47" fmla="*/ 748 w 9614"/>
              <a:gd name="connsiteY47" fmla="*/ 1992 h 10000"/>
              <a:gd name="connsiteX48" fmla="*/ 574 w 9614"/>
              <a:gd name="connsiteY48" fmla="*/ 1178 h 10000"/>
              <a:gd name="connsiteX49" fmla="*/ 1131 w 9614"/>
              <a:gd name="connsiteY49" fmla="*/ 0 h 10000"/>
              <a:gd name="connsiteX50" fmla="*/ 1513 w 9614"/>
              <a:gd name="connsiteY50" fmla="*/ 365 h 10000"/>
              <a:gd name="connsiteX51" fmla="*/ 1706 w 9614"/>
              <a:gd name="connsiteY51" fmla="*/ 0 h 10000"/>
              <a:gd name="connsiteX52" fmla="*/ 2070 w 9614"/>
              <a:gd name="connsiteY52" fmla="*/ 365 h 10000"/>
              <a:gd name="connsiteX53" fmla="*/ 2643 w 9614"/>
              <a:gd name="connsiteY53" fmla="*/ 1178 h 10000"/>
              <a:gd name="connsiteX54" fmla="*/ 3006 w 9614"/>
              <a:gd name="connsiteY54" fmla="*/ 772 h 10000"/>
              <a:gd name="connsiteX55" fmla="*/ 3391 w 9614"/>
              <a:gd name="connsiteY55" fmla="*/ 772 h 10000"/>
              <a:gd name="connsiteX56" fmla="*/ 3582 w 9614"/>
              <a:gd name="connsiteY56" fmla="*/ 1178 h 10000"/>
              <a:gd name="connsiteX0" fmla="*/ 8827 w 8827"/>
              <a:gd name="connsiteY0" fmla="*/ 8373 h 10000"/>
              <a:gd name="connsiteX1" fmla="*/ 8426 w 8827"/>
              <a:gd name="connsiteY1" fmla="*/ 8007 h 10000"/>
              <a:gd name="connsiteX2" fmla="*/ 8230 w 8827"/>
              <a:gd name="connsiteY2" fmla="*/ 8373 h 10000"/>
              <a:gd name="connsiteX3" fmla="*/ 8230 w 8827"/>
              <a:gd name="connsiteY3" fmla="*/ 8779 h 10000"/>
              <a:gd name="connsiteX4" fmla="*/ 7650 w 8827"/>
              <a:gd name="connsiteY4" fmla="*/ 8373 h 10000"/>
              <a:gd name="connsiteX5" fmla="*/ 7453 w 8827"/>
              <a:gd name="connsiteY5" fmla="*/ 8779 h 10000"/>
              <a:gd name="connsiteX6" fmla="*/ 6853 w 8827"/>
              <a:gd name="connsiteY6" fmla="*/ 10000 h 10000"/>
              <a:gd name="connsiteX7" fmla="*/ 6674 w 8827"/>
              <a:gd name="connsiteY7" fmla="*/ 9593 h 10000"/>
              <a:gd name="connsiteX8" fmla="*/ 6276 w 8827"/>
              <a:gd name="connsiteY8" fmla="*/ 9593 h 10000"/>
              <a:gd name="connsiteX9" fmla="*/ 6276 w 8827"/>
              <a:gd name="connsiteY9" fmla="*/ 9187 h 10000"/>
              <a:gd name="connsiteX10" fmla="*/ 6077 w 8827"/>
              <a:gd name="connsiteY10" fmla="*/ 9187 h 10000"/>
              <a:gd name="connsiteX11" fmla="*/ 6077 w 8827"/>
              <a:gd name="connsiteY11" fmla="*/ 8373 h 10000"/>
              <a:gd name="connsiteX12" fmla="*/ 5678 w 8827"/>
              <a:gd name="connsiteY12" fmla="*/ 7601 h 10000"/>
              <a:gd name="connsiteX13" fmla="*/ 4722 w 8827"/>
              <a:gd name="connsiteY13" fmla="*/ 7561 h 10000"/>
              <a:gd name="connsiteX14" fmla="*/ 4442 w 8827"/>
              <a:gd name="connsiteY14" fmla="*/ 6869 h 10000"/>
              <a:gd name="connsiteX15" fmla="*/ 4682 w 8827"/>
              <a:gd name="connsiteY15" fmla="*/ 6747 h 10000"/>
              <a:gd name="connsiteX16" fmla="*/ 4502 w 8827"/>
              <a:gd name="connsiteY16" fmla="*/ 5773 h 10000"/>
              <a:gd name="connsiteX17" fmla="*/ 4722 w 8827"/>
              <a:gd name="connsiteY17" fmla="*/ 5123 h 10000"/>
              <a:gd name="connsiteX18" fmla="*/ 4145 w 8827"/>
              <a:gd name="connsiteY18" fmla="*/ 5162 h 10000"/>
              <a:gd name="connsiteX19" fmla="*/ 4183 w 8827"/>
              <a:gd name="connsiteY19" fmla="*/ 5609 h 10000"/>
              <a:gd name="connsiteX20" fmla="*/ 3965 w 8827"/>
              <a:gd name="connsiteY20" fmla="*/ 6016 h 10000"/>
              <a:gd name="connsiteX21" fmla="*/ 3706 w 8827"/>
              <a:gd name="connsiteY21" fmla="*/ 5975 h 10000"/>
              <a:gd name="connsiteX22" fmla="*/ 2949 w 8827"/>
              <a:gd name="connsiteY22" fmla="*/ 6381 h 10000"/>
              <a:gd name="connsiteX23" fmla="*/ 2949 w 8827"/>
              <a:gd name="connsiteY23" fmla="*/ 9593 h 10000"/>
              <a:gd name="connsiteX24" fmla="*/ 2749 w 8827"/>
              <a:gd name="connsiteY24" fmla="*/ 9593 h 10000"/>
              <a:gd name="connsiteX25" fmla="*/ 2349 w 8827"/>
              <a:gd name="connsiteY25" fmla="*/ 8779 h 10000"/>
              <a:gd name="connsiteX26" fmla="*/ 1774 w 8827"/>
              <a:gd name="connsiteY26" fmla="*/ 9187 h 10000"/>
              <a:gd name="connsiteX27" fmla="*/ 1774 w 8827"/>
              <a:gd name="connsiteY27" fmla="*/ 8373 h 10000"/>
              <a:gd name="connsiteX28" fmla="*/ 1574 w 8827"/>
              <a:gd name="connsiteY28" fmla="*/ 8373 h 10000"/>
              <a:gd name="connsiteX29" fmla="*/ 1374 w 8827"/>
              <a:gd name="connsiteY29" fmla="*/ 7195 h 10000"/>
              <a:gd name="connsiteX30" fmla="*/ 1176 w 8827"/>
              <a:gd name="connsiteY30" fmla="*/ 7195 h 10000"/>
              <a:gd name="connsiteX31" fmla="*/ 1574 w 8827"/>
              <a:gd name="connsiteY31" fmla="*/ 7195 h 10000"/>
              <a:gd name="connsiteX32" fmla="*/ 1374 w 8827"/>
              <a:gd name="connsiteY32" fmla="*/ 6789 h 10000"/>
              <a:gd name="connsiteX33" fmla="*/ 1574 w 8827"/>
              <a:gd name="connsiteY33" fmla="*/ 6381 h 10000"/>
              <a:gd name="connsiteX34" fmla="*/ 2349 w 8827"/>
              <a:gd name="connsiteY34" fmla="*/ 6381 h 10000"/>
              <a:gd name="connsiteX35" fmla="*/ 2153 w 8827"/>
              <a:gd name="connsiteY35" fmla="*/ 5203 h 10000"/>
              <a:gd name="connsiteX36" fmla="*/ 1774 w 8827"/>
              <a:gd name="connsiteY36" fmla="*/ 4796 h 10000"/>
              <a:gd name="connsiteX37" fmla="*/ 1374 w 8827"/>
              <a:gd name="connsiteY37" fmla="*/ 4390 h 10000"/>
              <a:gd name="connsiteX38" fmla="*/ 778 w 8827"/>
              <a:gd name="connsiteY38" fmla="*/ 5203 h 10000"/>
              <a:gd name="connsiteX39" fmla="*/ 597 w 8827"/>
              <a:gd name="connsiteY39" fmla="*/ 5203 h 10000"/>
              <a:gd name="connsiteX40" fmla="*/ 778 w 8827"/>
              <a:gd name="connsiteY40" fmla="*/ 4796 h 10000"/>
              <a:gd name="connsiteX41" fmla="*/ 597 w 8827"/>
              <a:gd name="connsiteY41" fmla="*/ 3982 h 10000"/>
              <a:gd name="connsiteX42" fmla="*/ 200 w 8827"/>
              <a:gd name="connsiteY42" fmla="*/ 3982 h 10000"/>
              <a:gd name="connsiteX43" fmla="*/ 0 w 8827"/>
              <a:gd name="connsiteY43" fmla="*/ 3171 h 10000"/>
              <a:gd name="connsiteX44" fmla="*/ 200 w 8827"/>
              <a:gd name="connsiteY44" fmla="*/ 1178 h 10000"/>
              <a:gd name="connsiteX45" fmla="*/ 597 w 8827"/>
              <a:gd name="connsiteY45" fmla="*/ 1992 h 10000"/>
              <a:gd name="connsiteX46" fmla="*/ 778 w 8827"/>
              <a:gd name="connsiteY46" fmla="*/ 1992 h 10000"/>
              <a:gd name="connsiteX47" fmla="*/ 597 w 8827"/>
              <a:gd name="connsiteY47" fmla="*/ 1178 h 10000"/>
              <a:gd name="connsiteX48" fmla="*/ 1176 w 8827"/>
              <a:gd name="connsiteY48" fmla="*/ 0 h 10000"/>
              <a:gd name="connsiteX49" fmla="*/ 1574 w 8827"/>
              <a:gd name="connsiteY49" fmla="*/ 365 h 10000"/>
              <a:gd name="connsiteX50" fmla="*/ 1774 w 8827"/>
              <a:gd name="connsiteY50" fmla="*/ 0 h 10000"/>
              <a:gd name="connsiteX51" fmla="*/ 2153 w 8827"/>
              <a:gd name="connsiteY51" fmla="*/ 365 h 10000"/>
              <a:gd name="connsiteX52" fmla="*/ 2749 w 8827"/>
              <a:gd name="connsiteY52" fmla="*/ 1178 h 10000"/>
              <a:gd name="connsiteX53" fmla="*/ 3127 w 8827"/>
              <a:gd name="connsiteY53" fmla="*/ 772 h 10000"/>
              <a:gd name="connsiteX54" fmla="*/ 3527 w 8827"/>
              <a:gd name="connsiteY54" fmla="*/ 772 h 10000"/>
              <a:gd name="connsiteX55" fmla="*/ 3726 w 8827"/>
              <a:gd name="connsiteY55" fmla="*/ 1178 h 10000"/>
              <a:gd name="connsiteX0" fmla="*/ 9546 w 9546"/>
              <a:gd name="connsiteY0" fmla="*/ 8007 h 10000"/>
              <a:gd name="connsiteX1" fmla="*/ 9324 w 9546"/>
              <a:gd name="connsiteY1" fmla="*/ 8373 h 10000"/>
              <a:gd name="connsiteX2" fmla="*/ 9324 w 9546"/>
              <a:gd name="connsiteY2" fmla="*/ 8779 h 10000"/>
              <a:gd name="connsiteX3" fmla="*/ 8667 w 9546"/>
              <a:gd name="connsiteY3" fmla="*/ 8373 h 10000"/>
              <a:gd name="connsiteX4" fmla="*/ 8443 w 9546"/>
              <a:gd name="connsiteY4" fmla="*/ 8779 h 10000"/>
              <a:gd name="connsiteX5" fmla="*/ 7764 w 9546"/>
              <a:gd name="connsiteY5" fmla="*/ 10000 h 10000"/>
              <a:gd name="connsiteX6" fmla="*/ 7561 w 9546"/>
              <a:gd name="connsiteY6" fmla="*/ 9593 h 10000"/>
              <a:gd name="connsiteX7" fmla="*/ 7110 w 9546"/>
              <a:gd name="connsiteY7" fmla="*/ 9593 h 10000"/>
              <a:gd name="connsiteX8" fmla="*/ 7110 w 9546"/>
              <a:gd name="connsiteY8" fmla="*/ 9187 h 10000"/>
              <a:gd name="connsiteX9" fmla="*/ 6885 w 9546"/>
              <a:gd name="connsiteY9" fmla="*/ 9187 h 10000"/>
              <a:gd name="connsiteX10" fmla="*/ 6885 w 9546"/>
              <a:gd name="connsiteY10" fmla="*/ 8373 h 10000"/>
              <a:gd name="connsiteX11" fmla="*/ 6433 w 9546"/>
              <a:gd name="connsiteY11" fmla="*/ 7601 h 10000"/>
              <a:gd name="connsiteX12" fmla="*/ 5349 w 9546"/>
              <a:gd name="connsiteY12" fmla="*/ 7561 h 10000"/>
              <a:gd name="connsiteX13" fmla="*/ 5032 w 9546"/>
              <a:gd name="connsiteY13" fmla="*/ 6869 h 10000"/>
              <a:gd name="connsiteX14" fmla="*/ 5304 w 9546"/>
              <a:gd name="connsiteY14" fmla="*/ 6747 h 10000"/>
              <a:gd name="connsiteX15" fmla="*/ 5100 w 9546"/>
              <a:gd name="connsiteY15" fmla="*/ 5773 h 10000"/>
              <a:gd name="connsiteX16" fmla="*/ 5349 w 9546"/>
              <a:gd name="connsiteY16" fmla="*/ 5123 h 10000"/>
              <a:gd name="connsiteX17" fmla="*/ 4696 w 9546"/>
              <a:gd name="connsiteY17" fmla="*/ 5162 h 10000"/>
              <a:gd name="connsiteX18" fmla="*/ 4739 w 9546"/>
              <a:gd name="connsiteY18" fmla="*/ 5609 h 10000"/>
              <a:gd name="connsiteX19" fmla="*/ 4492 w 9546"/>
              <a:gd name="connsiteY19" fmla="*/ 6016 h 10000"/>
              <a:gd name="connsiteX20" fmla="*/ 4198 w 9546"/>
              <a:gd name="connsiteY20" fmla="*/ 5975 h 10000"/>
              <a:gd name="connsiteX21" fmla="*/ 3341 w 9546"/>
              <a:gd name="connsiteY21" fmla="*/ 6381 h 10000"/>
              <a:gd name="connsiteX22" fmla="*/ 3341 w 9546"/>
              <a:gd name="connsiteY22" fmla="*/ 9593 h 10000"/>
              <a:gd name="connsiteX23" fmla="*/ 3114 w 9546"/>
              <a:gd name="connsiteY23" fmla="*/ 9593 h 10000"/>
              <a:gd name="connsiteX24" fmla="*/ 2661 w 9546"/>
              <a:gd name="connsiteY24" fmla="*/ 8779 h 10000"/>
              <a:gd name="connsiteX25" fmla="*/ 2010 w 9546"/>
              <a:gd name="connsiteY25" fmla="*/ 9187 h 10000"/>
              <a:gd name="connsiteX26" fmla="*/ 2010 w 9546"/>
              <a:gd name="connsiteY26" fmla="*/ 8373 h 10000"/>
              <a:gd name="connsiteX27" fmla="*/ 1783 w 9546"/>
              <a:gd name="connsiteY27" fmla="*/ 8373 h 10000"/>
              <a:gd name="connsiteX28" fmla="*/ 1557 w 9546"/>
              <a:gd name="connsiteY28" fmla="*/ 7195 h 10000"/>
              <a:gd name="connsiteX29" fmla="*/ 1332 w 9546"/>
              <a:gd name="connsiteY29" fmla="*/ 7195 h 10000"/>
              <a:gd name="connsiteX30" fmla="*/ 1783 w 9546"/>
              <a:gd name="connsiteY30" fmla="*/ 7195 h 10000"/>
              <a:gd name="connsiteX31" fmla="*/ 1557 w 9546"/>
              <a:gd name="connsiteY31" fmla="*/ 6789 h 10000"/>
              <a:gd name="connsiteX32" fmla="*/ 1783 w 9546"/>
              <a:gd name="connsiteY32" fmla="*/ 6381 h 10000"/>
              <a:gd name="connsiteX33" fmla="*/ 2661 w 9546"/>
              <a:gd name="connsiteY33" fmla="*/ 6381 h 10000"/>
              <a:gd name="connsiteX34" fmla="*/ 2439 w 9546"/>
              <a:gd name="connsiteY34" fmla="*/ 5203 h 10000"/>
              <a:gd name="connsiteX35" fmla="*/ 2010 w 9546"/>
              <a:gd name="connsiteY35" fmla="*/ 4796 h 10000"/>
              <a:gd name="connsiteX36" fmla="*/ 1557 w 9546"/>
              <a:gd name="connsiteY36" fmla="*/ 4390 h 10000"/>
              <a:gd name="connsiteX37" fmla="*/ 881 w 9546"/>
              <a:gd name="connsiteY37" fmla="*/ 5203 h 10000"/>
              <a:gd name="connsiteX38" fmla="*/ 676 w 9546"/>
              <a:gd name="connsiteY38" fmla="*/ 5203 h 10000"/>
              <a:gd name="connsiteX39" fmla="*/ 881 w 9546"/>
              <a:gd name="connsiteY39" fmla="*/ 4796 h 10000"/>
              <a:gd name="connsiteX40" fmla="*/ 676 w 9546"/>
              <a:gd name="connsiteY40" fmla="*/ 3982 h 10000"/>
              <a:gd name="connsiteX41" fmla="*/ 227 w 9546"/>
              <a:gd name="connsiteY41" fmla="*/ 3982 h 10000"/>
              <a:gd name="connsiteX42" fmla="*/ 0 w 9546"/>
              <a:gd name="connsiteY42" fmla="*/ 3171 h 10000"/>
              <a:gd name="connsiteX43" fmla="*/ 227 w 9546"/>
              <a:gd name="connsiteY43" fmla="*/ 1178 h 10000"/>
              <a:gd name="connsiteX44" fmla="*/ 676 w 9546"/>
              <a:gd name="connsiteY44" fmla="*/ 1992 h 10000"/>
              <a:gd name="connsiteX45" fmla="*/ 881 w 9546"/>
              <a:gd name="connsiteY45" fmla="*/ 1992 h 10000"/>
              <a:gd name="connsiteX46" fmla="*/ 676 w 9546"/>
              <a:gd name="connsiteY46" fmla="*/ 1178 h 10000"/>
              <a:gd name="connsiteX47" fmla="*/ 1332 w 9546"/>
              <a:gd name="connsiteY47" fmla="*/ 0 h 10000"/>
              <a:gd name="connsiteX48" fmla="*/ 1783 w 9546"/>
              <a:gd name="connsiteY48" fmla="*/ 365 h 10000"/>
              <a:gd name="connsiteX49" fmla="*/ 2010 w 9546"/>
              <a:gd name="connsiteY49" fmla="*/ 0 h 10000"/>
              <a:gd name="connsiteX50" fmla="*/ 2439 w 9546"/>
              <a:gd name="connsiteY50" fmla="*/ 365 h 10000"/>
              <a:gd name="connsiteX51" fmla="*/ 3114 w 9546"/>
              <a:gd name="connsiteY51" fmla="*/ 1178 h 10000"/>
              <a:gd name="connsiteX52" fmla="*/ 3543 w 9546"/>
              <a:gd name="connsiteY52" fmla="*/ 772 h 10000"/>
              <a:gd name="connsiteX53" fmla="*/ 3996 w 9546"/>
              <a:gd name="connsiteY53" fmla="*/ 772 h 10000"/>
              <a:gd name="connsiteX54" fmla="*/ 4221 w 9546"/>
              <a:gd name="connsiteY54" fmla="*/ 1178 h 10000"/>
              <a:gd name="connsiteX0" fmla="*/ 9767 w 9767"/>
              <a:gd name="connsiteY0" fmla="*/ 8373 h 10000"/>
              <a:gd name="connsiteX1" fmla="*/ 9767 w 9767"/>
              <a:gd name="connsiteY1" fmla="*/ 8779 h 10000"/>
              <a:gd name="connsiteX2" fmla="*/ 9079 w 9767"/>
              <a:gd name="connsiteY2" fmla="*/ 8373 h 10000"/>
              <a:gd name="connsiteX3" fmla="*/ 8845 w 9767"/>
              <a:gd name="connsiteY3" fmla="*/ 8779 h 10000"/>
              <a:gd name="connsiteX4" fmla="*/ 8133 w 9767"/>
              <a:gd name="connsiteY4" fmla="*/ 10000 h 10000"/>
              <a:gd name="connsiteX5" fmla="*/ 7921 w 9767"/>
              <a:gd name="connsiteY5" fmla="*/ 9593 h 10000"/>
              <a:gd name="connsiteX6" fmla="*/ 7448 w 9767"/>
              <a:gd name="connsiteY6" fmla="*/ 9593 h 10000"/>
              <a:gd name="connsiteX7" fmla="*/ 7448 w 9767"/>
              <a:gd name="connsiteY7" fmla="*/ 9187 h 10000"/>
              <a:gd name="connsiteX8" fmla="*/ 7212 w 9767"/>
              <a:gd name="connsiteY8" fmla="*/ 9187 h 10000"/>
              <a:gd name="connsiteX9" fmla="*/ 7212 w 9767"/>
              <a:gd name="connsiteY9" fmla="*/ 8373 h 10000"/>
              <a:gd name="connsiteX10" fmla="*/ 6739 w 9767"/>
              <a:gd name="connsiteY10" fmla="*/ 7601 h 10000"/>
              <a:gd name="connsiteX11" fmla="*/ 5603 w 9767"/>
              <a:gd name="connsiteY11" fmla="*/ 7561 h 10000"/>
              <a:gd name="connsiteX12" fmla="*/ 5271 w 9767"/>
              <a:gd name="connsiteY12" fmla="*/ 6869 h 10000"/>
              <a:gd name="connsiteX13" fmla="*/ 5556 w 9767"/>
              <a:gd name="connsiteY13" fmla="*/ 6747 h 10000"/>
              <a:gd name="connsiteX14" fmla="*/ 5343 w 9767"/>
              <a:gd name="connsiteY14" fmla="*/ 5773 h 10000"/>
              <a:gd name="connsiteX15" fmla="*/ 5603 w 9767"/>
              <a:gd name="connsiteY15" fmla="*/ 5123 h 10000"/>
              <a:gd name="connsiteX16" fmla="*/ 4919 w 9767"/>
              <a:gd name="connsiteY16" fmla="*/ 5162 h 10000"/>
              <a:gd name="connsiteX17" fmla="*/ 4964 w 9767"/>
              <a:gd name="connsiteY17" fmla="*/ 5609 h 10000"/>
              <a:gd name="connsiteX18" fmla="*/ 4706 w 9767"/>
              <a:gd name="connsiteY18" fmla="*/ 6016 h 10000"/>
              <a:gd name="connsiteX19" fmla="*/ 4398 w 9767"/>
              <a:gd name="connsiteY19" fmla="*/ 5975 h 10000"/>
              <a:gd name="connsiteX20" fmla="*/ 3500 w 9767"/>
              <a:gd name="connsiteY20" fmla="*/ 6381 h 10000"/>
              <a:gd name="connsiteX21" fmla="*/ 3500 w 9767"/>
              <a:gd name="connsiteY21" fmla="*/ 9593 h 10000"/>
              <a:gd name="connsiteX22" fmla="*/ 3262 w 9767"/>
              <a:gd name="connsiteY22" fmla="*/ 9593 h 10000"/>
              <a:gd name="connsiteX23" fmla="*/ 2788 w 9767"/>
              <a:gd name="connsiteY23" fmla="*/ 8779 h 10000"/>
              <a:gd name="connsiteX24" fmla="*/ 2106 w 9767"/>
              <a:gd name="connsiteY24" fmla="*/ 9187 h 10000"/>
              <a:gd name="connsiteX25" fmla="*/ 2106 w 9767"/>
              <a:gd name="connsiteY25" fmla="*/ 8373 h 10000"/>
              <a:gd name="connsiteX26" fmla="*/ 1868 w 9767"/>
              <a:gd name="connsiteY26" fmla="*/ 8373 h 10000"/>
              <a:gd name="connsiteX27" fmla="*/ 1631 w 9767"/>
              <a:gd name="connsiteY27" fmla="*/ 7195 h 10000"/>
              <a:gd name="connsiteX28" fmla="*/ 1395 w 9767"/>
              <a:gd name="connsiteY28" fmla="*/ 7195 h 10000"/>
              <a:gd name="connsiteX29" fmla="*/ 1868 w 9767"/>
              <a:gd name="connsiteY29" fmla="*/ 7195 h 10000"/>
              <a:gd name="connsiteX30" fmla="*/ 1631 w 9767"/>
              <a:gd name="connsiteY30" fmla="*/ 6789 h 10000"/>
              <a:gd name="connsiteX31" fmla="*/ 1868 w 9767"/>
              <a:gd name="connsiteY31" fmla="*/ 6381 h 10000"/>
              <a:gd name="connsiteX32" fmla="*/ 2788 w 9767"/>
              <a:gd name="connsiteY32" fmla="*/ 6381 h 10000"/>
              <a:gd name="connsiteX33" fmla="*/ 2555 w 9767"/>
              <a:gd name="connsiteY33" fmla="*/ 5203 h 10000"/>
              <a:gd name="connsiteX34" fmla="*/ 2106 w 9767"/>
              <a:gd name="connsiteY34" fmla="*/ 4796 h 10000"/>
              <a:gd name="connsiteX35" fmla="*/ 1631 w 9767"/>
              <a:gd name="connsiteY35" fmla="*/ 4390 h 10000"/>
              <a:gd name="connsiteX36" fmla="*/ 923 w 9767"/>
              <a:gd name="connsiteY36" fmla="*/ 5203 h 10000"/>
              <a:gd name="connsiteX37" fmla="*/ 708 w 9767"/>
              <a:gd name="connsiteY37" fmla="*/ 5203 h 10000"/>
              <a:gd name="connsiteX38" fmla="*/ 923 w 9767"/>
              <a:gd name="connsiteY38" fmla="*/ 4796 h 10000"/>
              <a:gd name="connsiteX39" fmla="*/ 708 w 9767"/>
              <a:gd name="connsiteY39" fmla="*/ 3982 h 10000"/>
              <a:gd name="connsiteX40" fmla="*/ 238 w 9767"/>
              <a:gd name="connsiteY40" fmla="*/ 3982 h 10000"/>
              <a:gd name="connsiteX41" fmla="*/ 0 w 9767"/>
              <a:gd name="connsiteY41" fmla="*/ 3171 h 10000"/>
              <a:gd name="connsiteX42" fmla="*/ 238 w 9767"/>
              <a:gd name="connsiteY42" fmla="*/ 1178 h 10000"/>
              <a:gd name="connsiteX43" fmla="*/ 708 w 9767"/>
              <a:gd name="connsiteY43" fmla="*/ 1992 h 10000"/>
              <a:gd name="connsiteX44" fmla="*/ 923 w 9767"/>
              <a:gd name="connsiteY44" fmla="*/ 1992 h 10000"/>
              <a:gd name="connsiteX45" fmla="*/ 708 w 9767"/>
              <a:gd name="connsiteY45" fmla="*/ 1178 h 10000"/>
              <a:gd name="connsiteX46" fmla="*/ 1395 w 9767"/>
              <a:gd name="connsiteY46" fmla="*/ 0 h 10000"/>
              <a:gd name="connsiteX47" fmla="*/ 1868 w 9767"/>
              <a:gd name="connsiteY47" fmla="*/ 365 h 10000"/>
              <a:gd name="connsiteX48" fmla="*/ 2106 w 9767"/>
              <a:gd name="connsiteY48" fmla="*/ 0 h 10000"/>
              <a:gd name="connsiteX49" fmla="*/ 2555 w 9767"/>
              <a:gd name="connsiteY49" fmla="*/ 365 h 10000"/>
              <a:gd name="connsiteX50" fmla="*/ 3262 w 9767"/>
              <a:gd name="connsiteY50" fmla="*/ 1178 h 10000"/>
              <a:gd name="connsiteX51" fmla="*/ 3712 w 9767"/>
              <a:gd name="connsiteY51" fmla="*/ 772 h 10000"/>
              <a:gd name="connsiteX52" fmla="*/ 4186 w 9767"/>
              <a:gd name="connsiteY52" fmla="*/ 772 h 10000"/>
              <a:gd name="connsiteX53" fmla="*/ 4422 w 9767"/>
              <a:gd name="connsiteY53" fmla="*/ 1178 h 10000"/>
              <a:gd name="connsiteX0" fmla="*/ 10000 w 10000"/>
              <a:gd name="connsiteY0" fmla="*/ 8373 h 10000"/>
              <a:gd name="connsiteX1" fmla="*/ 9296 w 10000"/>
              <a:gd name="connsiteY1" fmla="*/ 8373 h 10000"/>
              <a:gd name="connsiteX2" fmla="*/ 9056 w 10000"/>
              <a:gd name="connsiteY2" fmla="*/ 8779 h 10000"/>
              <a:gd name="connsiteX3" fmla="*/ 8327 w 10000"/>
              <a:gd name="connsiteY3" fmla="*/ 10000 h 10000"/>
              <a:gd name="connsiteX4" fmla="*/ 8110 w 10000"/>
              <a:gd name="connsiteY4" fmla="*/ 9593 h 10000"/>
              <a:gd name="connsiteX5" fmla="*/ 7626 w 10000"/>
              <a:gd name="connsiteY5" fmla="*/ 9593 h 10000"/>
              <a:gd name="connsiteX6" fmla="*/ 7626 w 10000"/>
              <a:gd name="connsiteY6" fmla="*/ 9187 h 10000"/>
              <a:gd name="connsiteX7" fmla="*/ 7384 w 10000"/>
              <a:gd name="connsiteY7" fmla="*/ 9187 h 10000"/>
              <a:gd name="connsiteX8" fmla="*/ 7384 w 10000"/>
              <a:gd name="connsiteY8" fmla="*/ 8373 h 10000"/>
              <a:gd name="connsiteX9" fmla="*/ 6900 w 10000"/>
              <a:gd name="connsiteY9" fmla="*/ 7601 h 10000"/>
              <a:gd name="connsiteX10" fmla="*/ 5737 w 10000"/>
              <a:gd name="connsiteY10" fmla="*/ 7561 h 10000"/>
              <a:gd name="connsiteX11" fmla="*/ 5397 w 10000"/>
              <a:gd name="connsiteY11" fmla="*/ 6869 h 10000"/>
              <a:gd name="connsiteX12" fmla="*/ 5689 w 10000"/>
              <a:gd name="connsiteY12" fmla="*/ 6747 h 10000"/>
              <a:gd name="connsiteX13" fmla="*/ 5470 w 10000"/>
              <a:gd name="connsiteY13" fmla="*/ 5773 h 10000"/>
              <a:gd name="connsiteX14" fmla="*/ 5737 w 10000"/>
              <a:gd name="connsiteY14" fmla="*/ 5123 h 10000"/>
              <a:gd name="connsiteX15" fmla="*/ 5036 w 10000"/>
              <a:gd name="connsiteY15" fmla="*/ 5162 h 10000"/>
              <a:gd name="connsiteX16" fmla="*/ 5082 w 10000"/>
              <a:gd name="connsiteY16" fmla="*/ 5609 h 10000"/>
              <a:gd name="connsiteX17" fmla="*/ 4818 w 10000"/>
              <a:gd name="connsiteY17" fmla="*/ 6016 h 10000"/>
              <a:gd name="connsiteX18" fmla="*/ 4503 w 10000"/>
              <a:gd name="connsiteY18" fmla="*/ 5975 h 10000"/>
              <a:gd name="connsiteX19" fmla="*/ 3583 w 10000"/>
              <a:gd name="connsiteY19" fmla="*/ 6381 h 10000"/>
              <a:gd name="connsiteX20" fmla="*/ 3583 w 10000"/>
              <a:gd name="connsiteY20" fmla="*/ 9593 h 10000"/>
              <a:gd name="connsiteX21" fmla="*/ 3340 w 10000"/>
              <a:gd name="connsiteY21" fmla="*/ 9593 h 10000"/>
              <a:gd name="connsiteX22" fmla="*/ 2855 w 10000"/>
              <a:gd name="connsiteY22" fmla="*/ 8779 h 10000"/>
              <a:gd name="connsiteX23" fmla="*/ 2156 w 10000"/>
              <a:gd name="connsiteY23" fmla="*/ 9187 h 10000"/>
              <a:gd name="connsiteX24" fmla="*/ 2156 w 10000"/>
              <a:gd name="connsiteY24" fmla="*/ 8373 h 10000"/>
              <a:gd name="connsiteX25" fmla="*/ 1913 w 10000"/>
              <a:gd name="connsiteY25" fmla="*/ 8373 h 10000"/>
              <a:gd name="connsiteX26" fmla="*/ 1670 w 10000"/>
              <a:gd name="connsiteY26" fmla="*/ 7195 h 10000"/>
              <a:gd name="connsiteX27" fmla="*/ 1428 w 10000"/>
              <a:gd name="connsiteY27" fmla="*/ 7195 h 10000"/>
              <a:gd name="connsiteX28" fmla="*/ 1913 w 10000"/>
              <a:gd name="connsiteY28" fmla="*/ 7195 h 10000"/>
              <a:gd name="connsiteX29" fmla="*/ 1670 w 10000"/>
              <a:gd name="connsiteY29" fmla="*/ 6789 h 10000"/>
              <a:gd name="connsiteX30" fmla="*/ 1913 w 10000"/>
              <a:gd name="connsiteY30" fmla="*/ 6381 h 10000"/>
              <a:gd name="connsiteX31" fmla="*/ 2855 w 10000"/>
              <a:gd name="connsiteY31" fmla="*/ 6381 h 10000"/>
              <a:gd name="connsiteX32" fmla="*/ 2616 w 10000"/>
              <a:gd name="connsiteY32" fmla="*/ 5203 h 10000"/>
              <a:gd name="connsiteX33" fmla="*/ 2156 w 10000"/>
              <a:gd name="connsiteY33" fmla="*/ 4796 h 10000"/>
              <a:gd name="connsiteX34" fmla="*/ 1670 w 10000"/>
              <a:gd name="connsiteY34" fmla="*/ 4390 h 10000"/>
              <a:gd name="connsiteX35" fmla="*/ 945 w 10000"/>
              <a:gd name="connsiteY35" fmla="*/ 5203 h 10000"/>
              <a:gd name="connsiteX36" fmla="*/ 725 w 10000"/>
              <a:gd name="connsiteY36" fmla="*/ 5203 h 10000"/>
              <a:gd name="connsiteX37" fmla="*/ 945 w 10000"/>
              <a:gd name="connsiteY37" fmla="*/ 4796 h 10000"/>
              <a:gd name="connsiteX38" fmla="*/ 725 w 10000"/>
              <a:gd name="connsiteY38" fmla="*/ 3982 h 10000"/>
              <a:gd name="connsiteX39" fmla="*/ 244 w 10000"/>
              <a:gd name="connsiteY39" fmla="*/ 3982 h 10000"/>
              <a:gd name="connsiteX40" fmla="*/ 0 w 10000"/>
              <a:gd name="connsiteY40" fmla="*/ 3171 h 10000"/>
              <a:gd name="connsiteX41" fmla="*/ 244 w 10000"/>
              <a:gd name="connsiteY41" fmla="*/ 1178 h 10000"/>
              <a:gd name="connsiteX42" fmla="*/ 725 w 10000"/>
              <a:gd name="connsiteY42" fmla="*/ 1992 h 10000"/>
              <a:gd name="connsiteX43" fmla="*/ 945 w 10000"/>
              <a:gd name="connsiteY43" fmla="*/ 1992 h 10000"/>
              <a:gd name="connsiteX44" fmla="*/ 725 w 10000"/>
              <a:gd name="connsiteY44" fmla="*/ 1178 h 10000"/>
              <a:gd name="connsiteX45" fmla="*/ 1428 w 10000"/>
              <a:gd name="connsiteY45" fmla="*/ 0 h 10000"/>
              <a:gd name="connsiteX46" fmla="*/ 1913 w 10000"/>
              <a:gd name="connsiteY46" fmla="*/ 365 h 10000"/>
              <a:gd name="connsiteX47" fmla="*/ 2156 w 10000"/>
              <a:gd name="connsiteY47" fmla="*/ 0 h 10000"/>
              <a:gd name="connsiteX48" fmla="*/ 2616 w 10000"/>
              <a:gd name="connsiteY48" fmla="*/ 365 h 10000"/>
              <a:gd name="connsiteX49" fmla="*/ 3340 w 10000"/>
              <a:gd name="connsiteY49" fmla="*/ 1178 h 10000"/>
              <a:gd name="connsiteX50" fmla="*/ 3801 w 10000"/>
              <a:gd name="connsiteY50" fmla="*/ 772 h 10000"/>
              <a:gd name="connsiteX51" fmla="*/ 4286 w 10000"/>
              <a:gd name="connsiteY51" fmla="*/ 772 h 10000"/>
              <a:gd name="connsiteX52" fmla="*/ 4527 w 10000"/>
              <a:gd name="connsiteY52" fmla="*/ 1178 h 10000"/>
              <a:gd name="connsiteX0" fmla="*/ 9296 w 9296"/>
              <a:gd name="connsiteY0" fmla="*/ 8373 h 10000"/>
              <a:gd name="connsiteX1" fmla="*/ 9056 w 9296"/>
              <a:gd name="connsiteY1" fmla="*/ 8779 h 10000"/>
              <a:gd name="connsiteX2" fmla="*/ 8327 w 9296"/>
              <a:gd name="connsiteY2" fmla="*/ 10000 h 10000"/>
              <a:gd name="connsiteX3" fmla="*/ 8110 w 9296"/>
              <a:gd name="connsiteY3" fmla="*/ 9593 h 10000"/>
              <a:gd name="connsiteX4" fmla="*/ 7626 w 9296"/>
              <a:gd name="connsiteY4" fmla="*/ 9593 h 10000"/>
              <a:gd name="connsiteX5" fmla="*/ 7626 w 9296"/>
              <a:gd name="connsiteY5" fmla="*/ 9187 h 10000"/>
              <a:gd name="connsiteX6" fmla="*/ 7384 w 9296"/>
              <a:gd name="connsiteY6" fmla="*/ 9187 h 10000"/>
              <a:gd name="connsiteX7" fmla="*/ 7384 w 9296"/>
              <a:gd name="connsiteY7" fmla="*/ 8373 h 10000"/>
              <a:gd name="connsiteX8" fmla="*/ 6900 w 9296"/>
              <a:gd name="connsiteY8" fmla="*/ 7601 h 10000"/>
              <a:gd name="connsiteX9" fmla="*/ 5737 w 9296"/>
              <a:gd name="connsiteY9" fmla="*/ 7561 h 10000"/>
              <a:gd name="connsiteX10" fmla="*/ 5397 w 9296"/>
              <a:gd name="connsiteY10" fmla="*/ 6869 h 10000"/>
              <a:gd name="connsiteX11" fmla="*/ 5689 w 9296"/>
              <a:gd name="connsiteY11" fmla="*/ 6747 h 10000"/>
              <a:gd name="connsiteX12" fmla="*/ 5470 w 9296"/>
              <a:gd name="connsiteY12" fmla="*/ 5773 h 10000"/>
              <a:gd name="connsiteX13" fmla="*/ 5737 w 9296"/>
              <a:gd name="connsiteY13" fmla="*/ 5123 h 10000"/>
              <a:gd name="connsiteX14" fmla="*/ 5036 w 9296"/>
              <a:gd name="connsiteY14" fmla="*/ 5162 h 10000"/>
              <a:gd name="connsiteX15" fmla="*/ 5082 w 9296"/>
              <a:gd name="connsiteY15" fmla="*/ 5609 h 10000"/>
              <a:gd name="connsiteX16" fmla="*/ 4818 w 9296"/>
              <a:gd name="connsiteY16" fmla="*/ 6016 h 10000"/>
              <a:gd name="connsiteX17" fmla="*/ 4503 w 9296"/>
              <a:gd name="connsiteY17" fmla="*/ 5975 h 10000"/>
              <a:gd name="connsiteX18" fmla="*/ 3583 w 9296"/>
              <a:gd name="connsiteY18" fmla="*/ 6381 h 10000"/>
              <a:gd name="connsiteX19" fmla="*/ 3583 w 9296"/>
              <a:gd name="connsiteY19" fmla="*/ 9593 h 10000"/>
              <a:gd name="connsiteX20" fmla="*/ 3340 w 9296"/>
              <a:gd name="connsiteY20" fmla="*/ 9593 h 10000"/>
              <a:gd name="connsiteX21" fmla="*/ 2855 w 9296"/>
              <a:gd name="connsiteY21" fmla="*/ 8779 h 10000"/>
              <a:gd name="connsiteX22" fmla="*/ 2156 w 9296"/>
              <a:gd name="connsiteY22" fmla="*/ 9187 h 10000"/>
              <a:gd name="connsiteX23" fmla="*/ 2156 w 9296"/>
              <a:gd name="connsiteY23" fmla="*/ 8373 h 10000"/>
              <a:gd name="connsiteX24" fmla="*/ 1913 w 9296"/>
              <a:gd name="connsiteY24" fmla="*/ 8373 h 10000"/>
              <a:gd name="connsiteX25" fmla="*/ 1670 w 9296"/>
              <a:gd name="connsiteY25" fmla="*/ 7195 h 10000"/>
              <a:gd name="connsiteX26" fmla="*/ 1428 w 9296"/>
              <a:gd name="connsiteY26" fmla="*/ 7195 h 10000"/>
              <a:gd name="connsiteX27" fmla="*/ 1913 w 9296"/>
              <a:gd name="connsiteY27" fmla="*/ 7195 h 10000"/>
              <a:gd name="connsiteX28" fmla="*/ 1670 w 9296"/>
              <a:gd name="connsiteY28" fmla="*/ 6789 h 10000"/>
              <a:gd name="connsiteX29" fmla="*/ 1913 w 9296"/>
              <a:gd name="connsiteY29" fmla="*/ 6381 h 10000"/>
              <a:gd name="connsiteX30" fmla="*/ 2855 w 9296"/>
              <a:gd name="connsiteY30" fmla="*/ 6381 h 10000"/>
              <a:gd name="connsiteX31" fmla="*/ 2616 w 9296"/>
              <a:gd name="connsiteY31" fmla="*/ 5203 h 10000"/>
              <a:gd name="connsiteX32" fmla="*/ 2156 w 9296"/>
              <a:gd name="connsiteY32" fmla="*/ 4796 h 10000"/>
              <a:gd name="connsiteX33" fmla="*/ 1670 w 9296"/>
              <a:gd name="connsiteY33" fmla="*/ 4390 h 10000"/>
              <a:gd name="connsiteX34" fmla="*/ 945 w 9296"/>
              <a:gd name="connsiteY34" fmla="*/ 5203 h 10000"/>
              <a:gd name="connsiteX35" fmla="*/ 725 w 9296"/>
              <a:gd name="connsiteY35" fmla="*/ 5203 h 10000"/>
              <a:gd name="connsiteX36" fmla="*/ 945 w 9296"/>
              <a:gd name="connsiteY36" fmla="*/ 4796 h 10000"/>
              <a:gd name="connsiteX37" fmla="*/ 725 w 9296"/>
              <a:gd name="connsiteY37" fmla="*/ 3982 h 10000"/>
              <a:gd name="connsiteX38" fmla="*/ 244 w 9296"/>
              <a:gd name="connsiteY38" fmla="*/ 3982 h 10000"/>
              <a:gd name="connsiteX39" fmla="*/ 0 w 9296"/>
              <a:gd name="connsiteY39" fmla="*/ 3171 h 10000"/>
              <a:gd name="connsiteX40" fmla="*/ 244 w 9296"/>
              <a:gd name="connsiteY40" fmla="*/ 1178 h 10000"/>
              <a:gd name="connsiteX41" fmla="*/ 725 w 9296"/>
              <a:gd name="connsiteY41" fmla="*/ 1992 h 10000"/>
              <a:gd name="connsiteX42" fmla="*/ 945 w 9296"/>
              <a:gd name="connsiteY42" fmla="*/ 1992 h 10000"/>
              <a:gd name="connsiteX43" fmla="*/ 725 w 9296"/>
              <a:gd name="connsiteY43" fmla="*/ 1178 h 10000"/>
              <a:gd name="connsiteX44" fmla="*/ 1428 w 9296"/>
              <a:gd name="connsiteY44" fmla="*/ 0 h 10000"/>
              <a:gd name="connsiteX45" fmla="*/ 1913 w 9296"/>
              <a:gd name="connsiteY45" fmla="*/ 365 h 10000"/>
              <a:gd name="connsiteX46" fmla="*/ 2156 w 9296"/>
              <a:gd name="connsiteY46" fmla="*/ 0 h 10000"/>
              <a:gd name="connsiteX47" fmla="*/ 2616 w 9296"/>
              <a:gd name="connsiteY47" fmla="*/ 365 h 10000"/>
              <a:gd name="connsiteX48" fmla="*/ 3340 w 9296"/>
              <a:gd name="connsiteY48" fmla="*/ 1178 h 10000"/>
              <a:gd name="connsiteX49" fmla="*/ 3801 w 9296"/>
              <a:gd name="connsiteY49" fmla="*/ 772 h 10000"/>
              <a:gd name="connsiteX50" fmla="*/ 4286 w 9296"/>
              <a:gd name="connsiteY50" fmla="*/ 772 h 10000"/>
              <a:gd name="connsiteX51" fmla="*/ 4527 w 9296"/>
              <a:gd name="connsiteY51" fmla="*/ 1178 h 10000"/>
              <a:gd name="connsiteX0" fmla="*/ 9742 w 9742"/>
              <a:gd name="connsiteY0" fmla="*/ 8779 h 10000"/>
              <a:gd name="connsiteX1" fmla="*/ 8958 w 9742"/>
              <a:gd name="connsiteY1" fmla="*/ 10000 h 10000"/>
              <a:gd name="connsiteX2" fmla="*/ 8724 w 9742"/>
              <a:gd name="connsiteY2" fmla="*/ 9593 h 10000"/>
              <a:gd name="connsiteX3" fmla="*/ 8204 w 9742"/>
              <a:gd name="connsiteY3" fmla="*/ 9593 h 10000"/>
              <a:gd name="connsiteX4" fmla="*/ 8204 w 9742"/>
              <a:gd name="connsiteY4" fmla="*/ 9187 h 10000"/>
              <a:gd name="connsiteX5" fmla="*/ 7943 w 9742"/>
              <a:gd name="connsiteY5" fmla="*/ 9187 h 10000"/>
              <a:gd name="connsiteX6" fmla="*/ 7943 w 9742"/>
              <a:gd name="connsiteY6" fmla="*/ 8373 h 10000"/>
              <a:gd name="connsiteX7" fmla="*/ 7423 w 9742"/>
              <a:gd name="connsiteY7" fmla="*/ 7601 h 10000"/>
              <a:gd name="connsiteX8" fmla="*/ 6171 w 9742"/>
              <a:gd name="connsiteY8" fmla="*/ 7561 h 10000"/>
              <a:gd name="connsiteX9" fmla="*/ 5806 w 9742"/>
              <a:gd name="connsiteY9" fmla="*/ 6869 h 10000"/>
              <a:gd name="connsiteX10" fmla="*/ 6120 w 9742"/>
              <a:gd name="connsiteY10" fmla="*/ 6747 h 10000"/>
              <a:gd name="connsiteX11" fmla="*/ 5884 w 9742"/>
              <a:gd name="connsiteY11" fmla="*/ 5773 h 10000"/>
              <a:gd name="connsiteX12" fmla="*/ 6171 w 9742"/>
              <a:gd name="connsiteY12" fmla="*/ 5123 h 10000"/>
              <a:gd name="connsiteX13" fmla="*/ 5417 w 9742"/>
              <a:gd name="connsiteY13" fmla="*/ 5162 h 10000"/>
              <a:gd name="connsiteX14" fmla="*/ 5467 w 9742"/>
              <a:gd name="connsiteY14" fmla="*/ 5609 h 10000"/>
              <a:gd name="connsiteX15" fmla="*/ 5183 w 9742"/>
              <a:gd name="connsiteY15" fmla="*/ 6016 h 10000"/>
              <a:gd name="connsiteX16" fmla="*/ 4844 w 9742"/>
              <a:gd name="connsiteY16" fmla="*/ 5975 h 10000"/>
              <a:gd name="connsiteX17" fmla="*/ 3854 w 9742"/>
              <a:gd name="connsiteY17" fmla="*/ 6381 h 10000"/>
              <a:gd name="connsiteX18" fmla="*/ 3854 w 9742"/>
              <a:gd name="connsiteY18" fmla="*/ 9593 h 10000"/>
              <a:gd name="connsiteX19" fmla="*/ 3593 w 9742"/>
              <a:gd name="connsiteY19" fmla="*/ 9593 h 10000"/>
              <a:gd name="connsiteX20" fmla="*/ 3071 w 9742"/>
              <a:gd name="connsiteY20" fmla="*/ 8779 h 10000"/>
              <a:gd name="connsiteX21" fmla="*/ 2319 w 9742"/>
              <a:gd name="connsiteY21" fmla="*/ 9187 h 10000"/>
              <a:gd name="connsiteX22" fmla="*/ 2319 w 9742"/>
              <a:gd name="connsiteY22" fmla="*/ 8373 h 10000"/>
              <a:gd name="connsiteX23" fmla="*/ 2058 w 9742"/>
              <a:gd name="connsiteY23" fmla="*/ 8373 h 10000"/>
              <a:gd name="connsiteX24" fmla="*/ 1796 w 9742"/>
              <a:gd name="connsiteY24" fmla="*/ 7195 h 10000"/>
              <a:gd name="connsiteX25" fmla="*/ 1536 w 9742"/>
              <a:gd name="connsiteY25" fmla="*/ 7195 h 10000"/>
              <a:gd name="connsiteX26" fmla="*/ 2058 w 9742"/>
              <a:gd name="connsiteY26" fmla="*/ 7195 h 10000"/>
              <a:gd name="connsiteX27" fmla="*/ 1796 w 9742"/>
              <a:gd name="connsiteY27" fmla="*/ 6789 h 10000"/>
              <a:gd name="connsiteX28" fmla="*/ 2058 w 9742"/>
              <a:gd name="connsiteY28" fmla="*/ 6381 h 10000"/>
              <a:gd name="connsiteX29" fmla="*/ 3071 w 9742"/>
              <a:gd name="connsiteY29" fmla="*/ 6381 h 10000"/>
              <a:gd name="connsiteX30" fmla="*/ 2814 w 9742"/>
              <a:gd name="connsiteY30" fmla="*/ 5203 h 10000"/>
              <a:gd name="connsiteX31" fmla="*/ 2319 w 9742"/>
              <a:gd name="connsiteY31" fmla="*/ 4796 h 10000"/>
              <a:gd name="connsiteX32" fmla="*/ 1796 w 9742"/>
              <a:gd name="connsiteY32" fmla="*/ 4390 h 10000"/>
              <a:gd name="connsiteX33" fmla="*/ 1017 w 9742"/>
              <a:gd name="connsiteY33" fmla="*/ 5203 h 10000"/>
              <a:gd name="connsiteX34" fmla="*/ 780 w 9742"/>
              <a:gd name="connsiteY34" fmla="*/ 5203 h 10000"/>
              <a:gd name="connsiteX35" fmla="*/ 1017 w 9742"/>
              <a:gd name="connsiteY35" fmla="*/ 4796 h 10000"/>
              <a:gd name="connsiteX36" fmla="*/ 780 w 9742"/>
              <a:gd name="connsiteY36" fmla="*/ 3982 h 10000"/>
              <a:gd name="connsiteX37" fmla="*/ 262 w 9742"/>
              <a:gd name="connsiteY37" fmla="*/ 3982 h 10000"/>
              <a:gd name="connsiteX38" fmla="*/ 0 w 9742"/>
              <a:gd name="connsiteY38" fmla="*/ 3171 h 10000"/>
              <a:gd name="connsiteX39" fmla="*/ 262 w 9742"/>
              <a:gd name="connsiteY39" fmla="*/ 1178 h 10000"/>
              <a:gd name="connsiteX40" fmla="*/ 780 w 9742"/>
              <a:gd name="connsiteY40" fmla="*/ 1992 h 10000"/>
              <a:gd name="connsiteX41" fmla="*/ 1017 w 9742"/>
              <a:gd name="connsiteY41" fmla="*/ 1992 h 10000"/>
              <a:gd name="connsiteX42" fmla="*/ 780 w 9742"/>
              <a:gd name="connsiteY42" fmla="*/ 1178 h 10000"/>
              <a:gd name="connsiteX43" fmla="*/ 1536 w 9742"/>
              <a:gd name="connsiteY43" fmla="*/ 0 h 10000"/>
              <a:gd name="connsiteX44" fmla="*/ 2058 w 9742"/>
              <a:gd name="connsiteY44" fmla="*/ 365 h 10000"/>
              <a:gd name="connsiteX45" fmla="*/ 2319 w 9742"/>
              <a:gd name="connsiteY45" fmla="*/ 0 h 10000"/>
              <a:gd name="connsiteX46" fmla="*/ 2814 w 9742"/>
              <a:gd name="connsiteY46" fmla="*/ 365 h 10000"/>
              <a:gd name="connsiteX47" fmla="*/ 3593 w 9742"/>
              <a:gd name="connsiteY47" fmla="*/ 1178 h 10000"/>
              <a:gd name="connsiteX48" fmla="*/ 4089 w 9742"/>
              <a:gd name="connsiteY48" fmla="*/ 772 h 10000"/>
              <a:gd name="connsiteX49" fmla="*/ 4611 w 9742"/>
              <a:gd name="connsiteY49" fmla="*/ 772 h 10000"/>
              <a:gd name="connsiteX50" fmla="*/ 4870 w 9742"/>
              <a:gd name="connsiteY50" fmla="*/ 1178 h 10000"/>
              <a:gd name="connsiteX0" fmla="*/ 9195 w 9195"/>
              <a:gd name="connsiteY0" fmla="*/ 10000 h 10000"/>
              <a:gd name="connsiteX1" fmla="*/ 8955 w 9195"/>
              <a:gd name="connsiteY1" fmla="*/ 9593 h 10000"/>
              <a:gd name="connsiteX2" fmla="*/ 8421 w 9195"/>
              <a:gd name="connsiteY2" fmla="*/ 9593 h 10000"/>
              <a:gd name="connsiteX3" fmla="*/ 8421 w 9195"/>
              <a:gd name="connsiteY3" fmla="*/ 9187 h 10000"/>
              <a:gd name="connsiteX4" fmla="*/ 8153 w 9195"/>
              <a:gd name="connsiteY4" fmla="*/ 9187 h 10000"/>
              <a:gd name="connsiteX5" fmla="*/ 8153 w 9195"/>
              <a:gd name="connsiteY5" fmla="*/ 8373 h 10000"/>
              <a:gd name="connsiteX6" fmla="*/ 7620 w 9195"/>
              <a:gd name="connsiteY6" fmla="*/ 7601 h 10000"/>
              <a:gd name="connsiteX7" fmla="*/ 6334 w 9195"/>
              <a:gd name="connsiteY7" fmla="*/ 7561 h 10000"/>
              <a:gd name="connsiteX8" fmla="*/ 5960 w 9195"/>
              <a:gd name="connsiteY8" fmla="*/ 6869 h 10000"/>
              <a:gd name="connsiteX9" fmla="*/ 6282 w 9195"/>
              <a:gd name="connsiteY9" fmla="*/ 6747 h 10000"/>
              <a:gd name="connsiteX10" fmla="*/ 6040 w 9195"/>
              <a:gd name="connsiteY10" fmla="*/ 5773 h 10000"/>
              <a:gd name="connsiteX11" fmla="*/ 6334 w 9195"/>
              <a:gd name="connsiteY11" fmla="*/ 5123 h 10000"/>
              <a:gd name="connsiteX12" fmla="*/ 5560 w 9195"/>
              <a:gd name="connsiteY12" fmla="*/ 5162 h 10000"/>
              <a:gd name="connsiteX13" fmla="*/ 5612 w 9195"/>
              <a:gd name="connsiteY13" fmla="*/ 5609 h 10000"/>
              <a:gd name="connsiteX14" fmla="*/ 5320 w 9195"/>
              <a:gd name="connsiteY14" fmla="*/ 6016 h 10000"/>
              <a:gd name="connsiteX15" fmla="*/ 4972 w 9195"/>
              <a:gd name="connsiteY15" fmla="*/ 5975 h 10000"/>
              <a:gd name="connsiteX16" fmla="*/ 3956 w 9195"/>
              <a:gd name="connsiteY16" fmla="*/ 6381 h 10000"/>
              <a:gd name="connsiteX17" fmla="*/ 3956 w 9195"/>
              <a:gd name="connsiteY17" fmla="*/ 9593 h 10000"/>
              <a:gd name="connsiteX18" fmla="*/ 3688 w 9195"/>
              <a:gd name="connsiteY18" fmla="*/ 9593 h 10000"/>
              <a:gd name="connsiteX19" fmla="*/ 3152 w 9195"/>
              <a:gd name="connsiteY19" fmla="*/ 8779 h 10000"/>
              <a:gd name="connsiteX20" fmla="*/ 2380 w 9195"/>
              <a:gd name="connsiteY20" fmla="*/ 9187 h 10000"/>
              <a:gd name="connsiteX21" fmla="*/ 2380 w 9195"/>
              <a:gd name="connsiteY21" fmla="*/ 8373 h 10000"/>
              <a:gd name="connsiteX22" fmla="*/ 2113 w 9195"/>
              <a:gd name="connsiteY22" fmla="*/ 8373 h 10000"/>
              <a:gd name="connsiteX23" fmla="*/ 1844 w 9195"/>
              <a:gd name="connsiteY23" fmla="*/ 7195 h 10000"/>
              <a:gd name="connsiteX24" fmla="*/ 1577 w 9195"/>
              <a:gd name="connsiteY24" fmla="*/ 7195 h 10000"/>
              <a:gd name="connsiteX25" fmla="*/ 2113 w 9195"/>
              <a:gd name="connsiteY25" fmla="*/ 7195 h 10000"/>
              <a:gd name="connsiteX26" fmla="*/ 1844 w 9195"/>
              <a:gd name="connsiteY26" fmla="*/ 6789 h 10000"/>
              <a:gd name="connsiteX27" fmla="*/ 2113 w 9195"/>
              <a:gd name="connsiteY27" fmla="*/ 6381 h 10000"/>
              <a:gd name="connsiteX28" fmla="*/ 3152 w 9195"/>
              <a:gd name="connsiteY28" fmla="*/ 6381 h 10000"/>
              <a:gd name="connsiteX29" fmla="*/ 2889 w 9195"/>
              <a:gd name="connsiteY29" fmla="*/ 5203 h 10000"/>
              <a:gd name="connsiteX30" fmla="*/ 2380 w 9195"/>
              <a:gd name="connsiteY30" fmla="*/ 4796 h 10000"/>
              <a:gd name="connsiteX31" fmla="*/ 1844 w 9195"/>
              <a:gd name="connsiteY31" fmla="*/ 4390 h 10000"/>
              <a:gd name="connsiteX32" fmla="*/ 1044 w 9195"/>
              <a:gd name="connsiteY32" fmla="*/ 5203 h 10000"/>
              <a:gd name="connsiteX33" fmla="*/ 801 w 9195"/>
              <a:gd name="connsiteY33" fmla="*/ 5203 h 10000"/>
              <a:gd name="connsiteX34" fmla="*/ 1044 w 9195"/>
              <a:gd name="connsiteY34" fmla="*/ 4796 h 10000"/>
              <a:gd name="connsiteX35" fmla="*/ 801 w 9195"/>
              <a:gd name="connsiteY35" fmla="*/ 3982 h 10000"/>
              <a:gd name="connsiteX36" fmla="*/ 269 w 9195"/>
              <a:gd name="connsiteY36" fmla="*/ 3982 h 10000"/>
              <a:gd name="connsiteX37" fmla="*/ 0 w 9195"/>
              <a:gd name="connsiteY37" fmla="*/ 3171 h 10000"/>
              <a:gd name="connsiteX38" fmla="*/ 269 w 9195"/>
              <a:gd name="connsiteY38" fmla="*/ 1178 h 10000"/>
              <a:gd name="connsiteX39" fmla="*/ 801 w 9195"/>
              <a:gd name="connsiteY39" fmla="*/ 1992 h 10000"/>
              <a:gd name="connsiteX40" fmla="*/ 1044 w 9195"/>
              <a:gd name="connsiteY40" fmla="*/ 1992 h 10000"/>
              <a:gd name="connsiteX41" fmla="*/ 801 w 9195"/>
              <a:gd name="connsiteY41" fmla="*/ 1178 h 10000"/>
              <a:gd name="connsiteX42" fmla="*/ 1577 w 9195"/>
              <a:gd name="connsiteY42" fmla="*/ 0 h 10000"/>
              <a:gd name="connsiteX43" fmla="*/ 2113 w 9195"/>
              <a:gd name="connsiteY43" fmla="*/ 365 h 10000"/>
              <a:gd name="connsiteX44" fmla="*/ 2380 w 9195"/>
              <a:gd name="connsiteY44" fmla="*/ 0 h 10000"/>
              <a:gd name="connsiteX45" fmla="*/ 2889 w 9195"/>
              <a:gd name="connsiteY45" fmla="*/ 365 h 10000"/>
              <a:gd name="connsiteX46" fmla="*/ 3688 w 9195"/>
              <a:gd name="connsiteY46" fmla="*/ 1178 h 10000"/>
              <a:gd name="connsiteX47" fmla="*/ 4197 w 9195"/>
              <a:gd name="connsiteY47" fmla="*/ 772 h 10000"/>
              <a:gd name="connsiteX48" fmla="*/ 4733 w 9195"/>
              <a:gd name="connsiteY48" fmla="*/ 772 h 10000"/>
              <a:gd name="connsiteX49" fmla="*/ 4999 w 9195"/>
              <a:gd name="connsiteY49" fmla="*/ 1178 h 10000"/>
              <a:gd name="connsiteX0" fmla="*/ 9739 w 9739"/>
              <a:gd name="connsiteY0" fmla="*/ 9593 h 9593"/>
              <a:gd name="connsiteX1" fmla="*/ 9158 w 9739"/>
              <a:gd name="connsiteY1" fmla="*/ 9593 h 9593"/>
              <a:gd name="connsiteX2" fmla="*/ 9158 w 9739"/>
              <a:gd name="connsiteY2" fmla="*/ 9187 h 9593"/>
              <a:gd name="connsiteX3" fmla="*/ 8867 w 9739"/>
              <a:gd name="connsiteY3" fmla="*/ 9187 h 9593"/>
              <a:gd name="connsiteX4" fmla="*/ 8867 w 9739"/>
              <a:gd name="connsiteY4" fmla="*/ 8373 h 9593"/>
              <a:gd name="connsiteX5" fmla="*/ 8287 w 9739"/>
              <a:gd name="connsiteY5" fmla="*/ 7601 h 9593"/>
              <a:gd name="connsiteX6" fmla="*/ 6889 w 9739"/>
              <a:gd name="connsiteY6" fmla="*/ 7561 h 9593"/>
              <a:gd name="connsiteX7" fmla="*/ 6482 w 9739"/>
              <a:gd name="connsiteY7" fmla="*/ 6869 h 9593"/>
              <a:gd name="connsiteX8" fmla="*/ 6832 w 9739"/>
              <a:gd name="connsiteY8" fmla="*/ 6747 h 9593"/>
              <a:gd name="connsiteX9" fmla="*/ 6569 w 9739"/>
              <a:gd name="connsiteY9" fmla="*/ 5773 h 9593"/>
              <a:gd name="connsiteX10" fmla="*/ 6889 w 9739"/>
              <a:gd name="connsiteY10" fmla="*/ 5123 h 9593"/>
              <a:gd name="connsiteX11" fmla="*/ 6047 w 9739"/>
              <a:gd name="connsiteY11" fmla="*/ 5162 h 9593"/>
              <a:gd name="connsiteX12" fmla="*/ 6103 w 9739"/>
              <a:gd name="connsiteY12" fmla="*/ 5609 h 9593"/>
              <a:gd name="connsiteX13" fmla="*/ 5786 w 9739"/>
              <a:gd name="connsiteY13" fmla="*/ 6016 h 9593"/>
              <a:gd name="connsiteX14" fmla="*/ 5407 w 9739"/>
              <a:gd name="connsiteY14" fmla="*/ 5975 h 9593"/>
              <a:gd name="connsiteX15" fmla="*/ 4302 w 9739"/>
              <a:gd name="connsiteY15" fmla="*/ 6381 h 9593"/>
              <a:gd name="connsiteX16" fmla="*/ 4302 w 9739"/>
              <a:gd name="connsiteY16" fmla="*/ 9593 h 9593"/>
              <a:gd name="connsiteX17" fmla="*/ 4011 w 9739"/>
              <a:gd name="connsiteY17" fmla="*/ 9593 h 9593"/>
              <a:gd name="connsiteX18" fmla="*/ 3428 w 9739"/>
              <a:gd name="connsiteY18" fmla="*/ 8779 h 9593"/>
              <a:gd name="connsiteX19" fmla="*/ 2588 w 9739"/>
              <a:gd name="connsiteY19" fmla="*/ 9187 h 9593"/>
              <a:gd name="connsiteX20" fmla="*/ 2588 w 9739"/>
              <a:gd name="connsiteY20" fmla="*/ 8373 h 9593"/>
              <a:gd name="connsiteX21" fmla="*/ 2298 w 9739"/>
              <a:gd name="connsiteY21" fmla="*/ 8373 h 9593"/>
              <a:gd name="connsiteX22" fmla="*/ 2005 w 9739"/>
              <a:gd name="connsiteY22" fmla="*/ 7195 h 9593"/>
              <a:gd name="connsiteX23" fmla="*/ 1715 w 9739"/>
              <a:gd name="connsiteY23" fmla="*/ 7195 h 9593"/>
              <a:gd name="connsiteX24" fmla="*/ 2298 w 9739"/>
              <a:gd name="connsiteY24" fmla="*/ 7195 h 9593"/>
              <a:gd name="connsiteX25" fmla="*/ 2005 w 9739"/>
              <a:gd name="connsiteY25" fmla="*/ 6789 h 9593"/>
              <a:gd name="connsiteX26" fmla="*/ 2298 w 9739"/>
              <a:gd name="connsiteY26" fmla="*/ 6381 h 9593"/>
              <a:gd name="connsiteX27" fmla="*/ 3428 w 9739"/>
              <a:gd name="connsiteY27" fmla="*/ 6381 h 9593"/>
              <a:gd name="connsiteX28" fmla="*/ 3142 w 9739"/>
              <a:gd name="connsiteY28" fmla="*/ 5203 h 9593"/>
              <a:gd name="connsiteX29" fmla="*/ 2588 w 9739"/>
              <a:gd name="connsiteY29" fmla="*/ 4796 h 9593"/>
              <a:gd name="connsiteX30" fmla="*/ 2005 w 9739"/>
              <a:gd name="connsiteY30" fmla="*/ 4390 h 9593"/>
              <a:gd name="connsiteX31" fmla="*/ 1135 w 9739"/>
              <a:gd name="connsiteY31" fmla="*/ 5203 h 9593"/>
              <a:gd name="connsiteX32" fmla="*/ 871 w 9739"/>
              <a:gd name="connsiteY32" fmla="*/ 5203 h 9593"/>
              <a:gd name="connsiteX33" fmla="*/ 1135 w 9739"/>
              <a:gd name="connsiteY33" fmla="*/ 4796 h 9593"/>
              <a:gd name="connsiteX34" fmla="*/ 871 w 9739"/>
              <a:gd name="connsiteY34" fmla="*/ 3982 h 9593"/>
              <a:gd name="connsiteX35" fmla="*/ 293 w 9739"/>
              <a:gd name="connsiteY35" fmla="*/ 3982 h 9593"/>
              <a:gd name="connsiteX36" fmla="*/ 0 w 9739"/>
              <a:gd name="connsiteY36" fmla="*/ 3171 h 9593"/>
              <a:gd name="connsiteX37" fmla="*/ 293 w 9739"/>
              <a:gd name="connsiteY37" fmla="*/ 1178 h 9593"/>
              <a:gd name="connsiteX38" fmla="*/ 871 w 9739"/>
              <a:gd name="connsiteY38" fmla="*/ 1992 h 9593"/>
              <a:gd name="connsiteX39" fmla="*/ 1135 w 9739"/>
              <a:gd name="connsiteY39" fmla="*/ 1992 h 9593"/>
              <a:gd name="connsiteX40" fmla="*/ 871 w 9739"/>
              <a:gd name="connsiteY40" fmla="*/ 1178 h 9593"/>
              <a:gd name="connsiteX41" fmla="*/ 1715 w 9739"/>
              <a:gd name="connsiteY41" fmla="*/ 0 h 9593"/>
              <a:gd name="connsiteX42" fmla="*/ 2298 w 9739"/>
              <a:gd name="connsiteY42" fmla="*/ 365 h 9593"/>
              <a:gd name="connsiteX43" fmla="*/ 2588 w 9739"/>
              <a:gd name="connsiteY43" fmla="*/ 0 h 9593"/>
              <a:gd name="connsiteX44" fmla="*/ 3142 w 9739"/>
              <a:gd name="connsiteY44" fmla="*/ 365 h 9593"/>
              <a:gd name="connsiteX45" fmla="*/ 4011 w 9739"/>
              <a:gd name="connsiteY45" fmla="*/ 1178 h 9593"/>
              <a:gd name="connsiteX46" fmla="*/ 4564 w 9739"/>
              <a:gd name="connsiteY46" fmla="*/ 772 h 9593"/>
              <a:gd name="connsiteX47" fmla="*/ 5147 w 9739"/>
              <a:gd name="connsiteY47" fmla="*/ 772 h 9593"/>
              <a:gd name="connsiteX48" fmla="*/ 5437 w 9739"/>
              <a:gd name="connsiteY48" fmla="*/ 1178 h 9593"/>
              <a:gd name="connsiteX0" fmla="*/ 9403 w 9403"/>
              <a:gd name="connsiteY0" fmla="*/ 10000 h 10000"/>
              <a:gd name="connsiteX1" fmla="*/ 9403 w 9403"/>
              <a:gd name="connsiteY1" fmla="*/ 9577 h 10000"/>
              <a:gd name="connsiteX2" fmla="*/ 9105 w 9403"/>
              <a:gd name="connsiteY2" fmla="*/ 9577 h 10000"/>
              <a:gd name="connsiteX3" fmla="*/ 9105 w 9403"/>
              <a:gd name="connsiteY3" fmla="*/ 8728 h 10000"/>
              <a:gd name="connsiteX4" fmla="*/ 8509 w 9403"/>
              <a:gd name="connsiteY4" fmla="*/ 7923 h 10000"/>
              <a:gd name="connsiteX5" fmla="*/ 7074 w 9403"/>
              <a:gd name="connsiteY5" fmla="*/ 7882 h 10000"/>
              <a:gd name="connsiteX6" fmla="*/ 6656 w 9403"/>
              <a:gd name="connsiteY6" fmla="*/ 7160 h 10000"/>
              <a:gd name="connsiteX7" fmla="*/ 7015 w 9403"/>
              <a:gd name="connsiteY7" fmla="*/ 7033 h 10000"/>
              <a:gd name="connsiteX8" fmla="*/ 6745 w 9403"/>
              <a:gd name="connsiteY8" fmla="*/ 6018 h 10000"/>
              <a:gd name="connsiteX9" fmla="*/ 7074 w 9403"/>
              <a:gd name="connsiteY9" fmla="*/ 5340 h 10000"/>
              <a:gd name="connsiteX10" fmla="*/ 6209 w 9403"/>
              <a:gd name="connsiteY10" fmla="*/ 5381 h 10000"/>
              <a:gd name="connsiteX11" fmla="*/ 6267 w 9403"/>
              <a:gd name="connsiteY11" fmla="*/ 5847 h 10000"/>
              <a:gd name="connsiteX12" fmla="*/ 5941 w 9403"/>
              <a:gd name="connsiteY12" fmla="*/ 6271 h 10000"/>
              <a:gd name="connsiteX13" fmla="*/ 5552 w 9403"/>
              <a:gd name="connsiteY13" fmla="*/ 6228 h 10000"/>
              <a:gd name="connsiteX14" fmla="*/ 4417 w 9403"/>
              <a:gd name="connsiteY14" fmla="*/ 6652 h 10000"/>
              <a:gd name="connsiteX15" fmla="*/ 4417 w 9403"/>
              <a:gd name="connsiteY15" fmla="*/ 10000 h 10000"/>
              <a:gd name="connsiteX16" fmla="*/ 4118 w 9403"/>
              <a:gd name="connsiteY16" fmla="*/ 10000 h 10000"/>
              <a:gd name="connsiteX17" fmla="*/ 3520 w 9403"/>
              <a:gd name="connsiteY17" fmla="*/ 9151 h 10000"/>
              <a:gd name="connsiteX18" fmla="*/ 2657 w 9403"/>
              <a:gd name="connsiteY18" fmla="*/ 9577 h 10000"/>
              <a:gd name="connsiteX19" fmla="*/ 2657 w 9403"/>
              <a:gd name="connsiteY19" fmla="*/ 8728 h 10000"/>
              <a:gd name="connsiteX20" fmla="*/ 2360 w 9403"/>
              <a:gd name="connsiteY20" fmla="*/ 8728 h 10000"/>
              <a:gd name="connsiteX21" fmla="*/ 2059 w 9403"/>
              <a:gd name="connsiteY21" fmla="*/ 7500 h 10000"/>
              <a:gd name="connsiteX22" fmla="*/ 1761 w 9403"/>
              <a:gd name="connsiteY22" fmla="*/ 7500 h 10000"/>
              <a:gd name="connsiteX23" fmla="*/ 2360 w 9403"/>
              <a:gd name="connsiteY23" fmla="*/ 7500 h 10000"/>
              <a:gd name="connsiteX24" fmla="*/ 2059 w 9403"/>
              <a:gd name="connsiteY24" fmla="*/ 7077 h 10000"/>
              <a:gd name="connsiteX25" fmla="*/ 2360 w 9403"/>
              <a:gd name="connsiteY25" fmla="*/ 6652 h 10000"/>
              <a:gd name="connsiteX26" fmla="*/ 3520 w 9403"/>
              <a:gd name="connsiteY26" fmla="*/ 6652 h 10000"/>
              <a:gd name="connsiteX27" fmla="*/ 3226 w 9403"/>
              <a:gd name="connsiteY27" fmla="*/ 5424 h 10000"/>
              <a:gd name="connsiteX28" fmla="*/ 2657 w 9403"/>
              <a:gd name="connsiteY28" fmla="*/ 4999 h 10000"/>
              <a:gd name="connsiteX29" fmla="*/ 2059 w 9403"/>
              <a:gd name="connsiteY29" fmla="*/ 4576 h 10000"/>
              <a:gd name="connsiteX30" fmla="*/ 1165 w 9403"/>
              <a:gd name="connsiteY30" fmla="*/ 5424 h 10000"/>
              <a:gd name="connsiteX31" fmla="*/ 894 w 9403"/>
              <a:gd name="connsiteY31" fmla="*/ 5424 h 10000"/>
              <a:gd name="connsiteX32" fmla="*/ 1165 w 9403"/>
              <a:gd name="connsiteY32" fmla="*/ 4999 h 10000"/>
              <a:gd name="connsiteX33" fmla="*/ 894 w 9403"/>
              <a:gd name="connsiteY33" fmla="*/ 4151 h 10000"/>
              <a:gd name="connsiteX34" fmla="*/ 301 w 9403"/>
              <a:gd name="connsiteY34" fmla="*/ 4151 h 10000"/>
              <a:gd name="connsiteX35" fmla="*/ 0 w 9403"/>
              <a:gd name="connsiteY35" fmla="*/ 3306 h 10000"/>
              <a:gd name="connsiteX36" fmla="*/ 301 w 9403"/>
              <a:gd name="connsiteY36" fmla="*/ 1228 h 10000"/>
              <a:gd name="connsiteX37" fmla="*/ 894 w 9403"/>
              <a:gd name="connsiteY37" fmla="*/ 2077 h 10000"/>
              <a:gd name="connsiteX38" fmla="*/ 1165 w 9403"/>
              <a:gd name="connsiteY38" fmla="*/ 2077 h 10000"/>
              <a:gd name="connsiteX39" fmla="*/ 894 w 9403"/>
              <a:gd name="connsiteY39" fmla="*/ 1228 h 10000"/>
              <a:gd name="connsiteX40" fmla="*/ 1761 w 9403"/>
              <a:gd name="connsiteY40" fmla="*/ 0 h 10000"/>
              <a:gd name="connsiteX41" fmla="*/ 2360 w 9403"/>
              <a:gd name="connsiteY41" fmla="*/ 380 h 10000"/>
              <a:gd name="connsiteX42" fmla="*/ 2657 w 9403"/>
              <a:gd name="connsiteY42" fmla="*/ 0 h 10000"/>
              <a:gd name="connsiteX43" fmla="*/ 3226 w 9403"/>
              <a:gd name="connsiteY43" fmla="*/ 380 h 10000"/>
              <a:gd name="connsiteX44" fmla="*/ 4118 w 9403"/>
              <a:gd name="connsiteY44" fmla="*/ 1228 h 10000"/>
              <a:gd name="connsiteX45" fmla="*/ 4686 w 9403"/>
              <a:gd name="connsiteY45" fmla="*/ 805 h 10000"/>
              <a:gd name="connsiteX46" fmla="*/ 5285 w 9403"/>
              <a:gd name="connsiteY46" fmla="*/ 805 h 10000"/>
              <a:gd name="connsiteX47" fmla="*/ 5583 w 9403"/>
              <a:gd name="connsiteY47" fmla="*/ 1228 h 10000"/>
              <a:gd name="connsiteX0" fmla="*/ 10000 w 10000"/>
              <a:gd name="connsiteY0" fmla="*/ 10000 h 10000"/>
              <a:gd name="connsiteX1" fmla="*/ 9683 w 10000"/>
              <a:gd name="connsiteY1" fmla="*/ 9577 h 10000"/>
              <a:gd name="connsiteX2" fmla="*/ 9683 w 10000"/>
              <a:gd name="connsiteY2" fmla="*/ 8728 h 10000"/>
              <a:gd name="connsiteX3" fmla="*/ 9049 w 10000"/>
              <a:gd name="connsiteY3" fmla="*/ 7923 h 10000"/>
              <a:gd name="connsiteX4" fmla="*/ 7523 w 10000"/>
              <a:gd name="connsiteY4" fmla="*/ 7882 h 10000"/>
              <a:gd name="connsiteX5" fmla="*/ 7079 w 10000"/>
              <a:gd name="connsiteY5" fmla="*/ 7160 h 10000"/>
              <a:gd name="connsiteX6" fmla="*/ 7460 w 10000"/>
              <a:gd name="connsiteY6" fmla="*/ 7033 h 10000"/>
              <a:gd name="connsiteX7" fmla="*/ 7173 w 10000"/>
              <a:gd name="connsiteY7" fmla="*/ 6018 h 10000"/>
              <a:gd name="connsiteX8" fmla="*/ 7523 w 10000"/>
              <a:gd name="connsiteY8" fmla="*/ 5340 h 10000"/>
              <a:gd name="connsiteX9" fmla="*/ 6603 w 10000"/>
              <a:gd name="connsiteY9" fmla="*/ 5381 h 10000"/>
              <a:gd name="connsiteX10" fmla="*/ 6665 w 10000"/>
              <a:gd name="connsiteY10" fmla="*/ 5847 h 10000"/>
              <a:gd name="connsiteX11" fmla="*/ 6318 w 10000"/>
              <a:gd name="connsiteY11" fmla="*/ 6271 h 10000"/>
              <a:gd name="connsiteX12" fmla="*/ 5904 w 10000"/>
              <a:gd name="connsiteY12" fmla="*/ 6228 h 10000"/>
              <a:gd name="connsiteX13" fmla="*/ 4697 w 10000"/>
              <a:gd name="connsiteY13" fmla="*/ 6652 h 10000"/>
              <a:gd name="connsiteX14" fmla="*/ 4697 w 10000"/>
              <a:gd name="connsiteY14" fmla="*/ 10000 h 10000"/>
              <a:gd name="connsiteX15" fmla="*/ 4379 w 10000"/>
              <a:gd name="connsiteY15" fmla="*/ 10000 h 10000"/>
              <a:gd name="connsiteX16" fmla="*/ 3743 w 10000"/>
              <a:gd name="connsiteY16" fmla="*/ 9151 h 10000"/>
              <a:gd name="connsiteX17" fmla="*/ 2826 w 10000"/>
              <a:gd name="connsiteY17" fmla="*/ 9577 h 10000"/>
              <a:gd name="connsiteX18" fmla="*/ 2826 w 10000"/>
              <a:gd name="connsiteY18" fmla="*/ 8728 h 10000"/>
              <a:gd name="connsiteX19" fmla="*/ 2510 w 10000"/>
              <a:gd name="connsiteY19" fmla="*/ 8728 h 10000"/>
              <a:gd name="connsiteX20" fmla="*/ 2190 w 10000"/>
              <a:gd name="connsiteY20" fmla="*/ 7500 h 10000"/>
              <a:gd name="connsiteX21" fmla="*/ 1873 w 10000"/>
              <a:gd name="connsiteY21" fmla="*/ 7500 h 10000"/>
              <a:gd name="connsiteX22" fmla="*/ 2510 w 10000"/>
              <a:gd name="connsiteY22" fmla="*/ 7500 h 10000"/>
              <a:gd name="connsiteX23" fmla="*/ 2190 w 10000"/>
              <a:gd name="connsiteY23" fmla="*/ 7077 h 10000"/>
              <a:gd name="connsiteX24" fmla="*/ 2510 w 10000"/>
              <a:gd name="connsiteY24" fmla="*/ 6652 h 10000"/>
              <a:gd name="connsiteX25" fmla="*/ 3743 w 10000"/>
              <a:gd name="connsiteY25" fmla="*/ 6652 h 10000"/>
              <a:gd name="connsiteX26" fmla="*/ 3431 w 10000"/>
              <a:gd name="connsiteY26" fmla="*/ 5424 h 10000"/>
              <a:gd name="connsiteX27" fmla="*/ 2826 w 10000"/>
              <a:gd name="connsiteY27" fmla="*/ 4999 h 10000"/>
              <a:gd name="connsiteX28" fmla="*/ 2190 w 10000"/>
              <a:gd name="connsiteY28" fmla="*/ 4576 h 10000"/>
              <a:gd name="connsiteX29" fmla="*/ 1239 w 10000"/>
              <a:gd name="connsiteY29" fmla="*/ 5424 h 10000"/>
              <a:gd name="connsiteX30" fmla="*/ 951 w 10000"/>
              <a:gd name="connsiteY30" fmla="*/ 5424 h 10000"/>
              <a:gd name="connsiteX31" fmla="*/ 1239 w 10000"/>
              <a:gd name="connsiteY31" fmla="*/ 4999 h 10000"/>
              <a:gd name="connsiteX32" fmla="*/ 951 w 10000"/>
              <a:gd name="connsiteY32" fmla="*/ 4151 h 10000"/>
              <a:gd name="connsiteX33" fmla="*/ 320 w 10000"/>
              <a:gd name="connsiteY33" fmla="*/ 4151 h 10000"/>
              <a:gd name="connsiteX34" fmla="*/ 0 w 10000"/>
              <a:gd name="connsiteY34" fmla="*/ 3306 h 10000"/>
              <a:gd name="connsiteX35" fmla="*/ 320 w 10000"/>
              <a:gd name="connsiteY35" fmla="*/ 1228 h 10000"/>
              <a:gd name="connsiteX36" fmla="*/ 951 w 10000"/>
              <a:gd name="connsiteY36" fmla="*/ 2077 h 10000"/>
              <a:gd name="connsiteX37" fmla="*/ 1239 w 10000"/>
              <a:gd name="connsiteY37" fmla="*/ 2077 h 10000"/>
              <a:gd name="connsiteX38" fmla="*/ 951 w 10000"/>
              <a:gd name="connsiteY38" fmla="*/ 1228 h 10000"/>
              <a:gd name="connsiteX39" fmla="*/ 1873 w 10000"/>
              <a:gd name="connsiteY39" fmla="*/ 0 h 10000"/>
              <a:gd name="connsiteX40" fmla="*/ 2510 w 10000"/>
              <a:gd name="connsiteY40" fmla="*/ 380 h 10000"/>
              <a:gd name="connsiteX41" fmla="*/ 2826 w 10000"/>
              <a:gd name="connsiteY41" fmla="*/ 0 h 10000"/>
              <a:gd name="connsiteX42" fmla="*/ 3431 w 10000"/>
              <a:gd name="connsiteY42" fmla="*/ 380 h 10000"/>
              <a:gd name="connsiteX43" fmla="*/ 4379 w 10000"/>
              <a:gd name="connsiteY43" fmla="*/ 1228 h 10000"/>
              <a:gd name="connsiteX44" fmla="*/ 4984 w 10000"/>
              <a:gd name="connsiteY44" fmla="*/ 805 h 10000"/>
              <a:gd name="connsiteX45" fmla="*/ 5621 w 10000"/>
              <a:gd name="connsiteY45" fmla="*/ 805 h 10000"/>
              <a:gd name="connsiteX46" fmla="*/ 5937 w 10000"/>
              <a:gd name="connsiteY46" fmla="*/ 1228 h 10000"/>
              <a:gd name="connsiteX0" fmla="*/ 10000 w 10000"/>
              <a:gd name="connsiteY0" fmla="*/ 10000 h 10000"/>
              <a:gd name="connsiteX1" fmla="*/ 9683 w 10000"/>
              <a:gd name="connsiteY1" fmla="*/ 8728 h 10000"/>
              <a:gd name="connsiteX2" fmla="*/ 9049 w 10000"/>
              <a:gd name="connsiteY2" fmla="*/ 7923 h 10000"/>
              <a:gd name="connsiteX3" fmla="*/ 7523 w 10000"/>
              <a:gd name="connsiteY3" fmla="*/ 7882 h 10000"/>
              <a:gd name="connsiteX4" fmla="*/ 7079 w 10000"/>
              <a:gd name="connsiteY4" fmla="*/ 7160 h 10000"/>
              <a:gd name="connsiteX5" fmla="*/ 7460 w 10000"/>
              <a:gd name="connsiteY5" fmla="*/ 7033 h 10000"/>
              <a:gd name="connsiteX6" fmla="*/ 7173 w 10000"/>
              <a:gd name="connsiteY6" fmla="*/ 6018 h 10000"/>
              <a:gd name="connsiteX7" fmla="*/ 7523 w 10000"/>
              <a:gd name="connsiteY7" fmla="*/ 5340 h 10000"/>
              <a:gd name="connsiteX8" fmla="*/ 6603 w 10000"/>
              <a:gd name="connsiteY8" fmla="*/ 5381 h 10000"/>
              <a:gd name="connsiteX9" fmla="*/ 6665 w 10000"/>
              <a:gd name="connsiteY9" fmla="*/ 5847 h 10000"/>
              <a:gd name="connsiteX10" fmla="*/ 6318 w 10000"/>
              <a:gd name="connsiteY10" fmla="*/ 6271 h 10000"/>
              <a:gd name="connsiteX11" fmla="*/ 5904 w 10000"/>
              <a:gd name="connsiteY11" fmla="*/ 6228 h 10000"/>
              <a:gd name="connsiteX12" fmla="*/ 4697 w 10000"/>
              <a:gd name="connsiteY12" fmla="*/ 6652 h 10000"/>
              <a:gd name="connsiteX13" fmla="*/ 4697 w 10000"/>
              <a:gd name="connsiteY13" fmla="*/ 10000 h 10000"/>
              <a:gd name="connsiteX14" fmla="*/ 4379 w 10000"/>
              <a:gd name="connsiteY14" fmla="*/ 10000 h 10000"/>
              <a:gd name="connsiteX15" fmla="*/ 3743 w 10000"/>
              <a:gd name="connsiteY15" fmla="*/ 9151 h 10000"/>
              <a:gd name="connsiteX16" fmla="*/ 2826 w 10000"/>
              <a:gd name="connsiteY16" fmla="*/ 9577 h 10000"/>
              <a:gd name="connsiteX17" fmla="*/ 2826 w 10000"/>
              <a:gd name="connsiteY17" fmla="*/ 8728 h 10000"/>
              <a:gd name="connsiteX18" fmla="*/ 2510 w 10000"/>
              <a:gd name="connsiteY18" fmla="*/ 8728 h 10000"/>
              <a:gd name="connsiteX19" fmla="*/ 2190 w 10000"/>
              <a:gd name="connsiteY19" fmla="*/ 7500 h 10000"/>
              <a:gd name="connsiteX20" fmla="*/ 1873 w 10000"/>
              <a:gd name="connsiteY20" fmla="*/ 7500 h 10000"/>
              <a:gd name="connsiteX21" fmla="*/ 2510 w 10000"/>
              <a:gd name="connsiteY21" fmla="*/ 7500 h 10000"/>
              <a:gd name="connsiteX22" fmla="*/ 2190 w 10000"/>
              <a:gd name="connsiteY22" fmla="*/ 7077 h 10000"/>
              <a:gd name="connsiteX23" fmla="*/ 2510 w 10000"/>
              <a:gd name="connsiteY23" fmla="*/ 6652 h 10000"/>
              <a:gd name="connsiteX24" fmla="*/ 3743 w 10000"/>
              <a:gd name="connsiteY24" fmla="*/ 6652 h 10000"/>
              <a:gd name="connsiteX25" fmla="*/ 3431 w 10000"/>
              <a:gd name="connsiteY25" fmla="*/ 5424 h 10000"/>
              <a:gd name="connsiteX26" fmla="*/ 2826 w 10000"/>
              <a:gd name="connsiteY26" fmla="*/ 4999 h 10000"/>
              <a:gd name="connsiteX27" fmla="*/ 2190 w 10000"/>
              <a:gd name="connsiteY27" fmla="*/ 4576 h 10000"/>
              <a:gd name="connsiteX28" fmla="*/ 1239 w 10000"/>
              <a:gd name="connsiteY28" fmla="*/ 5424 h 10000"/>
              <a:gd name="connsiteX29" fmla="*/ 951 w 10000"/>
              <a:gd name="connsiteY29" fmla="*/ 5424 h 10000"/>
              <a:gd name="connsiteX30" fmla="*/ 1239 w 10000"/>
              <a:gd name="connsiteY30" fmla="*/ 4999 h 10000"/>
              <a:gd name="connsiteX31" fmla="*/ 951 w 10000"/>
              <a:gd name="connsiteY31" fmla="*/ 4151 h 10000"/>
              <a:gd name="connsiteX32" fmla="*/ 320 w 10000"/>
              <a:gd name="connsiteY32" fmla="*/ 4151 h 10000"/>
              <a:gd name="connsiteX33" fmla="*/ 0 w 10000"/>
              <a:gd name="connsiteY33" fmla="*/ 3306 h 10000"/>
              <a:gd name="connsiteX34" fmla="*/ 320 w 10000"/>
              <a:gd name="connsiteY34" fmla="*/ 1228 h 10000"/>
              <a:gd name="connsiteX35" fmla="*/ 951 w 10000"/>
              <a:gd name="connsiteY35" fmla="*/ 2077 h 10000"/>
              <a:gd name="connsiteX36" fmla="*/ 1239 w 10000"/>
              <a:gd name="connsiteY36" fmla="*/ 2077 h 10000"/>
              <a:gd name="connsiteX37" fmla="*/ 951 w 10000"/>
              <a:gd name="connsiteY37" fmla="*/ 1228 h 10000"/>
              <a:gd name="connsiteX38" fmla="*/ 1873 w 10000"/>
              <a:gd name="connsiteY38" fmla="*/ 0 h 10000"/>
              <a:gd name="connsiteX39" fmla="*/ 2510 w 10000"/>
              <a:gd name="connsiteY39" fmla="*/ 380 h 10000"/>
              <a:gd name="connsiteX40" fmla="*/ 2826 w 10000"/>
              <a:gd name="connsiteY40" fmla="*/ 0 h 10000"/>
              <a:gd name="connsiteX41" fmla="*/ 3431 w 10000"/>
              <a:gd name="connsiteY41" fmla="*/ 380 h 10000"/>
              <a:gd name="connsiteX42" fmla="*/ 4379 w 10000"/>
              <a:gd name="connsiteY42" fmla="*/ 1228 h 10000"/>
              <a:gd name="connsiteX43" fmla="*/ 4984 w 10000"/>
              <a:gd name="connsiteY43" fmla="*/ 805 h 10000"/>
              <a:gd name="connsiteX44" fmla="*/ 5621 w 10000"/>
              <a:gd name="connsiteY44" fmla="*/ 805 h 10000"/>
              <a:gd name="connsiteX45" fmla="*/ 5937 w 10000"/>
              <a:gd name="connsiteY45" fmla="*/ 1228 h 10000"/>
              <a:gd name="connsiteX0" fmla="*/ 10000 w 10000"/>
              <a:gd name="connsiteY0" fmla="*/ 10000 h 10000"/>
              <a:gd name="connsiteX1" fmla="*/ 9049 w 10000"/>
              <a:gd name="connsiteY1" fmla="*/ 7923 h 10000"/>
              <a:gd name="connsiteX2" fmla="*/ 7523 w 10000"/>
              <a:gd name="connsiteY2" fmla="*/ 7882 h 10000"/>
              <a:gd name="connsiteX3" fmla="*/ 7079 w 10000"/>
              <a:gd name="connsiteY3" fmla="*/ 7160 h 10000"/>
              <a:gd name="connsiteX4" fmla="*/ 7460 w 10000"/>
              <a:gd name="connsiteY4" fmla="*/ 7033 h 10000"/>
              <a:gd name="connsiteX5" fmla="*/ 7173 w 10000"/>
              <a:gd name="connsiteY5" fmla="*/ 6018 h 10000"/>
              <a:gd name="connsiteX6" fmla="*/ 7523 w 10000"/>
              <a:gd name="connsiteY6" fmla="*/ 5340 h 10000"/>
              <a:gd name="connsiteX7" fmla="*/ 6603 w 10000"/>
              <a:gd name="connsiteY7" fmla="*/ 5381 h 10000"/>
              <a:gd name="connsiteX8" fmla="*/ 6665 w 10000"/>
              <a:gd name="connsiteY8" fmla="*/ 5847 h 10000"/>
              <a:gd name="connsiteX9" fmla="*/ 6318 w 10000"/>
              <a:gd name="connsiteY9" fmla="*/ 6271 h 10000"/>
              <a:gd name="connsiteX10" fmla="*/ 5904 w 10000"/>
              <a:gd name="connsiteY10" fmla="*/ 6228 h 10000"/>
              <a:gd name="connsiteX11" fmla="*/ 4697 w 10000"/>
              <a:gd name="connsiteY11" fmla="*/ 6652 h 10000"/>
              <a:gd name="connsiteX12" fmla="*/ 4697 w 10000"/>
              <a:gd name="connsiteY12" fmla="*/ 10000 h 10000"/>
              <a:gd name="connsiteX13" fmla="*/ 4379 w 10000"/>
              <a:gd name="connsiteY13" fmla="*/ 10000 h 10000"/>
              <a:gd name="connsiteX14" fmla="*/ 3743 w 10000"/>
              <a:gd name="connsiteY14" fmla="*/ 9151 h 10000"/>
              <a:gd name="connsiteX15" fmla="*/ 2826 w 10000"/>
              <a:gd name="connsiteY15" fmla="*/ 9577 h 10000"/>
              <a:gd name="connsiteX16" fmla="*/ 2826 w 10000"/>
              <a:gd name="connsiteY16" fmla="*/ 8728 h 10000"/>
              <a:gd name="connsiteX17" fmla="*/ 2510 w 10000"/>
              <a:gd name="connsiteY17" fmla="*/ 8728 h 10000"/>
              <a:gd name="connsiteX18" fmla="*/ 2190 w 10000"/>
              <a:gd name="connsiteY18" fmla="*/ 7500 h 10000"/>
              <a:gd name="connsiteX19" fmla="*/ 1873 w 10000"/>
              <a:gd name="connsiteY19" fmla="*/ 7500 h 10000"/>
              <a:gd name="connsiteX20" fmla="*/ 2510 w 10000"/>
              <a:gd name="connsiteY20" fmla="*/ 7500 h 10000"/>
              <a:gd name="connsiteX21" fmla="*/ 2190 w 10000"/>
              <a:gd name="connsiteY21" fmla="*/ 7077 h 10000"/>
              <a:gd name="connsiteX22" fmla="*/ 2510 w 10000"/>
              <a:gd name="connsiteY22" fmla="*/ 6652 h 10000"/>
              <a:gd name="connsiteX23" fmla="*/ 3743 w 10000"/>
              <a:gd name="connsiteY23" fmla="*/ 6652 h 10000"/>
              <a:gd name="connsiteX24" fmla="*/ 3431 w 10000"/>
              <a:gd name="connsiteY24" fmla="*/ 5424 h 10000"/>
              <a:gd name="connsiteX25" fmla="*/ 2826 w 10000"/>
              <a:gd name="connsiteY25" fmla="*/ 4999 h 10000"/>
              <a:gd name="connsiteX26" fmla="*/ 2190 w 10000"/>
              <a:gd name="connsiteY26" fmla="*/ 4576 h 10000"/>
              <a:gd name="connsiteX27" fmla="*/ 1239 w 10000"/>
              <a:gd name="connsiteY27" fmla="*/ 5424 h 10000"/>
              <a:gd name="connsiteX28" fmla="*/ 951 w 10000"/>
              <a:gd name="connsiteY28" fmla="*/ 5424 h 10000"/>
              <a:gd name="connsiteX29" fmla="*/ 1239 w 10000"/>
              <a:gd name="connsiteY29" fmla="*/ 4999 h 10000"/>
              <a:gd name="connsiteX30" fmla="*/ 951 w 10000"/>
              <a:gd name="connsiteY30" fmla="*/ 4151 h 10000"/>
              <a:gd name="connsiteX31" fmla="*/ 320 w 10000"/>
              <a:gd name="connsiteY31" fmla="*/ 4151 h 10000"/>
              <a:gd name="connsiteX32" fmla="*/ 0 w 10000"/>
              <a:gd name="connsiteY32" fmla="*/ 3306 h 10000"/>
              <a:gd name="connsiteX33" fmla="*/ 320 w 10000"/>
              <a:gd name="connsiteY33" fmla="*/ 1228 h 10000"/>
              <a:gd name="connsiteX34" fmla="*/ 951 w 10000"/>
              <a:gd name="connsiteY34" fmla="*/ 2077 h 10000"/>
              <a:gd name="connsiteX35" fmla="*/ 1239 w 10000"/>
              <a:gd name="connsiteY35" fmla="*/ 2077 h 10000"/>
              <a:gd name="connsiteX36" fmla="*/ 951 w 10000"/>
              <a:gd name="connsiteY36" fmla="*/ 1228 h 10000"/>
              <a:gd name="connsiteX37" fmla="*/ 1873 w 10000"/>
              <a:gd name="connsiteY37" fmla="*/ 0 h 10000"/>
              <a:gd name="connsiteX38" fmla="*/ 2510 w 10000"/>
              <a:gd name="connsiteY38" fmla="*/ 380 h 10000"/>
              <a:gd name="connsiteX39" fmla="*/ 2826 w 10000"/>
              <a:gd name="connsiteY39" fmla="*/ 0 h 10000"/>
              <a:gd name="connsiteX40" fmla="*/ 3431 w 10000"/>
              <a:gd name="connsiteY40" fmla="*/ 380 h 10000"/>
              <a:gd name="connsiteX41" fmla="*/ 4379 w 10000"/>
              <a:gd name="connsiteY41" fmla="*/ 1228 h 10000"/>
              <a:gd name="connsiteX42" fmla="*/ 4984 w 10000"/>
              <a:gd name="connsiteY42" fmla="*/ 805 h 10000"/>
              <a:gd name="connsiteX43" fmla="*/ 5621 w 10000"/>
              <a:gd name="connsiteY43" fmla="*/ 805 h 10000"/>
              <a:gd name="connsiteX44" fmla="*/ 5937 w 10000"/>
              <a:gd name="connsiteY44" fmla="*/ 1228 h 10000"/>
              <a:gd name="connsiteX0" fmla="*/ 9049 w 9049"/>
              <a:gd name="connsiteY0" fmla="*/ 7923 h 10000"/>
              <a:gd name="connsiteX1" fmla="*/ 7523 w 9049"/>
              <a:gd name="connsiteY1" fmla="*/ 7882 h 10000"/>
              <a:gd name="connsiteX2" fmla="*/ 7079 w 9049"/>
              <a:gd name="connsiteY2" fmla="*/ 7160 h 10000"/>
              <a:gd name="connsiteX3" fmla="*/ 7460 w 9049"/>
              <a:gd name="connsiteY3" fmla="*/ 7033 h 10000"/>
              <a:gd name="connsiteX4" fmla="*/ 7173 w 9049"/>
              <a:gd name="connsiteY4" fmla="*/ 6018 h 10000"/>
              <a:gd name="connsiteX5" fmla="*/ 7523 w 9049"/>
              <a:gd name="connsiteY5" fmla="*/ 5340 h 10000"/>
              <a:gd name="connsiteX6" fmla="*/ 6603 w 9049"/>
              <a:gd name="connsiteY6" fmla="*/ 5381 h 10000"/>
              <a:gd name="connsiteX7" fmla="*/ 6665 w 9049"/>
              <a:gd name="connsiteY7" fmla="*/ 5847 h 10000"/>
              <a:gd name="connsiteX8" fmla="*/ 6318 w 9049"/>
              <a:gd name="connsiteY8" fmla="*/ 6271 h 10000"/>
              <a:gd name="connsiteX9" fmla="*/ 5904 w 9049"/>
              <a:gd name="connsiteY9" fmla="*/ 6228 h 10000"/>
              <a:gd name="connsiteX10" fmla="*/ 4697 w 9049"/>
              <a:gd name="connsiteY10" fmla="*/ 6652 h 10000"/>
              <a:gd name="connsiteX11" fmla="*/ 4697 w 9049"/>
              <a:gd name="connsiteY11" fmla="*/ 10000 h 10000"/>
              <a:gd name="connsiteX12" fmla="*/ 4379 w 9049"/>
              <a:gd name="connsiteY12" fmla="*/ 10000 h 10000"/>
              <a:gd name="connsiteX13" fmla="*/ 3743 w 9049"/>
              <a:gd name="connsiteY13" fmla="*/ 9151 h 10000"/>
              <a:gd name="connsiteX14" fmla="*/ 2826 w 9049"/>
              <a:gd name="connsiteY14" fmla="*/ 9577 h 10000"/>
              <a:gd name="connsiteX15" fmla="*/ 2826 w 9049"/>
              <a:gd name="connsiteY15" fmla="*/ 8728 h 10000"/>
              <a:gd name="connsiteX16" fmla="*/ 2510 w 9049"/>
              <a:gd name="connsiteY16" fmla="*/ 8728 h 10000"/>
              <a:gd name="connsiteX17" fmla="*/ 2190 w 9049"/>
              <a:gd name="connsiteY17" fmla="*/ 7500 h 10000"/>
              <a:gd name="connsiteX18" fmla="*/ 1873 w 9049"/>
              <a:gd name="connsiteY18" fmla="*/ 7500 h 10000"/>
              <a:gd name="connsiteX19" fmla="*/ 2510 w 9049"/>
              <a:gd name="connsiteY19" fmla="*/ 7500 h 10000"/>
              <a:gd name="connsiteX20" fmla="*/ 2190 w 9049"/>
              <a:gd name="connsiteY20" fmla="*/ 7077 h 10000"/>
              <a:gd name="connsiteX21" fmla="*/ 2510 w 9049"/>
              <a:gd name="connsiteY21" fmla="*/ 6652 h 10000"/>
              <a:gd name="connsiteX22" fmla="*/ 3743 w 9049"/>
              <a:gd name="connsiteY22" fmla="*/ 6652 h 10000"/>
              <a:gd name="connsiteX23" fmla="*/ 3431 w 9049"/>
              <a:gd name="connsiteY23" fmla="*/ 5424 h 10000"/>
              <a:gd name="connsiteX24" fmla="*/ 2826 w 9049"/>
              <a:gd name="connsiteY24" fmla="*/ 4999 h 10000"/>
              <a:gd name="connsiteX25" fmla="*/ 2190 w 9049"/>
              <a:gd name="connsiteY25" fmla="*/ 4576 h 10000"/>
              <a:gd name="connsiteX26" fmla="*/ 1239 w 9049"/>
              <a:gd name="connsiteY26" fmla="*/ 5424 h 10000"/>
              <a:gd name="connsiteX27" fmla="*/ 951 w 9049"/>
              <a:gd name="connsiteY27" fmla="*/ 5424 h 10000"/>
              <a:gd name="connsiteX28" fmla="*/ 1239 w 9049"/>
              <a:gd name="connsiteY28" fmla="*/ 4999 h 10000"/>
              <a:gd name="connsiteX29" fmla="*/ 951 w 9049"/>
              <a:gd name="connsiteY29" fmla="*/ 4151 h 10000"/>
              <a:gd name="connsiteX30" fmla="*/ 320 w 9049"/>
              <a:gd name="connsiteY30" fmla="*/ 4151 h 10000"/>
              <a:gd name="connsiteX31" fmla="*/ 0 w 9049"/>
              <a:gd name="connsiteY31" fmla="*/ 3306 h 10000"/>
              <a:gd name="connsiteX32" fmla="*/ 320 w 9049"/>
              <a:gd name="connsiteY32" fmla="*/ 1228 h 10000"/>
              <a:gd name="connsiteX33" fmla="*/ 951 w 9049"/>
              <a:gd name="connsiteY33" fmla="*/ 2077 h 10000"/>
              <a:gd name="connsiteX34" fmla="*/ 1239 w 9049"/>
              <a:gd name="connsiteY34" fmla="*/ 2077 h 10000"/>
              <a:gd name="connsiteX35" fmla="*/ 951 w 9049"/>
              <a:gd name="connsiteY35" fmla="*/ 1228 h 10000"/>
              <a:gd name="connsiteX36" fmla="*/ 1873 w 9049"/>
              <a:gd name="connsiteY36" fmla="*/ 0 h 10000"/>
              <a:gd name="connsiteX37" fmla="*/ 2510 w 9049"/>
              <a:gd name="connsiteY37" fmla="*/ 380 h 10000"/>
              <a:gd name="connsiteX38" fmla="*/ 2826 w 9049"/>
              <a:gd name="connsiteY38" fmla="*/ 0 h 10000"/>
              <a:gd name="connsiteX39" fmla="*/ 3431 w 9049"/>
              <a:gd name="connsiteY39" fmla="*/ 380 h 10000"/>
              <a:gd name="connsiteX40" fmla="*/ 4379 w 9049"/>
              <a:gd name="connsiteY40" fmla="*/ 1228 h 10000"/>
              <a:gd name="connsiteX41" fmla="*/ 4984 w 9049"/>
              <a:gd name="connsiteY41" fmla="*/ 805 h 10000"/>
              <a:gd name="connsiteX42" fmla="*/ 5621 w 9049"/>
              <a:gd name="connsiteY42" fmla="*/ 805 h 10000"/>
              <a:gd name="connsiteX43" fmla="*/ 5937 w 9049"/>
              <a:gd name="connsiteY43" fmla="*/ 1228 h 10000"/>
              <a:gd name="connsiteX0" fmla="*/ 8314 w 8314"/>
              <a:gd name="connsiteY0" fmla="*/ 7882 h 10000"/>
              <a:gd name="connsiteX1" fmla="*/ 7823 w 8314"/>
              <a:gd name="connsiteY1" fmla="*/ 7160 h 10000"/>
              <a:gd name="connsiteX2" fmla="*/ 8244 w 8314"/>
              <a:gd name="connsiteY2" fmla="*/ 7033 h 10000"/>
              <a:gd name="connsiteX3" fmla="*/ 7927 w 8314"/>
              <a:gd name="connsiteY3" fmla="*/ 6018 h 10000"/>
              <a:gd name="connsiteX4" fmla="*/ 8314 w 8314"/>
              <a:gd name="connsiteY4" fmla="*/ 5340 h 10000"/>
              <a:gd name="connsiteX5" fmla="*/ 7297 w 8314"/>
              <a:gd name="connsiteY5" fmla="*/ 5381 h 10000"/>
              <a:gd name="connsiteX6" fmla="*/ 7365 w 8314"/>
              <a:gd name="connsiteY6" fmla="*/ 5847 h 10000"/>
              <a:gd name="connsiteX7" fmla="*/ 6982 w 8314"/>
              <a:gd name="connsiteY7" fmla="*/ 6271 h 10000"/>
              <a:gd name="connsiteX8" fmla="*/ 6524 w 8314"/>
              <a:gd name="connsiteY8" fmla="*/ 6228 h 10000"/>
              <a:gd name="connsiteX9" fmla="*/ 5191 w 8314"/>
              <a:gd name="connsiteY9" fmla="*/ 6652 h 10000"/>
              <a:gd name="connsiteX10" fmla="*/ 5191 w 8314"/>
              <a:gd name="connsiteY10" fmla="*/ 10000 h 10000"/>
              <a:gd name="connsiteX11" fmla="*/ 4839 w 8314"/>
              <a:gd name="connsiteY11" fmla="*/ 10000 h 10000"/>
              <a:gd name="connsiteX12" fmla="*/ 4136 w 8314"/>
              <a:gd name="connsiteY12" fmla="*/ 9151 h 10000"/>
              <a:gd name="connsiteX13" fmla="*/ 3123 w 8314"/>
              <a:gd name="connsiteY13" fmla="*/ 9577 h 10000"/>
              <a:gd name="connsiteX14" fmla="*/ 3123 w 8314"/>
              <a:gd name="connsiteY14" fmla="*/ 8728 h 10000"/>
              <a:gd name="connsiteX15" fmla="*/ 2774 w 8314"/>
              <a:gd name="connsiteY15" fmla="*/ 8728 h 10000"/>
              <a:gd name="connsiteX16" fmla="*/ 2420 w 8314"/>
              <a:gd name="connsiteY16" fmla="*/ 7500 h 10000"/>
              <a:gd name="connsiteX17" fmla="*/ 2070 w 8314"/>
              <a:gd name="connsiteY17" fmla="*/ 7500 h 10000"/>
              <a:gd name="connsiteX18" fmla="*/ 2774 w 8314"/>
              <a:gd name="connsiteY18" fmla="*/ 7500 h 10000"/>
              <a:gd name="connsiteX19" fmla="*/ 2420 w 8314"/>
              <a:gd name="connsiteY19" fmla="*/ 7077 h 10000"/>
              <a:gd name="connsiteX20" fmla="*/ 2774 w 8314"/>
              <a:gd name="connsiteY20" fmla="*/ 6652 h 10000"/>
              <a:gd name="connsiteX21" fmla="*/ 4136 w 8314"/>
              <a:gd name="connsiteY21" fmla="*/ 6652 h 10000"/>
              <a:gd name="connsiteX22" fmla="*/ 3792 w 8314"/>
              <a:gd name="connsiteY22" fmla="*/ 5424 h 10000"/>
              <a:gd name="connsiteX23" fmla="*/ 3123 w 8314"/>
              <a:gd name="connsiteY23" fmla="*/ 4999 h 10000"/>
              <a:gd name="connsiteX24" fmla="*/ 2420 w 8314"/>
              <a:gd name="connsiteY24" fmla="*/ 4576 h 10000"/>
              <a:gd name="connsiteX25" fmla="*/ 1369 w 8314"/>
              <a:gd name="connsiteY25" fmla="*/ 5424 h 10000"/>
              <a:gd name="connsiteX26" fmla="*/ 1051 w 8314"/>
              <a:gd name="connsiteY26" fmla="*/ 5424 h 10000"/>
              <a:gd name="connsiteX27" fmla="*/ 1369 w 8314"/>
              <a:gd name="connsiteY27" fmla="*/ 4999 h 10000"/>
              <a:gd name="connsiteX28" fmla="*/ 1051 w 8314"/>
              <a:gd name="connsiteY28" fmla="*/ 4151 h 10000"/>
              <a:gd name="connsiteX29" fmla="*/ 354 w 8314"/>
              <a:gd name="connsiteY29" fmla="*/ 4151 h 10000"/>
              <a:gd name="connsiteX30" fmla="*/ 0 w 8314"/>
              <a:gd name="connsiteY30" fmla="*/ 3306 h 10000"/>
              <a:gd name="connsiteX31" fmla="*/ 354 w 8314"/>
              <a:gd name="connsiteY31" fmla="*/ 1228 h 10000"/>
              <a:gd name="connsiteX32" fmla="*/ 1051 w 8314"/>
              <a:gd name="connsiteY32" fmla="*/ 2077 h 10000"/>
              <a:gd name="connsiteX33" fmla="*/ 1369 w 8314"/>
              <a:gd name="connsiteY33" fmla="*/ 2077 h 10000"/>
              <a:gd name="connsiteX34" fmla="*/ 1051 w 8314"/>
              <a:gd name="connsiteY34" fmla="*/ 1228 h 10000"/>
              <a:gd name="connsiteX35" fmla="*/ 2070 w 8314"/>
              <a:gd name="connsiteY35" fmla="*/ 0 h 10000"/>
              <a:gd name="connsiteX36" fmla="*/ 2774 w 8314"/>
              <a:gd name="connsiteY36" fmla="*/ 380 h 10000"/>
              <a:gd name="connsiteX37" fmla="*/ 3123 w 8314"/>
              <a:gd name="connsiteY37" fmla="*/ 0 h 10000"/>
              <a:gd name="connsiteX38" fmla="*/ 3792 w 8314"/>
              <a:gd name="connsiteY38" fmla="*/ 380 h 10000"/>
              <a:gd name="connsiteX39" fmla="*/ 4839 w 8314"/>
              <a:gd name="connsiteY39" fmla="*/ 1228 h 10000"/>
              <a:gd name="connsiteX40" fmla="*/ 5508 w 8314"/>
              <a:gd name="connsiteY40" fmla="*/ 805 h 10000"/>
              <a:gd name="connsiteX41" fmla="*/ 6212 w 8314"/>
              <a:gd name="connsiteY41" fmla="*/ 805 h 10000"/>
              <a:gd name="connsiteX42" fmla="*/ 6561 w 8314"/>
              <a:gd name="connsiteY42" fmla="*/ 1228 h 10000"/>
              <a:gd name="connsiteX0" fmla="*/ 10000 w 10000"/>
              <a:gd name="connsiteY0" fmla="*/ 7882 h 10000"/>
              <a:gd name="connsiteX1" fmla="*/ 9409 w 10000"/>
              <a:gd name="connsiteY1" fmla="*/ 7160 h 10000"/>
              <a:gd name="connsiteX2" fmla="*/ 9916 w 10000"/>
              <a:gd name="connsiteY2" fmla="*/ 7033 h 10000"/>
              <a:gd name="connsiteX3" fmla="*/ 9535 w 10000"/>
              <a:gd name="connsiteY3" fmla="*/ 6018 h 10000"/>
              <a:gd name="connsiteX4" fmla="*/ 8777 w 10000"/>
              <a:gd name="connsiteY4" fmla="*/ 5381 h 10000"/>
              <a:gd name="connsiteX5" fmla="*/ 8859 w 10000"/>
              <a:gd name="connsiteY5" fmla="*/ 5847 h 10000"/>
              <a:gd name="connsiteX6" fmla="*/ 8398 w 10000"/>
              <a:gd name="connsiteY6" fmla="*/ 6271 h 10000"/>
              <a:gd name="connsiteX7" fmla="*/ 7847 w 10000"/>
              <a:gd name="connsiteY7" fmla="*/ 6228 h 10000"/>
              <a:gd name="connsiteX8" fmla="*/ 6244 w 10000"/>
              <a:gd name="connsiteY8" fmla="*/ 6652 h 10000"/>
              <a:gd name="connsiteX9" fmla="*/ 6244 w 10000"/>
              <a:gd name="connsiteY9" fmla="*/ 10000 h 10000"/>
              <a:gd name="connsiteX10" fmla="*/ 5820 w 10000"/>
              <a:gd name="connsiteY10" fmla="*/ 10000 h 10000"/>
              <a:gd name="connsiteX11" fmla="*/ 4975 w 10000"/>
              <a:gd name="connsiteY11" fmla="*/ 9151 h 10000"/>
              <a:gd name="connsiteX12" fmla="*/ 3756 w 10000"/>
              <a:gd name="connsiteY12" fmla="*/ 9577 h 10000"/>
              <a:gd name="connsiteX13" fmla="*/ 3756 w 10000"/>
              <a:gd name="connsiteY13" fmla="*/ 8728 h 10000"/>
              <a:gd name="connsiteX14" fmla="*/ 3337 w 10000"/>
              <a:gd name="connsiteY14" fmla="*/ 8728 h 10000"/>
              <a:gd name="connsiteX15" fmla="*/ 2911 w 10000"/>
              <a:gd name="connsiteY15" fmla="*/ 7500 h 10000"/>
              <a:gd name="connsiteX16" fmla="*/ 2490 w 10000"/>
              <a:gd name="connsiteY16" fmla="*/ 7500 h 10000"/>
              <a:gd name="connsiteX17" fmla="*/ 3337 w 10000"/>
              <a:gd name="connsiteY17" fmla="*/ 7500 h 10000"/>
              <a:gd name="connsiteX18" fmla="*/ 2911 w 10000"/>
              <a:gd name="connsiteY18" fmla="*/ 7077 h 10000"/>
              <a:gd name="connsiteX19" fmla="*/ 3337 w 10000"/>
              <a:gd name="connsiteY19" fmla="*/ 6652 h 10000"/>
              <a:gd name="connsiteX20" fmla="*/ 4975 w 10000"/>
              <a:gd name="connsiteY20" fmla="*/ 6652 h 10000"/>
              <a:gd name="connsiteX21" fmla="*/ 4561 w 10000"/>
              <a:gd name="connsiteY21" fmla="*/ 5424 h 10000"/>
              <a:gd name="connsiteX22" fmla="*/ 3756 w 10000"/>
              <a:gd name="connsiteY22" fmla="*/ 4999 h 10000"/>
              <a:gd name="connsiteX23" fmla="*/ 2911 w 10000"/>
              <a:gd name="connsiteY23" fmla="*/ 4576 h 10000"/>
              <a:gd name="connsiteX24" fmla="*/ 1647 w 10000"/>
              <a:gd name="connsiteY24" fmla="*/ 5424 h 10000"/>
              <a:gd name="connsiteX25" fmla="*/ 1264 w 10000"/>
              <a:gd name="connsiteY25" fmla="*/ 5424 h 10000"/>
              <a:gd name="connsiteX26" fmla="*/ 1647 w 10000"/>
              <a:gd name="connsiteY26" fmla="*/ 4999 h 10000"/>
              <a:gd name="connsiteX27" fmla="*/ 1264 w 10000"/>
              <a:gd name="connsiteY27" fmla="*/ 4151 h 10000"/>
              <a:gd name="connsiteX28" fmla="*/ 426 w 10000"/>
              <a:gd name="connsiteY28" fmla="*/ 4151 h 10000"/>
              <a:gd name="connsiteX29" fmla="*/ 0 w 10000"/>
              <a:gd name="connsiteY29" fmla="*/ 3306 h 10000"/>
              <a:gd name="connsiteX30" fmla="*/ 426 w 10000"/>
              <a:gd name="connsiteY30" fmla="*/ 1228 h 10000"/>
              <a:gd name="connsiteX31" fmla="*/ 1264 w 10000"/>
              <a:gd name="connsiteY31" fmla="*/ 2077 h 10000"/>
              <a:gd name="connsiteX32" fmla="*/ 1647 w 10000"/>
              <a:gd name="connsiteY32" fmla="*/ 2077 h 10000"/>
              <a:gd name="connsiteX33" fmla="*/ 1264 w 10000"/>
              <a:gd name="connsiteY33" fmla="*/ 1228 h 10000"/>
              <a:gd name="connsiteX34" fmla="*/ 2490 w 10000"/>
              <a:gd name="connsiteY34" fmla="*/ 0 h 10000"/>
              <a:gd name="connsiteX35" fmla="*/ 3337 w 10000"/>
              <a:gd name="connsiteY35" fmla="*/ 380 h 10000"/>
              <a:gd name="connsiteX36" fmla="*/ 3756 w 10000"/>
              <a:gd name="connsiteY36" fmla="*/ 0 h 10000"/>
              <a:gd name="connsiteX37" fmla="*/ 4561 w 10000"/>
              <a:gd name="connsiteY37" fmla="*/ 380 h 10000"/>
              <a:gd name="connsiteX38" fmla="*/ 5820 w 10000"/>
              <a:gd name="connsiteY38" fmla="*/ 1228 h 10000"/>
              <a:gd name="connsiteX39" fmla="*/ 6625 w 10000"/>
              <a:gd name="connsiteY39" fmla="*/ 805 h 10000"/>
              <a:gd name="connsiteX40" fmla="*/ 7472 w 10000"/>
              <a:gd name="connsiteY40" fmla="*/ 805 h 10000"/>
              <a:gd name="connsiteX41" fmla="*/ 7892 w 10000"/>
              <a:gd name="connsiteY41" fmla="*/ 1228 h 10000"/>
              <a:gd name="connsiteX0" fmla="*/ 10000 w 10000"/>
              <a:gd name="connsiteY0" fmla="*/ 7882 h 10000"/>
              <a:gd name="connsiteX1" fmla="*/ 9409 w 10000"/>
              <a:gd name="connsiteY1" fmla="*/ 7160 h 10000"/>
              <a:gd name="connsiteX2" fmla="*/ 9916 w 10000"/>
              <a:gd name="connsiteY2" fmla="*/ 7033 h 10000"/>
              <a:gd name="connsiteX3" fmla="*/ 8777 w 10000"/>
              <a:gd name="connsiteY3" fmla="*/ 5381 h 10000"/>
              <a:gd name="connsiteX4" fmla="*/ 8859 w 10000"/>
              <a:gd name="connsiteY4" fmla="*/ 5847 h 10000"/>
              <a:gd name="connsiteX5" fmla="*/ 8398 w 10000"/>
              <a:gd name="connsiteY5" fmla="*/ 6271 h 10000"/>
              <a:gd name="connsiteX6" fmla="*/ 7847 w 10000"/>
              <a:gd name="connsiteY6" fmla="*/ 6228 h 10000"/>
              <a:gd name="connsiteX7" fmla="*/ 6244 w 10000"/>
              <a:gd name="connsiteY7" fmla="*/ 6652 h 10000"/>
              <a:gd name="connsiteX8" fmla="*/ 6244 w 10000"/>
              <a:gd name="connsiteY8" fmla="*/ 10000 h 10000"/>
              <a:gd name="connsiteX9" fmla="*/ 5820 w 10000"/>
              <a:gd name="connsiteY9" fmla="*/ 10000 h 10000"/>
              <a:gd name="connsiteX10" fmla="*/ 4975 w 10000"/>
              <a:gd name="connsiteY10" fmla="*/ 9151 h 10000"/>
              <a:gd name="connsiteX11" fmla="*/ 3756 w 10000"/>
              <a:gd name="connsiteY11" fmla="*/ 9577 h 10000"/>
              <a:gd name="connsiteX12" fmla="*/ 3756 w 10000"/>
              <a:gd name="connsiteY12" fmla="*/ 8728 h 10000"/>
              <a:gd name="connsiteX13" fmla="*/ 3337 w 10000"/>
              <a:gd name="connsiteY13" fmla="*/ 8728 h 10000"/>
              <a:gd name="connsiteX14" fmla="*/ 2911 w 10000"/>
              <a:gd name="connsiteY14" fmla="*/ 7500 h 10000"/>
              <a:gd name="connsiteX15" fmla="*/ 2490 w 10000"/>
              <a:gd name="connsiteY15" fmla="*/ 7500 h 10000"/>
              <a:gd name="connsiteX16" fmla="*/ 3337 w 10000"/>
              <a:gd name="connsiteY16" fmla="*/ 7500 h 10000"/>
              <a:gd name="connsiteX17" fmla="*/ 2911 w 10000"/>
              <a:gd name="connsiteY17" fmla="*/ 7077 h 10000"/>
              <a:gd name="connsiteX18" fmla="*/ 3337 w 10000"/>
              <a:gd name="connsiteY18" fmla="*/ 6652 h 10000"/>
              <a:gd name="connsiteX19" fmla="*/ 4975 w 10000"/>
              <a:gd name="connsiteY19" fmla="*/ 6652 h 10000"/>
              <a:gd name="connsiteX20" fmla="*/ 4561 w 10000"/>
              <a:gd name="connsiteY20" fmla="*/ 5424 h 10000"/>
              <a:gd name="connsiteX21" fmla="*/ 3756 w 10000"/>
              <a:gd name="connsiteY21" fmla="*/ 4999 h 10000"/>
              <a:gd name="connsiteX22" fmla="*/ 2911 w 10000"/>
              <a:gd name="connsiteY22" fmla="*/ 4576 h 10000"/>
              <a:gd name="connsiteX23" fmla="*/ 1647 w 10000"/>
              <a:gd name="connsiteY23" fmla="*/ 5424 h 10000"/>
              <a:gd name="connsiteX24" fmla="*/ 1264 w 10000"/>
              <a:gd name="connsiteY24" fmla="*/ 5424 h 10000"/>
              <a:gd name="connsiteX25" fmla="*/ 1647 w 10000"/>
              <a:gd name="connsiteY25" fmla="*/ 4999 h 10000"/>
              <a:gd name="connsiteX26" fmla="*/ 1264 w 10000"/>
              <a:gd name="connsiteY26" fmla="*/ 4151 h 10000"/>
              <a:gd name="connsiteX27" fmla="*/ 426 w 10000"/>
              <a:gd name="connsiteY27" fmla="*/ 4151 h 10000"/>
              <a:gd name="connsiteX28" fmla="*/ 0 w 10000"/>
              <a:gd name="connsiteY28" fmla="*/ 3306 h 10000"/>
              <a:gd name="connsiteX29" fmla="*/ 426 w 10000"/>
              <a:gd name="connsiteY29" fmla="*/ 1228 h 10000"/>
              <a:gd name="connsiteX30" fmla="*/ 1264 w 10000"/>
              <a:gd name="connsiteY30" fmla="*/ 2077 h 10000"/>
              <a:gd name="connsiteX31" fmla="*/ 1647 w 10000"/>
              <a:gd name="connsiteY31" fmla="*/ 2077 h 10000"/>
              <a:gd name="connsiteX32" fmla="*/ 1264 w 10000"/>
              <a:gd name="connsiteY32" fmla="*/ 1228 h 10000"/>
              <a:gd name="connsiteX33" fmla="*/ 2490 w 10000"/>
              <a:gd name="connsiteY33" fmla="*/ 0 h 10000"/>
              <a:gd name="connsiteX34" fmla="*/ 3337 w 10000"/>
              <a:gd name="connsiteY34" fmla="*/ 380 h 10000"/>
              <a:gd name="connsiteX35" fmla="*/ 3756 w 10000"/>
              <a:gd name="connsiteY35" fmla="*/ 0 h 10000"/>
              <a:gd name="connsiteX36" fmla="*/ 4561 w 10000"/>
              <a:gd name="connsiteY36" fmla="*/ 380 h 10000"/>
              <a:gd name="connsiteX37" fmla="*/ 5820 w 10000"/>
              <a:gd name="connsiteY37" fmla="*/ 1228 h 10000"/>
              <a:gd name="connsiteX38" fmla="*/ 6625 w 10000"/>
              <a:gd name="connsiteY38" fmla="*/ 805 h 10000"/>
              <a:gd name="connsiteX39" fmla="*/ 7472 w 10000"/>
              <a:gd name="connsiteY39" fmla="*/ 805 h 10000"/>
              <a:gd name="connsiteX40" fmla="*/ 7892 w 10000"/>
              <a:gd name="connsiteY40" fmla="*/ 1228 h 10000"/>
              <a:gd name="connsiteX0" fmla="*/ 9409 w 9916"/>
              <a:gd name="connsiteY0" fmla="*/ 7160 h 10000"/>
              <a:gd name="connsiteX1" fmla="*/ 9916 w 9916"/>
              <a:gd name="connsiteY1" fmla="*/ 7033 h 10000"/>
              <a:gd name="connsiteX2" fmla="*/ 8777 w 9916"/>
              <a:gd name="connsiteY2" fmla="*/ 5381 h 10000"/>
              <a:gd name="connsiteX3" fmla="*/ 8859 w 9916"/>
              <a:gd name="connsiteY3" fmla="*/ 5847 h 10000"/>
              <a:gd name="connsiteX4" fmla="*/ 8398 w 9916"/>
              <a:gd name="connsiteY4" fmla="*/ 6271 h 10000"/>
              <a:gd name="connsiteX5" fmla="*/ 7847 w 9916"/>
              <a:gd name="connsiteY5" fmla="*/ 6228 h 10000"/>
              <a:gd name="connsiteX6" fmla="*/ 6244 w 9916"/>
              <a:gd name="connsiteY6" fmla="*/ 6652 h 10000"/>
              <a:gd name="connsiteX7" fmla="*/ 6244 w 9916"/>
              <a:gd name="connsiteY7" fmla="*/ 10000 h 10000"/>
              <a:gd name="connsiteX8" fmla="*/ 5820 w 9916"/>
              <a:gd name="connsiteY8" fmla="*/ 10000 h 10000"/>
              <a:gd name="connsiteX9" fmla="*/ 4975 w 9916"/>
              <a:gd name="connsiteY9" fmla="*/ 9151 h 10000"/>
              <a:gd name="connsiteX10" fmla="*/ 3756 w 9916"/>
              <a:gd name="connsiteY10" fmla="*/ 9577 h 10000"/>
              <a:gd name="connsiteX11" fmla="*/ 3756 w 9916"/>
              <a:gd name="connsiteY11" fmla="*/ 8728 h 10000"/>
              <a:gd name="connsiteX12" fmla="*/ 3337 w 9916"/>
              <a:gd name="connsiteY12" fmla="*/ 8728 h 10000"/>
              <a:gd name="connsiteX13" fmla="*/ 2911 w 9916"/>
              <a:gd name="connsiteY13" fmla="*/ 7500 h 10000"/>
              <a:gd name="connsiteX14" fmla="*/ 2490 w 9916"/>
              <a:gd name="connsiteY14" fmla="*/ 7500 h 10000"/>
              <a:gd name="connsiteX15" fmla="*/ 3337 w 9916"/>
              <a:gd name="connsiteY15" fmla="*/ 7500 h 10000"/>
              <a:gd name="connsiteX16" fmla="*/ 2911 w 9916"/>
              <a:gd name="connsiteY16" fmla="*/ 7077 h 10000"/>
              <a:gd name="connsiteX17" fmla="*/ 3337 w 9916"/>
              <a:gd name="connsiteY17" fmla="*/ 6652 h 10000"/>
              <a:gd name="connsiteX18" fmla="*/ 4975 w 9916"/>
              <a:gd name="connsiteY18" fmla="*/ 6652 h 10000"/>
              <a:gd name="connsiteX19" fmla="*/ 4561 w 9916"/>
              <a:gd name="connsiteY19" fmla="*/ 5424 h 10000"/>
              <a:gd name="connsiteX20" fmla="*/ 3756 w 9916"/>
              <a:gd name="connsiteY20" fmla="*/ 4999 h 10000"/>
              <a:gd name="connsiteX21" fmla="*/ 2911 w 9916"/>
              <a:gd name="connsiteY21" fmla="*/ 4576 h 10000"/>
              <a:gd name="connsiteX22" fmla="*/ 1647 w 9916"/>
              <a:gd name="connsiteY22" fmla="*/ 5424 h 10000"/>
              <a:gd name="connsiteX23" fmla="*/ 1264 w 9916"/>
              <a:gd name="connsiteY23" fmla="*/ 5424 h 10000"/>
              <a:gd name="connsiteX24" fmla="*/ 1647 w 9916"/>
              <a:gd name="connsiteY24" fmla="*/ 4999 h 10000"/>
              <a:gd name="connsiteX25" fmla="*/ 1264 w 9916"/>
              <a:gd name="connsiteY25" fmla="*/ 4151 h 10000"/>
              <a:gd name="connsiteX26" fmla="*/ 426 w 9916"/>
              <a:gd name="connsiteY26" fmla="*/ 4151 h 10000"/>
              <a:gd name="connsiteX27" fmla="*/ 0 w 9916"/>
              <a:gd name="connsiteY27" fmla="*/ 3306 h 10000"/>
              <a:gd name="connsiteX28" fmla="*/ 426 w 9916"/>
              <a:gd name="connsiteY28" fmla="*/ 1228 h 10000"/>
              <a:gd name="connsiteX29" fmla="*/ 1264 w 9916"/>
              <a:gd name="connsiteY29" fmla="*/ 2077 h 10000"/>
              <a:gd name="connsiteX30" fmla="*/ 1647 w 9916"/>
              <a:gd name="connsiteY30" fmla="*/ 2077 h 10000"/>
              <a:gd name="connsiteX31" fmla="*/ 1264 w 9916"/>
              <a:gd name="connsiteY31" fmla="*/ 1228 h 10000"/>
              <a:gd name="connsiteX32" fmla="*/ 2490 w 9916"/>
              <a:gd name="connsiteY32" fmla="*/ 0 h 10000"/>
              <a:gd name="connsiteX33" fmla="*/ 3337 w 9916"/>
              <a:gd name="connsiteY33" fmla="*/ 380 h 10000"/>
              <a:gd name="connsiteX34" fmla="*/ 3756 w 9916"/>
              <a:gd name="connsiteY34" fmla="*/ 0 h 10000"/>
              <a:gd name="connsiteX35" fmla="*/ 4561 w 9916"/>
              <a:gd name="connsiteY35" fmla="*/ 380 h 10000"/>
              <a:gd name="connsiteX36" fmla="*/ 5820 w 9916"/>
              <a:gd name="connsiteY36" fmla="*/ 1228 h 10000"/>
              <a:gd name="connsiteX37" fmla="*/ 6625 w 9916"/>
              <a:gd name="connsiteY37" fmla="*/ 805 h 10000"/>
              <a:gd name="connsiteX38" fmla="*/ 7472 w 9916"/>
              <a:gd name="connsiteY38" fmla="*/ 805 h 10000"/>
              <a:gd name="connsiteX39" fmla="*/ 7892 w 9916"/>
              <a:gd name="connsiteY39" fmla="*/ 1228 h 10000"/>
              <a:gd name="connsiteX0" fmla="*/ 9489 w 9489"/>
              <a:gd name="connsiteY0" fmla="*/ 7160 h 10000"/>
              <a:gd name="connsiteX1" fmla="*/ 8851 w 9489"/>
              <a:gd name="connsiteY1" fmla="*/ 5381 h 10000"/>
              <a:gd name="connsiteX2" fmla="*/ 8934 w 9489"/>
              <a:gd name="connsiteY2" fmla="*/ 5847 h 10000"/>
              <a:gd name="connsiteX3" fmla="*/ 8469 w 9489"/>
              <a:gd name="connsiteY3" fmla="*/ 6271 h 10000"/>
              <a:gd name="connsiteX4" fmla="*/ 7913 w 9489"/>
              <a:gd name="connsiteY4" fmla="*/ 6228 h 10000"/>
              <a:gd name="connsiteX5" fmla="*/ 6297 w 9489"/>
              <a:gd name="connsiteY5" fmla="*/ 6652 h 10000"/>
              <a:gd name="connsiteX6" fmla="*/ 6297 w 9489"/>
              <a:gd name="connsiteY6" fmla="*/ 10000 h 10000"/>
              <a:gd name="connsiteX7" fmla="*/ 5869 w 9489"/>
              <a:gd name="connsiteY7" fmla="*/ 10000 h 10000"/>
              <a:gd name="connsiteX8" fmla="*/ 5017 w 9489"/>
              <a:gd name="connsiteY8" fmla="*/ 9151 h 10000"/>
              <a:gd name="connsiteX9" fmla="*/ 3788 w 9489"/>
              <a:gd name="connsiteY9" fmla="*/ 9577 h 10000"/>
              <a:gd name="connsiteX10" fmla="*/ 3788 w 9489"/>
              <a:gd name="connsiteY10" fmla="*/ 8728 h 10000"/>
              <a:gd name="connsiteX11" fmla="*/ 3365 w 9489"/>
              <a:gd name="connsiteY11" fmla="*/ 8728 h 10000"/>
              <a:gd name="connsiteX12" fmla="*/ 2936 w 9489"/>
              <a:gd name="connsiteY12" fmla="*/ 7500 h 10000"/>
              <a:gd name="connsiteX13" fmla="*/ 2511 w 9489"/>
              <a:gd name="connsiteY13" fmla="*/ 7500 h 10000"/>
              <a:gd name="connsiteX14" fmla="*/ 3365 w 9489"/>
              <a:gd name="connsiteY14" fmla="*/ 7500 h 10000"/>
              <a:gd name="connsiteX15" fmla="*/ 2936 w 9489"/>
              <a:gd name="connsiteY15" fmla="*/ 7077 h 10000"/>
              <a:gd name="connsiteX16" fmla="*/ 3365 w 9489"/>
              <a:gd name="connsiteY16" fmla="*/ 6652 h 10000"/>
              <a:gd name="connsiteX17" fmla="*/ 5017 w 9489"/>
              <a:gd name="connsiteY17" fmla="*/ 6652 h 10000"/>
              <a:gd name="connsiteX18" fmla="*/ 4600 w 9489"/>
              <a:gd name="connsiteY18" fmla="*/ 5424 h 10000"/>
              <a:gd name="connsiteX19" fmla="*/ 3788 w 9489"/>
              <a:gd name="connsiteY19" fmla="*/ 4999 h 10000"/>
              <a:gd name="connsiteX20" fmla="*/ 2936 w 9489"/>
              <a:gd name="connsiteY20" fmla="*/ 4576 h 10000"/>
              <a:gd name="connsiteX21" fmla="*/ 1661 w 9489"/>
              <a:gd name="connsiteY21" fmla="*/ 5424 h 10000"/>
              <a:gd name="connsiteX22" fmla="*/ 1275 w 9489"/>
              <a:gd name="connsiteY22" fmla="*/ 5424 h 10000"/>
              <a:gd name="connsiteX23" fmla="*/ 1661 w 9489"/>
              <a:gd name="connsiteY23" fmla="*/ 4999 h 10000"/>
              <a:gd name="connsiteX24" fmla="*/ 1275 w 9489"/>
              <a:gd name="connsiteY24" fmla="*/ 4151 h 10000"/>
              <a:gd name="connsiteX25" fmla="*/ 430 w 9489"/>
              <a:gd name="connsiteY25" fmla="*/ 4151 h 10000"/>
              <a:gd name="connsiteX26" fmla="*/ 0 w 9489"/>
              <a:gd name="connsiteY26" fmla="*/ 3306 h 10000"/>
              <a:gd name="connsiteX27" fmla="*/ 430 w 9489"/>
              <a:gd name="connsiteY27" fmla="*/ 1228 h 10000"/>
              <a:gd name="connsiteX28" fmla="*/ 1275 w 9489"/>
              <a:gd name="connsiteY28" fmla="*/ 2077 h 10000"/>
              <a:gd name="connsiteX29" fmla="*/ 1661 w 9489"/>
              <a:gd name="connsiteY29" fmla="*/ 2077 h 10000"/>
              <a:gd name="connsiteX30" fmla="*/ 1275 w 9489"/>
              <a:gd name="connsiteY30" fmla="*/ 1228 h 10000"/>
              <a:gd name="connsiteX31" fmla="*/ 2511 w 9489"/>
              <a:gd name="connsiteY31" fmla="*/ 0 h 10000"/>
              <a:gd name="connsiteX32" fmla="*/ 3365 w 9489"/>
              <a:gd name="connsiteY32" fmla="*/ 380 h 10000"/>
              <a:gd name="connsiteX33" fmla="*/ 3788 w 9489"/>
              <a:gd name="connsiteY33" fmla="*/ 0 h 10000"/>
              <a:gd name="connsiteX34" fmla="*/ 4600 w 9489"/>
              <a:gd name="connsiteY34" fmla="*/ 380 h 10000"/>
              <a:gd name="connsiteX35" fmla="*/ 5869 w 9489"/>
              <a:gd name="connsiteY35" fmla="*/ 1228 h 10000"/>
              <a:gd name="connsiteX36" fmla="*/ 6681 w 9489"/>
              <a:gd name="connsiteY36" fmla="*/ 805 h 10000"/>
              <a:gd name="connsiteX37" fmla="*/ 7535 w 9489"/>
              <a:gd name="connsiteY37" fmla="*/ 805 h 10000"/>
              <a:gd name="connsiteX38" fmla="*/ 7959 w 9489"/>
              <a:gd name="connsiteY38" fmla="*/ 1228 h 10000"/>
              <a:gd name="connsiteX0" fmla="*/ 9328 w 9415"/>
              <a:gd name="connsiteY0" fmla="*/ 5381 h 10000"/>
              <a:gd name="connsiteX1" fmla="*/ 9415 w 9415"/>
              <a:gd name="connsiteY1" fmla="*/ 5847 h 10000"/>
              <a:gd name="connsiteX2" fmla="*/ 8925 w 9415"/>
              <a:gd name="connsiteY2" fmla="*/ 6271 h 10000"/>
              <a:gd name="connsiteX3" fmla="*/ 8339 w 9415"/>
              <a:gd name="connsiteY3" fmla="*/ 6228 h 10000"/>
              <a:gd name="connsiteX4" fmla="*/ 6636 w 9415"/>
              <a:gd name="connsiteY4" fmla="*/ 6652 h 10000"/>
              <a:gd name="connsiteX5" fmla="*/ 6636 w 9415"/>
              <a:gd name="connsiteY5" fmla="*/ 10000 h 10000"/>
              <a:gd name="connsiteX6" fmla="*/ 6185 w 9415"/>
              <a:gd name="connsiteY6" fmla="*/ 10000 h 10000"/>
              <a:gd name="connsiteX7" fmla="*/ 5287 w 9415"/>
              <a:gd name="connsiteY7" fmla="*/ 9151 h 10000"/>
              <a:gd name="connsiteX8" fmla="*/ 3992 w 9415"/>
              <a:gd name="connsiteY8" fmla="*/ 9577 h 10000"/>
              <a:gd name="connsiteX9" fmla="*/ 3992 w 9415"/>
              <a:gd name="connsiteY9" fmla="*/ 8728 h 10000"/>
              <a:gd name="connsiteX10" fmla="*/ 3546 w 9415"/>
              <a:gd name="connsiteY10" fmla="*/ 8728 h 10000"/>
              <a:gd name="connsiteX11" fmla="*/ 3094 w 9415"/>
              <a:gd name="connsiteY11" fmla="*/ 7500 h 10000"/>
              <a:gd name="connsiteX12" fmla="*/ 2646 w 9415"/>
              <a:gd name="connsiteY12" fmla="*/ 7500 h 10000"/>
              <a:gd name="connsiteX13" fmla="*/ 3546 w 9415"/>
              <a:gd name="connsiteY13" fmla="*/ 7500 h 10000"/>
              <a:gd name="connsiteX14" fmla="*/ 3094 w 9415"/>
              <a:gd name="connsiteY14" fmla="*/ 7077 h 10000"/>
              <a:gd name="connsiteX15" fmla="*/ 3546 w 9415"/>
              <a:gd name="connsiteY15" fmla="*/ 6652 h 10000"/>
              <a:gd name="connsiteX16" fmla="*/ 5287 w 9415"/>
              <a:gd name="connsiteY16" fmla="*/ 6652 h 10000"/>
              <a:gd name="connsiteX17" fmla="*/ 4848 w 9415"/>
              <a:gd name="connsiteY17" fmla="*/ 5424 h 10000"/>
              <a:gd name="connsiteX18" fmla="*/ 3992 w 9415"/>
              <a:gd name="connsiteY18" fmla="*/ 4999 h 10000"/>
              <a:gd name="connsiteX19" fmla="*/ 3094 w 9415"/>
              <a:gd name="connsiteY19" fmla="*/ 4576 h 10000"/>
              <a:gd name="connsiteX20" fmla="*/ 1750 w 9415"/>
              <a:gd name="connsiteY20" fmla="*/ 5424 h 10000"/>
              <a:gd name="connsiteX21" fmla="*/ 1344 w 9415"/>
              <a:gd name="connsiteY21" fmla="*/ 5424 h 10000"/>
              <a:gd name="connsiteX22" fmla="*/ 1750 w 9415"/>
              <a:gd name="connsiteY22" fmla="*/ 4999 h 10000"/>
              <a:gd name="connsiteX23" fmla="*/ 1344 w 9415"/>
              <a:gd name="connsiteY23" fmla="*/ 4151 h 10000"/>
              <a:gd name="connsiteX24" fmla="*/ 453 w 9415"/>
              <a:gd name="connsiteY24" fmla="*/ 4151 h 10000"/>
              <a:gd name="connsiteX25" fmla="*/ 0 w 9415"/>
              <a:gd name="connsiteY25" fmla="*/ 3306 h 10000"/>
              <a:gd name="connsiteX26" fmla="*/ 453 w 9415"/>
              <a:gd name="connsiteY26" fmla="*/ 1228 h 10000"/>
              <a:gd name="connsiteX27" fmla="*/ 1344 w 9415"/>
              <a:gd name="connsiteY27" fmla="*/ 2077 h 10000"/>
              <a:gd name="connsiteX28" fmla="*/ 1750 w 9415"/>
              <a:gd name="connsiteY28" fmla="*/ 2077 h 10000"/>
              <a:gd name="connsiteX29" fmla="*/ 1344 w 9415"/>
              <a:gd name="connsiteY29" fmla="*/ 1228 h 10000"/>
              <a:gd name="connsiteX30" fmla="*/ 2646 w 9415"/>
              <a:gd name="connsiteY30" fmla="*/ 0 h 10000"/>
              <a:gd name="connsiteX31" fmla="*/ 3546 w 9415"/>
              <a:gd name="connsiteY31" fmla="*/ 380 h 10000"/>
              <a:gd name="connsiteX32" fmla="*/ 3992 w 9415"/>
              <a:gd name="connsiteY32" fmla="*/ 0 h 10000"/>
              <a:gd name="connsiteX33" fmla="*/ 4848 w 9415"/>
              <a:gd name="connsiteY33" fmla="*/ 380 h 10000"/>
              <a:gd name="connsiteX34" fmla="*/ 6185 w 9415"/>
              <a:gd name="connsiteY34" fmla="*/ 1228 h 10000"/>
              <a:gd name="connsiteX35" fmla="*/ 7041 w 9415"/>
              <a:gd name="connsiteY35" fmla="*/ 805 h 10000"/>
              <a:gd name="connsiteX36" fmla="*/ 7941 w 9415"/>
              <a:gd name="connsiteY36" fmla="*/ 805 h 10000"/>
              <a:gd name="connsiteX37" fmla="*/ 8388 w 9415"/>
              <a:gd name="connsiteY37" fmla="*/ 1228 h 10000"/>
              <a:gd name="connsiteX0" fmla="*/ 9908 w 9908"/>
              <a:gd name="connsiteY0" fmla="*/ 5381 h 10000"/>
              <a:gd name="connsiteX1" fmla="*/ 9480 w 9908"/>
              <a:gd name="connsiteY1" fmla="*/ 6271 h 10000"/>
              <a:gd name="connsiteX2" fmla="*/ 8857 w 9908"/>
              <a:gd name="connsiteY2" fmla="*/ 6228 h 10000"/>
              <a:gd name="connsiteX3" fmla="*/ 7048 w 9908"/>
              <a:gd name="connsiteY3" fmla="*/ 6652 h 10000"/>
              <a:gd name="connsiteX4" fmla="*/ 7048 w 9908"/>
              <a:gd name="connsiteY4" fmla="*/ 10000 h 10000"/>
              <a:gd name="connsiteX5" fmla="*/ 6569 w 9908"/>
              <a:gd name="connsiteY5" fmla="*/ 10000 h 10000"/>
              <a:gd name="connsiteX6" fmla="*/ 5616 w 9908"/>
              <a:gd name="connsiteY6" fmla="*/ 9151 h 10000"/>
              <a:gd name="connsiteX7" fmla="*/ 4240 w 9908"/>
              <a:gd name="connsiteY7" fmla="*/ 9577 h 10000"/>
              <a:gd name="connsiteX8" fmla="*/ 4240 w 9908"/>
              <a:gd name="connsiteY8" fmla="*/ 8728 h 10000"/>
              <a:gd name="connsiteX9" fmla="*/ 3766 w 9908"/>
              <a:gd name="connsiteY9" fmla="*/ 8728 h 10000"/>
              <a:gd name="connsiteX10" fmla="*/ 3286 w 9908"/>
              <a:gd name="connsiteY10" fmla="*/ 7500 h 10000"/>
              <a:gd name="connsiteX11" fmla="*/ 2810 w 9908"/>
              <a:gd name="connsiteY11" fmla="*/ 7500 h 10000"/>
              <a:gd name="connsiteX12" fmla="*/ 3766 w 9908"/>
              <a:gd name="connsiteY12" fmla="*/ 7500 h 10000"/>
              <a:gd name="connsiteX13" fmla="*/ 3286 w 9908"/>
              <a:gd name="connsiteY13" fmla="*/ 7077 h 10000"/>
              <a:gd name="connsiteX14" fmla="*/ 3766 w 9908"/>
              <a:gd name="connsiteY14" fmla="*/ 6652 h 10000"/>
              <a:gd name="connsiteX15" fmla="*/ 5616 w 9908"/>
              <a:gd name="connsiteY15" fmla="*/ 6652 h 10000"/>
              <a:gd name="connsiteX16" fmla="*/ 5149 w 9908"/>
              <a:gd name="connsiteY16" fmla="*/ 5424 h 10000"/>
              <a:gd name="connsiteX17" fmla="*/ 4240 w 9908"/>
              <a:gd name="connsiteY17" fmla="*/ 4999 h 10000"/>
              <a:gd name="connsiteX18" fmla="*/ 3286 w 9908"/>
              <a:gd name="connsiteY18" fmla="*/ 4576 h 10000"/>
              <a:gd name="connsiteX19" fmla="*/ 1859 w 9908"/>
              <a:gd name="connsiteY19" fmla="*/ 5424 h 10000"/>
              <a:gd name="connsiteX20" fmla="*/ 1428 w 9908"/>
              <a:gd name="connsiteY20" fmla="*/ 5424 h 10000"/>
              <a:gd name="connsiteX21" fmla="*/ 1859 w 9908"/>
              <a:gd name="connsiteY21" fmla="*/ 4999 h 10000"/>
              <a:gd name="connsiteX22" fmla="*/ 1428 w 9908"/>
              <a:gd name="connsiteY22" fmla="*/ 4151 h 10000"/>
              <a:gd name="connsiteX23" fmla="*/ 481 w 9908"/>
              <a:gd name="connsiteY23" fmla="*/ 4151 h 10000"/>
              <a:gd name="connsiteX24" fmla="*/ 0 w 9908"/>
              <a:gd name="connsiteY24" fmla="*/ 3306 h 10000"/>
              <a:gd name="connsiteX25" fmla="*/ 481 w 9908"/>
              <a:gd name="connsiteY25" fmla="*/ 1228 h 10000"/>
              <a:gd name="connsiteX26" fmla="*/ 1428 w 9908"/>
              <a:gd name="connsiteY26" fmla="*/ 2077 h 10000"/>
              <a:gd name="connsiteX27" fmla="*/ 1859 w 9908"/>
              <a:gd name="connsiteY27" fmla="*/ 2077 h 10000"/>
              <a:gd name="connsiteX28" fmla="*/ 1428 w 9908"/>
              <a:gd name="connsiteY28" fmla="*/ 1228 h 10000"/>
              <a:gd name="connsiteX29" fmla="*/ 2810 w 9908"/>
              <a:gd name="connsiteY29" fmla="*/ 0 h 10000"/>
              <a:gd name="connsiteX30" fmla="*/ 3766 w 9908"/>
              <a:gd name="connsiteY30" fmla="*/ 380 h 10000"/>
              <a:gd name="connsiteX31" fmla="*/ 4240 w 9908"/>
              <a:gd name="connsiteY31" fmla="*/ 0 h 10000"/>
              <a:gd name="connsiteX32" fmla="*/ 5149 w 9908"/>
              <a:gd name="connsiteY32" fmla="*/ 380 h 10000"/>
              <a:gd name="connsiteX33" fmla="*/ 6569 w 9908"/>
              <a:gd name="connsiteY33" fmla="*/ 1228 h 10000"/>
              <a:gd name="connsiteX34" fmla="*/ 7478 w 9908"/>
              <a:gd name="connsiteY34" fmla="*/ 805 h 10000"/>
              <a:gd name="connsiteX35" fmla="*/ 8434 w 9908"/>
              <a:gd name="connsiteY35" fmla="*/ 805 h 10000"/>
              <a:gd name="connsiteX36" fmla="*/ 8909 w 9908"/>
              <a:gd name="connsiteY36" fmla="*/ 1228 h 10000"/>
              <a:gd name="connsiteX0" fmla="*/ 9568 w 9568"/>
              <a:gd name="connsiteY0" fmla="*/ 6271 h 10000"/>
              <a:gd name="connsiteX1" fmla="*/ 8939 w 9568"/>
              <a:gd name="connsiteY1" fmla="*/ 6228 h 10000"/>
              <a:gd name="connsiteX2" fmla="*/ 7113 w 9568"/>
              <a:gd name="connsiteY2" fmla="*/ 6652 h 10000"/>
              <a:gd name="connsiteX3" fmla="*/ 7113 w 9568"/>
              <a:gd name="connsiteY3" fmla="*/ 10000 h 10000"/>
              <a:gd name="connsiteX4" fmla="*/ 6630 w 9568"/>
              <a:gd name="connsiteY4" fmla="*/ 10000 h 10000"/>
              <a:gd name="connsiteX5" fmla="*/ 5668 w 9568"/>
              <a:gd name="connsiteY5" fmla="*/ 9151 h 10000"/>
              <a:gd name="connsiteX6" fmla="*/ 4279 w 9568"/>
              <a:gd name="connsiteY6" fmla="*/ 9577 h 10000"/>
              <a:gd name="connsiteX7" fmla="*/ 4279 w 9568"/>
              <a:gd name="connsiteY7" fmla="*/ 8728 h 10000"/>
              <a:gd name="connsiteX8" fmla="*/ 3801 w 9568"/>
              <a:gd name="connsiteY8" fmla="*/ 8728 h 10000"/>
              <a:gd name="connsiteX9" fmla="*/ 3317 w 9568"/>
              <a:gd name="connsiteY9" fmla="*/ 7500 h 10000"/>
              <a:gd name="connsiteX10" fmla="*/ 2836 w 9568"/>
              <a:gd name="connsiteY10" fmla="*/ 7500 h 10000"/>
              <a:gd name="connsiteX11" fmla="*/ 3801 w 9568"/>
              <a:gd name="connsiteY11" fmla="*/ 7500 h 10000"/>
              <a:gd name="connsiteX12" fmla="*/ 3317 w 9568"/>
              <a:gd name="connsiteY12" fmla="*/ 7077 h 10000"/>
              <a:gd name="connsiteX13" fmla="*/ 3801 w 9568"/>
              <a:gd name="connsiteY13" fmla="*/ 6652 h 10000"/>
              <a:gd name="connsiteX14" fmla="*/ 5668 w 9568"/>
              <a:gd name="connsiteY14" fmla="*/ 6652 h 10000"/>
              <a:gd name="connsiteX15" fmla="*/ 5197 w 9568"/>
              <a:gd name="connsiteY15" fmla="*/ 5424 h 10000"/>
              <a:gd name="connsiteX16" fmla="*/ 4279 w 9568"/>
              <a:gd name="connsiteY16" fmla="*/ 4999 h 10000"/>
              <a:gd name="connsiteX17" fmla="*/ 3317 w 9568"/>
              <a:gd name="connsiteY17" fmla="*/ 4576 h 10000"/>
              <a:gd name="connsiteX18" fmla="*/ 1876 w 9568"/>
              <a:gd name="connsiteY18" fmla="*/ 5424 h 10000"/>
              <a:gd name="connsiteX19" fmla="*/ 1441 w 9568"/>
              <a:gd name="connsiteY19" fmla="*/ 5424 h 10000"/>
              <a:gd name="connsiteX20" fmla="*/ 1876 w 9568"/>
              <a:gd name="connsiteY20" fmla="*/ 4999 h 10000"/>
              <a:gd name="connsiteX21" fmla="*/ 1441 w 9568"/>
              <a:gd name="connsiteY21" fmla="*/ 4151 h 10000"/>
              <a:gd name="connsiteX22" fmla="*/ 485 w 9568"/>
              <a:gd name="connsiteY22" fmla="*/ 4151 h 10000"/>
              <a:gd name="connsiteX23" fmla="*/ 0 w 9568"/>
              <a:gd name="connsiteY23" fmla="*/ 3306 h 10000"/>
              <a:gd name="connsiteX24" fmla="*/ 485 w 9568"/>
              <a:gd name="connsiteY24" fmla="*/ 1228 h 10000"/>
              <a:gd name="connsiteX25" fmla="*/ 1441 w 9568"/>
              <a:gd name="connsiteY25" fmla="*/ 2077 h 10000"/>
              <a:gd name="connsiteX26" fmla="*/ 1876 w 9568"/>
              <a:gd name="connsiteY26" fmla="*/ 2077 h 10000"/>
              <a:gd name="connsiteX27" fmla="*/ 1441 w 9568"/>
              <a:gd name="connsiteY27" fmla="*/ 1228 h 10000"/>
              <a:gd name="connsiteX28" fmla="*/ 2836 w 9568"/>
              <a:gd name="connsiteY28" fmla="*/ 0 h 10000"/>
              <a:gd name="connsiteX29" fmla="*/ 3801 w 9568"/>
              <a:gd name="connsiteY29" fmla="*/ 380 h 10000"/>
              <a:gd name="connsiteX30" fmla="*/ 4279 w 9568"/>
              <a:gd name="connsiteY30" fmla="*/ 0 h 10000"/>
              <a:gd name="connsiteX31" fmla="*/ 5197 w 9568"/>
              <a:gd name="connsiteY31" fmla="*/ 380 h 10000"/>
              <a:gd name="connsiteX32" fmla="*/ 6630 w 9568"/>
              <a:gd name="connsiteY32" fmla="*/ 1228 h 10000"/>
              <a:gd name="connsiteX33" fmla="*/ 7547 w 9568"/>
              <a:gd name="connsiteY33" fmla="*/ 805 h 10000"/>
              <a:gd name="connsiteX34" fmla="*/ 8512 w 9568"/>
              <a:gd name="connsiteY34" fmla="*/ 805 h 10000"/>
              <a:gd name="connsiteX35" fmla="*/ 8992 w 9568"/>
              <a:gd name="connsiteY35" fmla="*/ 1228 h 10000"/>
              <a:gd name="connsiteX0" fmla="*/ 9343 w 9398"/>
              <a:gd name="connsiteY0" fmla="*/ 6228 h 10000"/>
              <a:gd name="connsiteX1" fmla="*/ 7434 w 9398"/>
              <a:gd name="connsiteY1" fmla="*/ 6652 h 10000"/>
              <a:gd name="connsiteX2" fmla="*/ 7434 w 9398"/>
              <a:gd name="connsiteY2" fmla="*/ 10000 h 10000"/>
              <a:gd name="connsiteX3" fmla="*/ 6929 w 9398"/>
              <a:gd name="connsiteY3" fmla="*/ 10000 h 10000"/>
              <a:gd name="connsiteX4" fmla="*/ 5924 w 9398"/>
              <a:gd name="connsiteY4" fmla="*/ 9151 h 10000"/>
              <a:gd name="connsiteX5" fmla="*/ 4472 w 9398"/>
              <a:gd name="connsiteY5" fmla="*/ 9577 h 10000"/>
              <a:gd name="connsiteX6" fmla="*/ 4472 w 9398"/>
              <a:gd name="connsiteY6" fmla="*/ 8728 h 10000"/>
              <a:gd name="connsiteX7" fmla="*/ 3973 w 9398"/>
              <a:gd name="connsiteY7" fmla="*/ 8728 h 10000"/>
              <a:gd name="connsiteX8" fmla="*/ 3467 w 9398"/>
              <a:gd name="connsiteY8" fmla="*/ 7500 h 10000"/>
              <a:gd name="connsiteX9" fmla="*/ 2964 w 9398"/>
              <a:gd name="connsiteY9" fmla="*/ 7500 h 10000"/>
              <a:gd name="connsiteX10" fmla="*/ 3973 w 9398"/>
              <a:gd name="connsiteY10" fmla="*/ 7500 h 10000"/>
              <a:gd name="connsiteX11" fmla="*/ 3467 w 9398"/>
              <a:gd name="connsiteY11" fmla="*/ 7077 h 10000"/>
              <a:gd name="connsiteX12" fmla="*/ 3973 w 9398"/>
              <a:gd name="connsiteY12" fmla="*/ 6652 h 10000"/>
              <a:gd name="connsiteX13" fmla="*/ 5924 w 9398"/>
              <a:gd name="connsiteY13" fmla="*/ 6652 h 10000"/>
              <a:gd name="connsiteX14" fmla="*/ 5432 w 9398"/>
              <a:gd name="connsiteY14" fmla="*/ 5424 h 10000"/>
              <a:gd name="connsiteX15" fmla="*/ 4472 w 9398"/>
              <a:gd name="connsiteY15" fmla="*/ 4999 h 10000"/>
              <a:gd name="connsiteX16" fmla="*/ 3467 w 9398"/>
              <a:gd name="connsiteY16" fmla="*/ 4576 h 10000"/>
              <a:gd name="connsiteX17" fmla="*/ 1961 w 9398"/>
              <a:gd name="connsiteY17" fmla="*/ 5424 h 10000"/>
              <a:gd name="connsiteX18" fmla="*/ 1506 w 9398"/>
              <a:gd name="connsiteY18" fmla="*/ 5424 h 10000"/>
              <a:gd name="connsiteX19" fmla="*/ 1961 w 9398"/>
              <a:gd name="connsiteY19" fmla="*/ 4999 h 10000"/>
              <a:gd name="connsiteX20" fmla="*/ 1506 w 9398"/>
              <a:gd name="connsiteY20" fmla="*/ 4151 h 10000"/>
              <a:gd name="connsiteX21" fmla="*/ 507 w 9398"/>
              <a:gd name="connsiteY21" fmla="*/ 4151 h 10000"/>
              <a:gd name="connsiteX22" fmla="*/ 0 w 9398"/>
              <a:gd name="connsiteY22" fmla="*/ 3306 h 10000"/>
              <a:gd name="connsiteX23" fmla="*/ 507 w 9398"/>
              <a:gd name="connsiteY23" fmla="*/ 1228 h 10000"/>
              <a:gd name="connsiteX24" fmla="*/ 1506 w 9398"/>
              <a:gd name="connsiteY24" fmla="*/ 2077 h 10000"/>
              <a:gd name="connsiteX25" fmla="*/ 1961 w 9398"/>
              <a:gd name="connsiteY25" fmla="*/ 2077 h 10000"/>
              <a:gd name="connsiteX26" fmla="*/ 1506 w 9398"/>
              <a:gd name="connsiteY26" fmla="*/ 1228 h 10000"/>
              <a:gd name="connsiteX27" fmla="*/ 2964 w 9398"/>
              <a:gd name="connsiteY27" fmla="*/ 0 h 10000"/>
              <a:gd name="connsiteX28" fmla="*/ 3973 w 9398"/>
              <a:gd name="connsiteY28" fmla="*/ 380 h 10000"/>
              <a:gd name="connsiteX29" fmla="*/ 4472 w 9398"/>
              <a:gd name="connsiteY29" fmla="*/ 0 h 10000"/>
              <a:gd name="connsiteX30" fmla="*/ 5432 w 9398"/>
              <a:gd name="connsiteY30" fmla="*/ 380 h 10000"/>
              <a:gd name="connsiteX31" fmla="*/ 6929 w 9398"/>
              <a:gd name="connsiteY31" fmla="*/ 1228 h 10000"/>
              <a:gd name="connsiteX32" fmla="*/ 7888 w 9398"/>
              <a:gd name="connsiteY32" fmla="*/ 805 h 10000"/>
              <a:gd name="connsiteX33" fmla="*/ 8896 w 9398"/>
              <a:gd name="connsiteY33" fmla="*/ 805 h 10000"/>
              <a:gd name="connsiteX34" fmla="*/ 9398 w 9398"/>
              <a:gd name="connsiteY34" fmla="*/ 1228 h 10000"/>
              <a:gd name="connsiteX0" fmla="*/ 7910 w 10000"/>
              <a:gd name="connsiteY0" fmla="*/ 6652 h 10000"/>
              <a:gd name="connsiteX1" fmla="*/ 7910 w 10000"/>
              <a:gd name="connsiteY1" fmla="*/ 10000 h 10000"/>
              <a:gd name="connsiteX2" fmla="*/ 7373 w 10000"/>
              <a:gd name="connsiteY2" fmla="*/ 10000 h 10000"/>
              <a:gd name="connsiteX3" fmla="*/ 6303 w 10000"/>
              <a:gd name="connsiteY3" fmla="*/ 9151 h 10000"/>
              <a:gd name="connsiteX4" fmla="*/ 4758 w 10000"/>
              <a:gd name="connsiteY4" fmla="*/ 9577 h 10000"/>
              <a:gd name="connsiteX5" fmla="*/ 4758 w 10000"/>
              <a:gd name="connsiteY5" fmla="*/ 8728 h 10000"/>
              <a:gd name="connsiteX6" fmla="*/ 4227 w 10000"/>
              <a:gd name="connsiteY6" fmla="*/ 8728 h 10000"/>
              <a:gd name="connsiteX7" fmla="*/ 3689 w 10000"/>
              <a:gd name="connsiteY7" fmla="*/ 7500 h 10000"/>
              <a:gd name="connsiteX8" fmla="*/ 3154 w 10000"/>
              <a:gd name="connsiteY8" fmla="*/ 7500 h 10000"/>
              <a:gd name="connsiteX9" fmla="*/ 4227 w 10000"/>
              <a:gd name="connsiteY9" fmla="*/ 7500 h 10000"/>
              <a:gd name="connsiteX10" fmla="*/ 3689 w 10000"/>
              <a:gd name="connsiteY10" fmla="*/ 7077 h 10000"/>
              <a:gd name="connsiteX11" fmla="*/ 4227 w 10000"/>
              <a:gd name="connsiteY11" fmla="*/ 6652 h 10000"/>
              <a:gd name="connsiteX12" fmla="*/ 6303 w 10000"/>
              <a:gd name="connsiteY12" fmla="*/ 6652 h 10000"/>
              <a:gd name="connsiteX13" fmla="*/ 5780 w 10000"/>
              <a:gd name="connsiteY13" fmla="*/ 5424 h 10000"/>
              <a:gd name="connsiteX14" fmla="*/ 4758 w 10000"/>
              <a:gd name="connsiteY14" fmla="*/ 4999 h 10000"/>
              <a:gd name="connsiteX15" fmla="*/ 3689 w 10000"/>
              <a:gd name="connsiteY15" fmla="*/ 4576 h 10000"/>
              <a:gd name="connsiteX16" fmla="*/ 2087 w 10000"/>
              <a:gd name="connsiteY16" fmla="*/ 5424 h 10000"/>
              <a:gd name="connsiteX17" fmla="*/ 1602 w 10000"/>
              <a:gd name="connsiteY17" fmla="*/ 5424 h 10000"/>
              <a:gd name="connsiteX18" fmla="*/ 2087 w 10000"/>
              <a:gd name="connsiteY18" fmla="*/ 4999 h 10000"/>
              <a:gd name="connsiteX19" fmla="*/ 1602 w 10000"/>
              <a:gd name="connsiteY19" fmla="*/ 4151 h 10000"/>
              <a:gd name="connsiteX20" fmla="*/ 539 w 10000"/>
              <a:gd name="connsiteY20" fmla="*/ 4151 h 10000"/>
              <a:gd name="connsiteX21" fmla="*/ 0 w 10000"/>
              <a:gd name="connsiteY21" fmla="*/ 3306 h 10000"/>
              <a:gd name="connsiteX22" fmla="*/ 539 w 10000"/>
              <a:gd name="connsiteY22" fmla="*/ 1228 h 10000"/>
              <a:gd name="connsiteX23" fmla="*/ 1602 w 10000"/>
              <a:gd name="connsiteY23" fmla="*/ 2077 h 10000"/>
              <a:gd name="connsiteX24" fmla="*/ 2087 w 10000"/>
              <a:gd name="connsiteY24" fmla="*/ 2077 h 10000"/>
              <a:gd name="connsiteX25" fmla="*/ 1602 w 10000"/>
              <a:gd name="connsiteY25" fmla="*/ 1228 h 10000"/>
              <a:gd name="connsiteX26" fmla="*/ 3154 w 10000"/>
              <a:gd name="connsiteY26" fmla="*/ 0 h 10000"/>
              <a:gd name="connsiteX27" fmla="*/ 4227 w 10000"/>
              <a:gd name="connsiteY27" fmla="*/ 380 h 10000"/>
              <a:gd name="connsiteX28" fmla="*/ 4758 w 10000"/>
              <a:gd name="connsiteY28" fmla="*/ 0 h 10000"/>
              <a:gd name="connsiteX29" fmla="*/ 5780 w 10000"/>
              <a:gd name="connsiteY29" fmla="*/ 380 h 10000"/>
              <a:gd name="connsiteX30" fmla="*/ 7373 w 10000"/>
              <a:gd name="connsiteY30" fmla="*/ 1228 h 10000"/>
              <a:gd name="connsiteX31" fmla="*/ 8393 w 10000"/>
              <a:gd name="connsiteY31" fmla="*/ 805 h 10000"/>
              <a:gd name="connsiteX32" fmla="*/ 9466 w 10000"/>
              <a:gd name="connsiteY32" fmla="*/ 805 h 10000"/>
              <a:gd name="connsiteX33" fmla="*/ 10000 w 10000"/>
              <a:gd name="connsiteY33" fmla="*/ 1228 h 10000"/>
              <a:gd name="connsiteX0" fmla="*/ 7910 w 9466"/>
              <a:gd name="connsiteY0" fmla="*/ 6652 h 10000"/>
              <a:gd name="connsiteX1" fmla="*/ 7910 w 9466"/>
              <a:gd name="connsiteY1" fmla="*/ 10000 h 10000"/>
              <a:gd name="connsiteX2" fmla="*/ 7373 w 9466"/>
              <a:gd name="connsiteY2" fmla="*/ 10000 h 10000"/>
              <a:gd name="connsiteX3" fmla="*/ 6303 w 9466"/>
              <a:gd name="connsiteY3" fmla="*/ 9151 h 10000"/>
              <a:gd name="connsiteX4" fmla="*/ 4758 w 9466"/>
              <a:gd name="connsiteY4" fmla="*/ 9577 h 10000"/>
              <a:gd name="connsiteX5" fmla="*/ 4758 w 9466"/>
              <a:gd name="connsiteY5" fmla="*/ 8728 h 10000"/>
              <a:gd name="connsiteX6" fmla="*/ 4227 w 9466"/>
              <a:gd name="connsiteY6" fmla="*/ 8728 h 10000"/>
              <a:gd name="connsiteX7" fmla="*/ 3689 w 9466"/>
              <a:gd name="connsiteY7" fmla="*/ 7500 h 10000"/>
              <a:gd name="connsiteX8" fmla="*/ 3154 w 9466"/>
              <a:gd name="connsiteY8" fmla="*/ 7500 h 10000"/>
              <a:gd name="connsiteX9" fmla="*/ 4227 w 9466"/>
              <a:gd name="connsiteY9" fmla="*/ 7500 h 10000"/>
              <a:gd name="connsiteX10" fmla="*/ 3689 w 9466"/>
              <a:gd name="connsiteY10" fmla="*/ 7077 h 10000"/>
              <a:gd name="connsiteX11" fmla="*/ 4227 w 9466"/>
              <a:gd name="connsiteY11" fmla="*/ 6652 h 10000"/>
              <a:gd name="connsiteX12" fmla="*/ 6303 w 9466"/>
              <a:gd name="connsiteY12" fmla="*/ 6652 h 10000"/>
              <a:gd name="connsiteX13" fmla="*/ 5780 w 9466"/>
              <a:gd name="connsiteY13" fmla="*/ 5424 h 10000"/>
              <a:gd name="connsiteX14" fmla="*/ 4758 w 9466"/>
              <a:gd name="connsiteY14" fmla="*/ 4999 h 10000"/>
              <a:gd name="connsiteX15" fmla="*/ 3689 w 9466"/>
              <a:gd name="connsiteY15" fmla="*/ 4576 h 10000"/>
              <a:gd name="connsiteX16" fmla="*/ 2087 w 9466"/>
              <a:gd name="connsiteY16" fmla="*/ 5424 h 10000"/>
              <a:gd name="connsiteX17" fmla="*/ 1602 w 9466"/>
              <a:gd name="connsiteY17" fmla="*/ 5424 h 10000"/>
              <a:gd name="connsiteX18" fmla="*/ 2087 w 9466"/>
              <a:gd name="connsiteY18" fmla="*/ 4999 h 10000"/>
              <a:gd name="connsiteX19" fmla="*/ 1602 w 9466"/>
              <a:gd name="connsiteY19" fmla="*/ 4151 h 10000"/>
              <a:gd name="connsiteX20" fmla="*/ 539 w 9466"/>
              <a:gd name="connsiteY20" fmla="*/ 4151 h 10000"/>
              <a:gd name="connsiteX21" fmla="*/ 0 w 9466"/>
              <a:gd name="connsiteY21" fmla="*/ 3306 h 10000"/>
              <a:gd name="connsiteX22" fmla="*/ 539 w 9466"/>
              <a:gd name="connsiteY22" fmla="*/ 1228 h 10000"/>
              <a:gd name="connsiteX23" fmla="*/ 1602 w 9466"/>
              <a:gd name="connsiteY23" fmla="*/ 2077 h 10000"/>
              <a:gd name="connsiteX24" fmla="*/ 2087 w 9466"/>
              <a:gd name="connsiteY24" fmla="*/ 2077 h 10000"/>
              <a:gd name="connsiteX25" fmla="*/ 1602 w 9466"/>
              <a:gd name="connsiteY25" fmla="*/ 1228 h 10000"/>
              <a:gd name="connsiteX26" fmla="*/ 3154 w 9466"/>
              <a:gd name="connsiteY26" fmla="*/ 0 h 10000"/>
              <a:gd name="connsiteX27" fmla="*/ 4227 w 9466"/>
              <a:gd name="connsiteY27" fmla="*/ 380 h 10000"/>
              <a:gd name="connsiteX28" fmla="*/ 4758 w 9466"/>
              <a:gd name="connsiteY28" fmla="*/ 0 h 10000"/>
              <a:gd name="connsiteX29" fmla="*/ 5780 w 9466"/>
              <a:gd name="connsiteY29" fmla="*/ 380 h 10000"/>
              <a:gd name="connsiteX30" fmla="*/ 7373 w 9466"/>
              <a:gd name="connsiteY30" fmla="*/ 1228 h 10000"/>
              <a:gd name="connsiteX31" fmla="*/ 8393 w 9466"/>
              <a:gd name="connsiteY31" fmla="*/ 805 h 10000"/>
              <a:gd name="connsiteX32" fmla="*/ 9466 w 9466"/>
              <a:gd name="connsiteY32" fmla="*/ 805 h 10000"/>
              <a:gd name="connsiteX0" fmla="*/ 8356 w 8866"/>
              <a:gd name="connsiteY0" fmla="*/ 6652 h 10000"/>
              <a:gd name="connsiteX1" fmla="*/ 8356 w 8866"/>
              <a:gd name="connsiteY1" fmla="*/ 10000 h 10000"/>
              <a:gd name="connsiteX2" fmla="*/ 7789 w 8866"/>
              <a:gd name="connsiteY2" fmla="*/ 10000 h 10000"/>
              <a:gd name="connsiteX3" fmla="*/ 6659 w 8866"/>
              <a:gd name="connsiteY3" fmla="*/ 9151 h 10000"/>
              <a:gd name="connsiteX4" fmla="*/ 5026 w 8866"/>
              <a:gd name="connsiteY4" fmla="*/ 9577 h 10000"/>
              <a:gd name="connsiteX5" fmla="*/ 5026 w 8866"/>
              <a:gd name="connsiteY5" fmla="*/ 8728 h 10000"/>
              <a:gd name="connsiteX6" fmla="*/ 4465 w 8866"/>
              <a:gd name="connsiteY6" fmla="*/ 8728 h 10000"/>
              <a:gd name="connsiteX7" fmla="*/ 3897 w 8866"/>
              <a:gd name="connsiteY7" fmla="*/ 7500 h 10000"/>
              <a:gd name="connsiteX8" fmla="*/ 3332 w 8866"/>
              <a:gd name="connsiteY8" fmla="*/ 7500 h 10000"/>
              <a:gd name="connsiteX9" fmla="*/ 4465 w 8866"/>
              <a:gd name="connsiteY9" fmla="*/ 7500 h 10000"/>
              <a:gd name="connsiteX10" fmla="*/ 3897 w 8866"/>
              <a:gd name="connsiteY10" fmla="*/ 7077 h 10000"/>
              <a:gd name="connsiteX11" fmla="*/ 4465 w 8866"/>
              <a:gd name="connsiteY11" fmla="*/ 6652 h 10000"/>
              <a:gd name="connsiteX12" fmla="*/ 6659 w 8866"/>
              <a:gd name="connsiteY12" fmla="*/ 6652 h 10000"/>
              <a:gd name="connsiteX13" fmla="*/ 6106 w 8866"/>
              <a:gd name="connsiteY13" fmla="*/ 5424 h 10000"/>
              <a:gd name="connsiteX14" fmla="*/ 5026 w 8866"/>
              <a:gd name="connsiteY14" fmla="*/ 4999 h 10000"/>
              <a:gd name="connsiteX15" fmla="*/ 3897 w 8866"/>
              <a:gd name="connsiteY15" fmla="*/ 4576 h 10000"/>
              <a:gd name="connsiteX16" fmla="*/ 2205 w 8866"/>
              <a:gd name="connsiteY16" fmla="*/ 5424 h 10000"/>
              <a:gd name="connsiteX17" fmla="*/ 1692 w 8866"/>
              <a:gd name="connsiteY17" fmla="*/ 5424 h 10000"/>
              <a:gd name="connsiteX18" fmla="*/ 2205 w 8866"/>
              <a:gd name="connsiteY18" fmla="*/ 4999 h 10000"/>
              <a:gd name="connsiteX19" fmla="*/ 1692 w 8866"/>
              <a:gd name="connsiteY19" fmla="*/ 4151 h 10000"/>
              <a:gd name="connsiteX20" fmla="*/ 569 w 8866"/>
              <a:gd name="connsiteY20" fmla="*/ 4151 h 10000"/>
              <a:gd name="connsiteX21" fmla="*/ 0 w 8866"/>
              <a:gd name="connsiteY21" fmla="*/ 3306 h 10000"/>
              <a:gd name="connsiteX22" fmla="*/ 569 w 8866"/>
              <a:gd name="connsiteY22" fmla="*/ 1228 h 10000"/>
              <a:gd name="connsiteX23" fmla="*/ 1692 w 8866"/>
              <a:gd name="connsiteY23" fmla="*/ 2077 h 10000"/>
              <a:gd name="connsiteX24" fmla="*/ 2205 w 8866"/>
              <a:gd name="connsiteY24" fmla="*/ 2077 h 10000"/>
              <a:gd name="connsiteX25" fmla="*/ 1692 w 8866"/>
              <a:gd name="connsiteY25" fmla="*/ 1228 h 10000"/>
              <a:gd name="connsiteX26" fmla="*/ 3332 w 8866"/>
              <a:gd name="connsiteY26" fmla="*/ 0 h 10000"/>
              <a:gd name="connsiteX27" fmla="*/ 4465 w 8866"/>
              <a:gd name="connsiteY27" fmla="*/ 380 h 10000"/>
              <a:gd name="connsiteX28" fmla="*/ 5026 w 8866"/>
              <a:gd name="connsiteY28" fmla="*/ 0 h 10000"/>
              <a:gd name="connsiteX29" fmla="*/ 6106 w 8866"/>
              <a:gd name="connsiteY29" fmla="*/ 380 h 10000"/>
              <a:gd name="connsiteX30" fmla="*/ 7789 w 8866"/>
              <a:gd name="connsiteY30" fmla="*/ 1228 h 10000"/>
              <a:gd name="connsiteX31" fmla="*/ 8866 w 8866"/>
              <a:gd name="connsiteY31" fmla="*/ 805 h 10000"/>
              <a:gd name="connsiteX0" fmla="*/ 9425 w 9425"/>
              <a:gd name="connsiteY0" fmla="*/ 6652 h 10000"/>
              <a:gd name="connsiteX1" fmla="*/ 9425 w 9425"/>
              <a:gd name="connsiteY1" fmla="*/ 10000 h 10000"/>
              <a:gd name="connsiteX2" fmla="*/ 8785 w 9425"/>
              <a:gd name="connsiteY2" fmla="*/ 10000 h 10000"/>
              <a:gd name="connsiteX3" fmla="*/ 7511 w 9425"/>
              <a:gd name="connsiteY3" fmla="*/ 9151 h 10000"/>
              <a:gd name="connsiteX4" fmla="*/ 5669 w 9425"/>
              <a:gd name="connsiteY4" fmla="*/ 9577 h 10000"/>
              <a:gd name="connsiteX5" fmla="*/ 5669 w 9425"/>
              <a:gd name="connsiteY5" fmla="*/ 8728 h 10000"/>
              <a:gd name="connsiteX6" fmla="*/ 5036 w 9425"/>
              <a:gd name="connsiteY6" fmla="*/ 8728 h 10000"/>
              <a:gd name="connsiteX7" fmla="*/ 4395 w 9425"/>
              <a:gd name="connsiteY7" fmla="*/ 7500 h 10000"/>
              <a:gd name="connsiteX8" fmla="*/ 3758 w 9425"/>
              <a:gd name="connsiteY8" fmla="*/ 7500 h 10000"/>
              <a:gd name="connsiteX9" fmla="*/ 5036 w 9425"/>
              <a:gd name="connsiteY9" fmla="*/ 7500 h 10000"/>
              <a:gd name="connsiteX10" fmla="*/ 4395 w 9425"/>
              <a:gd name="connsiteY10" fmla="*/ 7077 h 10000"/>
              <a:gd name="connsiteX11" fmla="*/ 5036 w 9425"/>
              <a:gd name="connsiteY11" fmla="*/ 6652 h 10000"/>
              <a:gd name="connsiteX12" fmla="*/ 7511 w 9425"/>
              <a:gd name="connsiteY12" fmla="*/ 6652 h 10000"/>
              <a:gd name="connsiteX13" fmla="*/ 6887 w 9425"/>
              <a:gd name="connsiteY13" fmla="*/ 5424 h 10000"/>
              <a:gd name="connsiteX14" fmla="*/ 5669 w 9425"/>
              <a:gd name="connsiteY14" fmla="*/ 4999 h 10000"/>
              <a:gd name="connsiteX15" fmla="*/ 4395 w 9425"/>
              <a:gd name="connsiteY15" fmla="*/ 4576 h 10000"/>
              <a:gd name="connsiteX16" fmla="*/ 2487 w 9425"/>
              <a:gd name="connsiteY16" fmla="*/ 5424 h 10000"/>
              <a:gd name="connsiteX17" fmla="*/ 1908 w 9425"/>
              <a:gd name="connsiteY17" fmla="*/ 5424 h 10000"/>
              <a:gd name="connsiteX18" fmla="*/ 2487 w 9425"/>
              <a:gd name="connsiteY18" fmla="*/ 4999 h 10000"/>
              <a:gd name="connsiteX19" fmla="*/ 1908 w 9425"/>
              <a:gd name="connsiteY19" fmla="*/ 4151 h 10000"/>
              <a:gd name="connsiteX20" fmla="*/ 642 w 9425"/>
              <a:gd name="connsiteY20" fmla="*/ 4151 h 10000"/>
              <a:gd name="connsiteX21" fmla="*/ 0 w 9425"/>
              <a:gd name="connsiteY21" fmla="*/ 3306 h 10000"/>
              <a:gd name="connsiteX22" fmla="*/ 642 w 9425"/>
              <a:gd name="connsiteY22" fmla="*/ 1228 h 10000"/>
              <a:gd name="connsiteX23" fmla="*/ 1908 w 9425"/>
              <a:gd name="connsiteY23" fmla="*/ 2077 h 10000"/>
              <a:gd name="connsiteX24" fmla="*/ 2487 w 9425"/>
              <a:gd name="connsiteY24" fmla="*/ 2077 h 10000"/>
              <a:gd name="connsiteX25" fmla="*/ 1908 w 9425"/>
              <a:gd name="connsiteY25" fmla="*/ 1228 h 10000"/>
              <a:gd name="connsiteX26" fmla="*/ 3758 w 9425"/>
              <a:gd name="connsiteY26" fmla="*/ 0 h 10000"/>
              <a:gd name="connsiteX27" fmla="*/ 5036 w 9425"/>
              <a:gd name="connsiteY27" fmla="*/ 380 h 10000"/>
              <a:gd name="connsiteX28" fmla="*/ 5669 w 9425"/>
              <a:gd name="connsiteY28" fmla="*/ 0 h 10000"/>
              <a:gd name="connsiteX29" fmla="*/ 6887 w 9425"/>
              <a:gd name="connsiteY29" fmla="*/ 380 h 10000"/>
              <a:gd name="connsiteX30" fmla="*/ 8785 w 9425"/>
              <a:gd name="connsiteY30" fmla="*/ 1228 h 10000"/>
              <a:gd name="connsiteX0" fmla="*/ 10000 w 10106"/>
              <a:gd name="connsiteY0" fmla="*/ 6652 h 10000"/>
              <a:gd name="connsiteX1" fmla="*/ 10000 w 10106"/>
              <a:gd name="connsiteY1" fmla="*/ 10000 h 10000"/>
              <a:gd name="connsiteX2" fmla="*/ 9321 w 10106"/>
              <a:gd name="connsiteY2" fmla="*/ 10000 h 10000"/>
              <a:gd name="connsiteX3" fmla="*/ 7969 w 10106"/>
              <a:gd name="connsiteY3" fmla="*/ 9151 h 10000"/>
              <a:gd name="connsiteX4" fmla="*/ 6015 w 10106"/>
              <a:gd name="connsiteY4" fmla="*/ 9577 h 10000"/>
              <a:gd name="connsiteX5" fmla="*/ 6015 w 10106"/>
              <a:gd name="connsiteY5" fmla="*/ 8728 h 10000"/>
              <a:gd name="connsiteX6" fmla="*/ 5343 w 10106"/>
              <a:gd name="connsiteY6" fmla="*/ 8728 h 10000"/>
              <a:gd name="connsiteX7" fmla="*/ 4663 w 10106"/>
              <a:gd name="connsiteY7" fmla="*/ 7500 h 10000"/>
              <a:gd name="connsiteX8" fmla="*/ 3987 w 10106"/>
              <a:gd name="connsiteY8" fmla="*/ 7500 h 10000"/>
              <a:gd name="connsiteX9" fmla="*/ 5343 w 10106"/>
              <a:gd name="connsiteY9" fmla="*/ 7500 h 10000"/>
              <a:gd name="connsiteX10" fmla="*/ 4663 w 10106"/>
              <a:gd name="connsiteY10" fmla="*/ 7077 h 10000"/>
              <a:gd name="connsiteX11" fmla="*/ 5343 w 10106"/>
              <a:gd name="connsiteY11" fmla="*/ 6652 h 10000"/>
              <a:gd name="connsiteX12" fmla="*/ 7969 w 10106"/>
              <a:gd name="connsiteY12" fmla="*/ 6652 h 10000"/>
              <a:gd name="connsiteX13" fmla="*/ 7307 w 10106"/>
              <a:gd name="connsiteY13" fmla="*/ 5424 h 10000"/>
              <a:gd name="connsiteX14" fmla="*/ 6015 w 10106"/>
              <a:gd name="connsiteY14" fmla="*/ 4999 h 10000"/>
              <a:gd name="connsiteX15" fmla="*/ 4663 w 10106"/>
              <a:gd name="connsiteY15" fmla="*/ 4576 h 10000"/>
              <a:gd name="connsiteX16" fmla="*/ 2639 w 10106"/>
              <a:gd name="connsiteY16" fmla="*/ 5424 h 10000"/>
              <a:gd name="connsiteX17" fmla="*/ 2024 w 10106"/>
              <a:gd name="connsiteY17" fmla="*/ 5424 h 10000"/>
              <a:gd name="connsiteX18" fmla="*/ 2639 w 10106"/>
              <a:gd name="connsiteY18" fmla="*/ 4999 h 10000"/>
              <a:gd name="connsiteX19" fmla="*/ 2024 w 10106"/>
              <a:gd name="connsiteY19" fmla="*/ 4151 h 10000"/>
              <a:gd name="connsiteX20" fmla="*/ 681 w 10106"/>
              <a:gd name="connsiteY20" fmla="*/ 4151 h 10000"/>
              <a:gd name="connsiteX21" fmla="*/ 0 w 10106"/>
              <a:gd name="connsiteY21" fmla="*/ 3306 h 10000"/>
              <a:gd name="connsiteX22" fmla="*/ 681 w 10106"/>
              <a:gd name="connsiteY22" fmla="*/ 1228 h 10000"/>
              <a:gd name="connsiteX23" fmla="*/ 2024 w 10106"/>
              <a:gd name="connsiteY23" fmla="*/ 2077 h 10000"/>
              <a:gd name="connsiteX24" fmla="*/ 2639 w 10106"/>
              <a:gd name="connsiteY24" fmla="*/ 2077 h 10000"/>
              <a:gd name="connsiteX25" fmla="*/ 2024 w 10106"/>
              <a:gd name="connsiteY25" fmla="*/ 1228 h 10000"/>
              <a:gd name="connsiteX26" fmla="*/ 3987 w 10106"/>
              <a:gd name="connsiteY26" fmla="*/ 0 h 10000"/>
              <a:gd name="connsiteX27" fmla="*/ 5343 w 10106"/>
              <a:gd name="connsiteY27" fmla="*/ 380 h 10000"/>
              <a:gd name="connsiteX28" fmla="*/ 6015 w 10106"/>
              <a:gd name="connsiteY28" fmla="*/ 0 h 10000"/>
              <a:gd name="connsiteX29" fmla="*/ 7307 w 10106"/>
              <a:gd name="connsiteY29" fmla="*/ 380 h 10000"/>
              <a:gd name="connsiteX30" fmla="*/ 10106 w 10106"/>
              <a:gd name="connsiteY30" fmla="*/ 127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106" h="10000">
                <a:moveTo>
                  <a:pt x="10000" y="6652"/>
                </a:moveTo>
                <a:lnTo>
                  <a:pt x="10000" y="10000"/>
                </a:lnTo>
                <a:lnTo>
                  <a:pt x="9321" y="10000"/>
                </a:lnTo>
                <a:lnTo>
                  <a:pt x="7969" y="9151"/>
                </a:lnTo>
                <a:lnTo>
                  <a:pt x="6015" y="9577"/>
                </a:lnTo>
                <a:lnTo>
                  <a:pt x="6015" y="8728"/>
                </a:lnTo>
                <a:lnTo>
                  <a:pt x="5343" y="8728"/>
                </a:lnTo>
                <a:cubicBezTo>
                  <a:pt x="5110" y="8319"/>
                  <a:pt x="4886" y="7910"/>
                  <a:pt x="4663" y="7500"/>
                </a:cubicBezTo>
                <a:lnTo>
                  <a:pt x="3987" y="7500"/>
                </a:lnTo>
                <a:lnTo>
                  <a:pt x="5343" y="7500"/>
                </a:lnTo>
                <a:cubicBezTo>
                  <a:pt x="5109" y="7360"/>
                  <a:pt x="4888" y="7218"/>
                  <a:pt x="4663" y="7077"/>
                </a:cubicBezTo>
                <a:lnTo>
                  <a:pt x="5343" y="6652"/>
                </a:lnTo>
                <a:lnTo>
                  <a:pt x="7969" y="6652"/>
                </a:lnTo>
                <a:cubicBezTo>
                  <a:pt x="7745" y="6242"/>
                  <a:pt x="7531" y="5833"/>
                  <a:pt x="7307" y="5424"/>
                </a:cubicBezTo>
                <a:lnTo>
                  <a:pt x="6015" y="4999"/>
                </a:lnTo>
                <a:lnTo>
                  <a:pt x="4663" y="4576"/>
                </a:lnTo>
                <a:lnTo>
                  <a:pt x="2639" y="5424"/>
                </a:lnTo>
                <a:lnTo>
                  <a:pt x="2024" y="5424"/>
                </a:lnTo>
                <a:lnTo>
                  <a:pt x="2639" y="4999"/>
                </a:lnTo>
                <a:cubicBezTo>
                  <a:pt x="2430" y="4717"/>
                  <a:pt x="2228" y="4434"/>
                  <a:pt x="2024" y="4151"/>
                </a:cubicBezTo>
                <a:lnTo>
                  <a:pt x="681" y="4151"/>
                </a:lnTo>
                <a:lnTo>
                  <a:pt x="0" y="3306"/>
                </a:lnTo>
                <a:cubicBezTo>
                  <a:pt x="226" y="2613"/>
                  <a:pt x="453" y="1920"/>
                  <a:pt x="681" y="1228"/>
                </a:cubicBezTo>
                <a:lnTo>
                  <a:pt x="2024" y="2077"/>
                </a:lnTo>
                <a:lnTo>
                  <a:pt x="2639" y="2077"/>
                </a:lnTo>
                <a:cubicBezTo>
                  <a:pt x="2430" y="1793"/>
                  <a:pt x="2228" y="1510"/>
                  <a:pt x="2024" y="1228"/>
                </a:cubicBezTo>
                <a:lnTo>
                  <a:pt x="3987" y="0"/>
                </a:lnTo>
                <a:lnTo>
                  <a:pt x="5343" y="380"/>
                </a:lnTo>
                <a:lnTo>
                  <a:pt x="6015" y="0"/>
                </a:lnTo>
                <a:lnTo>
                  <a:pt x="7307" y="380"/>
                </a:lnTo>
                <a:lnTo>
                  <a:pt x="10106" y="1277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09" name="Freeform 54">
            <a:extLst>
              <a:ext uri="{FF2B5EF4-FFF2-40B4-BE49-F238E27FC236}">
                <a16:creationId xmlns:a16="http://schemas.microsoft.com/office/drawing/2014/main" id="{0623AB5E-99EF-4C4D-85B7-DB4C483F53DC}"/>
              </a:ext>
            </a:extLst>
          </p:cNvPr>
          <p:cNvSpPr>
            <a:spLocks/>
          </p:cNvSpPr>
          <p:nvPr/>
        </p:nvSpPr>
        <p:spPr bwMode="gray">
          <a:xfrm>
            <a:off x="2188621" y="3068127"/>
            <a:ext cx="869357" cy="557615"/>
          </a:xfrm>
          <a:custGeom>
            <a:avLst/>
            <a:gdLst>
              <a:gd name="T0" fmla="*/ 2147483647 w 233"/>
              <a:gd name="T1" fmla="*/ 2147483647 h 153"/>
              <a:gd name="T2" fmla="*/ 2147483647 w 233"/>
              <a:gd name="T3" fmla="*/ 2147483647 h 153"/>
              <a:gd name="T4" fmla="*/ 2147483647 w 233"/>
              <a:gd name="T5" fmla="*/ 2147483647 h 153"/>
              <a:gd name="T6" fmla="*/ 2147483647 w 233"/>
              <a:gd name="T7" fmla="*/ 2147483647 h 153"/>
              <a:gd name="T8" fmla="*/ 2147483647 w 233"/>
              <a:gd name="T9" fmla="*/ 2147483647 h 153"/>
              <a:gd name="T10" fmla="*/ 2147483647 w 233"/>
              <a:gd name="T11" fmla="*/ 2147483647 h 153"/>
              <a:gd name="T12" fmla="*/ 2147483647 w 233"/>
              <a:gd name="T13" fmla="*/ 2147483647 h 153"/>
              <a:gd name="T14" fmla="*/ 2147483647 w 233"/>
              <a:gd name="T15" fmla="*/ 2147483647 h 153"/>
              <a:gd name="T16" fmla="*/ 2147483647 w 233"/>
              <a:gd name="T17" fmla="*/ 2147483647 h 153"/>
              <a:gd name="T18" fmla="*/ 2147483647 w 233"/>
              <a:gd name="T19" fmla="*/ 2147483647 h 153"/>
              <a:gd name="T20" fmla="*/ 2147483647 w 233"/>
              <a:gd name="T21" fmla="*/ 2147483647 h 153"/>
              <a:gd name="T22" fmla="*/ 2147483647 w 233"/>
              <a:gd name="T23" fmla="*/ 2147483647 h 153"/>
              <a:gd name="T24" fmla="*/ 2147483647 w 233"/>
              <a:gd name="T25" fmla="*/ 2147483647 h 153"/>
              <a:gd name="T26" fmla="*/ 2147483647 w 233"/>
              <a:gd name="T27" fmla="*/ 2147483647 h 153"/>
              <a:gd name="T28" fmla="*/ 0 w 233"/>
              <a:gd name="T29" fmla="*/ 2147483647 h 153"/>
              <a:gd name="T30" fmla="*/ 2147483647 w 233"/>
              <a:gd name="T31" fmla="*/ 2147483647 h 153"/>
              <a:gd name="T32" fmla="*/ 2147483647 w 233"/>
              <a:gd name="T33" fmla="*/ 2147483647 h 153"/>
              <a:gd name="T34" fmla="*/ 2147483647 w 233"/>
              <a:gd name="T35" fmla="*/ 2147483647 h 153"/>
              <a:gd name="T36" fmla="*/ 2147483647 w 233"/>
              <a:gd name="T37" fmla="*/ 2147483647 h 153"/>
              <a:gd name="T38" fmla="*/ 2147483647 w 233"/>
              <a:gd name="T39" fmla="*/ 2147483647 h 153"/>
              <a:gd name="T40" fmla="*/ 2147483647 w 233"/>
              <a:gd name="T41" fmla="*/ 2147483647 h 153"/>
              <a:gd name="T42" fmla="*/ 2147483647 w 233"/>
              <a:gd name="T43" fmla="*/ 2147483647 h 153"/>
              <a:gd name="T44" fmla="*/ 2147483647 w 233"/>
              <a:gd name="T45" fmla="*/ 2147483647 h 153"/>
              <a:gd name="T46" fmla="*/ 2147483647 w 233"/>
              <a:gd name="T47" fmla="*/ 2147483647 h 153"/>
              <a:gd name="T48" fmla="*/ 2147483647 w 233"/>
              <a:gd name="T49" fmla="*/ 2147483647 h 153"/>
              <a:gd name="T50" fmla="*/ 2147483647 w 233"/>
              <a:gd name="T51" fmla="*/ 2147483647 h 153"/>
              <a:gd name="T52" fmla="*/ 2147483647 w 233"/>
              <a:gd name="T53" fmla="*/ 0 h 153"/>
              <a:gd name="T54" fmla="*/ 2147483647 w 233"/>
              <a:gd name="T55" fmla="*/ 0 h 153"/>
              <a:gd name="T56" fmla="*/ 2147483647 w 233"/>
              <a:gd name="T57" fmla="*/ 0 h 153"/>
              <a:gd name="T58" fmla="*/ 2147483647 w 233"/>
              <a:gd name="T59" fmla="*/ 2147483647 h 153"/>
              <a:gd name="T60" fmla="*/ 2147483647 w 233"/>
              <a:gd name="T61" fmla="*/ 2147483647 h 153"/>
              <a:gd name="T62" fmla="*/ 2147483647 w 233"/>
              <a:gd name="T63" fmla="*/ 2147483647 h 153"/>
              <a:gd name="T64" fmla="*/ 2147483647 w 233"/>
              <a:gd name="T65" fmla="*/ 2147483647 h 153"/>
              <a:gd name="T66" fmla="*/ 2147483647 w 233"/>
              <a:gd name="T67" fmla="*/ 2147483647 h 153"/>
              <a:gd name="T68" fmla="*/ 2147483647 w 233"/>
              <a:gd name="T69" fmla="*/ 2147483647 h 153"/>
              <a:gd name="T70" fmla="*/ 2147483647 w 233"/>
              <a:gd name="T71" fmla="*/ 2147483647 h 153"/>
              <a:gd name="T72" fmla="*/ 2147483647 w 233"/>
              <a:gd name="T73" fmla="*/ 2147483647 h 153"/>
              <a:gd name="T74" fmla="*/ 2147483647 w 233"/>
              <a:gd name="T75" fmla="*/ 2147483647 h 153"/>
              <a:gd name="T76" fmla="*/ 2147483647 w 233"/>
              <a:gd name="T77" fmla="*/ 2147483647 h 153"/>
              <a:gd name="T78" fmla="*/ 2147483647 w 233"/>
              <a:gd name="T79" fmla="*/ 2147483647 h 153"/>
              <a:gd name="T80" fmla="*/ 2147483647 w 233"/>
              <a:gd name="T81" fmla="*/ 2147483647 h 153"/>
              <a:gd name="T82" fmla="*/ 2147483647 w 233"/>
              <a:gd name="T83" fmla="*/ 2147483647 h 153"/>
              <a:gd name="T84" fmla="*/ 2147483647 w 233"/>
              <a:gd name="T85" fmla="*/ 2147483647 h 153"/>
              <a:gd name="T86" fmla="*/ 2147483647 w 233"/>
              <a:gd name="T87" fmla="*/ 2147483647 h 153"/>
              <a:gd name="T88" fmla="*/ 2147483647 w 233"/>
              <a:gd name="T89" fmla="*/ 2147483647 h 153"/>
              <a:gd name="T90" fmla="*/ 2147483647 w 233"/>
              <a:gd name="T91" fmla="*/ 2147483647 h 153"/>
              <a:gd name="T92" fmla="*/ 2147483647 w 233"/>
              <a:gd name="T93" fmla="*/ 2147483647 h 153"/>
              <a:gd name="T94" fmla="*/ 2147483647 w 233"/>
              <a:gd name="T95" fmla="*/ 2147483647 h 153"/>
              <a:gd name="T96" fmla="*/ 2147483647 w 233"/>
              <a:gd name="T97" fmla="*/ 2147483647 h 153"/>
              <a:gd name="T98" fmla="*/ 2147483647 w 233"/>
              <a:gd name="T99" fmla="*/ 2147483647 h 153"/>
              <a:gd name="T100" fmla="*/ 2147483647 w 233"/>
              <a:gd name="T101" fmla="*/ 2147483647 h 153"/>
              <a:gd name="T102" fmla="*/ 2147483647 w 233"/>
              <a:gd name="T103" fmla="*/ 2147483647 h 153"/>
              <a:gd name="T104" fmla="*/ 2147483647 w 233"/>
              <a:gd name="T105" fmla="*/ 2147483647 h 153"/>
              <a:gd name="T106" fmla="*/ 2147483647 w 233"/>
              <a:gd name="T107" fmla="*/ 2147483647 h 153"/>
              <a:gd name="T108" fmla="*/ 2147483647 w 233"/>
              <a:gd name="T109" fmla="*/ 2147483647 h 153"/>
              <a:gd name="T110" fmla="*/ 2147483647 w 233"/>
              <a:gd name="T111" fmla="*/ 2147483647 h 153"/>
              <a:gd name="T112" fmla="*/ 2147483647 w 233"/>
              <a:gd name="T113" fmla="*/ 2147483647 h 15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33"/>
              <a:gd name="T172" fmla="*/ 0 h 153"/>
              <a:gd name="T173" fmla="*/ 233 w 233"/>
              <a:gd name="T174" fmla="*/ 153 h 15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33" h="153">
                <a:moveTo>
                  <a:pt x="96" y="136"/>
                </a:moveTo>
                <a:lnTo>
                  <a:pt x="96" y="136"/>
                </a:lnTo>
                <a:lnTo>
                  <a:pt x="80" y="136"/>
                </a:lnTo>
                <a:lnTo>
                  <a:pt x="80" y="128"/>
                </a:lnTo>
                <a:lnTo>
                  <a:pt x="88" y="112"/>
                </a:lnTo>
                <a:lnTo>
                  <a:pt x="104" y="112"/>
                </a:lnTo>
                <a:lnTo>
                  <a:pt x="104" y="104"/>
                </a:lnTo>
                <a:lnTo>
                  <a:pt x="96" y="88"/>
                </a:lnTo>
                <a:lnTo>
                  <a:pt x="96" y="80"/>
                </a:lnTo>
                <a:lnTo>
                  <a:pt x="72" y="72"/>
                </a:lnTo>
                <a:lnTo>
                  <a:pt x="56" y="80"/>
                </a:lnTo>
                <a:lnTo>
                  <a:pt x="40" y="88"/>
                </a:lnTo>
                <a:lnTo>
                  <a:pt x="32" y="88"/>
                </a:lnTo>
                <a:lnTo>
                  <a:pt x="8" y="88"/>
                </a:lnTo>
                <a:lnTo>
                  <a:pt x="0" y="80"/>
                </a:lnTo>
                <a:lnTo>
                  <a:pt x="8" y="64"/>
                </a:lnTo>
                <a:lnTo>
                  <a:pt x="16" y="48"/>
                </a:lnTo>
                <a:lnTo>
                  <a:pt x="24" y="40"/>
                </a:lnTo>
                <a:lnTo>
                  <a:pt x="16" y="16"/>
                </a:lnTo>
                <a:lnTo>
                  <a:pt x="32" y="8"/>
                </a:lnTo>
                <a:lnTo>
                  <a:pt x="48" y="8"/>
                </a:lnTo>
                <a:lnTo>
                  <a:pt x="72" y="16"/>
                </a:lnTo>
                <a:lnTo>
                  <a:pt x="80" y="16"/>
                </a:lnTo>
                <a:lnTo>
                  <a:pt x="88" y="16"/>
                </a:lnTo>
                <a:lnTo>
                  <a:pt x="96" y="16"/>
                </a:lnTo>
                <a:lnTo>
                  <a:pt x="112" y="16"/>
                </a:lnTo>
                <a:lnTo>
                  <a:pt x="120" y="0"/>
                </a:lnTo>
                <a:lnTo>
                  <a:pt x="128" y="0"/>
                </a:lnTo>
                <a:lnTo>
                  <a:pt x="152" y="0"/>
                </a:lnTo>
                <a:lnTo>
                  <a:pt x="160" y="8"/>
                </a:lnTo>
                <a:lnTo>
                  <a:pt x="152" y="8"/>
                </a:lnTo>
                <a:lnTo>
                  <a:pt x="160" y="16"/>
                </a:lnTo>
                <a:lnTo>
                  <a:pt x="168" y="16"/>
                </a:lnTo>
                <a:lnTo>
                  <a:pt x="176" y="32"/>
                </a:lnTo>
                <a:lnTo>
                  <a:pt x="184" y="40"/>
                </a:lnTo>
                <a:lnTo>
                  <a:pt x="192" y="32"/>
                </a:lnTo>
                <a:lnTo>
                  <a:pt x="232" y="56"/>
                </a:lnTo>
                <a:lnTo>
                  <a:pt x="224" y="88"/>
                </a:lnTo>
                <a:lnTo>
                  <a:pt x="216" y="80"/>
                </a:lnTo>
                <a:lnTo>
                  <a:pt x="208" y="88"/>
                </a:lnTo>
                <a:lnTo>
                  <a:pt x="208" y="104"/>
                </a:lnTo>
                <a:lnTo>
                  <a:pt x="200" y="104"/>
                </a:lnTo>
                <a:lnTo>
                  <a:pt x="160" y="128"/>
                </a:lnTo>
                <a:lnTo>
                  <a:pt x="176" y="136"/>
                </a:lnTo>
                <a:lnTo>
                  <a:pt x="184" y="136"/>
                </a:lnTo>
                <a:lnTo>
                  <a:pt x="176" y="136"/>
                </a:lnTo>
                <a:lnTo>
                  <a:pt x="152" y="152"/>
                </a:lnTo>
                <a:lnTo>
                  <a:pt x="144" y="152"/>
                </a:lnTo>
                <a:lnTo>
                  <a:pt x="144" y="144"/>
                </a:lnTo>
                <a:lnTo>
                  <a:pt x="136" y="136"/>
                </a:lnTo>
                <a:lnTo>
                  <a:pt x="152" y="128"/>
                </a:lnTo>
                <a:lnTo>
                  <a:pt x="128" y="120"/>
                </a:lnTo>
                <a:lnTo>
                  <a:pt x="128" y="112"/>
                </a:lnTo>
                <a:lnTo>
                  <a:pt x="112" y="112"/>
                </a:lnTo>
                <a:lnTo>
                  <a:pt x="104" y="128"/>
                </a:lnTo>
                <a:lnTo>
                  <a:pt x="96" y="128"/>
                </a:lnTo>
                <a:lnTo>
                  <a:pt x="96" y="13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0" name="Freeform 57">
            <a:extLst>
              <a:ext uri="{FF2B5EF4-FFF2-40B4-BE49-F238E27FC236}">
                <a16:creationId xmlns:a16="http://schemas.microsoft.com/office/drawing/2014/main" id="{91D5425D-6249-4BBD-B52F-B2631EB083A6}"/>
              </a:ext>
            </a:extLst>
          </p:cNvPr>
          <p:cNvSpPr>
            <a:spLocks/>
          </p:cNvSpPr>
          <p:nvPr/>
        </p:nvSpPr>
        <p:spPr bwMode="gray">
          <a:xfrm>
            <a:off x="2162278" y="2730044"/>
            <a:ext cx="263441" cy="219536"/>
          </a:xfrm>
          <a:custGeom>
            <a:avLst/>
            <a:gdLst>
              <a:gd name="T0" fmla="*/ 0 w 73"/>
              <a:gd name="T1" fmla="*/ 2147483647 h 57"/>
              <a:gd name="T2" fmla="*/ 0 w 73"/>
              <a:gd name="T3" fmla="*/ 2147483647 h 57"/>
              <a:gd name="T4" fmla="*/ 0 w 73"/>
              <a:gd name="T5" fmla="*/ 2147483647 h 57"/>
              <a:gd name="T6" fmla="*/ 0 w 73"/>
              <a:gd name="T7" fmla="*/ 2147483647 h 57"/>
              <a:gd name="T8" fmla="*/ 2147483647 w 73"/>
              <a:gd name="T9" fmla="*/ 0 h 57"/>
              <a:gd name="T10" fmla="*/ 2147483647 w 73"/>
              <a:gd name="T11" fmla="*/ 0 h 57"/>
              <a:gd name="T12" fmla="*/ 2147483647 w 73"/>
              <a:gd name="T13" fmla="*/ 0 h 57"/>
              <a:gd name="T14" fmla="*/ 2147483647 w 73"/>
              <a:gd name="T15" fmla="*/ 2147483647 h 57"/>
              <a:gd name="T16" fmla="*/ 2147483647 w 73"/>
              <a:gd name="T17" fmla="*/ 2147483647 h 57"/>
              <a:gd name="T18" fmla="*/ 2147483647 w 73"/>
              <a:gd name="T19" fmla="*/ 2147483647 h 57"/>
              <a:gd name="T20" fmla="*/ 2147483647 w 73"/>
              <a:gd name="T21" fmla="*/ 2147483647 h 57"/>
              <a:gd name="T22" fmla="*/ 2147483647 w 73"/>
              <a:gd name="T23" fmla="*/ 2147483647 h 57"/>
              <a:gd name="T24" fmla="*/ 2147483647 w 73"/>
              <a:gd name="T25" fmla="*/ 2147483647 h 57"/>
              <a:gd name="T26" fmla="*/ 2147483647 w 73"/>
              <a:gd name="T27" fmla="*/ 2147483647 h 57"/>
              <a:gd name="T28" fmla="*/ 2147483647 w 73"/>
              <a:gd name="T29" fmla="*/ 2147483647 h 57"/>
              <a:gd name="T30" fmla="*/ 2147483647 w 73"/>
              <a:gd name="T31" fmla="*/ 2147483647 h 57"/>
              <a:gd name="T32" fmla="*/ 0 w 73"/>
              <a:gd name="T33" fmla="*/ 2147483647 h 5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73"/>
              <a:gd name="T52" fmla="*/ 0 h 57"/>
              <a:gd name="T53" fmla="*/ 73 w 73"/>
              <a:gd name="T54" fmla="*/ 57 h 5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73" h="57">
                <a:moveTo>
                  <a:pt x="0" y="24"/>
                </a:moveTo>
                <a:lnTo>
                  <a:pt x="0" y="24"/>
                </a:lnTo>
                <a:lnTo>
                  <a:pt x="0" y="16"/>
                </a:lnTo>
                <a:lnTo>
                  <a:pt x="0" y="8"/>
                </a:lnTo>
                <a:lnTo>
                  <a:pt x="8" y="0"/>
                </a:lnTo>
                <a:lnTo>
                  <a:pt x="40" y="0"/>
                </a:lnTo>
                <a:lnTo>
                  <a:pt x="48" y="0"/>
                </a:lnTo>
                <a:lnTo>
                  <a:pt x="72" y="16"/>
                </a:lnTo>
                <a:lnTo>
                  <a:pt x="72" y="24"/>
                </a:lnTo>
                <a:lnTo>
                  <a:pt x="56" y="32"/>
                </a:lnTo>
                <a:lnTo>
                  <a:pt x="56" y="48"/>
                </a:lnTo>
                <a:lnTo>
                  <a:pt x="48" y="48"/>
                </a:lnTo>
                <a:lnTo>
                  <a:pt x="32" y="56"/>
                </a:lnTo>
                <a:lnTo>
                  <a:pt x="24" y="56"/>
                </a:lnTo>
                <a:lnTo>
                  <a:pt x="16" y="48"/>
                </a:lnTo>
                <a:lnTo>
                  <a:pt x="16" y="24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1" name="Freeform 52">
            <a:extLst>
              <a:ext uri="{FF2B5EF4-FFF2-40B4-BE49-F238E27FC236}">
                <a16:creationId xmlns:a16="http://schemas.microsoft.com/office/drawing/2014/main" id="{70E571D5-00C0-4F95-8007-3594E4D92A6B}"/>
              </a:ext>
            </a:extLst>
          </p:cNvPr>
          <p:cNvSpPr>
            <a:spLocks/>
          </p:cNvSpPr>
          <p:nvPr/>
        </p:nvSpPr>
        <p:spPr bwMode="gray">
          <a:xfrm>
            <a:off x="2250091" y="2730045"/>
            <a:ext cx="452240" cy="390772"/>
          </a:xfrm>
          <a:custGeom>
            <a:avLst/>
            <a:gdLst>
              <a:gd name="T0" fmla="*/ 2147483647 w 121"/>
              <a:gd name="T1" fmla="*/ 2147483647 h 105"/>
              <a:gd name="T2" fmla="*/ 2147483647 w 121"/>
              <a:gd name="T3" fmla="*/ 2147483647 h 105"/>
              <a:gd name="T4" fmla="*/ 2147483647 w 121"/>
              <a:gd name="T5" fmla="*/ 2147483647 h 105"/>
              <a:gd name="T6" fmla="*/ 2147483647 w 121"/>
              <a:gd name="T7" fmla="*/ 2147483647 h 105"/>
              <a:gd name="T8" fmla="*/ 2147483647 w 121"/>
              <a:gd name="T9" fmla="*/ 2147483647 h 105"/>
              <a:gd name="T10" fmla="*/ 2147483647 w 121"/>
              <a:gd name="T11" fmla="*/ 2147483647 h 105"/>
              <a:gd name="T12" fmla="*/ 2147483647 w 121"/>
              <a:gd name="T13" fmla="*/ 2147483647 h 105"/>
              <a:gd name="T14" fmla="*/ 2147483647 w 121"/>
              <a:gd name="T15" fmla="*/ 2147483647 h 105"/>
              <a:gd name="T16" fmla="*/ 2147483647 w 121"/>
              <a:gd name="T17" fmla="*/ 2147483647 h 105"/>
              <a:gd name="T18" fmla="*/ 2147483647 w 121"/>
              <a:gd name="T19" fmla="*/ 2147483647 h 105"/>
              <a:gd name="T20" fmla="*/ 2147483647 w 121"/>
              <a:gd name="T21" fmla="*/ 0 h 105"/>
              <a:gd name="T22" fmla="*/ 2147483647 w 121"/>
              <a:gd name="T23" fmla="*/ 2147483647 h 105"/>
              <a:gd name="T24" fmla="*/ 2147483647 w 121"/>
              <a:gd name="T25" fmla="*/ 2147483647 h 105"/>
              <a:gd name="T26" fmla="*/ 2147483647 w 121"/>
              <a:gd name="T27" fmla="*/ 2147483647 h 105"/>
              <a:gd name="T28" fmla="*/ 2147483647 w 121"/>
              <a:gd name="T29" fmla="*/ 2147483647 h 105"/>
              <a:gd name="T30" fmla="*/ 2147483647 w 121"/>
              <a:gd name="T31" fmla="*/ 2147483647 h 105"/>
              <a:gd name="T32" fmla="*/ 2147483647 w 121"/>
              <a:gd name="T33" fmla="*/ 2147483647 h 105"/>
              <a:gd name="T34" fmla="*/ 0 w 121"/>
              <a:gd name="T35" fmla="*/ 2147483647 h 105"/>
              <a:gd name="T36" fmla="*/ 2147483647 w 121"/>
              <a:gd name="T37" fmla="*/ 2147483647 h 105"/>
              <a:gd name="T38" fmla="*/ 0 w 121"/>
              <a:gd name="T39" fmla="*/ 2147483647 h 105"/>
              <a:gd name="T40" fmla="*/ 0 w 121"/>
              <a:gd name="T41" fmla="*/ 2147483647 h 105"/>
              <a:gd name="T42" fmla="*/ 2147483647 w 121"/>
              <a:gd name="T43" fmla="*/ 2147483647 h 105"/>
              <a:gd name="T44" fmla="*/ 2147483647 w 121"/>
              <a:gd name="T45" fmla="*/ 2147483647 h 105"/>
              <a:gd name="T46" fmla="*/ 2147483647 w 121"/>
              <a:gd name="T47" fmla="*/ 2147483647 h 105"/>
              <a:gd name="T48" fmla="*/ 2147483647 w 121"/>
              <a:gd name="T49" fmla="*/ 2147483647 h 105"/>
              <a:gd name="T50" fmla="*/ 2147483647 w 121"/>
              <a:gd name="T51" fmla="*/ 2147483647 h 105"/>
              <a:gd name="T52" fmla="*/ 2147483647 w 121"/>
              <a:gd name="T53" fmla="*/ 2147483647 h 105"/>
              <a:gd name="T54" fmla="*/ 2147483647 w 121"/>
              <a:gd name="T55" fmla="*/ 2147483647 h 105"/>
              <a:gd name="T56" fmla="*/ 2147483647 w 121"/>
              <a:gd name="T57" fmla="*/ 2147483647 h 105"/>
              <a:gd name="T58" fmla="*/ 2147483647 w 121"/>
              <a:gd name="T59" fmla="*/ 2147483647 h 10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21"/>
              <a:gd name="T91" fmla="*/ 0 h 105"/>
              <a:gd name="T92" fmla="*/ 121 w 121"/>
              <a:gd name="T93" fmla="*/ 105 h 10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21" h="105">
                <a:moveTo>
                  <a:pt x="112" y="88"/>
                </a:moveTo>
                <a:lnTo>
                  <a:pt x="112" y="88"/>
                </a:lnTo>
                <a:lnTo>
                  <a:pt x="104" y="72"/>
                </a:lnTo>
                <a:lnTo>
                  <a:pt x="104" y="64"/>
                </a:lnTo>
                <a:lnTo>
                  <a:pt x="112" y="72"/>
                </a:lnTo>
                <a:lnTo>
                  <a:pt x="120" y="56"/>
                </a:lnTo>
                <a:lnTo>
                  <a:pt x="112" y="56"/>
                </a:lnTo>
                <a:lnTo>
                  <a:pt x="96" y="32"/>
                </a:lnTo>
                <a:lnTo>
                  <a:pt x="96" y="16"/>
                </a:lnTo>
                <a:lnTo>
                  <a:pt x="88" y="8"/>
                </a:lnTo>
                <a:lnTo>
                  <a:pt x="64" y="0"/>
                </a:lnTo>
                <a:lnTo>
                  <a:pt x="48" y="16"/>
                </a:lnTo>
                <a:lnTo>
                  <a:pt x="48" y="24"/>
                </a:lnTo>
                <a:lnTo>
                  <a:pt x="32" y="32"/>
                </a:lnTo>
                <a:lnTo>
                  <a:pt x="32" y="48"/>
                </a:lnTo>
                <a:lnTo>
                  <a:pt x="24" y="48"/>
                </a:lnTo>
                <a:lnTo>
                  <a:pt x="8" y="56"/>
                </a:lnTo>
                <a:lnTo>
                  <a:pt x="0" y="56"/>
                </a:lnTo>
                <a:lnTo>
                  <a:pt x="8" y="72"/>
                </a:lnTo>
                <a:lnTo>
                  <a:pt x="0" y="88"/>
                </a:lnTo>
                <a:lnTo>
                  <a:pt x="0" y="104"/>
                </a:lnTo>
                <a:lnTo>
                  <a:pt x="16" y="96"/>
                </a:lnTo>
                <a:lnTo>
                  <a:pt x="32" y="96"/>
                </a:lnTo>
                <a:lnTo>
                  <a:pt x="56" y="104"/>
                </a:lnTo>
                <a:lnTo>
                  <a:pt x="64" y="104"/>
                </a:lnTo>
                <a:lnTo>
                  <a:pt x="72" y="104"/>
                </a:lnTo>
                <a:lnTo>
                  <a:pt x="80" y="104"/>
                </a:lnTo>
                <a:lnTo>
                  <a:pt x="96" y="104"/>
                </a:lnTo>
                <a:lnTo>
                  <a:pt x="104" y="88"/>
                </a:lnTo>
                <a:lnTo>
                  <a:pt x="112" y="8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2" name="Freeform 87">
            <a:extLst>
              <a:ext uri="{FF2B5EF4-FFF2-40B4-BE49-F238E27FC236}">
                <a16:creationId xmlns:a16="http://schemas.microsoft.com/office/drawing/2014/main" id="{097917BE-DB94-4014-97B6-67BA71DAA2C3}"/>
              </a:ext>
            </a:extLst>
          </p:cNvPr>
          <p:cNvSpPr>
            <a:spLocks/>
          </p:cNvSpPr>
          <p:nvPr/>
        </p:nvSpPr>
        <p:spPr bwMode="gray">
          <a:xfrm>
            <a:off x="2100808" y="3362302"/>
            <a:ext cx="447849" cy="324909"/>
          </a:xfrm>
          <a:custGeom>
            <a:avLst/>
            <a:gdLst>
              <a:gd name="T0" fmla="*/ 2147483647 w 121"/>
              <a:gd name="T1" fmla="*/ 2147483647 h 89"/>
              <a:gd name="T2" fmla="*/ 2147483647 w 121"/>
              <a:gd name="T3" fmla="*/ 2147483647 h 89"/>
              <a:gd name="T4" fmla="*/ 2147483647 w 121"/>
              <a:gd name="T5" fmla="*/ 2147483647 h 89"/>
              <a:gd name="T6" fmla="*/ 2147483647 w 121"/>
              <a:gd name="T7" fmla="*/ 2147483647 h 89"/>
              <a:gd name="T8" fmla="*/ 2147483647 w 121"/>
              <a:gd name="T9" fmla="*/ 2147483647 h 89"/>
              <a:gd name="T10" fmla="*/ 2147483647 w 121"/>
              <a:gd name="T11" fmla="*/ 2147483647 h 89"/>
              <a:gd name="T12" fmla="*/ 2147483647 w 121"/>
              <a:gd name="T13" fmla="*/ 2147483647 h 89"/>
              <a:gd name="T14" fmla="*/ 2147483647 w 121"/>
              <a:gd name="T15" fmla="*/ 2147483647 h 89"/>
              <a:gd name="T16" fmla="*/ 2147483647 w 121"/>
              <a:gd name="T17" fmla="*/ 2147483647 h 89"/>
              <a:gd name="T18" fmla="*/ 2147483647 w 121"/>
              <a:gd name="T19" fmla="*/ 2147483647 h 89"/>
              <a:gd name="T20" fmla="*/ 2147483647 w 121"/>
              <a:gd name="T21" fmla="*/ 2147483647 h 89"/>
              <a:gd name="T22" fmla="*/ 2147483647 w 121"/>
              <a:gd name="T23" fmla="*/ 2147483647 h 89"/>
              <a:gd name="T24" fmla="*/ 2147483647 w 121"/>
              <a:gd name="T25" fmla="*/ 2147483647 h 89"/>
              <a:gd name="T26" fmla="*/ 2147483647 w 121"/>
              <a:gd name="T27" fmla="*/ 2147483647 h 89"/>
              <a:gd name="T28" fmla="*/ 2147483647 w 121"/>
              <a:gd name="T29" fmla="*/ 2147483647 h 89"/>
              <a:gd name="T30" fmla="*/ 2147483647 w 121"/>
              <a:gd name="T31" fmla="*/ 0 h 89"/>
              <a:gd name="T32" fmla="*/ 2147483647 w 121"/>
              <a:gd name="T33" fmla="*/ 0 h 89"/>
              <a:gd name="T34" fmla="*/ 2147483647 w 121"/>
              <a:gd name="T35" fmla="*/ 2147483647 h 89"/>
              <a:gd name="T36" fmla="*/ 2147483647 w 121"/>
              <a:gd name="T37" fmla="*/ 2147483647 h 89"/>
              <a:gd name="T38" fmla="*/ 2147483647 w 121"/>
              <a:gd name="T39" fmla="*/ 2147483647 h 89"/>
              <a:gd name="T40" fmla="*/ 2147483647 w 121"/>
              <a:gd name="T41" fmla="*/ 2147483647 h 89"/>
              <a:gd name="T42" fmla="*/ 2147483647 w 121"/>
              <a:gd name="T43" fmla="*/ 2147483647 h 89"/>
              <a:gd name="T44" fmla="*/ 0 w 121"/>
              <a:gd name="T45" fmla="*/ 2147483647 h 89"/>
              <a:gd name="T46" fmla="*/ 2147483647 w 121"/>
              <a:gd name="T47" fmla="*/ 2147483647 h 8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1"/>
              <a:gd name="T73" fmla="*/ 0 h 89"/>
              <a:gd name="T74" fmla="*/ 121 w 121"/>
              <a:gd name="T75" fmla="*/ 89 h 8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1" h="89">
                <a:moveTo>
                  <a:pt x="16" y="64"/>
                </a:moveTo>
                <a:lnTo>
                  <a:pt x="16" y="64"/>
                </a:lnTo>
                <a:lnTo>
                  <a:pt x="32" y="64"/>
                </a:lnTo>
                <a:lnTo>
                  <a:pt x="32" y="72"/>
                </a:lnTo>
                <a:lnTo>
                  <a:pt x="40" y="80"/>
                </a:lnTo>
                <a:lnTo>
                  <a:pt x="48" y="80"/>
                </a:lnTo>
                <a:lnTo>
                  <a:pt x="72" y="88"/>
                </a:lnTo>
                <a:lnTo>
                  <a:pt x="88" y="72"/>
                </a:lnTo>
                <a:lnTo>
                  <a:pt x="112" y="80"/>
                </a:lnTo>
                <a:lnTo>
                  <a:pt x="112" y="72"/>
                </a:lnTo>
                <a:lnTo>
                  <a:pt x="120" y="64"/>
                </a:lnTo>
                <a:lnTo>
                  <a:pt x="120" y="56"/>
                </a:lnTo>
                <a:lnTo>
                  <a:pt x="104" y="56"/>
                </a:lnTo>
                <a:lnTo>
                  <a:pt x="104" y="48"/>
                </a:lnTo>
                <a:lnTo>
                  <a:pt x="104" y="24"/>
                </a:lnTo>
                <a:lnTo>
                  <a:pt x="88" y="0"/>
                </a:lnTo>
                <a:lnTo>
                  <a:pt x="80" y="0"/>
                </a:lnTo>
                <a:lnTo>
                  <a:pt x="64" y="8"/>
                </a:lnTo>
                <a:lnTo>
                  <a:pt x="56" y="8"/>
                </a:lnTo>
                <a:lnTo>
                  <a:pt x="32" y="8"/>
                </a:lnTo>
                <a:lnTo>
                  <a:pt x="24" y="8"/>
                </a:lnTo>
                <a:lnTo>
                  <a:pt x="16" y="40"/>
                </a:lnTo>
                <a:lnTo>
                  <a:pt x="0" y="40"/>
                </a:lnTo>
                <a:lnTo>
                  <a:pt x="16" y="6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3" name="Freeform 58">
            <a:extLst>
              <a:ext uri="{FF2B5EF4-FFF2-40B4-BE49-F238E27FC236}">
                <a16:creationId xmlns:a16="http://schemas.microsoft.com/office/drawing/2014/main" id="{BD6EA841-322C-4148-8B19-FEF7AE887CD3}"/>
              </a:ext>
            </a:extLst>
          </p:cNvPr>
          <p:cNvSpPr>
            <a:spLocks/>
          </p:cNvSpPr>
          <p:nvPr/>
        </p:nvSpPr>
        <p:spPr bwMode="gray">
          <a:xfrm>
            <a:off x="2276434" y="2475385"/>
            <a:ext cx="215144" cy="140504"/>
          </a:xfrm>
          <a:custGeom>
            <a:avLst/>
            <a:gdLst>
              <a:gd name="T0" fmla="*/ 2147483647 w 57"/>
              <a:gd name="T1" fmla="*/ 2147483647 h 41"/>
              <a:gd name="T2" fmla="*/ 2147483647 w 57"/>
              <a:gd name="T3" fmla="*/ 2147483647 h 41"/>
              <a:gd name="T4" fmla="*/ 0 w 57"/>
              <a:gd name="T5" fmla="*/ 2147483647 h 41"/>
              <a:gd name="T6" fmla="*/ 0 w 57"/>
              <a:gd name="T7" fmla="*/ 2147483647 h 41"/>
              <a:gd name="T8" fmla="*/ 2147483647 w 57"/>
              <a:gd name="T9" fmla="*/ 0 h 41"/>
              <a:gd name="T10" fmla="*/ 2147483647 w 57"/>
              <a:gd name="T11" fmla="*/ 0 h 41"/>
              <a:gd name="T12" fmla="*/ 2147483647 w 57"/>
              <a:gd name="T13" fmla="*/ 0 h 41"/>
              <a:gd name="T14" fmla="*/ 2147483647 w 57"/>
              <a:gd name="T15" fmla="*/ 2147483647 h 41"/>
              <a:gd name="T16" fmla="*/ 2147483647 w 57"/>
              <a:gd name="T17" fmla="*/ 2147483647 h 41"/>
              <a:gd name="T18" fmla="*/ 2147483647 w 57"/>
              <a:gd name="T19" fmla="*/ 2147483647 h 41"/>
              <a:gd name="T20" fmla="*/ 2147483647 w 57"/>
              <a:gd name="T21" fmla="*/ 2147483647 h 41"/>
              <a:gd name="T22" fmla="*/ 2147483647 w 57"/>
              <a:gd name="T23" fmla="*/ 2147483647 h 41"/>
              <a:gd name="T24" fmla="*/ 2147483647 w 57"/>
              <a:gd name="T25" fmla="*/ 2147483647 h 41"/>
              <a:gd name="T26" fmla="*/ 2147483647 w 57"/>
              <a:gd name="T27" fmla="*/ 2147483647 h 41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7"/>
              <a:gd name="T43" fmla="*/ 0 h 41"/>
              <a:gd name="T44" fmla="*/ 57 w 57"/>
              <a:gd name="T45" fmla="*/ 41 h 41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7" h="41">
                <a:moveTo>
                  <a:pt x="8" y="32"/>
                </a:moveTo>
                <a:lnTo>
                  <a:pt x="8" y="32"/>
                </a:lnTo>
                <a:lnTo>
                  <a:pt x="0" y="24"/>
                </a:lnTo>
                <a:lnTo>
                  <a:pt x="0" y="8"/>
                </a:lnTo>
                <a:lnTo>
                  <a:pt x="8" y="0"/>
                </a:lnTo>
                <a:lnTo>
                  <a:pt x="24" y="0"/>
                </a:lnTo>
                <a:lnTo>
                  <a:pt x="56" y="0"/>
                </a:lnTo>
                <a:lnTo>
                  <a:pt x="48" y="8"/>
                </a:lnTo>
                <a:lnTo>
                  <a:pt x="40" y="8"/>
                </a:lnTo>
                <a:lnTo>
                  <a:pt x="48" y="32"/>
                </a:lnTo>
                <a:lnTo>
                  <a:pt x="48" y="40"/>
                </a:lnTo>
                <a:lnTo>
                  <a:pt x="32" y="40"/>
                </a:lnTo>
                <a:lnTo>
                  <a:pt x="16" y="32"/>
                </a:lnTo>
                <a:lnTo>
                  <a:pt x="8" y="3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4" name="Freeform 61">
            <a:extLst>
              <a:ext uri="{FF2B5EF4-FFF2-40B4-BE49-F238E27FC236}">
                <a16:creationId xmlns:a16="http://schemas.microsoft.com/office/drawing/2014/main" id="{CF40CF00-923C-4244-BD3A-7FAC7DCBB576}"/>
              </a:ext>
            </a:extLst>
          </p:cNvPr>
          <p:cNvSpPr>
            <a:spLocks/>
          </p:cNvSpPr>
          <p:nvPr/>
        </p:nvSpPr>
        <p:spPr bwMode="gray">
          <a:xfrm>
            <a:off x="2399375" y="3322789"/>
            <a:ext cx="180017" cy="210752"/>
          </a:xfrm>
          <a:custGeom>
            <a:avLst/>
            <a:gdLst>
              <a:gd name="T0" fmla="*/ 0 w 49"/>
              <a:gd name="T1" fmla="*/ 2147483647 h 57"/>
              <a:gd name="T2" fmla="*/ 0 w 49"/>
              <a:gd name="T3" fmla="*/ 2147483647 h 57"/>
              <a:gd name="T4" fmla="*/ 2147483647 w 49"/>
              <a:gd name="T5" fmla="*/ 2147483647 h 57"/>
              <a:gd name="T6" fmla="*/ 2147483647 w 49"/>
              <a:gd name="T7" fmla="*/ 2147483647 h 57"/>
              <a:gd name="T8" fmla="*/ 2147483647 w 49"/>
              <a:gd name="T9" fmla="*/ 2147483647 h 57"/>
              <a:gd name="T10" fmla="*/ 2147483647 w 49"/>
              <a:gd name="T11" fmla="*/ 2147483647 h 57"/>
              <a:gd name="T12" fmla="*/ 2147483647 w 49"/>
              <a:gd name="T13" fmla="*/ 2147483647 h 57"/>
              <a:gd name="T14" fmla="*/ 2147483647 w 49"/>
              <a:gd name="T15" fmla="*/ 2147483647 h 57"/>
              <a:gd name="T16" fmla="*/ 2147483647 w 49"/>
              <a:gd name="T17" fmla="*/ 2147483647 h 57"/>
              <a:gd name="T18" fmla="*/ 2147483647 w 49"/>
              <a:gd name="T19" fmla="*/ 2147483647 h 57"/>
              <a:gd name="T20" fmla="*/ 2147483647 w 49"/>
              <a:gd name="T21" fmla="*/ 0 h 57"/>
              <a:gd name="T22" fmla="*/ 0 w 49"/>
              <a:gd name="T23" fmla="*/ 2147483647 h 5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9"/>
              <a:gd name="T37" fmla="*/ 0 h 57"/>
              <a:gd name="T38" fmla="*/ 49 w 49"/>
              <a:gd name="T39" fmla="*/ 57 h 5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9" h="57">
                <a:moveTo>
                  <a:pt x="0" y="8"/>
                </a:moveTo>
                <a:lnTo>
                  <a:pt x="0" y="8"/>
                </a:lnTo>
                <a:lnTo>
                  <a:pt x="8" y="8"/>
                </a:lnTo>
                <a:lnTo>
                  <a:pt x="24" y="32"/>
                </a:lnTo>
                <a:lnTo>
                  <a:pt x="24" y="56"/>
                </a:lnTo>
                <a:lnTo>
                  <a:pt x="32" y="40"/>
                </a:lnTo>
                <a:lnTo>
                  <a:pt x="48" y="40"/>
                </a:lnTo>
                <a:lnTo>
                  <a:pt x="48" y="32"/>
                </a:lnTo>
                <a:lnTo>
                  <a:pt x="40" y="16"/>
                </a:lnTo>
                <a:lnTo>
                  <a:pt x="40" y="8"/>
                </a:lnTo>
                <a:lnTo>
                  <a:pt x="16" y="0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5" name="Freeform 62">
            <a:extLst>
              <a:ext uri="{FF2B5EF4-FFF2-40B4-BE49-F238E27FC236}">
                <a16:creationId xmlns:a16="http://schemas.microsoft.com/office/drawing/2014/main" id="{C36B3BC3-AD2E-4B09-A27F-8DE132D5215F}"/>
              </a:ext>
            </a:extLst>
          </p:cNvPr>
          <p:cNvSpPr>
            <a:spLocks/>
          </p:cNvSpPr>
          <p:nvPr/>
        </p:nvSpPr>
        <p:spPr bwMode="gray">
          <a:xfrm>
            <a:off x="3202867" y="3796980"/>
            <a:ext cx="144896" cy="153671"/>
          </a:xfrm>
          <a:custGeom>
            <a:avLst/>
            <a:gdLst>
              <a:gd name="T0" fmla="*/ 2147483647 w 41"/>
              <a:gd name="T1" fmla="*/ 2147483647 h 41"/>
              <a:gd name="T2" fmla="*/ 2147483647 w 41"/>
              <a:gd name="T3" fmla="*/ 2147483647 h 41"/>
              <a:gd name="T4" fmla="*/ 2147483647 w 41"/>
              <a:gd name="T5" fmla="*/ 2147483647 h 41"/>
              <a:gd name="T6" fmla="*/ 2147483647 w 41"/>
              <a:gd name="T7" fmla="*/ 2147483647 h 41"/>
              <a:gd name="T8" fmla="*/ 2147483647 w 41"/>
              <a:gd name="T9" fmla="*/ 2147483647 h 41"/>
              <a:gd name="T10" fmla="*/ 2147483647 w 41"/>
              <a:gd name="T11" fmla="*/ 0 h 41"/>
              <a:gd name="T12" fmla="*/ 0 w 41"/>
              <a:gd name="T13" fmla="*/ 0 h 41"/>
              <a:gd name="T14" fmla="*/ 2147483647 w 41"/>
              <a:gd name="T15" fmla="*/ 2147483647 h 41"/>
              <a:gd name="T16" fmla="*/ 2147483647 w 41"/>
              <a:gd name="T17" fmla="*/ 2147483647 h 41"/>
              <a:gd name="T18" fmla="*/ 2147483647 w 41"/>
              <a:gd name="T19" fmla="*/ 2147483647 h 41"/>
              <a:gd name="T20" fmla="*/ 2147483647 w 41"/>
              <a:gd name="T21" fmla="*/ 2147483647 h 41"/>
              <a:gd name="T22" fmla="*/ 2147483647 w 41"/>
              <a:gd name="T23" fmla="*/ 2147483647 h 4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1"/>
              <a:gd name="T37" fmla="*/ 0 h 41"/>
              <a:gd name="T38" fmla="*/ 41 w 41"/>
              <a:gd name="T39" fmla="*/ 41 h 4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1" h="41">
                <a:moveTo>
                  <a:pt x="40" y="40"/>
                </a:moveTo>
                <a:lnTo>
                  <a:pt x="40" y="40"/>
                </a:lnTo>
                <a:lnTo>
                  <a:pt x="40" y="32"/>
                </a:lnTo>
                <a:lnTo>
                  <a:pt x="32" y="24"/>
                </a:lnTo>
                <a:lnTo>
                  <a:pt x="32" y="16"/>
                </a:lnTo>
                <a:lnTo>
                  <a:pt x="16" y="0"/>
                </a:lnTo>
                <a:lnTo>
                  <a:pt x="0" y="0"/>
                </a:lnTo>
                <a:lnTo>
                  <a:pt x="8" y="24"/>
                </a:lnTo>
                <a:lnTo>
                  <a:pt x="16" y="24"/>
                </a:lnTo>
                <a:lnTo>
                  <a:pt x="32" y="32"/>
                </a:lnTo>
                <a:lnTo>
                  <a:pt x="32" y="40"/>
                </a:lnTo>
                <a:lnTo>
                  <a:pt x="40" y="4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6" name="Freeform 63">
            <a:extLst>
              <a:ext uri="{FF2B5EF4-FFF2-40B4-BE49-F238E27FC236}">
                <a16:creationId xmlns:a16="http://schemas.microsoft.com/office/drawing/2014/main" id="{0A09FD3F-39B1-4874-881D-E19E1ADD7A6C}"/>
              </a:ext>
            </a:extLst>
          </p:cNvPr>
          <p:cNvSpPr>
            <a:spLocks/>
          </p:cNvSpPr>
          <p:nvPr/>
        </p:nvSpPr>
        <p:spPr bwMode="gray">
          <a:xfrm>
            <a:off x="3268729" y="3880402"/>
            <a:ext cx="57077" cy="70249"/>
          </a:xfrm>
          <a:custGeom>
            <a:avLst/>
            <a:gdLst>
              <a:gd name="T0" fmla="*/ 2147483647 w 17"/>
              <a:gd name="T1" fmla="*/ 2147483647 h 17"/>
              <a:gd name="T2" fmla="*/ 2147483647 w 17"/>
              <a:gd name="T3" fmla="*/ 2147483647 h 17"/>
              <a:gd name="T4" fmla="*/ 2147483647 w 17"/>
              <a:gd name="T5" fmla="*/ 2147483647 h 17"/>
              <a:gd name="T6" fmla="*/ 0 w 17"/>
              <a:gd name="T7" fmla="*/ 0 h 17"/>
              <a:gd name="T8" fmla="*/ 2147483647 w 17"/>
              <a:gd name="T9" fmla="*/ 2147483647 h 17"/>
              <a:gd name="T10" fmla="*/ 2147483647 w 17"/>
              <a:gd name="T11" fmla="*/ 2147483647 h 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17"/>
              <a:gd name="T20" fmla="*/ 17 w 17"/>
              <a:gd name="T21" fmla="*/ 17 h 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17">
                <a:moveTo>
                  <a:pt x="16" y="16"/>
                </a:moveTo>
                <a:lnTo>
                  <a:pt x="16" y="16"/>
                </a:lnTo>
                <a:lnTo>
                  <a:pt x="8" y="16"/>
                </a:lnTo>
                <a:lnTo>
                  <a:pt x="0" y="0"/>
                </a:lnTo>
                <a:lnTo>
                  <a:pt x="16" y="8"/>
                </a:lnTo>
                <a:lnTo>
                  <a:pt x="16" y="1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7" name="Freeform 296">
            <a:extLst>
              <a:ext uri="{FF2B5EF4-FFF2-40B4-BE49-F238E27FC236}">
                <a16:creationId xmlns:a16="http://schemas.microsoft.com/office/drawing/2014/main" id="{008CFB71-E693-4D4D-9400-E9E2000BABF2}"/>
              </a:ext>
            </a:extLst>
          </p:cNvPr>
          <p:cNvSpPr>
            <a:spLocks/>
          </p:cNvSpPr>
          <p:nvPr/>
        </p:nvSpPr>
        <p:spPr bwMode="gray">
          <a:xfrm>
            <a:off x="1894444" y="3533540"/>
            <a:ext cx="180020" cy="175628"/>
          </a:xfrm>
          <a:custGeom>
            <a:avLst/>
            <a:gdLst>
              <a:gd name="T0" fmla="*/ 2147483647 w 49"/>
              <a:gd name="T1" fmla="*/ 2147483647 h 49"/>
              <a:gd name="T2" fmla="*/ 2147483647 w 49"/>
              <a:gd name="T3" fmla="*/ 2147483647 h 49"/>
              <a:gd name="T4" fmla="*/ 2147483647 w 49"/>
              <a:gd name="T5" fmla="*/ 2147483647 h 49"/>
              <a:gd name="T6" fmla="*/ 2147483647 w 49"/>
              <a:gd name="T7" fmla="*/ 2147483647 h 49"/>
              <a:gd name="T8" fmla="*/ 2147483647 w 49"/>
              <a:gd name="T9" fmla="*/ 2147483647 h 49"/>
              <a:gd name="T10" fmla="*/ 2147483647 w 49"/>
              <a:gd name="T11" fmla="*/ 2147483647 h 49"/>
              <a:gd name="T12" fmla="*/ 2147483647 w 49"/>
              <a:gd name="T13" fmla="*/ 2147483647 h 49"/>
              <a:gd name="T14" fmla="*/ 2147483647 w 49"/>
              <a:gd name="T15" fmla="*/ 2147483647 h 49"/>
              <a:gd name="T16" fmla="*/ 2147483647 w 49"/>
              <a:gd name="T17" fmla="*/ 2147483647 h 49"/>
              <a:gd name="T18" fmla="*/ 2147483647 w 49"/>
              <a:gd name="T19" fmla="*/ 2147483647 h 49"/>
              <a:gd name="T20" fmla="*/ 2147483647 w 49"/>
              <a:gd name="T21" fmla="*/ 0 h 49"/>
              <a:gd name="T22" fmla="*/ 2147483647 w 49"/>
              <a:gd name="T23" fmla="*/ 2147483647 h 49"/>
              <a:gd name="T24" fmla="*/ 2147483647 w 49"/>
              <a:gd name="T25" fmla="*/ 0 h 49"/>
              <a:gd name="T26" fmla="*/ 0 w 49"/>
              <a:gd name="T27" fmla="*/ 2147483647 h 49"/>
              <a:gd name="T28" fmla="*/ 2147483647 w 49"/>
              <a:gd name="T29" fmla="*/ 2147483647 h 49"/>
              <a:gd name="T30" fmla="*/ 2147483647 w 49"/>
              <a:gd name="T31" fmla="*/ 2147483647 h 49"/>
              <a:gd name="T32" fmla="*/ 2147483647 w 49"/>
              <a:gd name="T33" fmla="*/ 2147483647 h 4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9"/>
              <a:gd name="T52" fmla="*/ 0 h 49"/>
              <a:gd name="T53" fmla="*/ 49 w 49"/>
              <a:gd name="T54" fmla="*/ 49 h 4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9" h="49">
                <a:moveTo>
                  <a:pt x="40" y="48"/>
                </a:moveTo>
                <a:lnTo>
                  <a:pt x="40" y="48"/>
                </a:lnTo>
                <a:lnTo>
                  <a:pt x="32" y="48"/>
                </a:lnTo>
                <a:lnTo>
                  <a:pt x="40" y="40"/>
                </a:lnTo>
                <a:lnTo>
                  <a:pt x="48" y="40"/>
                </a:lnTo>
                <a:lnTo>
                  <a:pt x="48" y="32"/>
                </a:lnTo>
                <a:lnTo>
                  <a:pt x="48" y="24"/>
                </a:lnTo>
                <a:lnTo>
                  <a:pt x="48" y="16"/>
                </a:lnTo>
                <a:lnTo>
                  <a:pt x="40" y="16"/>
                </a:lnTo>
                <a:lnTo>
                  <a:pt x="40" y="8"/>
                </a:lnTo>
                <a:lnTo>
                  <a:pt x="16" y="0"/>
                </a:lnTo>
                <a:lnTo>
                  <a:pt x="8" y="8"/>
                </a:lnTo>
                <a:lnTo>
                  <a:pt x="8" y="0"/>
                </a:lnTo>
                <a:lnTo>
                  <a:pt x="0" y="8"/>
                </a:lnTo>
                <a:lnTo>
                  <a:pt x="8" y="16"/>
                </a:lnTo>
                <a:lnTo>
                  <a:pt x="24" y="40"/>
                </a:lnTo>
                <a:lnTo>
                  <a:pt x="40" y="4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8" name="Freeform 291">
            <a:extLst>
              <a:ext uri="{FF2B5EF4-FFF2-40B4-BE49-F238E27FC236}">
                <a16:creationId xmlns:a16="http://schemas.microsoft.com/office/drawing/2014/main" id="{B2FD4C5F-46BE-42EA-BDF3-50E7B158EA26}"/>
              </a:ext>
            </a:extLst>
          </p:cNvPr>
          <p:cNvSpPr>
            <a:spLocks/>
          </p:cNvSpPr>
          <p:nvPr/>
        </p:nvSpPr>
        <p:spPr bwMode="gray">
          <a:xfrm>
            <a:off x="2074463" y="3739900"/>
            <a:ext cx="87815" cy="175628"/>
          </a:xfrm>
          <a:custGeom>
            <a:avLst/>
            <a:gdLst>
              <a:gd name="T0" fmla="*/ 0 w 25"/>
              <a:gd name="T1" fmla="*/ 0 h 49"/>
              <a:gd name="T2" fmla="*/ 0 w 25"/>
              <a:gd name="T3" fmla="*/ 0 h 49"/>
              <a:gd name="T4" fmla="*/ 2147483647 w 25"/>
              <a:gd name="T5" fmla="*/ 0 h 49"/>
              <a:gd name="T6" fmla="*/ 2147483647 w 25"/>
              <a:gd name="T7" fmla="*/ 2147483647 h 49"/>
              <a:gd name="T8" fmla="*/ 2147483647 w 25"/>
              <a:gd name="T9" fmla="*/ 2147483647 h 49"/>
              <a:gd name="T10" fmla="*/ 2147483647 w 25"/>
              <a:gd name="T11" fmla="*/ 2147483647 h 49"/>
              <a:gd name="T12" fmla="*/ 2147483647 w 25"/>
              <a:gd name="T13" fmla="*/ 2147483647 h 49"/>
              <a:gd name="T14" fmla="*/ 2147483647 w 25"/>
              <a:gd name="T15" fmla="*/ 2147483647 h 49"/>
              <a:gd name="T16" fmla="*/ 0 w 25"/>
              <a:gd name="T17" fmla="*/ 2147483647 h 49"/>
              <a:gd name="T18" fmla="*/ 0 w 25"/>
              <a:gd name="T19" fmla="*/ 2147483647 h 49"/>
              <a:gd name="T20" fmla="*/ 0 w 25"/>
              <a:gd name="T21" fmla="*/ 2147483647 h 49"/>
              <a:gd name="T22" fmla="*/ 0 w 25"/>
              <a:gd name="T23" fmla="*/ 0 h 4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5"/>
              <a:gd name="T37" fmla="*/ 0 h 49"/>
              <a:gd name="T38" fmla="*/ 25 w 25"/>
              <a:gd name="T39" fmla="*/ 49 h 4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5" h="49">
                <a:moveTo>
                  <a:pt x="0" y="0"/>
                </a:moveTo>
                <a:lnTo>
                  <a:pt x="0" y="0"/>
                </a:lnTo>
                <a:lnTo>
                  <a:pt x="8" y="0"/>
                </a:lnTo>
                <a:lnTo>
                  <a:pt x="16" y="8"/>
                </a:lnTo>
                <a:lnTo>
                  <a:pt x="16" y="16"/>
                </a:lnTo>
                <a:lnTo>
                  <a:pt x="24" y="24"/>
                </a:lnTo>
                <a:lnTo>
                  <a:pt x="24" y="32"/>
                </a:lnTo>
                <a:lnTo>
                  <a:pt x="8" y="48"/>
                </a:lnTo>
                <a:lnTo>
                  <a:pt x="0" y="40"/>
                </a:lnTo>
                <a:lnTo>
                  <a:pt x="0" y="16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19" name="Freeform 297">
            <a:extLst>
              <a:ext uri="{FF2B5EF4-FFF2-40B4-BE49-F238E27FC236}">
                <a16:creationId xmlns:a16="http://schemas.microsoft.com/office/drawing/2014/main" id="{03E1251B-ED53-4717-A09D-2FE99093CE78}"/>
              </a:ext>
            </a:extLst>
          </p:cNvPr>
          <p:cNvSpPr>
            <a:spLocks/>
          </p:cNvSpPr>
          <p:nvPr/>
        </p:nvSpPr>
        <p:spPr bwMode="gray">
          <a:xfrm>
            <a:off x="2012993" y="3678430"/>
            <a:ext cx="92204" cy="92206"/>
          </a:xfrm>
          <a:custGeom>
            <a:avLst/>
            <a:gdLst>
              <a:gd name="T0" fmla="*/ 0 w 25"/>
              <a:gd name="T1" fmla="*/ 2147483647 h 25"/>
              <a:gd name="T2" fmla="*/ 0 w 25"/>
              <a:gd name="T3" fmla="*/ 2147483647 h 25"/>
              <a:gd name="T4" fmla="*/ 2147483647 w 25"/>
              <a:gd name="T5" fmla="*/ 2147483647 h 25"/>
              <a:gd name="T6" fmla="*/ 2147483647 w 25"/>
              <a:gd name="T7" fmla="*/ 2147483647 h 25"/>
              <a:gd name="T8" fmla="*/ 2147483647 w 25"/>
              <a:gd name="T9" fmla="*/ 2147483647 h 25"/>
              <a:gd name="T10" fmla="*/ 2147483647 w 25"/>
              <a:gd name="T11" fmla="*/ 2147483647 h 25"/>
              <a:gd name="T12" fmla="*/ 2147483647 w 25"/>
              <a:gd name="T13" fmla="*/ 0 h 25"/>
              <a:gd name="T14" fmla="*/ 2147483647 w 25"/>
              <a:gd name="T15" fmla="*/ 0 h 25"/>
              <a:gd name="T16" fmla="*/ 0 w 25"/>
              <a:gd name="T17" fmla="*/ 2147483647 h 25"/>
              <a:gd name="T18" fmla="*/ 2147483647 w 25"/>
              <a:gd name="T19" fmla="*/ 2147483647 h 25"/>
              <a:gd name="T20" fmla="*/ 0 w 25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"/>
              <a:gd name="T34" fmla="*/ 0 h 25"/>
              <a:gd name="T35" fmla="*/ 25 w 25"/>
              <a:gd name="T36" fmla="*/ 25 h 2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" h="25">
                <a:moveTo>
                  <a:pt x="0" y="16"/>
                </a:moveTo>
                <a:lnTo>
                  <a:pt x="0" y="16"/>
                </a:lnTo>
                <a:lnTo>
                  <a:pt x="16" y="24"/>
                </a:lnTo>
                <a:lnTo>
                  <a:pt x="16" y="16"/>
                </a:lnTo>
                <a:lnTo>
                  <a:pt x="24" y="16"/>
                </a:lnTo>
                <a:lnTo>
                  <a:pt x="24" y="8"/>
                </a:lnTo>
                <a:lnTo>
                  <a:pt x="16" y="0"/>
                </a:lnTo>
                <a:lnTo>
                  <a:pt x="8" y="0"/>
                </a:lnTo>
                <a:lnTo>
                  <a:pt x="0" y="8"/>
                </a:lnTo>
                <a:lnTo>
                  <a:pt x="8" y="8"/>
                </a:lnTo>
                <a:lnTo>
                  <a:pt x="0" y="1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0" name="Freeform 299">
            <a:extLst>
              <a:ext uri="{FF2B5EF4-FFF2-40B4-BE49-F238E27FC236}">
                <a16:creationId xmlns:a16="http://schemas.microsoft.com/office/drawing/2014/main" id="{F395E957-9962-4A99-98CC-C45D0B3C4B67}"/>
              </a:ext>
            </a:extLst>
          </p:cNvPr>
          <p:cNvSpPr>
            <a:spLocks/>
          </p:cNvSpPr>
          <p:nvPr/>
        </p:nvSpPr>
        <p:spPr bwMode="gray">
          <a:xfrm>
            <a:off x="2131540" y="3739900"/>
            <a:ext cx="118550" cy="96596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0 w 33"/>
              <a:gd name="T5" fmla="*/ 2147483647 h 25"/>
              <a:gd name="T6" fmla="*/ 0 w 33"/>
              <a:gd name="T7" fmla="*/ 2147483647 h 25"/>
              <a:gd name="T8" fmla="*/ 2147483647 w 33"/>
              <a:gd name="T9" fmla="*/ 0 h 25"/>
              <a:gd name="T10" fmla="*/ 2147483647 w 33"/>
              <a:gd name="T11" fmla="*/ 0 h 25"/>
              <a:gd name="T12" fmla="*/ 2147483647 w 33"/>
              <a:gd name="T13" fmla="*/ 2147483647 h 25"/>
              <a:gd name="T14" fmla="*/ 2147483647 w 33"/>
              <a:gd name="T15" fmla="*/ 2147483647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8" y="24"/>
                </a:moveTo>
                <a:lnTo>
                  <a:pt x="8" y="24"/>
                </a:lnTo>
                <a:lnTo>
                  <a:pt x="0" y="16"/>
                </a:lnTo>
                <a:lnTo>
                  <a:pt x="0" y="8"/>
                </a:lnTo>
                <a:lnTo>
                  <a:pt x="8" y="0"/>
                </a:lnTo>
                <a:lnTo>
                  <a:pt x="24" y="0"/>
                </a:lnTo>
                <a:lnTo>
                  <a:pt x="32" y="8"/>
                </a:lnTo>
                <a:lnTo>
                  <a:pt x="32" y="16"/>
                </a:lnTo>
                <a:lnTo>
                  <a:pt x="8" y="2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8" name="Freeform 70">
            <a:extLst>
              <a:ext uri="{FF2B5EF4-FFF2-40B4-BE49-F238E27FC236}">
                <a16:creationId xmlns:a16="http://schemas.microsoft.com/office/drawing/2014/main" id="{339D16CD-2AE9-4FF1-992A-B69583CA3F44}"/>
              </a:ext>
            </a:extLst>
          </p:cNvPr>
          <p:cNvSpPr>
            <a:spLocks/>
          </p:cNvSpPr>
          <p:nvPr/>
        </p:nvSpPr>
        <p:spPr bwMode="gray">
          <a:xfrm>
            <a:off x="796774" y="2826637"/>
            <a:ext cx="118550" cy="122940"/>
          </a:xfrm>
          <a:custGeom>
            <a:avLst/>
            <a:gdLst>
              <a:gd name="T0" fmla="*/ 2147483647 w 33"/>
              <a:gd name="T1" fmla="*/ 2147483647 h 33"/>
              <a:gd name="T2" fmla="*/ 2147483647 w 33"/>
              <a:gd name="T3" fmla="*/ 2147483647 h 33"/>
              <a:gd name="T4" fmla="*/ 2147483647 w 33"/>
              <a:gd name="T5" fmla="*/ 2147483647 h 33"/>
              <a:gd name="T6" fmla="*/ 2147483647 w 33"/>
              <a:gd name="T7" fmla="*/ 2147483647 h 33"/>
              <a:gd name="T8" fmla="*/ 0 w 33"/>
              <a:gd name="T9" fmla="*/ 2147483647 h 33"/>
              <a:gd name="T10" fmla="*/ 2147483647 w 33"/>
              <a:gd name="T11" fmla="*/ 0 h 33"/>
              <a:gd name="T12" fmla="*/ 2147483647 w 33"/>
              <a:gd name="T13" fmla="*/ 2147483647 h 33"/>
              <a:gd name="T14" fmla="*/ 2147483647 w 33"/>
              <a:gd name="T15" fmla="*/ 2147483647 h 33"/>
              <a:gd name="T16" fmla="*/ 2147483647 w 33"/>
              <a:gd name="T17" fmla="*/ 2147483647 h 3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33"/>
              <a:gd name="T29" fmla="*/ 33 w 33"/>
              <a:gd name="T30" fmla="*/ 33 h 3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33">
                <a:moveTo>
                  <a:pt x="24" y="32"/>
                </a:moveTo>
                <a:lnTo>
                  <a:pt x="24" y="32"/>
                </a:lnTo>
                <a:lnTo>
                  <a:pt x="24" y="24"/>
                </a:lnTo>
                <a:lnTo>
                  <a:pt x="8" y="24"/>
                </a:lnTo>
                <a:lnTo>
                  <a:pt x="0" y="16"/>
                </a:lnTo>
                <a:lnTo>
                  <a:pt x="8" y="0"/>
                </a:lnTo>
                <a:lnTo>
                  <a:pt x="24" y="8"/>
                </a:lnTo>
                <a:lnTo>
                  <a:pt x="32" y="24"/>
                </a:lnTo>
                <a:lnTo>
                  <a:pt x="24" y="3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9" name="Freeform 71">
            <a:extLst>
              <a:ext uri="{FF2B5EF4-FFF2-40B4-BE49-F238E27FC236}">
                <a16:creationId xmlns:a16="http://schemas.microsoft.com/office/drawing/2014/main" id="{941708FC-7DB1-456D-9BA5-0D0477DE2714}"/>
              </a:ext>
            </a:extLst>
          </p:cNvPr>
          <p:cNvSpPr>
            <a:spLocks/>
          </p:cNvSpPr>
          <p:nvPr/>
        </p:nvSpPr>
        <p:spPr bwMode="gray">
          <a:xfrm>
            <a:off x="796774" y="2826637"/>
            <a:ext cx="118550" cy="122940"/>
          </a:xfrm>
          <a:custGeom>
            <a:avLst/>
            <a:gdLst>
              <a:gd name="T0" fmla="*/ 2147483647 w 33"/>
              <a:gd name="T1" fmla="*/ 2147483647 h 33"/>
              <a:gd name="T2" fmla="*/ 2147483647 w 33"/>
              <a:gd name="T3" fmla="*/ 2147483647 h 33"/>
              <a:gd name="T4" fmla="*/ 2147483647 w 33"/>
              <a:gd name="T5" fmla="*/ 2147483647 h 33"/>
              <a:gd name="T6" fmla="*/ 0 w 33"/>
              <a:gd name="T7" fmla="*/ 2147483647 h 33"/>
              <a:gd name="T8" fmla="*/ 2147483647 w 33"/>
              <a:gd name="T9" fmla="*/ 0 h 33"/>
              <a:gd name="T10" fmla="*/ 2147483647 w 33"/>
              <a:gd name="T11" fmla="*/ 2147483647 h 33"/>
              <a:gd name="T12" fmla="*/ 2147483647 w 33"/>
              <a:gd name="T13" fmla="*/ 2147483647 h 33"/>
              <a:gd name="T14" fmla="*/ 2147483647 w 33"/>
              <a:gd name="T15" fmla="*/ 2147483647 h 3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3"/>
              <a:gd name="T25" fmla="*/ 0 h 33"/>
              <a:gd name="T26" fmla="*/ 33 w 33"/>
              <a:gd name="T27" fmla="*/ 33 h 3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3" h="33">
                <a:moveTo>
                  <a:pt x="24" y="32"/>
                </a:moveTo>
                <a:lnTo>
                  <a:pt x="24" y="24"/>
                </a:lnTo>
                <a:lnTo>
                  <a:pt x="8" y="24"/>
                </a:lnTo>
                <a:lnTo>
                  <a:pt x="0" y="16"/>
                </a:lnTo>
                <a:lnTo>
                  <a:pt x="8" y="0"/>
                </a:lnTo>
                <a:lnTo>
                  <a:pt x="24" y="8"/>
                </a:lnTo>
                <a:lnTo>
                  <a:pt x="32" y="24"/>
                </a:lnTo>
                <a:lnTo>
                  <a:pt x="24" y="3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0" name="Freeform 73">
            <a:extLst>
              <a:ext uri="{FF2B5EF4-FFF2-40B4-BE49-F238E27FC236}">
                <a16:creationId xmlns:a16="http://schemas.microsoft.com/office/drawing/2014/main" id="{06CB3A52-1903-4087-AABF-D423C21D3659}"/>
              </a:ext>
            </a:extLst>
          </p:cNvPr>
          <p:cNvSpPr>
            <a:spLocks/>
          </p:cNvSpPr>
          <p:nvPr/>
        </p:nvSpPr>
        <p:spPr bwMode="gray">
          <a:xfrm>
            <a:off x="1538800" y="2646622"/>
            <a:ext cx="149282" cy="206360"/>
          </a:xfrm>
          <a:custGeom>
            <a:avLst/>
            <a:gdLst>
              <a:gd name="T0" fmla="*/ 2147483647 w 41"/>
              <a:gd name="T1" fmla="*/ 2147483647 h 57"/>
              <a:gd name="T2" fmla="*/ 2147483647 w 41"/>
              <a:gd name="T3" fmla="*/ 2147483647 h 57"/>
              <a:gd name="T4" fmla="*/ 2147483647 w 41"/>
              <a:gd name="T5" fmla="*/ 2147483647 h 57"/>
              <a:gd name="T6" fmla="*/ 2147483647 w 41"/>
              <a:gd name="T7" fmla="*/ 2147483647 h 57"/>
              <a:gd name="T8" fmla="*/ 2147483647 w 41"/>
              <a:gd name="T9" fmla="*/ 2147483647 h 57"/>
              <a:gd name="T10" fmla="*/ 2147483647 w 41"/>
              <a:gd name="T11" fmla="*/ 2147483647 h 57"/>
              <a:gd name="T12" fmla="*/ 2147483647 w 41"/>
              <a:gd name="T13" fmla="*/ 2147483647 h 57"/>
              <a:gd name="T14" fmla="*/ 2147483647 w 41"/>
              <a:gd name="T15" fmla="*/ 2147483647 h 57"/>
              <a:gd name="T16" fmla="*/ 2147483647 w 41"/>
              <a:gd name="T17" fmla="*/ 0 h 57"/>
              <a:gd name="T18" fmla="*/ 2147483647 w 41"/>
              <a:gd name="T19" fmla="*/ 2147483647 h 57"/>
              <a:gd name="T20" fmla="*/ 0 w 41"/>
              <a:gd name="T21" fmla="*/ 2147483647 h 57"/>
              <a:gd name="T22" fmla="*/ 0 w 41"/>
              <a:gd name="T23" fmla="*/ 2147483647 h 57"/>
              <a:gd name="T24" fmla="*/ 2147483647 w 41"/>
              <a:gd name="T25" fmla="*/ 2147483647 h 57"/>
              <a:gd name="T26" fmla="*/ 2147483647 w 41"/>
              <a:gd name="T27" fmla="*/ 2147483647 h 5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1"/>
              <a:gd name="T43" fmla="*/ 0 h 57"/>
              <a:gd name="T44" fmla="*/ 41 w 41"/>
              <a:gd name="T45" fmla="*/ 57 h 5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1" h="57">
                <a:moveTo>
                  <a:pt x="8" y="56"/>
                </a:moveTo>
                <a:lnTo>
                  <a:pt x="8" y="56"/>
                </a:lnTo>
                <a:lnTo>
                  <a:pt x="16" y="56"/>
                </a:lnTo>
                <a:lnTo>
                  <a:pt x="24" y="56"/>
                </a:lnTo>
                <a:lnTo>
                  <a:pt x="32" y="32"/>
                </a:lnTo>
                <a:lnTo>
                  <a:pt x="40" y="32"/>
                </a:lnTo>
                <a:lnTo>
                  <a:pt x="40" y="24"/>
                </a:lnTo>
                <a:lnTo>
                  <a:pt x="32" y="24"/>
                </a:lnTo>
                <a:lnTo>
                  <a:pt x="32" y="0"/>
                </a:lnTo>
                <a:lnTo>
                  <a:pt x="8" y="8"/>
                </a:lnTo>
                <a:lnTo>
                  <a:pt x="0" y="24"/>
                </a:lnTo>
                <a:lnTo>
                  <a:pt x="0" y="40"/>
                </a:lnTo>
                <a:lnTo>
                  <a:pt x="8" y="48"/>
                </a:lnTo>
                <a:lnTo>
                  <a:pt x="8" y="56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1" name="Freeform 74">
            <a:extLst>
              <a:ext uri="{FF2B5EF4-FFF2-40B4-BE49-F238E27FC236}">
                <a16:creationId xmlns:a16="http://schemas.microsoft.com/office/drawing/2014/main" id="{76C285AD-E6F9-44A9-A231-5F87AB7B3C3D}"/>
              </a:ext>
            </a:extLst>
          </p:cNvPr>
          <p:cNvSpPr>
            <a:spLocks/>
          </p:cNvSpPr>
          <p:nvPr/>
        </p:nvSpPr>
        <p:spPr bwMode="gray">
          <a:xfrm>
            <a:off x="1323655" y="2971531"/>
            <a:ext cx="188801" cy="215143"/>
          </a:xfrm>
          <a:custGeom>
            <a:avLst/>
            <a:gdLst>
              <a:gd name="T0" fmla="*/ 2147483647 w 49"/>
              <a:gd name="T1" fmla="*/ 2147483647 h 57"/>
              <a:gd name="T2" fmla="*/ 2147483647 w 49"/>
              <a:gd name="T3" fmla="*/ 2147483647 h 57"/>
              <a:gd name="T4" fmla="*/ 2147483647 w 49"/>
              <a:gd name="T5" fmla="*/ 2147483647 h 57"/>
              <a:gd name="T6" fmla="*/ 2147483647 w 49"/>
              <a:gd name="T7" fmla="*/ 2147483647 h 57"/>
              <a:gd name="T8" fmla="*/ 2147483647 w 49"/>
              <a:gd name="T9" fmla="*/ 0 h 57"/>
              <a:gd name="T10" fmla="*/ 2147483647 w 49"/>
              <a:gd name="T11" fmla="*/ 2147483647 h 57"/>
              <a:gd name="T12" fmla="*/ 2147483647 w 49"/>
              <a:gd name="T13" fmla="*/ 2147483647 h 57"/>
              <a:gd name="T14" fmla="*/ 2147483647 w 49"/>
              <a:gd name="T15" fmla="*/ 2147483647 h 57"/>
              <a:gd name="T16" fmla="*/ 2147483647 w 49"/>
              <a:gd name="T17" fmla="*/ 2147483647 h 57"/>
              <a:gd name="T18" fmla="*/ 2147483647 w 49"/>
              <a:gd name="T19" fmla="*/ 2147483647 h 57"/>
              <a:gd name="T20" fmla="*/ 0 w 49"/>
              <a:gd name="T21" fmla="*/ 2147483647 h 57"/>
              <a:gd name="T22" fmla="*/ 2147483647 w 49"/>
              <a:gd name="T23" fmla="*/ 2147483647 h 57"/>
              <a:gd name="T24" fmla="*/ 2147483647 w 49"/>
              <a:gd name="T25" fmla="*/ 2147483647 h 5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9"/>
              <a:gd name="T40" fmla="*/ 0 h 57"/>
              <a:gd name="T41" fmla="*/ 49 w 49"/>
              <a:gd name="T42" fmla="*/ 57 h 5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9" h="57">
                <a:moveTo>
                  <a:pt x="32" y="56"/>
                </a:moveTo>
                <a:lnTo>
                  <a:pt x="32" y="56"/>
                </a:lnTo>
                <a:lnTo>
                  <a:pt x="32" y="32"/>
                </a:lnTo>
                <a:lnTo>
                  <a:pt x="40" y="24"/>
                </a:lnTo>
                <a:lnTo>
                  <a:pt x="48" y="0"/>
                </a:lnTo>
                <a:lnTo>
                  <a:pt x="24" y="8"/>
                </a:lnTo>
                <a:lnTo>
                  <a:pt x="32" y="24"/>
                </a:lnTo>
                <a:lnTo>
                  <a:pt x="24" y="24"/>
                </a:lnTo>
                <a:lnTo>
                  <a:pt x="24" y="16"/>
                </a:lnTo>
                <a:lnTo>
                  <a:pt x="16" y="16"/>
                </a:lnTo>
                <a:lnTo>
                  <a:pt x="0" y="48"/>
                </a:lnTo>
                <a:lnTo>
                  <a:pt x="24" y="48"/>
                </a:lnTo>
                <a:lnTo>
                  <a:pt x="32" y="56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2" name="Freeform 75">
            <a:extLst>
              <a:ext uri="{FF2B5EF4-FFF2-40B4-BE49-F238E27FC236}">
                <a16:creationId xmlns:a16="http://schemas.microsoft.com/office/drawing/2014/main" id="{5A3446BF-06C5-48F3-BC01-D1DC2EACAE2D}"/>
              </a:ext>
            </a:extLst>
          </p:cNvPr>
          <p:cNvSpPr>
            <a:spLocks/>
          </p:cNvSpPr>
          <p:nvPr/>
        </p:nvSpPr>
        <p:spPr bwMode="gray">
          <a:xfrm>
            <a:off x="1301705" y="3147161"/>
            <a:ext cx="153671" cy="118547"/>
          </a:xfrm>
          <a:custGeom>
            <a:avLst/>
            <a:gdLst>
              <a:gd name="T0" fmla="*/ 2147483647 w 41"/>
              <a:gd name="T1" fmla="*/ 2147483647 h 33"/>
              <a:gd name="T2" fmla="*/ 2147483647 w 41"/>
              <a:gd name="T3" fmla="*/ 2147483647 h 33"/>
              <a:gd name="T4" fmla="*/ 2147483647 w 41"/>
              <a:gd name="T5" fmla="*/ 2147483647 h 33"/>
              <a:gd name="T6" fmla="*/ 2147483647 w 41"/>
              <a:gd name="T7" fmla="*/ 2147483647 h 33"/>
              <a:gd name="T8" fmla="*/ 2147483647 w 41"/>
              <a:gd name="T9" fmla="*/ 2147483647 h 33"/>
              <a:gd name="T10" fmla="*/ 2147483647 w 41"/>
              <a:gd name="T11" fmla="*/ 2147483647 h 33"/>
              <a:gd name="T12" fmla="*/ 0 w 41"/>
              <a:gd name="T13" fmla="*/ 2147483647 h 33"/>
              <a:gd name="T14" fmla="*/ 0 w 41"/>
              <a:gd name="T15" fmla="*/ 0 h 33"/>
              <a:gd name="T16" fmla="*/ 2147483647 w 41"/>
              <a:gd name="T17" fmla="*/ 0 h 33"/>
              <a:gd name="T18" fmla="*/ 2147483647 w 41"/>
              <a:gd name="T19" fmla="*/ 0 h 33"/>
              <a:gd name="T20" fmla="*/ 2147483647 w 41"/>
              <a:gd name="T21" fmla="*/ 2147483647 h 33"/>
              <a:gd name="T22" fmla="*/ 2147483647 w 41"/>
              <a:gd name="T23" fmla="*/ 2147483647 h 33"/>
              <a:gd name="T24" fmla="*/ 2147483647 w 41"/>
              <a:gd name="T25" fmla="*/ 2147483647 h 33"/>
              <a:gd name="T26" fmla="*/ 2147483647 w 41"/>
              <a:gd name="T27" fmla="*/ 2147483647 h 33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1"/>
              <a:gd name="T43" fmla="*/ 0 h 33"/>
              <a:gd name="T44" fmla="*/ 41 w 41"/>
              <a:gd name="T45" fmla="*/ 33 h 33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1" h="33">
                <a:moveTo>
                  <a:pt x="32" y="32"/>
                </a:moveTo>
                <a:lnTo>
                  <a:pt x="32" y="32"/>
                </a:lnTo>
                <a:lnTo>
                  <a:pt x="24" y="32"/>
                </a:lnTo>
                <a:lnTo>
                  <a:pt x="24" y="24"/>
                </a:lnTo>
                <a:lnTo>
                  <a:pt x="16" y="24"/>
                </a:lnTo>
                <a:lnTo>
                  <a:pt x="16" y="16"/>
                </a:lnTo>
                <a:lnTo>
                  <a:pt x="0" y="8"/>
                </a:lnTo>
                <a:lnTo>
                  <a:pt x="0" y="0"/>
                </a:lnTo>
                <a:lnTo>
                  <a:pt x="8" y="0"/>
                </a:lnTo>
                <a:lnTo>
                  <a:pt x="32" y="0"/>
                </a:lnTo>
                <a:lnTo>
                  <a:pt x="40" y="8"/>
                </a:lnTo>
                <a:lnTo>
                  <a:pt x="40" y="24"/>
                </a:lnTo>
                <a:lnTo>
                  <a:pt x="32" y="24"/>
                </a:lnTo>
                <a:lnTo>
                  <a:pt x="32" y="32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3" name="Freeform 76">
            <a:extLst>
              <a:ext uri="{FF2B5EF4-FFF2-40B4-BE49-F238E27FC236}">
                <a16:creationId xmlns:a16="http://schemas.microsoft.com/office/drawing/2014/main" id="{1347DAC0-C79F-403B-904F-304A9AFBB6AA}"/>
              </a:ext>
            </a:extLst>
          </p:cNvPr>
          <p:cNvSpPr>
            <a:spLocks/>
          </p:cNvSpPr>
          <p:nvPr/>
        </p:nvSpPr>
        <p:spPr bwMode="gray">
          <a:xfrm>
            <a:off x="1424643" y="3230580"/>
            <a:ext cx="30733" cy="35126"/>
          </a:xfrm>
          <a:custGeom>
            <a:avLst/>
            <a:gdLst>
              <a:gd name="T0" fmla="*/ 0 w 9"/>
              <a:gd name="T1" fmla="*/ 2147483647 h 9"/>
              <a:gd name="T2" fmla="*/ 0 w 9"/>
              <a:gd name="T3" fmla="*/ 2147483647 h 9"/>
              <a:gd name="T4" fmla="*/ 0 w 9"/>
              <a:gd name="T5" fmla="*/ 0 h 9"/>
              <a:gd name="T6" fmla="*/ 2147483647 w 9"/>
              <a:gd name="T7" fmla="*/ 0 h 9"/>
              <a:gd name="T8" fmla="*/ 2147483647 w 9"/>
              <a:gd name="T9" fmla="*/ 2147483647 h 9"/>
              <a:gd name="T10" fmla="*/ 0 w 9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0" y="8"/>
                </a:moveTo>
                <a:lnTo>
                  <a:pt x="0" y="8"/>
                </a:lnTo>
                <a:lnTo>
                  <a:pt x="0" y="0"/>
                </a:lnTo>
                <a:lnTo>
                  <a:pt x="8" y="0"/>
                </a:lnTo>
                <a:lnTo>
                  <a:pt x="8" y="8"/>
                </a:lnTo>
                <a:lnTo>
                  <a:pt x="0" y="8"/>
                </a:lnTo>
              </a:path>
            </a:pathLst>
          </a:custGeom>
          <a:solidFill>
            <a:srgbClr val="6666FF"/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4" name="Freeform 80">
            <a:extLst>
              <a:ext uri="{FF2B5EF4-FFF2-40B4-BE49-F238E27FC236}">
                <a16:creationId xmlns:a16="http://schemas.microsoft.com/office/drawing/2014/main" id="{52CB03DC-869F-4154-A244-68B4D77D3982}"/>
              </a:ext>
            </a:extLst>
          </p:cNvPr>
          <p:cNvSpPr>
            <a:spLocks/>
          </p:cNvSpPr>
          <p:nvPr/>
        </p:nvSpPr>
        <p:spPr bwMode="gray">
          <a:xfrm>
            <a:off x="1591489" y="3410600"/>
            <a:ext cx="35126" cy="30733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0 w 9"/>
              <a:gd name="T5" fmla="*/ 0 h 9"/>
              <a:gd name="T6" fmla="*/ 2147483647 w 9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9"/>
              <a:gd name="T14" fmla="*/ 9 w 9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9">
                <a:moveTo>
                  <a:pt x="8" y="8"/>
                </a:moveTo>
                <a:lnTo>
                  <a:pt x="8" y="8"/>
                </a:lnTo>
                <a:lnTo>
                  <a:pt x="0" y="0"/>
                </a:lnTo>
                <a:lnTo>
                  <a:pt x="8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5" name="Freeform 81">
            <a:extLst>
              <a:ext uri="{FF2B5EF4-FFF2-40B4-BE49-F238E27FC236}">
                <a16:creationId xmlns:a16="http://schemas.microsoft.com/office/drawing/2014/main" id="{F370F67B-D171-4822-B510-E3482AD13A71}"/>
              </a:ext>
            </a:extLst>
          </p:cNvPr>
          <p:cNvSpPr>
            <a:spLocks/>
          </p:cNvSpPr>
          <p:nvPr/>
        </p:nvSpPr>
        <p:spPr bwMode="gray">
          <a:xfrm>
            <a:off x="1591489" y="3410600"/>
            <a:ext cx="35126" cy="30733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0 w 9"/>
              <a:gd name="T5" fmla="*/ 0 h 9"/>
              <a:gd name="T6" fmla="*/ 2147483647 w 9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9"/>
              <a:gd name="T14" fmla="*/ 9 w 9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9">
                <a:moveTo>
                  <a:pt x="8" y="8"/>
                </a:moveTo>
                <a:lnTo>
                  <a:pt x="8" y="8"/>
                </a:lnTo>
                <a:lnTo>
                  <a:pt x="0" y="0"/>
                </a:lnTo>
                <a:lnTo>
                  <a:pt x="8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6" name="Freeform 214">
            <a:extLst>
              <a:ext uri="{FF2B5EF4-FFF2-40B4-BE49-F238E27FC236}">
                <a16:creationId xmlns:a16="http://schemas.microsoft.com/office/drawing/2014/main" id="{C463A7F8-AF62-467C-AB3F-18E30585FC0B}"/>
              </a:ext>
            </a:extLst>
          </p:cNvPr>
          <p:cNvSpPr>
            <a:spLocks/>
          </p:cNvSpPr>
          <p:nvPr/>
        </p:nvSpPr>
        <p:spPr bwMode="gray">
          <a:xfrm>
            <a:off x="823121" y="2558808"/>
            <a:ext cx="61470" cy="87812"/>
          </a:xfrm>
          <a:custGeom>
            <a:avLst/>
            <a:gdLst>
              <a:gd name="T0" fmla="*/ 0 w 17"/>
              <a:gd name="T1" fmla="*/ 2147483647 h 25"/>
              <a:gd name="T2" fmla="*/ 0 w 17"/>
              <a:gd name="T3" fmla="*/ 2147483647 h 25"/>
              <a:gd name="T4" fmla="*/ 2147483647 w 17"/>
              <a:gd name="T5" fmla="*/ 2147483647 h 25"/>
              <a:gd name="T6" fmla="*/ 2147483647 w 17"/>
              <a:gd name="T7" fmla="*/ 0 h 25"/>
              <a:gd name="T8" fmla="*/ 0 w 17"/>
              <a:gd name="T9" fmla="*/ 2147483647 h 25"/>
              <a:gd name="T10" fmla="*/ 0 w 17"/>
              <a:gd name="T11" fmla="*/ 2147483647 h 2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25"/>
              <a:gd name="T20" fmla="*/ 17 w 17"/>
              <a:gd name="T21" fmla="*/ 25 h 2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25">
                <a:moveTo>
                  <a:pt x="0" y="24"/>
                </a:moveTo>
                <a:lnTo>
                  <a:pt x="0" y="24"/>
                </a:lnTo>
                <a:lnTo>
                  <a:pt x="8" y="8"/>
                </a:lnTo>
                <a:lnTo>
                  <a:pt x="16" y="0"/>
                </a:lnTo>
                <a:lnTo>
                  <a:pt x="0" y="8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7" name="Freeform 215">
            <a:extLst>
              <a:ext uri="{FF2B5EF4-FFF2-40B4-BE49-F238E27FC236}">
                <a16:creationId xmlns:a16="http://schemas.microsoft.com/office/drawing/2014/main" id="{10CA3E45-CF2D-40F3-82F5-D3C39CC04EC0}"/>
              </a:ext>
            </a:extLst>
          </p:cNvPr>
          <p:cNvSpPr>
            <a:spLocks/>
          </p:cNvSpPr>
          <p:nvPr/>
        </p:nvSpPr>
        <p:spPr bwMode="gray">
          <a:xfrm>
            <a:off x="1626612" y="2795905"/>
            <a:ext cx="35126" cy="57077"/>
          </a:xfrm>
          <a:custGeom>
            <a:avLst/>
            <a:gdLst>
              <a:gd name="T0" fmla="*/ 0 w 9"/>
              <a:gd name="T1" fmla="*/ 2147483647 h 17"/>
              <a:gd name="T2" fmla="*/ 0 w 9"/>
              <a:gd name="T3" fmla="*/ 2147483647 h 17"/>
              <a:gd name="T4" fmla="*/ 0 w 9"/>
              <a:gd name="T5" fmla="*/ 2147483647 h 17"/>
              <a:gd name="T6" fmla="*/ 2147483647 w 9"/>
              <a:gd name="T7" fmla="*/ 2147483647 h 17"/>
              <a:gd name="T8" fmla="*/ 2147483647 w 9"/>
              <a:gd name="T9" fmla="*/ 2147483647 h 17"/>
              <a:gd name="T10" fmla="*/ 2147483647 w 9"/>
              <a:gd name="T11" fmla="*/ 0 h 17"/>
              <a:gd name="T12" fmla="*/ 0 w 9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17"/>
              <a:gd name="T23" fmla="*/ 9 w 9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17">
                <a:moveTo>
                  <a:pt x="0" y="8"/>
                </a:moveTo>
                <a:lnTo>
                  <a:pt x="0" y="8"/>
                </a:lnTo>
                <a:lnTo>
                  <a:pt x="0" y="16"/>
                </a:lnTo>
                <a:lnTo>
                  <a:pt x="8" y="16"/>
                </a:lnTo>
                <a:lnTo>
                  <a:pt x="8" y="8"/>
                </a:lnTo>
                <a:lnTo>
                  <a:pt x="8" y="0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8" name="Freeform 216">
            <a:extLst>
              <a:ext uri="{FF2B5EF4-FFF2-40B4-BE49-F238E27FC236}">
                <a16:creationId xmlns:a16="http://schemas.microsoft.com/office/drawing/2014/main" id="{1E6E9EE2-AAA6-4333-8210-99CCB0B198B8}"/>
              </a:ext>
            </a:extLst>
          </p:cNvPr>
          <p:cNvSpPr>
            <a:spLocks/>
          </p:cNvSpPr>
          <p:nvPr/>
        </p:nvSpPr>
        <p:spPr bwMode="gray">
          <a:xfrm>
            <a:off x="1688084" y="2760781"/>
            <a:ext cx="61470" cy="70249"/>
          </a:xfrm>
          <a:custGeom>
            <a:avLst/>
            <a:gdLst>
              <a:gd name="T0" fmla="*/ 0 w 17"/>
              <a:gd name="T1" fmla="*/ 2147483647 h 17"/>
              <a:gd name="T2" fmla="*/ 0 w 17"/>
              <a:gd name="T3" fmla="*/ 2147483647 h 17"/>
              <a:gd name="T4" fmla="*/ 0 w 17"/>
              <a:gd name="T5" fmla="*/ 2147483647 h 17"/>
              <a:gd name="T6" fmla="*/ 2147483647 w 17"/>
              <a:gd name="T7" fmla="*/ 2147483647 h 17"/>
              <a:gd name="T8" fmla="*/ 2147483647 w 17"/>
              <a:gd name="T9" fmla="*/ 2147483647 h 17"/>
              <a:gd name="T10" fmla="*/ 2147483647 w 17"/>
              <a:gd name="T11" fmla="*/ 0 h 17"/>
              <a:gd name="T12" fmla="*/ 0 w 17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"/>
              <a:gd name="T22" fmla="*/ 0 h 17"/>
              <a:gd name="T23" fmla="*/ 17 w 17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" h="17">
                <a:moveTo>
                  <a:pt x="0" y="8"/>
                </a:moveTo>
                <a:lnTo>
                  <a:pt x="0" y="8"/>
                </a:lnTo>
                <a:lnTo>
                  <a:pt x="0" y="16"/>
                </a:lnTo>
                <a:lnTo>
                  <a:pt x="16" y="16"/>
                </a:lnTo>
                <a:lnTo>
                  <a:pt x="16" y="8"/>
                </a:lnTo>
                <a:lnTo>
                  <a:pt x="16" y="0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39" name="Freeform 217">
            <a:extLst>
              <a:ext uri="{FF2B5EF4-FFF2-40B4-BE49-F238E27FC236}">
                <a16:creationId xmlns:a16="http://schemas.microsoft.com/office/drawing/2014/main" id="{D9B6492D-CC2F-412A-9D0F-209B782FFF12}"/>
              </a:ext>
            </a:extLst>
          </p:cNvPr>
          <p:cNvSpPr>
            <a:spLocks/>
          </p:cNvSpPr>
          <p:nvPr/>
        </p:nvSpPr>
        <p:spPr bwMode="gray">
          <a:xfrm>
            <a:off x="1688084" y="2848593"/>
            <a:ext cx="61470" cy="35126"/>
          </a:xfrm>
          <a:custGeom>
            <a:avLst/>
            <a:gdLst>
              <a:gd name="T0" fmla="*/ 0 w 17"/>
              <a:gd name="T1" fmla="*/ 0 h 9"/>
              <a:gd name="T2" fmla="*/ 0 w 17"/>
              <a:gd name="T3" fmla="*/ 0 h 9"/>
              <a:gd name="T4" fmla="*/ 0 w 17"/>
              <a:gd name="T5" fmla="*/ 2147483647 h 9"/>
              <a:gd name="T6" fmla="*/ 2147483647 w 17"/>
              <a:gd name="T7" fmla="*/ 0 h 9"/>
              <a:gd name="T8" fmla="*/ 0 w 17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9"/>
              <a:gd name="T17" fmla="*/ 17 w 17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9">
                <a:moveTo>
                  <a:pt x="0" y="0"/>
                </a:moveTo>
                <a:lnTo>
                  <a:pt x="0" y="0"/>
                </a:lnTo>
                <a:lnTo>
                  <a:pt x="0" y="8"/>
                </a:lnTo>
                <a:lnTo>
                  <a:pt x="1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40" name="Freeform 218">
            <a:extLst>
              <a:ext uri="{FF2B5EF4-FFF2-40B4-BE49-F238E27FC236}">
                <a16:creationId xmlns:a16="http://schemas.microsoft.com/office/drawing/2014/main" id="{874BB56B-12BA-4F32-9DB8-EF2511F497A1}"/>
              </a:ext>
            </a:extLst>
          </p:cNvPr>
          <p:cNvSpPr>
            <a:spLocks/>
          </p:cNvSpPr>
          <p:nvPr/>
        </p:nvSpPr>
        <p:spPr bwMode="gray">
          <a:xfrm>
            <a:off x="849461" y="2558807"/>
            <a:ext cx="386379" cy="676161"/>
          </a:xfrm>
          <a:custGeom>
            <a:avLst/>
            <a:gdLst>
              <a:gd name="T0" fmla="*/ 2147483647 w 105"/>
              <a:gd name="T1" fmla="*/ 2147483647 h 185"/>
              <a:gd name="T2" fmla="*/ 2147483647 w 105"/>
              <a:gd name="T3" fmla="*/ 2147483647 h 185"/>
              <a:gd name="T4" fmla="*/ 2147483647 w 105"/>
              <a:gd name="T5" fmla="*/ 2147483647 h 185"/>
              <a:gd name="T6" fmla="*/ 2147483647 w 105"/>
              <a:gd name="T7" fmla="*/ 2147483647 h 185"/>
              <a:gd name="T8" fmla="*/ 2147483647 w 105"/>
              <a:gd name="T9" fmla="*/ 2147483647 h 185"/>
              <a:gd name="T10" fmla="*/ 2147483647 w 105"/>
              <a:gd name="T11" fmla="*/ 2147483647 h 185"/>
              <a:gd name="T12" fmla="*/ 2147483647 w 105"/>
              <a:gd name="T13" fmla="*/ 2147483647 h 185"/>
              <a:gd name="T14" fmla="*/ 2147483647 w 105"/>
              <a:gd name="T15" fmla="*/ 2147483647 h 185"/>
              <a:gd name="T16" fmla="*/ 2147483647 w 105"/>
              <a:gd name="T17" fmla="*/ 2147483647 h 185"/>
              <a:gd name="T18" fmla="*/ 2147483647 w 105"/>
              <a:gd name="T19" fmla="*/ 2147483647 h 185"/>
              <a:gd name="T20" fmla="*/ 2147483647 w 105"/>
              <a:gd name="T21" fmla="*/ 2147483647 h 185"/>
              <a:gd name="T22" fmla="*/ 2147483647 w 105"/>
              <a:gd name="T23" fmla="*/ 2147483647 h 185"/>
              <a:gd name="T24" fmla="*/ 2147483647 w 105"/>
              <a:gd name="T25" fmla="*/ 2147483647 h 185"/>
              <a:gd name="T26" fmla="*/ 2147483647 w 105"/>
              <a:gd name="T27" fmla="*/ 2147483647 h 185"/>
              <a:gd name="T28" fmla="*/ 2147483647 w 105"/>
              <a:gd name="T29" fmla="*/ 2147483647 h 185"/>
              <a:gd name="T30" fmla="*/ 2147483647 w 105"/>
              <a:gd name="T31" fmla="*/ 2147483647 h 185"/>
              <a:gd name="T32" fmla="*/ 2147483647 w 105"/>
              <a:gd name="T33" fmla="*/ 2147483647 h 185"/>
              <a:gd name="T34" fmla="*/ 2147483647 w 105"/>
              <a:gd name="T35" fmla="*/ 2147483647 h 185"/>
              <a:gd name="T36" fmla="*/ 2147483647 w 105"/>
              <a:gd name="T37" fmla="*/ 2147483647 h 185"/>
              <a:gd name="T38" fmla="*/ 2147483647 w 105"/>
              <a:gd name="T39" fmla="*/ 2147483647 h 185"/>
              <a:gd name="T40" fmla="*/ 2147483647 w 105"/>
              <a:gd name="T41" fmla="*/ 2147483647 h 185"/>
              <a:gd name="T42" fmla="*/ 2147483647 w 105"/>
              <a:gd name="T43" fmla="*/ 2147483647 h 185"/>
              <a:gd name="T44" fmla="*/ 2147483647 w 105"/>
              <a:gd name="T45" fmla="*/ 2147483647 h 185"/>
              <a:gd name="T46" fmla="*/ 2147483647 w 105"/>
              <a:gd name="T47" fmla="*/ 2147483647 h 185"/>
              <a:gd name="T48" fmla="*/ 2147483647 w 105"/>
              <a:gd name="T49" fmla="*/ 2147483647 h 185"/>
              <a:gd name="T50" fmla="*/ 2147483647 w 105"/>
              <a:gd name="T51" fmla="*/ 0 h 185"/>
              <a:gd name="T52" fmla="*/ 2147483647 w 105"/>
              <a:gd name="T53" fmla="*/ 0 h 185"/>
              <a:gd name="T54" fmla="*/ 2147483647 w 105"/>
              <a:gd name="T55" fmla="*/ 0 h 185"/>
              <a:gd name="T56" fmla="*/ 2147483647 w 105"/>
              <a:gd name="T57" fmla="*/ 2147483647 h 185"/>
              <a:gd name="T58" fmla="*/ 0 w 105"/>
              <a:gd name="T59" fmla="*/ 2147483647 h 185"/>
              <a:gd name="T60" fmla="*/ 2147483647 w 105"/>
              <a:gd name="T61" fmla="*/ 2147483647 h 185"/>
              <a:gd name="T62" fmla="*/ 2147483647 w 105"/>
              <a:gd name="T63" fmla="*/ 2147483647 h 185"/>
              <a:gd name="T64" fmla="*/ 2147483647 w 105"/>
              <a:gd name="T65" fmla="*/ 2147483647 h 185"/>
              <a:gd name="T66" fmla="*/ 2147483647 w 105"/>
              <a:gd name="T67" fmla="*/ 2147483647 h 185"/>
              <a:gd name="T68" fmla="*/ 2147483647 w 105"/>
              <a:gd name="T69" fmla="*/ 2147483647 h 185"/>
              <a:gd name="T70" fmla="*/ 2147483647 w 105"/>
              <a:gd name="T71" fmla="*/ 2147483647 h 185"/>
              <a:gd name="T72" fmla="*/ 2147483647 w 105"/>
              <a:gd name="T73" fmla="*/ 2147483647 h 185"/>
              <a:gd name="T74" fmla="*/ 2147483647 w 105"/>
              <a:gd name="T75" fmla="*/ 2147483647 h 185"/>
              <a:gd name="T76" fmla="*/ 2147483647 w 105"/>
              <a:gd name="T77" fmla="*/ 2147483647 h 185"/>
              <a:gd name="T78" fmla="*/ 2147483647 w 105"/>
              <a:gd name="T79" fmla="*/ 2147483647 h 185"/>
              <a:gd name="T80" fmla="*/ 2147483647 w 105"/>
              <a:gd name="T81" fmla="*/ 2147483647 h 185"/>
              <a:gd name="T82" fmla="*/ 2147483647 w 105"/>
              <a:gd name="T83" fmla="*/ 2147483647 h 185"/>
              <a:gd name="T84" fmla="*/ 2147483647 w 105"/>
              <a:gd name="T85" fmla="*/ 2147483647 h 185"/>
              <a:gd name="T86" fmla="*/ 2147483647 w 105"/>
              <a:gd name="T87" fmla="*/ 2147483647 h 185"/>
              <a:gd name="T88" fmla="*/ 2147483647 w 105"/>
              <a:gd name="T89" fmla="*/ 2147483647 h 185"/>
              <a:gd name="T90" fmla="*/ 2147483647 w 105"/>
              <a:gd name="T91" fmla="*/ 2147483647 h 185"/>
              <a:gd name="T92" fmla="*/ 2147483647 w 105"/>
              <a:gd name="T93" fmla="*/ 2147483647 h 185"/>
              <a:gd name="T94" fmla="*/ 2147483647 w 105"/>
              <a:gd name="T95" fmla="*/ 2147483647 h 185"/>
              <a:gd name="T96" fmla="*/ 2147483647 w 105"/>
              <a:gd name="T97" fmla="*/ 2147483647 h 185"/>
              <a:gd name="T98" fmla="*/ 2147483647 w 105"/>
              <a:gd name="T99" fmla="*/ 2147483647 h 185"/>
              <a:gd name="T100" fmla="*/ 2147483647 w 105"/>
              <a:gd name="T101" fmla="*/ 2147483647 h 185"/>
              <a:gd name="T102" fmla="*/ 2147483647 w 105"/>
              <a:gd name="T103" fmla="*/ 2147483647 h 185"/>
              <a:gd name="T104" fmla="*/ 2147483647 w 105"/>
              <a:gd name="T105" fmla="*/ 2147483647 h 185"/>
              <a:gd name="T106" fmla="*/ 2147483647 w 105"/>
              <a:gd name="T107" fmla="*/ 2147483647 h 185"/>
              <a:gd name="T108" fmla="*/ 2147483647 w 105"/>
              <a:gd name="T109" fmla="*/ 2147483647 h 185"/>
              <a:gd name="T110" fmla="*/ 2147483647 w 105"/>
              <a:gd name="T111" fmla="*/ 2147483647 h 185"/>
              <a:gd name="T112" fmla="*/ 2147483647 w 105"/>
              <a:gd name="T113" fmla="*/ 2147483647 h 185"/>
              <a:gd name="T114" fmla="*/ 2147483647 w 105"/>
              <a:gd name="T115" fmla="*/ 2147483647 h 185"/>
              <a:gd name="T116" fmla="*/ 2147483647 w 105"/>
              <a:gd name="T117" fmla="*/ 2147483647 h 185"/>
              <a:gd name="T118" fmla="*/ 2147483647 w 105"/>
              <a:gd name="T119" fmla="*/ 2147483647 h 18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05"/>
              <a:gd name="T181" fmla="*/ 0 h 185"/>
              <a:gd name="T182" fmla="*/ 105 w 105"/>
              <a:gd name="T183" fmla="*/ 185 h 18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05" h="185">
                <a:moveTo>
                  <a:pt x="16" y="184"/>
                </a:moveTo>
                <a:lnTo>
                  <a:pt x="16" y="184"/>
                </a:lnTo>
                <a:lnTo>
                  <a:pt x="24" y="176"/>
                </a:lnTo>
                <a:lnTo>
                  <a:pt x="40" y="184"/>
                </a:lnTo>
                <a:lnTo>
                  <a:pt x="40" y="176"/>
                </a:lnTo>
                <a:lnTo>
                  <a:pt x="48" y="168"/>
                </a:lnTo>
                <a:lnTo>
                  <a:pt x="56" y="176"/>
                </a:lnTo>
                <a:lnTo>
                  <a:pt x="64" y="168"/>
                </a:lnTo>
                <a:lnTo>
                  <a:pt x="96" y="168"/>
                </a:lnTo>
                <a:lnTo>
                  <a:pt x="104" y="160"/>
                </a:lnTo>
                <a:lnTo>
                  <a:pt x="88" y="160"/>
                </a:lnTo>
                <a:lnTo>
                  <a:pt x="104" y="136"/>
                </a:lnTo>
                <a:lnTo>
                  <a:pt x="96" y="128"/>
                </a:lnTo>
                <a:lnTo>
                  <a:pt x="88" y="128"/>
                </a:lnTo>
                <a:lnTo>
                  <a:pt x="80" y="128"/>
                </a:lnTo>
                <a:lnTo>
                  <a:pt x="88" y="120"/>
                </a:lnTo>
                <a:lnTo>
                  <a:pt x="88" y="112"/>
                </a:lnTo>
                <a:lnTo>
                  <a:pt x="80" y="96"/>
                </a:lnTo>
                <a:lnTo>
                  <a:pt x="72" y="88"/>
                </a:lnTo>
                <a:lnTo>
                  <a:pt x="56" y="64"/>
                </a:lnTo>
                <a:lnTo>
                  <a:pt x="40" y="56"/>
                </a:lnTo>
                <a:lnTo>
                  <a:pt x="64" y="24"/>
                </a:lnTo>
                <a:lnTo>
                  <a:pt x="56" y="16"/>
                </a:lnTo>
                <a:lnTo>
                  <a:pt x="32" y="24"/>
                </a:lnTo>
                <a:lnTo>
                  <a:pt x="32" y="8"/>
                </a:lnTo>
                <a:lnTo>
                  <a:pt x="48" y="0"/>
                </a:lnTo>
                <a:lnTo>
                  <a:pt x="40" y="0"/>
                </a:lnTo>
                <a:lnTo>
                  <a:pt x="24" y="0"/>
                </a:lnTo>
                <a:lnTo>
                  <a:pt x="8" y="24"/>
                </a:lnTo>
                <a:lnTo>
                  <a:pt x="0" y="24"/>
                </a:lnTo>
                <a:lnTo>
                  <a:pt x="8" y="32"/>
                </a:lnTo>
                <a:lnTo>
                  <a:pt x="16" y="32"/>
                </a:lnTo>
                <a:lnTo>
                  <a:pt x="8" y="48"/>
                </a:lnTo>
                <a:lnTo>
                  <a:pt x="16" y="48"/>
                </a:lnTo>
                <a:lnTo>
                  <a:pt x="16" y="56"/>
                </a:lnTo>
                <a:lnTo>
                  <a:pt x="8" y="64"/>
                </a:lnTo>
                <a:lnTo>
                  <a:pt x="16" y="64"/>
                </a:lnTo>
                <a:lnTo>
                  <a:pt x="16" y="72"/>
                </a:lnTo>
                <a:lnTo>
                  <a:pt x="16" y="64"/>
                </a:lnTo>
                <a:lnTo>
                  <a:pt x="24" y="72"/>
                </a:lnTo>
                <a:lnTo>
                  <a:pt x="16" y="80"/>
                </a:lnTo>
                <a:lnTo>
                  <a:pt x="24" y="88"/>
                </a:lnTo>
                <a:lnTo>
                  <a:pt x="40" y="80"/>
                </a:lnTo>
                <a:lnTo>
                  <a:pt x="40" y="88"/>
                </a:lnTo>
                <a:lnTo>
                  <a:pt x="40" y="96"/>
                </a:lnTo>
                <a:lnTo>
                  <a:pt x="48" y="96"/>
                </a:lnTo>
                <a:lnTo>
                  <a:pt x="48" y="112"/>
                </a:lnTo>
                <a:lnTo>
                  <a:pt x="24" y="112"/>
                </a:lnTo>
                <a:lnTo>
                  <a:pt x="32" y="120"/>
                </a:lnTo>
                <a:lnTo>
                  <a:pt x="24" y="128"/>
                </a:lnTo>
                <a:lnTo>
                  <a:pt x="32" y="128"/>
                </a:lnTo>
                <a:lnTo>
                  <a:pt x="32" y="136"/>
                </a:lnTo>
                <a:lnTo>
                  <a:pt x="16" y="144"/>
                </a:lnTo>
                <a:lnTo>
                  <a:pt x="24" y="152"/>
                </a:lnTo>
                <a:lnTo>
                  <a:pt x="32" y="152"/>
                </a:lnTo>
                <a:lnTo>
                  <a:pt x="40" y="160"/>
                </a:lnTo>
                <a:lnTo>
                  <a:pt x="48" y="152"/>
                </a:lnTo>
                <a:lnTo>
                  <a:pt x="48" y="160"/>
                </a:lnTo>
                <a:lnTo>
                  <a:pt x="32" y="160"/>
                </a:lnTo>
                <a:lnTo>
                  <a:pt x="16" y="184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41" name="Line 320">
            <a:extLst>
              <a:ext uri="{FF2B5EF4-FFF2-40B4-BE49-F238E27FC236}">
                <a16:creationId xmlns:a16="http://schemas.microsoft.com/office/drawing/2014/main" id="{010D0DE5-8FD1-4BCF-B2BB-CD9507F8C73D}"/>
              </a:ext>
            </a:extLst>
          </p:cNvPr>
          <p:cNvSpPr>
            <a:spLocks noChangeShapeType="1"/>
          </p:cNvSpPr>
          <p:nvPr/>
        </p:nvSpPr>
        <p:spPr bwMode="gray">
          <a:xfrm>
            <a:off x="1011919" y="2550029"/>
            <a:ext cx="30733" cy="21952"/>
          </a:xfrm>
          <a:prstGeom prst="line">
            <a:avLst/>
          </a:pr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2" name="Freeform 60">
            <a:extLst>
              <a:ext uri="{FF2B5EF4-FFF2-40B4-BE49-F238E27FC236}">
                <a16:creationId xmlns:a16="http://schemas.microsoft.com/office/drawing/2014/main" id="{3A29C021-2124-4DDA-9969-D5C4208566AE}"/>
              </a:ext>
            </a:extLst>
          </p:cNvPr>
          <p:cNvSpPr>
            <a:spLocks/>
          </p:cNvSpPr>
          <p:nvPr/>
        </p:nvSpPr>
        <p:spPr bwMode="gray">
          <a:xfrm>
            <a:off x="3018459" y="3678432"/>
            <a:ext cx="329302" cy="127330"/>
          </a:xfrm>
          <a:custGeom>
            <a:avLst/>
            <a:gdLst>
              <a:gd name="T0" fmla="*/ 2147483647 w 89"/>
              <a:gd name="T1" fmla="*/ 2147483647 h 33"/>
              <a:gd name="T2" fmla="*/ 2147483647 w 89"/>
              <a:gd name="T3" fmla="*/ 2147483647 h 33"/>
              <a:gd name="T4" fmla="*/ 2147483647 w 89"/>
              <a:gd name="T5" fmla="*/ 2147483647 h 33"/>
              <a:gd name="T6" fmla="*/ 2147483647 w 89"/>
              <a:gd name="T7" fmla="*/ 2147483647 h 33"/>
              <a:gd name="T8" fmla="*/ 0 w 89"/>
              <a:gd name="T9" fmla="*/ 0 h 33"/>
              <a:gd name="T10" fmla="*/ 2147483647 w 89"/>
              <a:gd name="T11" fmla="*/ 0 h 33"/>
              <a:gd name="T12" fmla="*/ 2147483647 w 89"/>
              <a:gd name="T13" fmla="*/ 2147483647 h 33"/>
              <a:gd name="T14" fmla="*/ 2147483647 w 89"/>
              <a:gd name="T15" fmla="*/ 2147483647 h 33"/>
              <a:gd name="T16" fmla="*/ 2147483647 w 89"/>
              <a:gd name="T17" fmla="*/ 2147483647 h 33"/>
              <a:gd name="T18" fmla="*/ 2147483647 w 89"/>
              <a:gd name="T19" fmla="*/ 2147483647 h 33"/>
              <a:gd name="T20" fmla="*/ 2147483647 w 89"/>
              <a:gd name="T21" fmla="*/ 2147483647 h 33"/>
              <a:gd name="T22" fmla="*/ 2147483647 w 89"/>
              <a:gd name="T23" fmla="*/ 2147483647 h 33"/>
              <a:gd name="T24" fmla="*/ 2147483647 w 89"/>
              <a:gd name="T25" fmla="*/ 2147483647 h 33"/>
              <a:gd name="T26" fmla="*/ 2147483647 w 89"/>
              <a:gd name="T27" fmla="*/ 2147483647 h 33"/>
              <a:gd name="T28" fmla="*/ 2147483647 w 89"/>
              <a:gd name="T29" fmla="*/ 2147483647 h 3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9"/>
              <a:gd name="T46" fmla="*/ 0 h 33"/>
              <a:gd name="T47" fmla="*/ 89 w 89"/>
              <a:gd name="T48" fmla="*/ 33 h 3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9" h="33">
                <a:moveTo>
                  <a:pt x="24" y="32"/>
                </a:moveTo>
                <a:lnTo>
                  <a:pt x="24" y="32"/>
                </a:lnTo>
                <a:lnTo>
                  <a:pt x="24" y="24"/>
                </a:lnTo>
                <a:lnTo>
                  <a:pt x="24" y="16"/>
                </a:lnTo>
                <a:lnTo>
                  <a:pt x="0" y="0"/>
                </a:lnTo>
                <a:lnTo>
                  <a:pt x="40" y="0"/>
                </a:lnTo>
                <a:lnTo>
                  <a:pt x="56" y="8"/>
                </a:lnTo>
                <a:lnTo>
                  <a:pt x="72" y="8"/>
                </a:lnTo>
                <a:lnTo>
                  <a:pt x="88" y="24"/>
                </a:lnTo>
                <a:lnTo>
                  <a:pt x="80" y="24"/>
                </a:lnTo>
                <a:lnTo>
                  <a:pt x="88" y="32"/>
                </a:lnTo>
                <a:lnTo>
                  <a:pt x="72" y="32"/>
                </a:lnTo>
                <a:lnTo>
                  <a:pt x="64" y="32"/>
                </a:lnTo>
                <a:lnTo>
                  <a:pt x="48" y="32"/>
                </a:lnTo>
                <a:lnTo>
                  <a:pt x="24" y="32"/>
                </a:ln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3" name="Freeform 59">
            <a:extLst>
              <a:ext uri="{FF2B5EF4-FFF2-40B4-BE49-F238E27FC236}">
                <a16:creationId xmlns:a16="http://schemas.microsoft.com/office/drawing/2014/main" id="{94389B61-AE7A-4287-99C2-C1C1F2A89149}"/>
              </a:ext>
            </a:extLst>
          </p:cNvPr>
          <p:cNvSpPr>
            <a:spLocks/>
          </p:cNvSpPr>
          <p:nvPr/>
        </p:nvSpPr>
        <p:spPr bwMode="gray">
          <a:xfrm>
            <a:off x="2074466" y="2826640"/>
            <a:ext cx="149282" cy="92206"/>
          </a:xfrm>
          <a:custGeom>
            <a:avLst/>
            <a:gdLst>
              <a:gd name="T0" fmla="*/ 2147483647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0 w 41"/>
              <a:gd name="T9" fmla="*/ 2147483647 h 25"/>
              <a:gd name="T10" fmla="*/ 2147483647 w 41"/>
              <a:gd name="T11" fmla="*/ 2147483647 h 25"/>
              <a:gd name="T12" fmla="*/ 2147483647 w 41"/>
              <a:gd name="T13" fmla="*/ 0 h 25"/>
              <a:gd name="T14" fmla="*/ 2147483647 w 41"/>
              <a:gd name="T15" fmla="*/ 0 h 2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1"/>
              <a:gd name="T25" fmla="*/ 0 h 25"/>
              <a:gd name="T26" fmla="*/ 41 w 41"/>
              <a:gd name="T27" fmla="*/ 25 h 2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1" h="25">
                <a:moveTo>
                  <a:pt x="40" y="0"/>
                </a:moveTo>
                <a:lnTo>
                  <a:pt x="40" y="0"/>
                </a:lnTo>
                <a:lnTo>
                  <a:pt x="40" y="24"/>
                </a:lnTo>
                <a:lnTo>
                  <a:pt x="24" y="24"/>
                </a:lnTo>
                <a:lnTo>
                  <a:pt x="0" y="16"/>
                </a:lnTo>
                <a:lnTo>
                  <a:pt x="16" y="8"/>
                </a:lnTo>
                <a:lnTo>
                  <a:pt x="24" y="0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85000"/>
            </a:schemeClr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4" name="Freeform 294">
            <a:extLst>
              <a:ext uri="{FF2B5EF4-FFF2-40B4-BE49-F238E27FC236}">
                <a16:creationId xmlns:a16="http://schemas.microsoft.com/office/drawing/2014/main" id="{10E72F8D-353D-47C3-BB34-967A8A0AEC99}"/>
              </a:ext>
            </a:extLst>
          </p:cNvPr>
          <p:cNvSpPr>
            <a:spLocks/>
          </p:cNvSpPr>
          <p:nvPr/>
        </p:nvSpPr>
        <p:spPr bwMode="gray">
          <a:xfrm>
            <a:off x="1806631" y="3441335"/>
            <a:ext cx="118550" cy="92206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0 w 33"/>
              <a:gd name="T11" fmla="*/ 2147483647 h 25"/>
              <a:gd name="T12" fmla="*/ 0 w 33"/>
              <a:gd name="T13" fmla="*/ 2147483647 h 25"/>
              <a:gd name="T14" fmla="*/ 0 w 33"/>
              <a:gd name="T15" fmla="*/ 2147483647 h 25"/>
              <a:gd name="T16" fmla="*/ 2147483647 w 33"/>
              <a:gd name="T17" fmla="*/ 0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25"/>
              <a:gd name="T32" fmla="*/ 33 w 33"/>
              <a:gd name="T33" fmla="*/ 25 h 2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25">
                <a:moveTo>
                  <a:pt x="32" y="8"/>
                </a:moveTo>
                <a:lnTo>
                  <a:pt x="32" y="8"/>
                </a:lnTo>
                <a:lnTo>
                  <a:pt x="24" y="8"/>
                </a:lnTo>
                <a:lnTo>
                  <a:pt x="16" y="24"/>
                </a:lnTo>
                <a:lnTo>
                  <a:pt x="8" y="24"/>
                </a:lnTo>
                <a:lnTo>
                  <a:pt x="0" y="24"/>
                </a:lnTo>
                <a:lnTo>
                  <a:pt x="0" y="16"/>
                </a:lnTo>
                <a:lnTo>
                  <a:pt x="0" y="8"/>
                </a:lnTo>
                <a:lnTo>
                  <a:pt x="32" y="0"/>
                </a:lnTo>
                <a:lnTo>
                  <a:pt x="32" y="8"/>
                </a:lnTo>
              </a:path>
            </a:pathLst>
          </a:custGeom>
          <a:solidFill>
            <a:schemeClr val="bg1">
              <a:lumMod val="85000"/>
            </a:schemeClr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5" name="Freeform 335">
            <a:extLst>
              <a:ext uri="{FF2B5EF4-FFF2-40B4-BE49-F238E27FC236}">
                <a16:creationId xmlns:a16="http://schemas.microsoft.com/office/drawing/2014/main" id="{9D33E896-476D-478C-BF7C-27C678C8F610}"/>
              </a:ext>
            </a:extLst>
          </p:cNvPr>
          <p:cNvSpPr>
            <a:spLocks/>
          </p:cNvSpPr>
          <p:nvPr/>
        </p:nvSpPr>
        <p:spPr bwMode="gray">
          <a:xfrm>
            <a:off x="2575002" y="2260245"/>
            <a:ext cx="127328" cy="184408"/>
          </a:xfrm>
          <a:custGeom>
            <a:avLst/>
            <a:gdLst>
              <a:gd name="T0" fmla="*/ 0 w 33"/>
              <a:gd name="T1" fmla="*/ 2147483647 h 49"/>
              <a:gd name="T2" fmla="*/ 0 w 33"/>
              <a:gd name="T3" fmla="*/ 2147483647 h 49"/>
              <a:gd name="T4" fmla="*/ 2147483647 w 33"/>
              <a:gd name="T5" fmla="*/ 2147483647 h 49"/>
              <a:gd name="T6" fmla="*/ 2147483647 w 33"/>
              <a:gd name="T7" fmla="*/ 2147483647 h 49"/>
              <a:gd name="T8" fmla="*/ 2147483647 w 33"/>
              <a:gd name="T9" fmla="*/ 2147483647 h 49"/>
              <a:gd name="T10" fmla="*/ 2147483647 w 33"/>
              <a:gd name="T11" fmla="*/ 2147483647 h 49"/>
              <a:gd name="T12" fmla="*/ 2147483647 w 33"/>
              <a:gd name="T13" fmla="*/ 2147483647 h 49"/>
              <a:gd name="T14" fmla="*/ 2147483647 w 33"/>
              <a:gd name="T15" fmla="*/ 0 h 49"/>
              <a:gd name="T16" fmla="*/ 2147483647 w 33"/>
              <a:gd name="T17" fmla="*/ 0 h 49"/>
              <a:gd name="T18" fmla="*/ 0 w 33"/>
              <a:gd name="T19" fmla="*/ 2147483647 h 4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49"/>
              <a:gd name="T32" fmla="*/ 33 w 33"/>
              <a:gd name="T33" fmla="*/ 49 h 4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49">
                <a:moveTo>
                  <a:pt x="0" y="16"/>
                </a:moveTo>
                <a:lnTo>
                  <a:pt x="0" y="16"/>
                </a:lnTo>
                <a:lnTo>
                  <a:pt x="8" y="24"/>
                </a:lnTo>
                <a:lnTo>
                  <a:pt x="16" y="48"/>
                </a:lnTo>
                <a:lnTo>
                  <a:pt x="24" y="40"/>
                </a:lnTo>
                <a:lnTo>
                  <a:pt x="32" y="40"/>
                </a:lnTo>
                <a:lnTo>
                  <a:pt x="32" y="24"/>
                </a:lnTo>
                <a:lnTo>
                  <a:pt x="16" y="0"/>
                </a:lnTo>
                <a:lnTo>
                  <a:pt x="8" y="0"/>
                </a:lnTo>
                <a:lnTo>
                  <a:pt x="0" y="16"/>
                </a:lnTo>
              </a:path>
            </a:pathLst>
          </a:custGeom>
          <a:solidFill>
            <a:schemeClr val="bg1">
              <a:lumMod val="85000"/>
            </a:schemeClr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6" name="Freeform 336">
            <a:extLst>
              <a:ext uri="{FF2B5EF4-FFF2-40B4-BE49-F238E27FC236}">
                <a16:creationId xmlns:a16="http://schemas.microsoft.com/office/drawing/2014/main" id="{801C1287-C8FC-46FA-A884-68ED7D0BC39D}"/>
              </a:ext>
            </a:extLst>
          </p:cNvPr>
          <p:cNvSpPr>
            <a:spLocks/>
          </p:cNvSpPr>
          <p:nvPr/>
        </p:nvSpPr>
        <p:spPr bwMode="gray">
          <a:xfrm>
            <a:off x="2781362" y="2137305"/>
            <a:ext cx="105378" cy="188798"/>
          </a:xfrm>
          <a:custGeom>
            <a:avLst/>
            <a:gdLst>
              <a:gd name="T0" fmla="*/ 0 w 25"/>
              <a:gd name="T1" fmla="*/ 2147483647 h 49"/>
              <a:gd name="T2" fmla="*/ 0 w 25"/>
              <a:gd name="T3" fmla="*/ 2147483647 h 49"/>
              <a:gd name="T4" fmla="*/ 2147483647 w 25"/>
              <a:gd name="T5" fmla="*/ 2147483647 h 49"/>
              <a:gd name="T6" fmla="*/ 2147483647 w 25"/>
              <a:gd name="T7" fmla="*/ 2147483647 h 49"/>
              <a:gd name="T8" fmla="*/ 2147483647 w 25"/>
              <a:gd name="T9" fmla="*/ 2147483647 h 49"/>
              <a:gd name="T10" fmla="*/ 2147483647 w 25"/>
              <a:gd name="T11" fmla="*/ 2147483647 h 49"/>
              <a:gd name="T12" fmla="*/ 2147483647 w 25"/>
              <a:gd name="T13" fmla="*/ 2147483647 h 49"/>
              <a:gd name="T14" fmla="*/ 2147483647 w 25"/>
              <a:gd name="T15" fmla="*/ 2147483647 h 49"/>
              <a:gd name="T16" fmla="*/ 0 w 25"/>
              <a:gd name="T17" fmla="*/ 0 h 49"/>
              <a:gd name="T18" fmla="*/ 2147483647 w 25"/>
              <a:gd name="T19" fmla="*/ 2147483647 h 49"/>
              <a:gd name="T20" fmla="*/ 2147483647 w 25"/>
              <a:gd name="T21" fmla="*/ 2147483647 h 49"/>
              <a:gd name="T22" fmla="*/ 0 w 25"/>
              <a:gd name="T23" fmla="*/ 2147483647 h 49"/>
              <a:gd name="T24" fmla="*/ 0 w 25"/>
              <a:gd name="T25" fmla="*/ 2147483647 h 4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5"/>
              <a:gd name="T40" fmla="*/ 0 h 49"/>
              <a:gd name="T41" fmla="*/ 25 w 25"/>
              <a:gd name="T42" fmla="*/ 49 h 4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5" h="49">
                <a:moveTo>
                  <a:pt x="0" y="32"/>
                </a:moveTo>
                <a:lnTo>
                  <a:pt x="0" y="32"/>
                </a:lnTo>
                <a:lnTo>
                  <a:pt x="16" y="40"/>
                </a:lnTo>
                <a:lnTo>
                  <a:pt x="16" y="48"/>
                </a:lnTo>
                <a:lnTo>
                  <a:pt x="24" y="48"/>
                </a:lnTo>
                <a:lnTo>
                  <a:pt x="16" y="24"/>
                </a:lnTo>
                <a:lnTo>
                  <a:pt x="16" y="8"/>
                </a:lnTo>
                <a:lnTo>
                  <a:pt x="8" y="8"/>
                </a:lnTo>
                <a:lnTo>
                  <a:pt x="0" y="0"/>
                </a:lnTo>
                <a:lnTo>
                  <a:pt x="8" y="8"/>
                </a:lnTo>
                <a:lnTo>
                  <a:pt x="8" y="16"/>
                </a:lnTo>
                <a:lnTo>
                  <a:pt x="0" y="16"/>
                </a:lnTo>
                <a:lnTo>
                  <a:pt x="0" y="32"/>
                </a:lnTo>
              </a:path>
            </a:pathLst>
          </a:custGeom>
          <a:solidFill>
            <a:schemeClr val="bg1">
              <a:lumMod val="85000"/>
            </a:schemeClr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127" name="Freeform 53">
            <a:extLst>
              <a:ext uri="{FF2B5EF4-FFF2-40B4-BE49-F238E27FC236}">
                <a16:creationId xmlns:a16="http://schemas.microsoft.com/office/drawing/2014/main" id="{82C86EF0-8F20-4FA7-A587-F92E078023F1}"/>
              </a:ext>
            </a:extLst>
          </p:cNvPr>
          <p:cNvSpPr>
            <a:spLocks/>
          </p:cNvSpPr>
          <p:nvPr/>
        </p:nvSpPr>
        <p:spPr bwMode="gray">
          <a:xfrm>
            <a:off x="2399338" y="1395405"/>
            <a:ext cx="1403783" cy="2485573"/>
          </a:xfrm>
          <a:custGeom>
            <a:avLst/>
            <a:gdLst>
              <a:gd name="T0" fmla="*/ 2147483647 w 2065"/>
              <a:gd name="T1" fmla="*/ 2147483647 h 1033"/>
              <a:gd name="T2" fmla="*/ 2147483647 w 2065"/>
              <a:gd name="T3" fmla="*/ 2147483647 h 1033"/>
              <a:gd name="T4" fmla="*/ 2147483647 w 2065"/>
              <a:gd name="T5" fmla="*/ 2147483647 h 1033"/>
              <a:gd name="T6" fmla="*/ 2147483647 w 2065"/>
              <a:gd name="T7" fmla="*/ 2147483647 h 1033"/>
              <a:gd name="T8" fmla="*/ 2147483647 w 2065"/>
              <a:gd name="T9" fmla="*/ 2147483647 h 1033"/>
              <a:gd name="T10" fmla="*/ 2147483647 w 2065"/>
              <a:gd name="T11" fmla="*/ 2147483647 h 1033"/>
              <a:gd name="T12" fmla="*/ 2147483647 w 2065"/>
              <a:gd name="T13" fmla="*/ 2147483647 h 1033"/>
              <a:gd name="T14" fmla="*/ 2147483647 w 2065"/>
              <a:gd name="T15" fmla="*/ 2147483647 h 1033"/>
              <a:gd name="T16" fmla="*/ 2147483647 w 2065"/>
              <a:gd name="T17" fmla="*/ 2147483647 h 1033"/>
              <a:gd name="T18" fmla="*/ 2147483647 w 2065"/>
              <a:gd name="T19" fmla="*/ 2147483647 h 1033"/>
              <a:gd name="T20" fmla="*/ 2147483647 w 2065"/>
              <a:gd name="T21" fmla="*/ 2147483647 h 1033"/>
              <a:gd name="T22" fmla="*/ 2147483647 w 2065"/>
              <a:gd name="T23" fmla="*/ 2147483647 h 1033"/>
              <a:gd name="T24" fmla="*/ 2147483647 w 2065"/>
              <a:gd name="T25" fmla="*/ 2147483647 h 1033"/>
              <a:gd name="T26" fmla="*/ 2147483647 w 2065"/>
              <a:gd name="T27" fmla="*/ 2147483647 h 1033"/>
              <a:gd name="T28" fmla="*/ 2147483647 w 2065"/>
              <a:gd name="T29" fmla="*/ 2147483647 h 1033"/>
              <a:gd name="T30" fmla="*/ 2147483647 w 2065"/>
              <a:gd name="T31" fmla="*/ 2147483647 h 1033"/>
              <a:gd name="T32" fmla="*/ 2147483647 w 2065"/>
              <a:gd name="T33" fmla="*/ 2147483647 h 1033"/>
              <a:gd name="T34" fmla="*/ 2147483647 w 2065"/>
              <a:gd name="T35" fmla="*/ 2147483647 h 1033"/>
              <a:gd name="T36" fmla="*/ 2147483647 w 2065"/>
              <a:gd name="T37" fmla="*/ 2147483647 h 1033"/>
              <a:gd name="T38" fmla="*/ 2147483647 w 2065"/>
              <a:gd name="T39" fmla="*/ 2147483647 h 1033"/>
              <a:gd name="T40" fmla="*/ 2147483647 w 2065"/>
              <a:gd name="T41" fmla="*/ 2147483647 h 1033"/>
              <a:gd name="T42" fmla="*/ 2147483647 w 2065"/>
              <a:gd name="T43" fmla="*/ 2147483647 h 1033"/>
              <a:gd name="T44" fmla="*/ 2147483647 w 2065"/>
              <a:gd name="T45" fmla="*/ 2147483647 h 1033"/>
              <a:gd name="T46" fmla="*/ 2147483647 w 2065"/>
              <a:gd name="T47" fmla="*/ 2147483647 h 1033"/>
              <a:gd name="T48" fmla="*/ 2147483647 w 2065"/>
              <a:gd name="T49" fmla="*/ 2147483647 h 1033"/>
              <a:gd name="T50" fmla="*/ 2147483647 w 2065"/>
              <a:gd name="T51" fmla="*/ 2147483647 h 1033"/>
              <a:gd name="T52" fmla="*/ 2147483647 w 2065"/>
              <a:gd name="T53" fmla="*/ 2147483647 h 1033"/>
              <a:gd name="T54" fmla="*/ 2147483647 w 2065"/>
              <a:gd name="T55" fmla="*/ 2147483647 h 1033"/>
              <a:gd name="T56" fmla="*/ 2147483647 w 2065"/>
              <a:gd name="T57" fmla="*/ 2147483647 h 1033"/>
              <a:gd name="T58" fmla="*/ 2147483647 w 2065"/>
              <a:gd name="T59" fmla="*/ 2147483647 h 1033"/>
              <a:gd name="T60" fmla="*/ 2147483647 w 2065"/>
              <a:gd name="T61" fmla="*/ 2147483647 h 1033"/>
              <a:gd name="T62" fmla="*/ 2147483647 w 2065"/>
              <a:gd name="T63" fmla="*/ 2147483647 h 1033"/>
              <a:gd name="T64" fmla="*/ 2147483647 w 2065"/>
              <a:gd name="T65" fmla="*/ 2147483647 h 1033"/>
              <a:gd name="T66" fmla="*/ 2147483647 w 2065"/>
              <a:gd name="T67" fmla="*/ 2147483647 h 1033"/>
              <a:gd name="T68" fmla="*/ 2147483647 w 2065"/>
              <a:gd name="T69" fmla="*/ 2147483647 h 1033"/>
              <a:gd name="T70" fmla="*/ 2147483647 w 2065"/>
              <a:gd name="T71" fmla="*/ 2147483647 h 1033"/>
              <a:gd name="T72" fmla="*/ 2147483647 w 2065"/>
              <a:gd name="T73" fmla="*/ 2147483647 h 1033"/>
              <a:gd name="T74" fmla="*/ 2147483647 w 2065"/>
              <a:gd name="T75" fmla="*/ 2147483647 h 1033"/>
              <a:gd name="T76" fmla="*/ 2147483647 w 2065"/>
              <a:gd name="T77" fmla="*/ 2147483647 h 1033"/>
              <a:gd name="T78" fmla="*/ 2147483647 w 2065"/>
              <a:gd name="T79" fmla="*/ 2147483647 h 1033"/>
              <a:gd name="T80" fmla="*/ 2147483647 w 2065"/>
              <a:gd name="T81" fmla="*/ 2147483647 h 1033"/>
              <a:gd name="T82" fmla="*/ 2147483647 w 2065"/>
              <a:gd name="T83" fmla="*/ 2147483647 h 1033"/>
              <a:gd name="T84" fmla="*/ 2147483647 w 2065"/>
              <a:gd name="T85" fmla="*/ 2147483647 h 1033"/>
              <a:gd name="T86" fmla="*/ 2147483647 w 2065"/>
              <a:gd name="T87" fmla="*/ 2147483647 h 1033"/>
              <a:gd name="T88" fmla="*/ 2147483647 w 2065"/>
              <a:gd name="T89" fmla="*/ 2147483647 h 1033"/>
              <a:gd name="T90" fmla="*/ 2147483647 w 2065"/>
              <a:gd name="T91" fmla="*/ 2147483647 h 1033"/>
              <a:gd name="T92" fmla="*/ 2147483647 w 2065"/>
              <a:gd name="T93" fmla="*/ 2147483647 h 1033"/>
              <a:gd name="T94" fmla="*/ 2147483647 w 2065"/>
              <a:gd name="T95" fmla="*/ 2147483647 h 1033"/>
              <a:gd name="T96" fmla="*/ 2147483647 w 2065"/>
              <a:gd name="T97" fmla="*/ 2147483647 h 1033"/>
              <a:gd name="T98" fmla="*/ 2147483647 w 2065"/>
              <a:gd name="T99" fmla="*/ 2147483647 h 1033"/>
              <a:gd name="T100" fmla="*/ 2147483647 w 2065"/>
              <a:gd name="T101" fmla="*/ 2147483647 h 1033"/>
              <a:gd name="T102" fmla="*/ 2147483647 w 2065"/>
              <a:gd name="T103" fmla="*/ 2147483647 h 1033"/>
              <a:gd name="T104" fmla="*/ 2147483647 w 2065"/>
              <a:gd name="T105" fmla="*/ 2147483647 h 1033"/>
              <a:gd name="T106" fmla="*/ 2147483647 w 2065"/>
              <a:gd name="T107" fmla="*/ 2147483647 h 1033"/>
              <a:gd name="T108" fmla="*/ 2147483647 w 2065"/>
              <a:gd name="T109" fmla="*/ 2147483647 h 103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065"/>
              <a:gd name="T166" fmla="*/ 0 h 1033"/>
              <a:gd name="T167" fmla="*/ 2065 w 2065"/>
              <a:gd name="T168" fmla="*/ 1033 h 1033"/>
              <a:gd name="connsiteX0" fmla="*/ 5075 w 9995"/>
              <a:gd name="connsiteY0" fmla="*/ 1859 h 9990"/>
              <a:gd name="connsiteX1" fmla="*/ 5075 w 9995"/>
              <a:gd name="connsiteY1" fmla="*/ 1859 h 9990"/>
              <a:gd name="connsiteX2" fmla="*/ 5036 w 9995"/>
              <a:gd name="connsiteY2" fmla="*/ 1936 h 9990"/>
              <a:gd name="connsiteX3" fmla="*/ 5075 w 9995"/>
              <a:gd name="connsiteY3" fmla="*/ 2091 h 9990"/>
              <a:gd name="connsiteX4" fmla="*/ 4920 w 9995"/>
              <a:gd name="connsiteY4" fmla="*/ 2246 h 9990"/>
              <a:gd name="connsiteX5" fmla="*/ 4881 w 9995"/>
              <a:gd name="connsiteY5" fmla="*/ 2246 h 9990"/>
              <a:gd name="connsiteX6" fmla="*/ 4920 w 9995"/>
              <a:gd name="connsiteY6" fmla="*/ 2014 h 9990"/>
              <a:gd name="connsiteX7" fmla="*/ 5308 w 9995"/>
              <a:gd name="connsiteY7" fmla="*/ 1317 h 9990"/>
              <a:gd name="connsiteX8" fmla="*/ 5308 w 9995"/>
              <a:gd name="connsiteY8" fmla="*/ 852 h 9990"/>
              <a:gd name="connsiteX9" fmla="*/ 5153 w 9995"/>
              <a:gd name="connsiteY9" fmla="*/ 542 h 9990"/>
              <a:gd name="connsiteX10" fmla="*/ 4959 w 9995"/>
              <a:gd name="connsiteY10" fmla="*/ 542 h 9990"/>
              <a:gd name="connsiteX11" fmla="*/ 4959 w 9995"/>
              <a:gd name="connsiteY11" fmla="*/ 697 h 9990"/>
              <a:gd name="connsiteX12" fmla="*/ 4843 w 9995"/>
              <a:gd name="connsiteY12" fmla="*/ 697 h 9990"/>
              <a:gd name="connsiteX13" fmla="*/ 4920 w 9995"/>
              <a:gd name="connsiteY13" fmla="*/ 387 h 9990"/>
              <a:gd name="connsiteX14" fmla="*/ 4726 w 9995"/>
              <a:gd name="connsiteY14" fmla="*/ 310 h 9990"/>
              <a:gd name="connsiteX15" fmla="*/ 4843 w 9995"/>
              <a:gd name="connsiteY15" fmla="*/ 155 h 9990"/>
              <a:gd name="connsiteX16" fmla="*/ 4726 w 9995"/>
              <a:gd name="connsiteY16" fmla="*/ 0 h 9990"/>
              <a:gd name="connsiteX17" fmla="*/ 4533 w 9995"/>
              <a:gd name="connsiteY17" fmla="*/ 387 h 9990"/>
              <a:gd name="connsiteX18" fmla="*/ 4533 w 9995"/>
              <a:gd name="connsiteY18" fmla="*/ 697 h 9990"/>
              <a:gd name="connsiteX19" fmla="*/ 4416 w 9995"/>
              <a:gd name="connsiteY19" fmla="*/ 697 h 9990"/>
              <a:gd name="connsiteX20" fmla="*/ 4068 w 9995"/>
              <a:gd name="connsiteY20" fmla="*/ 852 h 9990"/>
              <a:gd name="connsiteX21" fmla="*/ 3758 w 9995"/>
              <a:gd name="connsiteY21" fmla="*/ 1239 h 9990"/>
              <a:gd name="connsiteX22" fmla="*/ 3642 w 9995"/>
              <a:gd name="connsiteY22" fmla="*/ 1549 h 9990"/>
              <a:gd name="connsiteX23" fmla="*/ 3680 w 9995"/>
              <a:gd name="connsiteY23" fmla="*/ 1936 h 9990"/>
              <a:gd name="connsiteX24" fmla="*/ 3254 w 9995"/>
              <a:gd name="connsiteY24" fmla="*/ 2091 h 9990"/>
              <a:gd name="connsiteX25" fmla="*/ 3293 w 9995"/>
              <a:gd name="connsiteY25" fmla="*/ 2556 h 9990"/>
              <a:gd name="connsiteX26" fmla="*/ 3409 w 9995"/>
              <a:gd name="connsiteY26" fmla="*/ 2788 h 9990"/>
              <a:gd name="connsiteX27" fmla="*/ 3332 w 9995"/>
              <a:gd name="connsiteY27" fmla="*/ 2865 h 9990"/>
              <a:gd name="connsiteX28" fmla="*/ 3215 w 9995"/>
              <a:gd name="connsiteY28" fmla="*/ 2556 h 9990"/>
              <a:gd name="connsiteX29" fmla="*/ 3099 w 9995"/>
              <a:gd name="connsiteY29" fmla="*/ 2478 h 9990"/>
              <a:gd name="connsiteX30" fmla="*/ 3061 w 9995"/>
              <a:gd name="connsiteY30" fmla="*/ 2556 h 9990"/>
              <a:gd name="connsiteX31" fmla="*/ 2983 w 9995"/>
              <a:gd name="connsiteY31" fmla="*/ 2401 h 9990"/>
              <a:gd name="connsiteX32" fmla="*/ 2906 w 9995"/>
              <a:gd name="connsiteY32" fmla="*/ 2246 h 9990"/>
              <a:gd name="connsiteX33" fmla="*/ 2906 w 9995"/>
              <a:gd name="connsiteY33" fmla="*/ 2323 h 9990"/>
              <a:gd name="connsiteX34" fmla="*/ 2944 w 9995"/>
              <a:gd name="connsiteY34" fmla="*/ 2556 h 9990"/>
              <a:gd name="connsiteX35" fmla="*/ 2828 w 9995"/>
              <a:gd name="connsiteY35" fmla="*/ 2943 h 9990"/>
              <a:gd name="connsiteX36" fmla="*/ 2906 w 9995"/>
              <a:gd name="connsiteY36" fmla="*/ 3253 h 9990"/>
              <a:gd name="connsiteX37" fmla="*/ 2867 w 9995"/>
              <a:gd name="connsiteY37" fmla="*/ 3562 h 9990"/>
              <a:gd name="connsiteX38" fmla="*/ 2867 w 9995"/>
              <a:gd name="connsiteY38" fmla="*/ 3795 h 9990"/>
              <a:gd name="connsiteX39" fmla="*/ 2983 w 9995"/>
              <a:gd name="connsiteY39" fmla="*/ 3795 h 9990"/>
              <a:gd name="connsiteX40" fmla="*/ 2906 w 9995"/>
              <a:gd name="connsiteY40" fmla="*/ 3872 h 9990"/>
              <a:gd name="connsiteX41" fmla="*/ 2944 w 9995"/>
              <a:gd name="connsiteY41" fmla="*/ 4259 h 9990"/>
              <a:gd name="connsiteX42" fmla="*/ 2712 w 9995"/>
              <a:gd name="connsiteY42" fmla="*/ 4647 h 9990"/>
              <a:gd name="connsiteX43" fmla="*/ 2673 w 9995"/>
              <a:gd name="connsiteY43" fmla="*/ 4569 h 9990"/>
              <a:gd name="connsiteX44" fmla="*/ 2828 w 9995"/>
              <a:gd name="connsiteY44" fmla="*/ 4182 h 9990"/>
              <a:gd name="connsiteX45" fmla="*/ 2867 w 9995"/>
              <a:gd name="connsiteY45" fmla="*/ 3950 h 9990"/>
              <a:gd name="connsiteX46" fmla="*/ 2789 w 9995"/>
              <a:gd name="connsiteY46" fmla="*/ 3795 h 9990"/>
              <a:gd name="connsiteX47" fmla="*/ 2789 w 9995"/>
              <a:gd name="connsiteY47" fmla="*/ 3020 h 9990"/>
              <a:gd name="connsiteX48" fmla="*/ 2751 w 9995"/>
              <a:gd name="connsiteY48" fmla="*/ 2865 h 9990"/>
              <a:gd name="connsiteX49" fmla="*/ 2789 w 9995"/>
              <a:gd name="connsiteY49" fmla="*/ 2401 h 9990"/>
              <a:gd name="connsiteX50" fmla="*/ 2712 w 9995"/>
              <a:gd name="connsiteY50" fmla="*/ 2323 h 9990"/>
              <a:gd name="connsiteX51" fmla="*/ 2751 w 9995"/>
              <a:gd name="connsiteY51" fmla="*/ 2246 h 9990"/>
              <a:gd name="connsiteX52" fmla="*/ 2712 w 9995"/>
              <a:gd name="connsiteY52" fmla="*/ 2091 h 9990"/>
              <a:gd name="connsiteX53" fmla="*/ 2634 w 9995"/>
              <a:gd name="connsiteY53" fmla="*/ 2168 h 9990"/>
              <a:gd name="connsiteX54" fmla="*/ 2441 w 9995"/>
              <a:gd name="connsiteY54" fmla="*/ 3175 h 9990"/>
              <a:gd name="connsiteX55" fmla="*/ 2441 w 9995"/>
              <a:gd name="connsiteY55" fmla="*/ 3562 h 9990"/>
              <a:gd name="connsiteX56" fmla="*/ 2557 w 9995"/>
              <a:gd name="connsiteY56" fmla="*/ 3872 h 9990"/>
              <a:gd name="connsiteX57" fmla="*/ 2557 w 9995"/>
              <a:gd name="connsiteY57" fmla="*/ 4027 h 9990"/>
              <a:gd name="connsiteX58" fmla="*/ 2441 w 9995"/>
              <a:gd name="connsiteY58" fmla="*/ 3872 h 9990"/>
              <a:gd name="connsiteX59" fmla="*/ 1976 w 9995"/>
              <a:gd name="connsiteY59" fmla="*/ 3253 h 9990"/>
              <a:gd name="connsiteX60" fmla="*/ 1937 w 9995"/>
              <a:gd name="connsiteY60" fmla="*/ 3408 h 9990"/>
              <a:gd name="connsiteX61" fmla="*/ 2092 w 9995"/>
              <a:gd name="connsiteY61" fmla="*/ 3795 h 9990"/>
              <a:gd name="connsiteX62" fmla="*/ 2015 w 9995"/>
              <a:gd name="connsiteY62" fmla="*/ 3872 h 9990"/>
              <a:gd name="connsiteX63" fmla="*/ 1976 w 9995"/>
              <a:gd name="connsiteY63" fmla="*/ 3795 h 9990"/>
              <a:gd name="connsiteX64" fmla="*/ 1743 w 9995"/>
              <a:gd name="connsiteY64" fmla="*/ 3950 h 9990"/>
              <a:gd name="connsiteX65" fmla="*/ 1705 w 9995"/>
              <a:gd name="connsiteY65" fmla="*/ 4105 h 9990"/>
              <a:gd name="connsiteX66" fmla="*/ 1666 w 9995"/>
              <a:gd name="connsiteY66" fmla="*/ 3950 h 9990"/>
              <a:gd name="connsiteX67" fmla="*/ 1666 w 9995"/>
              <a:gd name="connsiteY67" fmla="*/ 3795 h 9990"/>
              <a:gd name="connsiteX68" fmla="*/ 1278 w 9995"/>
              <a:gd name="connsiteY68" fmla="*/ 4259 h 9990"/>
              <a:gd name="connsiteX69" fmla="*/ 1278 w 9995"/>
              <a:gd name="connsiteY69" fmla="*/ 4414 h 9990"/>
              <a:gd name="connsiteX70" fmla="*/ 1201 w 9995"/>
              <a:gd name="connsiteY70" fmla="*/ 4492 h 9990"/>
              <a:gd name="connsiteX71" fmla="*/ 1085 w 9995"/>
              <a:gd name="connsiteY71" fmla="*/ 4337 h 9990"/>
              <a:gd name="connsiteX72" fmla="*/ 1201 w 9995"/>
              <a:gd name="connsiteY72" fmla="*/ 4182 h 9990"/>
              <a:gd name="connsiteX73" fmla="*/ 1162 w 9995"/>
              <a:gd name="connsiteY73" fmla="*/ 3950 h 9990"/>
              <a:gd name="connsiteX74" fmla="*/ 1007 w 9995"/>
              <a:gd name="connsiteY74" fmla="*/ 3872 h 9990"/>
              <a:gd name="connsiteX75" fmla="*/ 1046 w 9995"/>
              <a:gd name="connsiteY75" fmla="*/ 4027 h 9990"/>
              <a:gd name="connsiteX76" fmla="*/ 1046 w 9995"/>
              <a:gd name="connsiteY76" fmla="*/ 4414 h 9990"/>
              <a:gd name="connsiteX77" fmla="*/ 1085 w 9995"/>
              <a:gd name="connsiteY77" fmla="*/ 4569 h 9990"/>
              <a:gd name="connsiteX78" fmla="*/ 1046 w 9995"/>
              <a:gd name="connsiteY78" fmla="*/ 4724 h 9990"/>
              <a:gd name="connsiteX79" fmla="*/ 930 w 9995"/>
              <a:gd name="connsiteY79" fmla="*/ 4647 h 9990"/>
              <a:gd name="connsiteX80" fmla="*/ 775 w 9995"/>
              <a:gd name="connsiteY80" fmla="*/ 4879 h 9990"/>
              <a:gd name="connsiteX81" fmla="*/ 852 w 9995"/>
              <a:gd name="connsiteY81" fmla="*/ 5189 h 9990"/>
              <a:gd name="connsiteX82" fmla="*/ 620 w 9995"/>
              <a:gd name="connsiteY82" fmla="*/ 5034 h 9990"/>
              <a:gd name="connsiteX83" fmla="*/ 581 w 9995"/>
              <a:gd name="connsiteY83" fmla="*/ 5111 h 9990"/>
              <a:gd name="connsiteX84" fmla="*/ 659 w 9995"/>
              <a:gd name="connsiteY84" fmla="*/ 5344 h 9990"/>
              <a:gd name="connsiteX85" fmla="*/ 581 w 9995"/>
              <a:gd name="connsiteY85" fmla="*/ 5344 h 9990"/>
              <a:gd name="connsiteX86" fmla="*/ 465 w 9995"/>
              <a:gd name="connsiteY86" fmla="*/ 5189 h 9990"/>
              <a:gd name="connsiteX87" fmla="*/ 465 w 9995"/>
              <a:gd name="connsiteY87" fmla="*/ 4724 h 9990"/>
              <a:gd name="connsiteX88" fmla="*/ 349 w 9995"/>
              <a:gd name="connsiteY88" fmla="*/ 4569 h 9990"/>
              <a:gd name="connsiteX89" fmla="*/ 310 w 9995"/>
              <a:gd name="connsiteY89" fmla="*/ 4414 h 9990"/>
              <a:gd name="connsiteX90" fmla="*/ 387 w 9995"/>
              <a:gd name="connsiteY90" fmla="*/ 4492 h 9990"/>
              <a:gd name="connsiteX91" fmla="*/ 697 w 9995"/>
              <a:gd name="connsiteY91" fmla="*/ 4724 h 9990"/>
              <a:gd name="connsiteX92" fmla="*/ 891 w 9995"/>
              <a:gd name="connsiteY92" fmla="*/ 4492 h 9990"/>
              <a:gd name="connsiteX93" fmla="*/ 852 w 9995"/>
              <a:gd name="connsiteY93" fmla="*/ 4259 h 9990"/>
              <a:gd name="connsiteX94" fmla="*/ 620 w 9995"/>
              <a:gd name="connsiteY94" fmla="*/ 3795 h 9990"/>
              <a:gd name="connsiteX95" fmla="*/ 387 w 9995"/>
              <a:gd name="connsiteY95" fmla="*/ 3640 h 9990"/>
              <a:gd name="connsiteX96" fmla="*/ 387 w 9995"/>
              <a:gd name="connsiteY96" fmla="*/ 3562 h 9990"/>
              <a:gd name="connsiteX97" fmla="*/ 310 w 9995"/>
              <a:gd name="connsiteY97" fmla="*/ 3485 h 9990"/>
              <a:gd name="connsiteX98" fmla="*/ 232 w 9995"/>
              <a:gd name="connsiteY98" fmla="*/ 3562 h 9990"/>
              <a:gd name="connsiteX99" fmla="*/ 232 w 9995"/>
              <a:gd name="connsiteY99" fmla="*/ 3640 h 9990"/>
              <a:gd name="connsiteX100" fmla="*/ 194 w 9995"/>
              <a:gd name="connsiteY100" fmla="*/ 3640 h 9990"/>
              <a:gd name="connsiteX101" fmla="*/ 116 w 9995"/>
              <a:gd name="connsiteY101" fmla="*/ 3795 h 9990"/>
              <a:gd name="connsiteX102" fmla="*/ 116 w 9995"/>
              <a:gd name="connsiteY102" fmla="*/ 4027 h 9990"/>
              <a:gd name="connsiteX103" fmla="*/ 194 w 9995"/>
              <a:gd name="connsiteY103" fmla="*/ 4182 h 9990"/>
              <a:gd name="connsiteX104" fmla="*/ 155 w 9995"/>
              <a:gd name="connsiteY104" fmla="*/ 4414 h 9990"/>
              <a:gd name="connsiteX105" fmla="*/ 194 w 9995"/>
              <a:gd name="connsiteY105" fmla="*/ 4802 h 9990"/>
              <a:gd name="connsiteX106" fmla="*/ 155 w 9995"/>
              <a:gd name="connsiteY106" fmla="*/ 5034 h 9990"/>
              <a:gd name="connsiteX107" fmla="*/ 232 w 9995"/>
              <a:gd name="connsiteY107" fmla="*/ 5266 h 9990"/>
              <a:gd name="connsiteX108" fmla="*/ 194 w 9995"/>
              <a:gd name="connsiteY108" fmla="*/ 5421 h 9990"/>
              <a:gd name="connsiteX109" fmla="*/ 271 w 9995"/>
              <a:gd name="connsiteY109" fmla="*/ 5576 h 9990"/>
              <a:gd name="connsiteX110" fmla="*/ 271 w 9995"/>
              <a:gd name="connsiteY110" fmla="*/ 5653 h 9990"/>
              <a:gd name="connsiteX111" fmla="*/ 155 w 9995"/>
              <a:gd name="connsiteY111" fmla="*/ 6041 h 9990"/>
              <a:gd name="connsiteX112" fmla="*/ 39 w 9995"/>
              <a:gd name="connsiteY112" fmla="*/ 6196 h 9990"/>
              <a:gd name="connsiteX113" fmla="*/ 77 w 9995"/>
              <a:gd name="connsiteY113" fmla="*/ 6196 h 9990"/>
              <a:gd name="connsiteX114" fmla="*/ 155 w 9995"/>
              <a:gd name="connsiteY114" fmla="*/ 6350 h 9990"/>
              <a:gd name="connsiteX115" fmla="*/ 77 w 9995"/>
              <a:gd name="connsiteY115" fmla="*/ 6505 h 9990"/>
              <a:gd name="connsiteX116" fmla="*/ 39 w 9995"/>
              <a:gd name="connsiteY116" fmla="*/ 6583 h 9990"/>
              <a:gd name="connsiteX117" fmla="*/ 0 w 9995"/>
              <a:gd name="connsiteY117" fmla="*/ 6583 h 9990"/>
              <a:gd name="connsiteX118" fmla="*/ 39 w 9995"/>
              <a:gd name="connsiteY118" fmla="*/ 6815 h 9990"/>
              <a:gd name="connsiteX119" fmla="*/ 39 w 9995"/>
              <a:gd name="connsiteY119" fmla="*/ 6893 h 9990"/>
              <a:gd name="connsiteX120" fmla="*/ 39 w 9995"/>
              <a:gd name="connsiteY120" fmla="*/ 6970 h 9990"/>
              <a:gd name="connsiteX121" fmla="*/ 39 w 9995"/>
              <a:gd name="connsiteY121" fmla="*/ 7047 h 9990"/>
              <a:gd name="connsiteX122" fmla="*/ 77 w 9995"/>
              <a:gd name="connsiteY122" fmla="*/ 7202 h 9990"/>
              <a:gd name="connsiteX123" fmla="*/ 194 w 9995"/>
              <a:gd name="connsiteY123" fmla="*/ 7280 h 9990"/>
              <a:gd name="connsiteX124" fmla="*/ 232 w 9995"/>
              <a:gd name="connsiteY124" fmla="*/ 7357 h 9990"/>
              <a:gd name="connsiteX125" fmla="*/ 232 w 9995"/>
              <a:gd name="connsiteY125" fmla="*/ 7512 h 9990"/>
              <a:gd name="connsiteX126" fmla="*/ 310 w 9995"/>
              <a:gd name="connsiteY126" fmla="*/ 7744 h 9990"/>
              <a:gd name="connsiteX127" fmla="*/ 349 w 9995"/>
              <a:gd name="connsiteY127" fmla="*/ 7744 h 9990"/>
              <a:gd name="connsiteX128" fmla="*/ 310 w 9995"/>
              <a:gd name="connsiteY128" fmla="*/ 7899 h 9990"/>
              <a:gd name="connsiteX129" fmla="*/ 271 w 9995"/>
              <a:gd name="connsiteY129" fmla="*/ 7822 h 9990"/>
              <a:gd name="connsiteX130" fmla="*/ 271 w 9995"/>
              <a:gd name="connsiteY130" fmla="*/ 7899 h 9990"/>
              <a:gd name="connsiteX131" fmla="*/ 310 w 9995"/>
              <a:gd name="connsiteY131" fmla="*/ 8054 h 9990"/>
              <a:gd name="connsiteX132" fmla="*/ 426 w 9995"/>
              <a:gd name="connsiteY132" fmla="*/ 8054 h 9990"/>
              <a:gd name="connsiteX133" fmla="*/ 465 w 9995"/>
              <a:gd name="connsiteY133" fmla="*/ 8132 h 9990"/>
              <a:gd name="connsiteX134" fmla="*/ 426 w 9995"/>
              <a:gd name="connsiteY134" fmla="*/ 8132 h 9990"/>
              <a:gd name="connsiteX135" fmla="*/ 465 w 9995"/>
              <a:gd name="connsiteY135" fmla="*/ 8209 h 9990"/>
              <a:gd name="connsiteX136" fmla="*/ 504 w 9995"/>
              <a:gd name="connsiteY136" fmla="*/ 8209 h 9990"/>
              <a:gd name="connsiteX137" fmla="*/ 542 w 9995"/>
              <a:gd name="connsiteY137" fmla="*/ 8364 h 9990"/>
              <a:gd name="connsiteX138" fmla="*/ 581 w 9995"/>
              <a:gd name="connsiteY138" fmla="*/ 8441 h 9990"/>
              <a:gd name="connsiteX139" fmla="*/ 620 w 9995"/>
              <a:gd name="connsiteY139" fmla="*/ 8364 h 9990"/>
              <a:gd name="connsiteX140" fmla="*/ 814 w 9995"/>
              <a:gd name="connsiteY140" fmla="*/ 8596 h 9990"/>
              <a:gd name="connsiteX141" fmla="*/ 775 w 9995"/>
              <a:gd name="connsiteY141" fmla="*/ 8906 h 9990"/>
              <a:gd name="connsiteX142" fmla="*/ 736 w 9995"/>
              <a:gd name="connsiteY142" fmla="*/ 8829 h 9990"/>
              <a:gd name="connsiteX143" fmla="*/ 697 w 9995"/>
              <a:gd name="connsiteY143" fmla="*/ 8906 h 9990"/>
              <a:gd name="connsiteX144" fmla="*/ 697 w 9995"/>
              <a:gd name="connsiteY144" fmla="*/ 9061 h 9990"/>
              <a:gd name="connsiteX145" fmla="*/ 736 w 9995"/>
              <a:gd name="connsiteY145" fmla="*/ 8984 h 9990"/>
              <a:gd name="connsiteX146" fmla="*/ 775 w 9995"/>
              <a:gd name="connsiteY146" fmla="*/ 9061 h 9990"/>
              <a:gd name="connsiteX147" fmla="*/ 659 w 9995"/>
              <a:gd name="connsiteY147" fmla="*/ 9138 h 9990"/>
              <a:gd name="connsiteX148" fmla="*/ 697 w 9995"/>
              <a:gd name="connsiteY148" fmla="*/ 9216 h 9990"/>
              <a:gd name="connsiteX149" fmla="*/ 620 w 9995"/>
              <a:gd name="connsiteY149" fmla="*/ 9371 h 9990"/>
              <a:gd name="connsiteX150" fmla="*/ 581 w 9995"/>
              <a:gd name="connsiteY150" fmla="*/ 9371 h 9990"/>
              <a:gd name="connsiteX151" fmla="*/ 620 w 9995"/>
              <a:gd name="connsiteY151" fmla="*/ 9371 h 9990"/>
              <a:gd name="connsiteX152" fmla="*/ 775 w 9995"/>
              <a:gd name="connsiteY152" fmla="*/ 9681 h 9990"/>
              <a:gd name="connsiteX153" fmla="*/ 969 w 9995"/>
              <a:gd name="connsiteY153" fmla="*/ 9681 h 9990"/>
              <a:gd name="connsiteX154" fmla="*/ 1046 w 9995"/>
              <a:gd name="connsiteY154" fmla="*/ 9758 h 9990"/>
              <a:gd name="connsiteX155" fmla="*/ 1123 w 9995"/>
              <a:gd name="connsiteY155" fmla="*/ 9758 h 9990"/>
              <a:gd name="connsiteX156" fmla="*/ 1201 w 9995"/>
              <a:gd name="connsiteY156" fmla="*/ 9913 h 9990"/>
              <a:gd name="connsiteX157" fmla="*/ 1240 w 9995"/>
              <a:gd name="connsiteY157" fmla="*/ 9990 h 9990"/>
              <a:gd name="connsiteX158" fmla="*/ 1278 w 9995"/>
              <a:gd name="connsiteY158" fmla="*/ 9990 h 9990"/>
              <a:gd name="connsiteX159" fmla="*/ 1317 w 9995"/>
              <a:gd name="connsiteY159" fmla="*/ 9913 h 9990"/>
              <a:gd name="connsiteX160" fmla="*/ 1240 w 9995"/>
              <a:gd name="connsiteY160" fmla="*/ 9758 h 9990"/>
              <a:gd name="connsiteX161" fmla="*/ 1240 w 9995"/>
              <a:gd name="connsiteY161" fmla="*/ 9603 h 9990"/>
              <a:gd name="connsiteX162" fmla="*/ 1201 w 9995"/>
              <a:gd name="connsiteY162" fmla="*/ 9448 h 9990"/>
              <a:gd name="connsiteX163" fmla="*/ 1278 w 9995"/>
              <a:gd name="connsiteY163" fmla="*/ 9216 h 9990"/>
              <a:gd name="connsiteX164" fmla="*/ 1317 w 9995"/>
              <a:gd name="connsiteY164" fmla="*/ 9293 h 9990"/>
              <a:gd name="connsiteX165" fmla="*/ 1356 w 9995"/>
              <a:gd name="connsiteY165" fmla="*/ 9216 h 9990"/>
              <a:gd name="connsiteX166" fmla="*/ 1356 w 9995"/>
              <a:gd name="connsiteY166" fmla="*/ 9138 h 9990"/>
              <a:gd name="connsiteX167" fmla="*/ 1317 w 9995"/>
              <a:gd name="connsiteY167" fmla="*/ 9138 h 9990"/>
              <a:gd name="connsiteX168" fmla="*/ 1356 w 9995"/>
              <a:gd name="connsiteY168" fmla="*/ 9061 h 9990"/>
              <a:gd name="connsiteX169" fmla="*/ 1317 w 9995"/>
              <a:gd name="connsiteY169" fmla="*/ 8906 h 9990"/>
              <a:gd name="connsiteX170" fmla="*/ 1240 w 9995"/>
              <a:gd name="connsiteY170" fmla="*/ 8906 h 9990"/>
              <a:gd name="connsiteX171" fmla="*/ 1201 w 9995"/>
              <a:gd name="connsiteY171" fmla="*/ 8751 h 9990"/>
              <a:gd name="connsiteX172" fmla="*/ 1240 w 9995"/>
              <a:gd name="connsiteY172" fmla="*/ 8364 h 9990"/>
              <a:gd name="connsiteX173" fmla="*/ 1317 w 9995"/>
              <a:gd name="connsiteY173" fmla="*/ 8519 h 9990"/>
              <a:gd name="connsiteX174" fmla="*/ 1356 w 9995"/>
              <a:gd name="connsiteY174" fmla="*/ 8519 h 9990"/>
              <a:gd name="connsiteX175" fmla="*/ 1317 w 9995"/>
              <a:gd name="connsiteY175" fmla="*/ 8364 h 9990"/>
              <a:gd name="connsiteX176" fmla="*/ 1433 w 9995"/>
              <a:gd name="connsiteY176" fmla="*/ 8132 h 9990"/>
              <a:gd name="connsiteX177" fmla="*/ 1511 w 9995"/>
              <a:gd name="connsiteY177" fmla="*/ 8209 h 9990"/>
              <a:gd name="connsiteX178" fmla="*/ 1550 w 9995"/>
              <a:gd name="connsiteY178" fmla="*/ 8132 h 9990"/>
              <a:gd name="connsiteX179" fmla="*/ 1627 w 9995"/>
              <a:gd name="connsiteY179" fmla="*/ 8209 h 9990"/>
              <a:gd name="connsiteX180" fmla="*/ 1743 w 9995"/>
              <a:gd name="connsiteY180" fmla="*/ 8364 h 9990"/>
              <a:gd name="connsiteX181" fmla="*/ 1821 w 9995"/>
              <a:gd name="connsiteY181" fmla="*/ 8287 h 9990"/>
              <a:gd name="connsiteX182" fmla="*/ 1898 w 9995"/>
              <a:gd name="connsiteY182" fmla="*/ 8287 h 9990"/>
              <a:gd name="connsiteX183" fmla="*/ 1937 w 9995"/>
              <a:gd name="connsiteY183" fmla="*/ 8364 h 9990"/>
              <a:gd name="connsiteX184" fmla="*/ 2092 w 9995"/>
              <a:gd name="connsiteY184" fmla="*/ 8364 h 9990"/>
              <a:gd name="connsiteX185" fmla="*/ 2131 w 9995"/>
              <a:gd name="connsiteY185" fmla="*/ 8209 h 9990"/>
              <a:gd name="connsiteX186" fmla="*/ 2015 w 9995"/>
              <a:gd name="connsiteY186" fmla="*/ 8132 h 9990"/>
              <a:gd name="connsiteX187" fmla="*/ 2092 w 9995"/>
              <a:gd name="connsiteY187" fmla="*/ 8054 h 9990"/>
              <a:gd name="connsiteX188" fmla="*/ 2053 w 9995"/>
              <a:gd name="connsiteY188" fmla="*/ 7977 h 9990"/>
              <a:gd name="connsiteX189" fmla="*/ 2092 w 9995"/>
              <a:gd name="connsiteY189" fmla="*/ 7899 h 9990"/>
              <a:gd name="connsiteX190" fmla="*/ 2092 w 9995"/>
              <a:gd name="connsiteY190" fmla="*/ 7667 h 9990"/>
              <a:gd name="connsiteX191" fmla="*/ 2169 w 9995"/>
              <a:gd name="connsiteY191" fmla="*/ 7744 h 9990"/>
              <a:gd name="connsiteX192" fmla="*/ 2518 w 9995"/>
              <a:gd name="connsiteY192" fmla="*/ 7512 h 9990"/>
              <a:gd name="connsiteX193" fmla="*/ 2518 w 9995"/>
              <a:gd name="connsiteY193" fmla="*/ 7435 h 9990"/>
              <a:gd name="connsiteX194" fmla="*/ 2557 w 9995"/>
              <a:gd name="connsiteY194" fmla="*/ 7435 h 9990"/>
              <a:gd name="connsiteX195" fmla="*/ 2673 w 9995"/>
              <a:gd name="connsiteY195" fmla="*/ 7435 h 9990"/>
              <a:gd name="connsiteX196" fmla="*/ 2712 w 9995"/>
              <a:gd name="connsiteY196" fmla="*/ 7590 h 9990"/>
              <a:gd name="connsiteX197" fmla="*/ 2712 w 9995"/>
              <a:gd name="connsiteY197" fmla="*/ 7667 h 9990"/>
              <a:gd name="connsiteX198" fmla="*/ 2751 w 9995"/>
              <a:gd name="connsiteY198" fmla="*/ 7667 h 9990"/>
              <a:gd name="connsiteX199" fmla="*/ 2828 w 9995"/>
              <a:gd name="connsiteY199" fmla="*/ 7744 h 9990"/>
              <a:gd name="connsiteX200" fmla="*/ 2828 w 9995"/>
              <a:gd name="connsiteY200" fmla="*/ 7822 h 9990"/>
              <a:gd name="connsiteX201" fmla="*/ 2906 w 9995"/>
              <a:gd name="connsiteY201" fmla="*/ 7822 h 9990"/>
              <a:gd name="connsiteX202" fmla="*/ 2983 w 9995"/>
              <a:gd name="connsiteY202" fmla="*/ 7667 h 9990"/>
              <a:gd name="connsiteX203" fmla="*/ 3061 w 9995"/>
              <a:gd name="connsiteY203" fmla="*/ 7590 h 9990"/>
              <a:gd name="connsiteX204" fmla="*/ 3099 w 9995"/>
              <a:gd name="connsiteY204" fmla="*/ 7822 h 9990"/>
              <a:gd name="connsiteX205" fmla="*/ 3254 w 9995"/>
              <a:gd name="connsiteY205" fmla="*/ 8364 h 9990"/>
              <a:gd name="connsiteX206" fmla="*/ 3293 w 9995"/>
              <a:gd name="connsiteY206" fmla="*/ 8209 h 9990"/>
              <a:gd name="connsiteX207" fmla="*/ 3332 w 9995"/>
              <a:gd name="connsiteY207" fmla="*/ 8364 h 9990"/>
              <a:gd name="connsiteX208" fmla="*/ 3448 w 9995"/>
              <a:gd name="connsiteY208" fmla="*/ 8287 h 9990"/>
              <a:gd name="connsiteX209" fmla="*/ 3564 w 9995"/>
              <a:gd name="connsiteY209" fmla="*/ 8519 h 9990"/>
              <a:gd name="connsiteX210" fmla="*/ 3642 w 9995"/>
              <a:gd name="connsiteY210" fmla="*/ 8596 h 9990"/>
              <a:gd name="connsiteX211" fmla="*/ 3642 w 9995"/>
              <a:gd name="connsiteY211" fmla="*/ 8519 h 9990"/>
              <a:gd name="connsiteX212" fmla="*/ 3680 w 9995"/>
              <a:gd name="connsiteY212" fmla="*/ 8674 h 9990"/>
              <a:gd name="connsiteX213" fmla="*/ 3642 w 9995"/>
              <a:gd name="connsiteY213" fmla="*/ 8751 h 9990"/>
              <a:gd name="connsiteX214" fmla="*/ 3719 w 9995"/>
              <a:gd name="connsiteY214" fmla="*/ 8674 h 9990"/>
              <a:gd name="connsiteX215" fmla="*/ 3758 w 9995"/>
              <a:gd name="connsiteY215" fmla="*/ 8596 h 9990"/>
              <a:gd name="connsiteX216" fmla="*/ 3952 w 9995"/>
              <a:gd name="connsiteY216" fmla="*/ 8364 h 9990"/>
              <a:gd name="connsiteX217" fmla="*/ 4107 w 9995"/>
              <a:gd name="connsiteY217" fmla="*/ 8441 h 9990"/>
              <a:gd name="connsiteX218" fmla="*/ 4184 w 9995"/>
              <a:gd name="connsiteY218" fmla="*/ 8519 h 9990"/>
              <a:gd name="connsiteX219" fmla="*/ 4339 w 9995"/>
              <a:gd name="connsiteY219" fmla="*/ 8519 h 9990"/>
              <a:gd name="connsiteX220" fmla="*/ 4339 w 9995"/>
              <a:gd name="connsiteY220" fmla="*/ 8364 h 9990"/>
              <a:gd name="connsiteX221" fmla="*/ 4339 w 9995"/>
              <a:gd name="connsiteY221" fmla="*/ 8209 h 9990"/>
              <a:gd name="connsiteX222" fmla="*/ 4416 w 9995"/>
              <a:gd name="connsiteY222" fmla="*/ 8132 h 9990"/>
              <a:gd name="connsiteX223" fmla="*/ 4571 w 9995"/>
              <a:gd name="connsiteY223" fmla="*/ 8209 h 9990"/>
              <a:gd name="connsiteX224" fmla="*/ 4649 w 9995"/>
              <a:gd name="connsiteY224" fmla="*/ 8441 h 9990"/>
              <a:gd name="connsiteX225" fmla="*/ 4688 w 9995"/>
              <a:gd name="connsiteY225" fmla="*/ 8441 h 9990"/>
              <a:gd name="connsiteX226" fmla="*/ 4765 w 9995"/>
              <a:gd name="connsiteY226" fmla="*/ 8364 h 9990"/>
              <a:gd name="connsiteX227" fmla="*/ 4998 w 9995"/>
              <a:gd name="connsiteY227" fmla="*/ 8596 h 9990"/>
              <a:gd name="connsiteX228" fmla="*/ 5114 w 9995"/>
              <a:gd name="connsiteY228" fmla="*/ 8674 h 9990"/>
              <a:gd name="connsiteX229" fmla="*/ 5269 w 9995"/>
              <a:gd name="connsiteY229" fmla="*/ 8596 h 9990"/>
              <a:gd name="connsiteX230" fmla="*/ 5346 w 9995"/>
              <a:gd name="connsiteY230" fmla="*/ 8441 h 9990"/>
              <a:gd name="connsiteX231" fmla="*/ 5462 w 9995"/>
              <a:gd name="connsiteY231" fmla="*/ 8519 h 9990"/>
              <a:gd name="connsiteX232" fmla="*/ 5540 w 9995"/>
              <a:gd name="connsiteY232" fmla="*/ 8596 h 9990"/>
              <a:gd name="connsiteX233" fmla="*/ 5656 w 9995"/>
              <a:gd name="connsiteY233" fmla="*/ 8519 h 9990"/>
              <a:gd name="connsiteX234" fmla="*/ 5695 w 9995"/>
              <a:gd name="connsiteY234" fmla="*/ 8209 h 9990"/>
              <a:gd name="connsiteX235" fmla="*/ 5734 w 9995"/>
              <a:gd name="connsiteY235" fmla="*/ 8132 h 9990"/>
              <a:gd name="connsiteX236" fmla="*/ 5734 w 9995"/>
              <a:gd name="connsiteY236" fmla="*/ 8054 h 9990"/>
              <a:gd name="connsiteX237" fmla="*/ 5695 w 9995"/>
              <a:gd name="connsiteY237" fmla="*/ 8054 h 9990"/>
              <a:gd name="connsiteX238" fmla="*/ 5734 w 9995"/>
              <a:gd name="connsiteY238" fmla="*/ 7899 h 9990"/>
              <a:gd name="connsiteX239" fmla="*/ 5889 w 9995"/>
              <a:gd name="connsiteY239" fmla="*/ 7822 h 9990"/>
              <a:gd name="connsiteX240" fmla="*/ 6005 w 9995"/>
              <a:gd name="connsiteY240" fmla="*/ 7899 h 9990"/>
              <a:gd name="connsiteX241" fmla="*/ 6082 w 9995"/>
              <a:gd name="connsiteY241" fmla="*/ 8054 h 9990"/>
              <a:gd name="connsiteX242" fmla="*/ 6160 w 9995"/>
              <a:gd name="connsiteY242" fmla="*/ 8596 h 9990"/>
              <a:gd name="connsiteX243" fmla="*/ 6237 w 9995"/>
              <a:gd name="connsiteY243" fmla="*/ 8596 h 9990"/>
              <a:gd name="connsiteX244" fmla="*/ 6354 w 9995"/>
              <a:gd name="connsiteY244" fmla="*/ 8751 h 9990"/>
              <a:gd name="connsiteX245" fmla="*/ 6354 w 9995"/>
              <a:gd name="connsiteY245" fmla="*/ 8906 h 9990"/>
              <a:gd name="connsiteX246" fmla="*/ 6431 w 9995"/>
              <a:gd name="connsiteY246" fmla="*/ 8906 h 9990"/>
              <a:gd name="connsiteX247" fmla="*/ 6586 w 9995"/>
              <a:gd name="connsiteY247" fmla="*/ 8829 h 9990"/>
              <a:gd name="connsiteX248" fmla="*/ 6586 w 9995"/>
              <a:gd name="connsiteY248" fmla="*/ 8984 h 9990"/>
              <a:gd name="connsiteX249" fmla="*/ 6470 w 9995"/>
              <a:gd name="connsiteY249" fmla="*/ 9448 h 9990"/>
              <a:gd name="connsiteX250" fmla="*/ 6431 w 9995"/>
              <a:gd name="connsiteY250" fmla="*/ 9371 h 9990"/>
              <a:gd name="connsiteX251" fmla="*/ 6354 w 9995"/>
              <a:gd name="connsiteY251" fmla="*/ 9448 h 9990"/>
              <a:gd name="connsiteX252" fmla="*/ 6392 w 9995"/>
              <a:gd name="connsiteY252" fmla="*/ 9681 h 9990"/>
              <a:gd name="connsiteX253" fmla="*/ 6354 w 9995"/>
              <a:gd name="connsiteY253" fmla="*/ 9835 h 9990"/>
              <a:gd name="connsiteX254" fmla="*/ 6392 w 9995"/>
              <a:gd name="connsiteY254" fmla="*/ 9681 h 9990"/>
              <a:gd name="connsiteX255" fmla="*/ 6431 w 9995"/>
              <a:gd name="connsiteY255" fmla="*/ 9681 h 9990"/>
              <a:gd name="connsiteX256" fmla="*/ 6431 w 9995"/>
              <a:gd name="connsiteY256" fmla="*/ 9758 h 9990"/>
              <a:gd name="connsiteX257" fmla="*/ 6586 w 9995"/>
              <a:gd name="connsiteY257" fmla="*/ 9681 h 9990"/>
              <a:gd name="connsiteX258" fmla="*/ 6935 w 9995"/>
              <a:gd name="connsiteY258" fmla="*/ 8829 h 9990"/>
              <a:gd name="connsiteX259" fmla="*/ 6935 w 9995"/>
              <a:gd name="connsiteY259" fmla="*/ 8287 h 9990"/>
              <a:gd name="connsiteX260" fmla="*/ 6973 w 9995"/>
              <a:gd name="connsiteY260" fmla="*/ 8132 h 9990"/>
              <a:gd name="connsiteX261" fmla="*/ 6973 w 9995"/>
              <a:gd name="connsiteY261" fmla="*/ 7899 h 9990"/>
              <a:gd name="connsiteX262" fmla="*/ 6896 w 9995"/>
              <a:gd name="connsiteY262" fmla="*/ 7667 h 9990"/>
              <a:gd name="connsiteX263" fmla="*/ 6857 w 9995"/>
              <a:gd name="connsiteY263" fmla="*/ 7667 h 9990"/>
              <a:gd name="connsiteX264" fmla="*/ 6818 w 9995"/>
              <a:gd name="connsiteY264" fmla="*/ 7822 h 9990"/>
              <a:gd name="connsiteX265" fmla="*/ 6741 w 9995"/>
              <a:gd name="connsiteY265" fmla="*/ 7822 h 9990"/>
              <a:gd name="connsiteX266" fmla="*/ 6780 w 9995"/>
              <a:gd name="connsiteY266" fmla="*/ 7667 h 9990"/>
              <a:gd name="connsiteX267" fmla="*/ 6741 w 9995"/>
              <a:gd name="connsiteY267" fmla="*/ 7667 h 9990"/>
              <a:gd name="connsiteX268" fmla="*/ 6702 w 9995"/>
              <a:gd name="connsiteY268" fmla="*/ 7590 h 9990"/>
              <a:gd name="connsiteX269" fmla="*/ 6625 w 9995"/>
              <a:gd name="connsiteY269" fmla="*/ 7590 h 9990"/>
              <a:gd name="connsiteX270" fmla="*/ 6625 w 9995"/>
              <a:gd name="connsiteY270" fmla="*/ 7512 h 9990"/>
              <a:gd name="connsiteX271" fmla="*/ 6741 w 9995"/>
              <a:gd name="connsiteY271" fmla="*/ 7280 h 9990"/>
              <a:gd name="connsiteX272" fmla="*/ 7090 w 9995"/>
              <a:gd name="connsiteY272" fmla="*/ 6583 h 9990"/>
              <a:gd name="connsiteX273" fmla="*/ 7245 w 9995"/>
              <a:gd name="connsiteY273" fmla="*/ 6505 h 9990"/>
              <a:gd name="connsiteX274" fmla="*/ 7283 w 9995"/>
              <a:gd name="connsiteY274" fmla="*/ 6583 h 9990"/>
              <a:gd name="connsiteX275" fmla="*/ 7322 w 9995"/>
              <a:gd name="connsiteY275" fmla="*/ 6505 h 9990"/>
              <a:gd name="connsiteX276" fmla="*/ 7438 w 9995"/>
              <a:gd name="connsiteY276" fmla="*/ 6583 h 9990"/>
              <a:gd name="connsiteX277" fmla="*/ 7477 w 9995"/>
              <a:gd name="connsiteY277" fmla="*/ 6428 h 9990"/>
              <a:gd name="connsiteX278" fmla="*/ 7593 w 9995"/>
              <a:gd name="connsiteY278" fmla="*/ 6505 h 9990"/>
              <a:gd name="connsiteX279" fmla="*/ 7632 w 9995"/>
              <a:gd name="connsiteY279" fmla="*/ 6505 h 9990"/>
              <a:gd name="connsiteX280" fmla="*/ 7593 w 9995"/>
              <a:gd name="connsiteY280" fmla="*/ 6583 h 9990"/>
              <a:gd name="connsiteX281" fmla="*/ 7593 w 9995"/>
              <a:gd name="connsiteY281" fmla="*/ 6660 h 9990"/>
              <a:gd name="connsiteX282" fmla="*/ 7826 w 9995"/>
              <a:gd name="connsiteY282" fmla="*/ 6583 h 9990"/>
              <a:gd name="connsiteX283" fmla="*/ 7787 w 9995"/>
              <a:gd name="connsiteY283" fmla="*/ 6505 h 9990"/>
              <a:gd name="connsiteX284" fmla="*/ 7942 w 9995"/>
              <a:gd name="connsiteY284" fmla="*/ 5963 h 9990"/>
              <a:gd name="connsiteX285" fmla="*/ 8136 w 9995"/>
              <a:gd name="connsiteY285" fmla="*/ 5886 h 9990"/>
              <a:gd name="connsiteX286" fmla="*/ 8136 w 9995"/>
              <a:gd name="connsiteY286" fmla="*/ 6041 h 9990"/>
              <a:gd name="connsiteX287" fmla="*/ 8136 w 9995"/>
              <a:gd name="connsiteY287" fmla="*/ 6196 h 9990"/>
              <a:gd name="connsiteX288" fmla="*/ 8329 w 9995"/>
              <a:gd name="connsiteY288" fmla="*/ 5963 h 9990"/>
              <a:gd name="connsiteX289" fmla="*/ 8329 w 9995"/>
              <a:gd name="connsiteY289" fmla="*/ 5731 h 9990"/>
              <a:gd name="connsiteX290" fmla="*/ 8407 w 9995"/>
              <a:gd name="connsiteY290" fmla="*/ 5731 h 9990"/>
              <a:gd name="connsiteX291" fmla="*/ 8368 w 9995"/>
              <a:gd name="connsiteY291" fmla="*/ 5808 h 9990"/>
              <a:gd name="connsiteX292" fmla="*/ 8329 w 9995"/>
              <a:gd name="connsiteY292" fmla="*/ 6196 h 9990"/>
              <a:gd name="connsiteX293" fmla="*/ 8252 w 9995"/>
              <a:gd name="connsiteY293" fmla="*/ 6273 h 9990"/>
              <a:gd name="connsiteX294" fmla="*/ 8019 w 9995"/>
              <a:gd name="connsiteY294" fmla="*/ 6815 h 9990"/>
              <a:gd name="connsiteX295" fmla="*/ 7942 w 9995"/>
              <a:gd name="connsiteY295" fmla="*/ 6893 h 9990"/>
              <a:gd name="connsiteX296" fmla="*/ 7864 w 9995"/>
              <a:gd name="connsiteY296" fmla="*/ 7435 h 9990"/>
              <a:gd name="connsiteX297" fmla="*/ 7942 w 9995"/>
              <a:gd name="connsiteY297" fmla="*/ 8364 h 9990"/>
              <a:gd name="connsiteX298" fmla="*/ 8019 w 9995"/>
              <a:gd name="connsiteY298" fmla="*/ 8209 h 9990"/>
              <a:gd name="connsiteX299" fmla="*/ 8097 w 9995"/>
              <a:gd name="connsiteY299" fmla="*/ 7899 h 9990"/>
              <a:gd name="connsiteX300" fmla="*/ 8136 w 9995"/>
              <a:gd name="connsiteY300" fmla="*/ 7899 h 9990"/>
              <a:gd name="connsiteX301" fmla="*/ 8136 w 9995"/>
              <a:gd name="connsiteY301" fmla="*/ 7667 h 9990"/>
              <a:gd name="connsiteX302" fmla="*/ 8174 w 9995"/>
              <a:gd name="connsiteY302" fmla="*/ 7667 h 9990"/>
              <a:gd name="connsiteX303" fmla="*/ 8252 w 9995"/>
              <a:gd name="connsiteY303" fmla="*/ 7590 h 9990"/>
              <a:gd name="connsiteX304" fmla="*/ 8213 w 9995"/>
              <a:gd name="connsiteY304" fmla="*/ 7357 h 9990"/>
              <a:gd name="connsiteX305" fmla="*/ 8291 w 9995"/>
              <a:gd name="connsiteY305" fmla="*/ 7280 h 9990"/>
              <a:gd name="connsiteX306" fmla="*/ 8329 w 9995"/>
              <a:gd name="connsiteY306" fmla="*/ 7280 h 9990"/>
              <a:gd name="connsiteX307" fmla="*/ 8329 w 9995"/>
              <a:gd name="connsiteY307" fmla="*/ 7125 h 9990"/>
              <a:gd name="connsiteX308" fmla="*/ 8291 w 9995"/>
              <a:gd name="connsiteY308" fmla="*/ 7125 h 9990"/>
              <a:gd name="connsiteX309" fmla="*/ 8329 w 9995"/>
              <a:gd name="connsiteY309" fmla="*/ 6893 h 9990"/>
              <a:gd name="connsiteX310" fmla="*/ 8291 w 9995"/>
              <a:gd name="connsiteY310" fmla="*/ 6893 h 9990"/>
              <a:gd name="connsiteX311" fmla="*/ 8252 w 9995"/>
              <a:gd name="connsiteY311" fmla="*/ 6893 h 9990"/>
              <a:gd name="connsiteX312" fmla="*/ 8252 w 9995"/>
              <a:gd name="connsiteY312" fmla="*/ 6815 h 9990"/>
              <a:gd name="connsiteX313" fmla="*/ 8329 w 9995"/>
              <a:gd name="connsiteY313" fmla="*/ 6583 h 9990"/>
              <a:gd name="connsiteX314" fmla="*/ 8329 w 9995"/>
              <a:gd name="connsiteY314" fmla="*/ 6428 h 9990"/>
              <a:gd name="connsiteX315" fmla="*/ 8407 w 9995"/>
              <a:gd name="connsiteY315" fmla="*/ 6428 h 9990"/>
              <a:gd name="connsiteX316" fmla="*/ 8523 w 9995"/>
              <a:gd name="connsiteY316" fmla="*/ 6273 h 9990"/>
              <a:gd name="connsiteX317" fmla="*/ 8523 w 9995"/>
              <a:gd name="connsiteY317" fmla="*/ 6428 h 9990"/>
              <a:gd name="connsiteX318" fmla="*/ 8562 w 9995"/>
              <a:gd name="connsiteY318" fmla="*/ 6350 h 9990"/>
              <a:gd name="connsiteX319" fmla="*/ 8678 w 9995"/>
              <a:gd name="connsiteY319" fmla="*/ 6273 h 9990"/>
              <a:gd name="connsiteX320" fmla="*/ 8755 w 9995"/>
              <a:gd name="connsiteY320" fmla="*/ 6428 h 9990"/>
              <a:gd name="connsiteX321" fmla="*/ 8794 w 9995"/>
              <a:gd name="connsiteY321" fmla="*/ 6273 h 9990"/>
              <a:gd name="connsiteX322" fmla="*/ 9182 w 9995"/>
              <a:gd name="connsiteY322" fmla="*/ 5731 h 9990"/>
              <a:gd name="connsiteX323" fmla="*/ 9298 w 9995"/>
              <a:gd name="connsiteY323" fmla="*/ 5808 h 9990"/>
              <a:gd name="connsiteX324" fmla="*/ 9337 w 9995"/>
              <a:gd name="connsiteY324" fmla="*/ 5731 h 9990"/>
              <a:gd name="connsiteX325" fmla="*/ 9259 w 9995"/>
              <a:gd name="connsiteY325" fmla="*/ 5266 h 9990"/>
              <a:gd name="connsiteX326" fmla="*/ 9220 w 9995"/>
              <a:gd name="connsiteY326" fmla="*/ 5266 h 9990"/>
              <a:gd name="connsiteX327" fmla="*/ 9220 w 9995"/>
              <a:gd name="connsiteY327" fmla="*/ 5111 h 9990"/>
              <a:gd name="connsiteX328" fmla="*/ 9259 w 9995"/>
              <a:gd name="connsiteY328" fmla="*/ 5111 h 9990"/>
              <a:gd name="connsiteX329" fmla="*/ 9337 w 9995"/>
              <a:gd name="connsiteY329" fmla="*/ 5034 h 9990"/>
              <a:gd name="connsiteX330" fmla="*/ 9414 w 9995"/>
              <a:gd name="connsiteY330" fmla="*/ 4879 h 9990"/>
              <a:gd name="connsiteX331" fmla="*/ 9375 w 9995"/>
              <a:gd name="connsiteY331" fmla="*/ 4724 h 9990"/>
              <a:gd name="connsiteX332" fmla="*/ 9414 w 9995"/>
              <a:gd name="connsiteY332" fmla="*/ 4647 h 9990"/>
              <a:gd name="connsiteX333" fmla="*/ 9453 w 9995"/>
              <a:gd name="connsiteY333" fmla="*/ 4879 h 9990"/>
              <a:gd name="connsiteX334" fmla="*/ 9530 w 9995"/>
              <a:gd name="connsiteY334" fmla="*/ 4879 h 9990"/>
              <a:gd name="connsiteX335" fmla="*/ 9608 w 9995"/>
              <a:gd name="connsiteY335" fmla="*/ 5034 h 9990"/>
              <a:gd name="connsiteX336" fmla="*/ 9801 w 9995"/>
              <a:gd name="connsiteY336" fmla="*/ 5266 h 9990"/>
              <a:gd name="connsiteX337" fmla="*/ 9840 w 9995"/>
              <a:gd name="connsiteY337" fmla="*/ 5034 h 9990"/>
              <a:gd name="connsiteX338" fmla="*/ 9840 w 9995"/>
              <a:gd name="connsiteY338" fmla="*/ 4879 h 9990"/>
              <a:gd name="connsiteX339" fmla="*/ 9918 w 9995"/>
              <a:gd name="connsiteY339" fmla="*/ 4879 h 9990"/>
              <a:gd name="connsiteX340" fmla="*/ 9995 w 9995"/>
              <a:gd name="connsiteY340" fmla="*/ 4724 h 9990"/>
              <a:gd name="connsiteX341" fmla="*/ 9879 w 9995"/>
              <a:gd name="connsiteY341" fmla="*/ 4492 h 9990"/>
              <a:gd name="connsiteX342" fmla="*/ 9685 w 9995"/>
              <a:gd name="connsiteY342" fmla="*/ 4414 h 9990"/>
              <a:gd name="connsiteX343" fmla="*/ 9337 w 9995"/>
              <a:gd name="connsiteY343" fmla="*/ 3795 h 9990"/>
              <a:gd name="connsiteX344" fmla="*/ 9104 w 9995"/>
              <a:gd name="connsiteY344" fmla="*/ 3485 h 9990"/>
              <a:gd name="connsiteX345" fmla="*/ 8794 w 9995"/>
              <a:gd name="connsiteY345" fmla="*/ 3408 h 9990"/>
              <a:gd name="connsiteX346" fmla="*/ 8794 w 9995"/>
              <a:gd name="connsiteY346" fmla="*/ 3795 h 9990"/>
              <a:gd name="connsiteX347" fmla="*/ 8717 w 9995"/>
              <a:gd name="connsiteY347" fmla="*/ 3872 h 9990"/>
              <a:gd name="connsiteX348" fmla="*/ 8639 w 9995"/>
              <a:gd name="connsiteY348" fmla="*/ 3717 h 9990"/>
              <a:gd name="connsiteX349" fmla="*/ 8639 w 9995"/>
              <a:gd name="connsiteY349" fmla="*/ 3562 h 9990"/>
              <a:gd name="connsiteX350" fmla="*/ 8678 w 9995"/>
              <a:gd name="connsiteY350" fmla="*/ 3562 h 9990"/>
              <a:gd name="connsiteX351" fmla="*/ 8717 w 9995"/>
              <a:gd name="connsiteY351" fmla="*/ 3485 h 9990"/>
              <a:gd name="connsiteX352" fmla="*/ 8639 w 9995"/>
              <a:gd name="connsiteY352" fmla="*/ 3485 h 9990"/>
              <a:gd name="connsiteX353" fmla="*/ 8562 w 9995"/>
              <a:gd name="connsiteY353" fmla="*/ 3640 h 9990"/>
              <a:gd name="connsiteX354" fmla="*/ 8368 w 9995"/>
              <a:gd name="connsiteY354" fmla="*/ 3562 h 9990"/>
              <a:gd name="connsiteX355" fmla="*/ 8174 w 9995"/>
              <a:gd name="connsiteY355" fmla="*/ 3562 h 9990"/>
              <a:gd name="connsiteX356" fmla="*/ 8097 w 9995"/>
              <a:gd name="connsiteY356" fmla="*/ 3485 h 9990"/>
              <a:gd name="connsiteX357" fmla="*/ 8136 w 9995"/>
              <a:gd name="connsiteY357" fmla="*/ 3330 h 9990"/>
              <a:gd name="connsiteX358" fmla="*/ 8058 w 9995"/>
              <a:gd name="connsiteY358" fmla="*/ 3098 h 9990"/>
              <a:gd name="connsiteX359" fmla="*/ 7903 w 9995"/>
              <a:gd name="connsiteY359" fmla="*/ 3020 h 9990"/>
              <a:gd name="connsiteX360" fmla="*/ 7671 w 9995"/>
              <a:gd name="connsiteY360" fmla="*/ 3175 h 9990"/>
              <a:gd name="connsiteX361" fmla="*/ 7632 w 9995"/>
              <a:gd name="connsiteY361" fmla="*/ 2943 h 9990"/>
              <a:gd name="connsiteX362" fmla="*/ 7554 w 9995"/>
              <a:gd name="connsiteY362" fmla="*/ 2943 h 9990"/>
              <a:gd name="connsiteX363" fmla="*/ 7516 w 9995"/>
              <a:gd name="connsiteY363" fmla="*/ 2865 h 9990"/>
              <a:gd name="connsiteX364" fmla="*/ 7516 w 9995"/>
              <a:gd name="connsiteY364" fmla="*/ 2633 h 9990"/>
              <a:gd name="connsiteX365" fmla="*/ 7245 w 9995"/>
              <a:gd name="connsiteY365" fmla="*/ 2478 h 9990"/>
              <a:gd name="connsiteX366" fmla="*/ 6935 w 9995"/>
              <a:gd name="connsiteY366" fmla="*/ 2323 h 9990"/>
              <a:gd name="connsiteX367" fmla="*/ 6857 w 9995"/>
              <a:gd name="connsiteY367" fmla="*/ 2633 h 9990"/>
              <a:gd name="connsiteX368" fmla="*/ 6935 w 9995"/>
              <a:gd name="connsiteY368" fmla="*/ 2865 h 9990"/>
              <a:gd name="connsiteX369" fmla="*/ 6702 w 9995"/>
              <a:gd name="connsiteY369" fmla="*/ 2865 h 9990"/>
              <a:gd name="connsiteX370" fmla="*/ 6663 w 9995"/>
              <a:gd name="connsiteY370" fmla="*/ 2865 h 9990"/>
              <a:gd name="connsiteX371" fmla="*/ 6586 w 9995"/>
              <a:gd name="connsiteY371" fmla="*/ 2943 h 9990"/>
              <a:gd name="connsiteX372" fmla="*/ 6470 w 9995"/>
              <a:gd name="connsiteY372" fmla="*/ 2711 h 9990"/>
              <a:gd name="connsiteX373" fmla="*/ 6392 w 9995"/>
              <a:gd name="connsiteY373" fmla="*/ 3175 h 9990"/>
              <a:gd name="connsiteX374" fmla="*/ 6315 w 9995"/>
              <a:gd name="connsiteY374" fmla="*/ 3098 h 9990"/>
              <a:gd name="connsiteX375" fmla="*/ 6237 w 9995"/>
              <a:gd name="connsiteY375" fmla="*/ 2788 h 9990"/>
              <a:gd name="connsiteX376" fmla="*/ 6276 w 9995"/>
              <a:gd name="connsiteY376" fmla="*/ 2401 h 9990"/>
              <a:gd name="connsiteX377" fmla="*/ 6199 w 9995"/>
              <a:gd name="connsiteY377" fmla="*/ 2168 h 9990"/>
              <a:gd name="connsiteX378" fmla="*/ 5966 w 9995"/>
              <a:gd name="connsiteY378" fmla="*/ 2014 h 9990"/>
              <a:gd name="connsiteX379" fmla="*/ 5889 w 9995"/>
              <a:gd name="connsiteY379" fmla="*/ 2014 h 9990"/>
              <a:gd name="connsiteX380" fmla="*/ 5850 w 9995"/>
              <a:gd name="connsiteY380" fmla="*/ 2168 h 9990"/>
              <a:gd name="connsiteX381" fmla="*/ 5889 w 9995"/>
              <a:gd name="connsiteY381" fmla="*/ 2323 h 9990"/>
              <a:gd name="connsiteX382" fmla="*/ 5579 w 9995"/>
              <a:gd name="connsiteY382" fmla="*/ 2246 h 9990"/>
              <a:gd name="connsiteX383" fmla="*/ 5617 w 9995"/>
              <a:gd name="connsiteY383" fmla="*/ 2014 h 9990"/>
              <a:gd name="connsiteX384" fmla="*/ 5424 w 9995"/>
              <a:gd name="connsiteY384" fmla="*/ 1936 h 9990"/>
              <a:gd name="connsiteX385" fmla="*/ 5308 w 9995"/>
              <a:gd name="connsiteY385" fmla="*/ 2091 h 9990"/>
              <a:gd name="connsiteX386" fmla="*/ 5075 w 9995"/>
              <a:gd name="connsiteY386" fmla="*/ 1859 h 999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473 w 10000"/>
              <a:gd name="connsiteY249" fmla="*/ 9457 h 10000"/>
              <a:gd name="connsiteX250" fmla="*/ 6434 w 10000"/>
              <a:gd name="connsiteY250" fmla="*/ 9380 h 10000"/>
              <a:gd name="connsiteX251" fmla="*/ 6357 w 10000"/>
              <a:gd name="connsiteY251" fmla="*/ 9457 h 10000"/>
              <a:gd name="connsiteX252" fmla="*/ 6395 w 10000"/>
              <a:gd name="connsiteY252" fmla="*/ 9691 h 10000"/>
              <a:gd name="connsiteX253" fmla="*/ 6395 w 10000"/>
              <a:gd name="connsiteY253" fmla="*/ 9691 h 10000"/>
              <a:gd name="connsiteX254" fmla="*/ 6434 w 10000"/>
              <a:gd name="connsiteY254" fmla="*/ 9691 h 10000"/>
              <a:gd name="connsiteX255" fmla="*/ 6434 w 10000"/>
              <a:gd name="connsiteY255" fmla="*/ 9768 h 10000"/>
              <a:gd name="connsiteX256" fmla="*/ 6589 w 10000"/>
              <a:gd name="connsiteY256" fmla="*/ 9691 h 10000"/>
              <a:gd name="connsiteX257" fmla="*/ 6938 w 10000"/>
              <a:gd name="connsiteY257" fmla="*/ 8838 h 10000"/>
              <a:gd name="connsiteX258" fmla="*/ 6938 w 10000"/>
              <a:gd name="connsiteY258" fmla="*/ 8295 h 10000"/>
              <a:gd name="connsiteX259" fmla="*/ 6976 w 10000"/>
              <a:gd name="connsiteY259" fmla="*/ 8140 h 10000"/>
              <a:gd name="connsiteX260" fmla="*/ 6976 w 10000"/>
              <a:gd name="connsiteY260" fmla="*/ 7907 h 10000"/>
              <a:gd name="connsiteX261" fmla="*/ 6899 w 10000"/>
              <a:gd name="connsiteY261" fmla="*/ 7675 h 10000"/>
              <a:gd name="connsiteX262" fmla="*/ 6860 w 10000"/>
              <a:gd name="connsiteY262" fmla="*/ 7675 h 10000"/>
              <a:gd name="connsiteX263" fmla="*/ 6821 w 10000"/>
              <a:gd name="connsiteY263" fmla="*/ 7830 h 10000"/>
              <a:gd name="connsiteX264" fmla="*/ 6744 w 10000"/>
              <a:gd name="connsiteY264" fmla="*/ 7830 h 10000"/>
              <a:gd name="connsiteX265" fmla="*/ 6783 w 10000"/>
              <a:gd name="connsiteY265" fmla="*/ 7675 h 10000"/>
              <a:gd name="connsiteX266" fmla="*/ 6744 w 10000"/>
              <a:gd name="connsiteY266" fmla="*/ 7675 h 10000"/>
              <a:gd name="connsiteX267" fmla="*/ 6705 w 10000"/>
              <a:gd name="connsiteY267" fmla="*/ 7598 h 10000"/>
              <a:gd name="connsiteX268" fmla="*/ 6628 w 10000"/>
              <a:gd name="connsiteY268" fmla="*/ 7598 h 10000"/>
              <a:gd name="connsiteX269" fmla="*/ 6628 w 10000"/>
              <a:gd name="connsiteY269" fmla="*/ 7520 h 10000"/>
              <a:gd name="connsiteX270" fmla="*/ 6744 w 10000"/>
              <a:gd name="connsiteY270" fmla="*/ 7287 h 10000"/>
              <a:gd name="connsiteX271" fmla="*/ 7094 w 10000"/>
              <a:gd name="connsiteY271" fmla="*/ 6590 h 10000"/>
              <a:gd name="connsiteX272" fmla="*/ 7249 w 10000"/>
              <a:gd name="connsiteY272" fmla="*/ 6512 h 10000"/>
              <a:gd name="connsiteX273" fmla="*/ 7287 w 10000"/>
              <a:gd name="connsiteY273" fmla="*/ 6590 h 10000"/>
              <a:gd name="connsiteX274" fmla="*/ 7326 w 10000"/>
              <a:gd name="connsiteY274" fmla="*/ 6512 h 10000"/>
              <a:gd name="connsiteX275" fmla="*/ 7442 w 10000"/>
              <a:gd name="connsiteY275" fmla="*/ 6590 h 10000"/>
              <a:gd name="connsiteX276" fmla="*/ 7481 w 10000"/>
              <a:gd name="connsiteY276" fmla="*/ 6434 h 10000"/>
              <a:gd name="connsiteX277" fmla="*/ 7597 w 10000"/>
              <a:gd name="connsiteY277" fmla="*/ 6512 h 10000"/>
              <a:gd name="connsiteX278" fmla="*/ 7636 w 10000"/>
              <a:gd name="connsiteY278" fmla="*/ 6512 h 10000"/>
              <a:gd name="connsiteX279" fmla="*/ 7597 w 10000"/>
              <a:gd name="connsiteY279" fmla="*/ 6590 h 10000"/>
              <a:gd name="connsiteX280" fmla="*/ 7597 w 10000"/>
              <a:gd name="connsiteY280" fmla="*/ 6667 h 10000"/>
              <a:gd name="connsiteX281" fmla="*/ 7830 w 10000"/>
              <a:gd name="connsiteY281" fmla="*/ 6590 h 10000"/>
              <a:gd name="connsiteX282" fmla="*/ 7791 w 10000"/>
              <a:gd name="connsiteY282" fmla="*/ 6512 h 10000"/>
              <a:gd name="connsiteX283" fmla="*/ 7946 w 10000"/>
              <a:gd name="connsiteY283" fmla="*/ 5969 h 10000"/>
              <a:gd name="connsiteX284" fmla="*/ 8140 w 10000"/>
              <a:gd name="connsiteY284" fmla="*/ 5892 h 10000"/>
              <a:gd name="connsiteX285" fmla="*/ 8140 w 10000"/>
              <a:gd name="connsiteY285" fmla="*/ 6047 h 10000"/>
              <a:gd name="connsiteX286" fmla="*/ 8140 w 10000"/>
              <a:gd name="connsiteY286" fmla="*/ 6202 h 10000"/>
              <a:gd name="connsiteX287" fmla="*/ 8333 w 10000"/>
              <a:gd name="connsiteY287" fmla="*/ 5969 h 10000"/>
              <a:gd name="connsiteX288" fmla="*/ 8333 w 10000"/>
              <a:gd name="connsiteY288" fmla="*/ 5737 h 10000"/>
              <a:gd name="connsiteX289" fmla="*/ 8411 w 10000"/>
              <a:gd name="connsiteY289" fmla="*/ 5737 h 10000"/>
              <a:gd name="connsiteX290" fmla="*/ 8372 w 10000"/>
              <a:gd name="connsiteY290" fmla="*/ 5814 h 10000"/>
              <a:gd name="connsiteX291" fmla="*/ 8333 w 10000"/>
              <a:gd name="connsiteY291" fmla="*/ 6202 h 10000"/>
              <a:gd name="connsiteX292" fmla="*/ 8256 w 10000"/>
              <a:gd name="connsiteY292" fmla="*/ 6279 h 10000"/>
              <a:gd name="connsiteX293" fmla="*/ 8023 w 10000"/>
              <a:gd name="connsiteY293" fmla="*/ 6822 h 10000"/>
              <a:gd name="connsiteX294" fmla="*/ 7946 w 10000"/>
              <a:gd name="connsiteY294" fmla="*/ 6900 h 10000"/>
              <a:gd name="connsiteX295" fmla="*/ 7868 w 10000"/>
              <a:gd name="connsiteY295" fmla="*/ 7442 h 10000"/>
              <a:gd name="connsiteX296" fmla="*/ 7946 w 10000"/>
              <a:gd name="connsiteY296" fmla="*/ 8372 h 10000"/>
              <a:gd name="connsiteX297" fmla="*/ 8023 w 10000"/>
              <a:gd name="connsiteY297" fmla="*/ 8217 h 10000"/>
              <a:gd name="connsiteX298" fmla="*/ 8101 w 10000"/>
              <a:gd name="connsiteY298" fmla="*/ 7907 h 10000"/>
              <a:gd name="connsiteX299" fmla="*/ 8140 w 10000"/>
              <a:gd name="connsiteY299" fmla="*/ 7907 h 10000"/>
              <a:gd name="connsiteX300" fmla="*/ 8140 w 10000"/>
              <a:gd name="connsiteY300" fmla="*/ 7675 h 10000"/>
              <a:gd name="connsiteX301" fmla="*/ 8178 w 10000"/>
              <a:gd name="connsiteY301" fmla="*/ 7675 h 10000"/>
              <a:gd name="connsiteX302" fmla="*/ 8256 w 10000"/>
              <a:gd name="connsiteY302" fmla="*/ 7598 h 10000"/>
              <a:gd name="connsiteX303" fmla="*/ 8217 w 10000"/>
              <a:gd name="connsiteY303" fmla="*/ 7364 h 10000"/>
              <a:gd name="connsiteX304" fmla="*/ 8295 w 10000"/>
              <a:gd name="connsiteY304" fmla="*/ 7287 h 10000"/>
              <a:gd name="connsiteX305" fmla="*/ 8333 w 10000"/>
              <a:gd name="connsiteY305" fmla="*/ 7287 h 10000"/>
              <a:gd name="connsiteX306" fmla="*/ 8333 w 10000"/>
              <a:gd name="connsiteY306" fmla="*/ 7132 h 10000"/>
              <a:gd name="connsiteX307" fmla="*/ 8295 w 10000"/>
              <a:gd name="connsiteY307" fmla="*/ 7132 h 10000"/>
              <a:gd name="connsiteX308" fmla="*/ 8333 w 10000"/>
              <a:gd name="connsiteY308" fmla="*/ 6900 h 10000"/>
              <a:gd name="connsiteX309" fmla="*/ 8295 w 10000"/>
              <a:gd name="connsiteY309" fmla="*/ 6900 h 10000"/>
              <a:gd name="connsiteX310" fmla="*/ 8256 w 10000"/>
              <a:gd name="connsiteY310" fmla="*/ 6900 h 10000"/>
              <a:gd name="connsiteX311" fmla="*/ 8256 w 10000"/>
              <a:gd name="connsiteY311" fmla="*/ 6822 h 10000"/>
              <a:gd name="connsiteX312" fmla="*/ 8333 w 10000"/>
              <a:gd name="connsiteY312" fmla="*/ 6590 h 10000"/>
              <a:gd name="connsiteX313" fmla="*/ 8333 w 10000"/>
              <a:gd name="connsiteY313" fmla="*/ 6434 h 10000"/>
              <a:gd name="connsiteX314" fmla="*/ 8411 w 10000"/>
              <a:gd name="connsiteY314" fmla="*/ 6434 h 10000"/>
              <a:gd name="connsiteX315" fmla="*/ 8527 w 10000"/>
              <a:gd name="connsiteY315" fmla="*/ 6279 h 10000"/>
              <a:gd name="connsiteX316" fmla="*/ 8527 w 10000"/>
              <a:gd name="connsiteY316" fmla="*/ 6434 h 10000"/>
              <a:gd name="connsiteX317" fmla="*/ 8566 w 10000"/>
              <a:gd name="connsiteY317" fmla="*/ 6356 h 10000"/>
              <a:gd name="connsiteX318" fmla="*/ 8682 w 10000"/>
              <a:gd name="connsiteY318" fmla="*/ 6279 h 10000"/>
              <a:gd name="connsiteX319" fmla="*/ 8759 w 10000"/>
              <a:gd name="connsiteY319" fmla="*/ 6434 h 10000"/>
              <a:gd name="connsiteX320" fmla="*/ 8798 w 10000"/>
              <a:gd name="connsiteY320" fmla="*/ 6279 h 10000"/>
              <a:gd name="connsiteX321" fmla="*/ 9187 w 10000"/>
              <a:gd name="connsiteY321" fmla="*/ 5737 h 10000"/>
              <a:gd name="connsiteX322" fmla="*/ 9303 w 10000"/>
              <a:gd name="connsiteY322" fmla="*/ 5814 h 10000"/>
              <a:gd name="connsiteX323" fmla="*/ 9342 w 10000"/>
              <a:gd name="connsiteY323" fmla="*/ 5737 h 10000"/>
              <a:gd name="connsiteX324" fmla="*/ 9264 w 10000"/>
              <a:gd name="connsiteY324" fmla="*/ 5271 h 10000"/>
              <a:gd name="connsiteX325" fmla="*/ 9225 w 10000"/>
              <a:gd name="connsiteY325" fmla="*/ 5271 h 10000"/>
              <a:gd name="connsiteX326" fmla="*/ 9225 w 10000"/>
              <a:gd name="connsiteY326" fmla="*/ 5116 h 10000"/>
              <a:gd name="connsiteX327" fmla="*/ 9264 w 10000"/>
              <a:gd name="connsiteY327" fmla="*/ 5116 h 10000"/>
              <a:gd name="connsiteX328" fmla="*/ 9342 w 10000"/>
              <a:gd name="connsiteY328" fmla="*/ 5039 h 10000"/>
              <a:gd name="connsiteX329" fmla="*/ 9419 w 10000"/>
              <a:gd name="connsiteY329" fmla="*/ 4884 h 10000"/>
              <a:gd name="connsiteX330" fmla="*/ 9380 w 10000"/>
              <a:gd name="connsiteY330" fmla="*/ 4729 h 10000"/>
              <a:gd name="connsiteX331" fmla="*/ 9419 w 10000"/>
              <a:gd name="connsiteY331" fmla="*/ 4652 h 10000"/>
              <a:gd name="connsiteX332" fmla="*/ 9458 w 10000"/>
              <a:gd name="connsiteY332" fmla="*/ 4884 h 10000"/>
              <a:gd name="connsiteX333" fmla="*/ 9535 w 10000"/>
              <a:gd name="connsiteY333" fmla="*/ 4884 h 10000"/>
              <a:gd name="connsiteX334" fmla="*/ 9613 w 10000"/>
              <a:gd name="connsiteY334" fmla="*/ 5039 h 10000"/>
              <a:gd name="connsiteX335" fmla="*/ 9806 w 10000"/>
              <a:gd name="connsiteY335" fmla="*/ 5271 h 10000"/>
              <a:gd name="connsiteX336" fmla="*/ 9845 w 10000"/>
              <a:gd name="connsiteY336" fmla="*/ 5039 h 10000"/>
              <a:gd name="connsiteX337" fmla="*/ 9845 w 10000"/>
              <a:gd name="connsiteY337" fmla="*/ 4884 h 10000"/>
              <a:gd name="connsiteX338" fmla="*/ 9923 w 10000"/>
              <a:gd name="connsiteY338" fmla="*/ 4884 h 10000"/>
              <a:gd name="connsiteX339" fmla="*/ 10000 w 10000"/>
              <a:gd name="connsiteY339" fmla="*/ 4729 h 10000"/>
              <a:gd name="connsiteX340" fmla="*/ 9884 w 10000"/>
              <a:gd name="connsiteY340" fmla="*/ 4496 h 10000"/>
              <a:gd name="connsiteX341" fmla="*/ 9690 w 10000"/>
              <a:gd name="connsiteY341" fmla="*/ 4418 h 10000"/>
              <a:gd name="connsiteX342" fmla="*/ 9342 w 10000"/>
              <a:gd name="connsiteY342" fmla="*/ 3799 h 10000"/>
              <a:gd name="connsiteX343" fmla="*/ 9109 w 10000"/>
              <a:gd name="connsiteY343" fmla="*/ 3488 h 10000"/>
              <a:gd name="connsiteX344" fmla="*/ 8798 w 10000"/>
              <a:gd name="connsiteY344" fmla="*/ 3411 h 10000"/>
              <a:gd name="connsiteX345" fmla="*/ 8798 w 10000"/>
              <a:gd name="connsiteY345" fmla="*/ 3799 h 10000"/>
              <a:gd name="connsiteX346" fmla="*/ 8721 w 10000"/>
              <a:gd name="connsiteY346" fmla="*/ 3876 h 10000"/>
              <a:gd name="connsiteX347" fmla="*/ 8643 w 10000"/>
              <a:gd name="connsiteY347" fmla="*/ 3721 h 10000"/>
              <a:gd name="connsiteX348" fmla="*/ 8643 w 10000"/>
              <a:gd name="connsiteY348" fmla="*/ 3566 h 10000"/>
              <a:gd name="connsiteX349" fmla="*/ 8682 w 10000"/>
              <a:gd name="connsiteY349" fmla="*/ 3566 h 10000"/>
              <a:gd name="connsiteX350" fmla="*/ 8721 w 10000"/>
              <a:gd name="connsiteY350" fmla="*/ 3488 h 10000"/>
              <a:gd name="connsiteX351" fmla="*/ 8643 w 10000"/>
              <a:gd name="connsiteY351" fmla="*/ 3488 h 10000"/>
              <a:gd name="connsiteX352" fmla="*/ 8566 w 10000"/>
              <a:gd name="connsiteY352" fmla="*/ 3644 h 10000"/>
              <a:gd name="connsiteX353" fmla="*/ 8372 w 10000"/>
              <a:gd name="connsiteY353" fmla="*/ 3566 h 10000"/>
              <a:gd name="connsiteX354" fmla="*/ 8178 w 10000"/>
              <a:gd name="connsiteY354" fmla="*/ 3566 h 10000"/>
              <a:gd name="connsiteX355" fmla="*/ 8101 w 10000"/>
              <a:gd name="connsiteY355" fmla="*/ 3488 h 10000"/>
              <a:gd name="connsiteX356" fmla="*/ 8140 w 10000"/>
              <a:gd name="connsiteY356" fmla="*/ 3333 h 10000"/>
              <a:gd name="connsiteX357" fmla="*/ 8062 w 10000"/>
              <a:gd name="connsiteY357" fmla="*/ 3101 h 10000"/>
              <a:gd name="connsiteX358" fmla="*/ 7907 w 10000"/>
              <a:gd name="connsiteY358" fmla="*/ 3023 h 10000"/>
              <a:gd name="connsiteX359" fmla="*/ 7675 w 10000"/>
              <a:gd name="connsiteY359" fmla="*/ 3178 h 10000"/>
              <a:gd name="connsiteX360" fmla="*/ 7636 w 10000"/>
              <a:gd name="connsiteY360" fmla="*/ 2946 h 10000"/>
              <a:gd name="connsiteX361" fmla="*/ 7558 w 10000"/>
              <a:gd name="connsiteY361" fmla="*/ 2946 h 10000"/>
              <a:gd name="connsiteX362" fmla="*/ 7520 w 10000"/>
              <a:gd name="connsiteY362" fmla="*/ 2868 h 10000"/>
              <a:gd name="connsiteX363" fmla="*/ 7520 w 10000"/>
              <a:gd name="connsiteY363" fmla="*/ 2636 h 10000"/>
              <a:gd name="connsiteX364" fmla="*/ 7249 w 10000"/>
              <a:gd name="connsiteY364" fmla="*/ 2480 h 10000"/>
              <a:gd name="connsiteX365" fmla="*/ 6938 w 10000"/>
              <a:gd name="connsiteY365" fmla="*/ 2325 h 10000"/>
              <a:gd name="connsiteX366" fmla="*/ 6860 w 10000"/>
              <a:gd name="connsiteY366" fmla="*/ 2636 h 10000"/>
              <a:gd name="connsiteX367" fmla="*/ 6938 w 10000"/>
              <a:gd name="connsiteY367" fmla="*/ 2868 h 10000"/>
              <a:gd name="connsiteX368" fmla="*/ 6705 w 10000"/>
              <a:gd name="connsiteY368" fmla="*/ 2868 h 10000"/>
              <a:gd name="connsiteX369" fmla="*/ 6666 w 10000"/>
              <a:gd name="connsiteY369" fmla="*/ 2868 h 10000"/>
              <a:gd name="connsiteX370" fmla="*/ 6589 w 10000"/>
              <a:gd name="connsiteY370" fmla="*/ 2946 h 10000"/>
              <a:gd name="connsiteX371" fmla="*/ 6473 w 10000"/>
              <a:gd name="connsiteY371" fmla="*/ 2714 h 10000"/>
              <a:gd name="connsiteX372" fmla="*/ 6395 w 10000"/>
              <a:gd name="connsiteY372" fmla="*/ 3178 h 10000"/>
              <a:gd name="connsiteX373" fmla="*/ 6318 w 10000"/>
              <a:gd name="connsiteY373" fmla="*/ 3101 h 10000"/>
              <a:gd name="connsiteX374" fmla="*/ 6240 w 10000"/>
              <a:gd name="connsiteY374" fmla="*/ 2791 h 10000"/>
              <a:gd name="connsiteX375" fmla="*/ 6279 w 10000"/>
              <a:gd name="connsiteY375" fmla="*/ 2403 h 10000"/>
              <a:gd name="connsiteX376" fmla="*/ 6202 w 10000"/>
              <a:gd name="connsiteY376" fmla="*/ 2170 h 10000"/>
              <a:gd name="connsiteX377" fmla="*/ 5969 w 10000"/>
              <a:gd name="connsiteY377" fmla="*/ 2016 h 10000"/>
              <a:gd name="connsiteX378" fmla="*/ 5892 w 10000"/>
              <a:gd name="connsiteY378" fmla="*/ 2016 h 10000"/>
              <a:gd name="connsiteX379" fmla="*/ 5853 w 10000"/>
              <a:gd name="connsiteY379" fmla="*/ 2170 h 10000"/>
              <a:gd name="connsiteX380" fmla="*/ 5892 w 10000"/>
              <a:gd name="connsiteY380" fmla="*/ 2325 h 10000"/>
              <a:gd name="connsiteX381" fmla="*/ 5582 w 10000"/>
              <a:gd name="connsiteY381" fmla="*/ 2248 h 10000"/>
              <a:gd name="connsiteX382" fmla="*/ 5620 w 10000"/>
              <a:gd name="connsiteY382" fmla="*/ 2016 h 10000"/>
              <a:gd name="connsiteX383" fmla="*/ 5427 w 10000"/>
              <a:gd name="connsiteY383" fmla="*/ 1938 h 10000"/>
              <a:gd name="connsiteX384" fmla="*/ 5311 w 10000"/>
              <a:gd name="connsiteY384" fmla="*/ 2093 h 10000"/>
              <a:gd name="connsiteX385" fmla="*/ 5078 w 10000"/>
              <a:gd name="connsiteY385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473 w 10000"/>
              <a:gd name="connsiteY249" fmla="*/ 9457 h 10000"/>
              <a:gd name="connsiteX250" fmla="*/ 6434 w 10000"/>
              <a:gd name="connsiteY250" fmla="*/ 9380 h 10000"/>
              <a:gd name="connsiteX251" fmla="*/ 6357 w 10000"/>
              <a:gd name="connsiteY251" fmla="*/ 9457 h 10000"/>
              <a:gd name="connsiteX252" fmla="*/ 6395 w 10000"/>
              <a:gd name="connsiteY252" fmla="*/ 9691 h 10000"/>
              <a:gd name="connsiteX253" fmla="*/ 6434 w 10000"/>
              <a:gd name="connsiteY253" fmla="*/ 9691 h 10000"/>
              <a:gd name="connsiteX254" fmla="*/ 6434 w 10000"/>
              <a:gd name="connsiteY254" fmla="*/ 9768 h 10000"/>
              <a:gd name="connsiteX255" fmla="*/ 6589 w 10000"/>
              <a:gd name="connsiteY255" fmla="*/ 9691 h 10000"/>
              <a:gd name="connsiteX256" fmla="*/ 6938 w 10000"/>
              <a:gd name="connsiteY256" fmla="*/ 8838 h 10000"/>
              <a:gd name="connsiteX257" fmla="*/ 6938 w 10000"/>
              <a:gd name="connsiteY257" fmla="*/ 8295 h 10000"/>
              <a:gd name="connsiteX258" fmla="*/ 6976 w 10000"/>
              <a:gd name="connsiteY258" fmla="*/ 8140 h 10000"/>
              <a:gd name="connsiteX259" fmla="*/ 6976 w 10000"/>
              <a:gd name="connsiteY259" fmla="*/ 7907 h 10000"/>
              <a:gd name="connsiteX260" fmla="*/ 6899 w 10000"/>
              <a:gd name="connsiteY260" fmla="*/ 7675 h 10000"/>
              <a:gd name="connsiteX261" fmla="*/ 6860 w 10000"/>
              <a:gd name="connsiteY261" fmla="*/ 7675 h 10000"/>
              <a:gd name="connsiteX262" fmla="*/ 6821 w 10000"/>
              <a:gd name="connsiteY262" fmla="*/ 7830 h 10000"/>
              <a:gd name="connsiteX263" fmla="*/ 6744 w 10000"/>
              <a:gd name="connsiteY263" fmla="*/ 7830 h 10000"/>
              <a:gd name="connsiteX264" fmla="*/ 6783 w 10000"/>
              <a:gd name="connsiteY264" fmla="*/ 7675 h 10000"/>
              <a:gd name="connsiteX265" fmla="*/ 6744 w 10000"/>
              <a:gd name="connsiteY265" fmla="*/ 7675 h 10000"/>
              <a:gd name="connsiteX266" fmla="*/ 6705 w 10000"/>
              <a:gd name="connsiteY266" fmla="*/ 7598 h 10000"/>
              <a:gd name="connsiteX267" fmla="*/ 6628 w 10000"/>
              <a:gd name="connsiteY267" fmla="*/ 7598 h 10000"/>
              <a:gd name="connsiteX268" fmla="*/ 6628 w 10000"/>
              <a:gd name="connsiteY268" fmla="*/ 7520 h 10000"/>
              <a:gd name="connsiteX269" fmla="*/ 6744 w 10000"/>
              <a:gd name="connsiteY269" fmla="*/ 7287 h 10000"/>
              <a:gd name="connsiteX270" fmla="*/ 7094 w 10000"/>
              <a:gd name="connsiteY270" fmla="*/ 6590 h 10000"/>
              <a:gd name="connsiteX271" fmla="*/ 7249 w 10000"/>
              <a:gd name="connsiteY271" fmla="*/ 6512 h 10000"/>
              <a:gd name="connsiteX272" fmla="*/ 7287 w 10000"/>
              <a:gd name="connsiteY272" fmla="*/ 6590 h 10000"/>
              <a:gd name="connsiteX273" fmla="*/ 7326 w 10000"/>
              <a:gd name="connsiteY273" fmla="*/ 6512 h 10000"/>
              <a:gd name="connsiteX274" fmla="*/ 7442 w 10000"/>
              <a:gd name="connsiteY274" fmla="*/ 6590 h 10000"/>
              <a:gd name="connsiteX275" fmla="*/ 7481 w 10000"/>
              <a:gd name="connsiteY275" fmla="*/ 6434 h 10000"/>
              <a:gd name="connsiteX276" fmla="*/ 7597 w 10000"/>
              <a:gd name="connsiteY276" fmla="*/ 6512 h 10000"/>
              <a:gd name="connsiteX277" fmla="*/ 7636 w 10000"/>
              <a:gd name="connsiteY277" fmla="*/ 6512 h 10000"/>
              <a:gd name="connsiteX278" fmla="*/ 7597 w 10000"/>
              <a:gd name="connsiteY278" fmla="*/ 6590 h 10000"/>
              <a:gd name="connsiteX279" fmla="*/ 7597 w 10000"/>
              <a:gd name="connsiteY279" fmla="*/ 6667 h 10000"/>
              <a:gd name="connsiteX280" fmla="*/ 7830 w 10000"/>
              <a:gd name="connsiteY280" fmla="*/ 6590 h 10000"/>
              <a:gd name="connsiteX281" fmla="*/ 7791 w 10000"/>
              <a:gd name="connsiteY281" fmla="*/ 6512 h 10000"/>
              <a:gd name="connsiteX282" fmla="*/ 7946 w 10000"/>
              <a:gd name="connsiteY282" fmla="*/ 5969 h 10000"/>
              <a:gd name="connsiteX283" fmla="*/ 8140 w 10000"/>
              <a:gd name="connsiteY283" fmla="*/ 5892 h 10000"/>
              <a:gd name="connsiteX284" fmla="*/ 8140 w 10000"/>
              <a:gd name="connsiteY284" fmla="*/ 6047 h 10000"/>
              <a:gd name="connsiteX285" fmla="*/ 8140 w 10000"/>
              <a:gd name="connsiteY285" fmla="*/ 6202 h 10000"/>
              <a:gd name="connsiteX286" fmla="*/ 8333 w 10000"/>
              <a:gd name="connsiteY286" fmla="*/ 5969 h 10000"/>
              <a:gd name="connsiteX287" fmla="*/ 8333 w 10000"/>
              <a:gd name="connsiteY287" fmla="*/ 5737 h 10000"/>
              <a:gd name="connsiteX288" fmla="*/ 8411 w 10000"/>
              <a:gd name="connsiteY288" fmla="*/ 5737 h 10000"/>
              <a:gd name="connsiteX289" fmla="*/ 8372 w 10000"/>
              <a:gd name="connsiteY289" fmla="*/ 5814 h 10000"/>
              <a:gd name="connsiteX290" fmla="*/ 8333 w 10000"/>
              <a:gd name="connsiteY290" fmla="*/ 6202 h 10000"/>
              <a:gd name="connsiteX291" fmla="*/ 8256 w 10000"/>
              <a:gd name="connsiteY291" fmla="*/ 6279 h 10000"/>
              <a:gd name="connsiteX292" fmla="*/ 8023 w 10000"/>
              <a:gd name="connsiteY292" fmla="*/ 6822 h 10000"/>
              <a:gd name="connsiteX293" fmla="*/ 7946 w 10000"/>
              <a:gd name="connsiteY293" fmla="*/ 6900 h 10000"/>
              <a:gd name="connsiteX294" fmla="*/ 7868 w 10000"/>
              <a:gd name="connsiteY294" fmla="*/ 7442 h 10000"/>
              <a:gd name="connsiteX295" fmla="*/ 7946 w 10000"/>
              <a:gd name="connsiteY295" fmla="*/ 8372 h 10000"/>
              <a:gd name="connsiteX296" fmla="*/ 8023 w 10000"/>
              <a:gd name="connsiteY296" fmla="*/ 8217 h 10000"/>
              <a:gd name="connsiteX297" fmla="*/ 8101 w 10000"/>
              <a:gd name="connsiteY297" fmla="*/ 7907 h 10000"/>
              <a:gd name="connsiteX298" fmla="*/ 8140 w 10000"/>
              <a:gd name="connsiteY298" fmla="*/ 7907 h 10000"/>
              <a:gd name="connsiteX299" fmla="*/ 8140 w 10000"/>
              <a:gd name="connsiteY299" fmla="*/ 7675 h 10000"/>
              <a:gd name="connsiteX300" fmla="*/ 8178 w 10000"/>
              <a:gd name="connsiteY300" fmla="*/ 7675 h 10000"/>
              <a:gd name="connsiteX301" fmla="*/ 8256 w 10000"/>
              <a:gd name="connsiteY301" fmla="*/ 7598 h 10000"/>
              <a:gd name="connsiteX302" fmla="*/ 8217 w 10000"/>
              <a:gd name="connsiteY302" fmla="*/ 7364 h 10000"/>
              <a:gd name="connsiteX303" fmla="*/ 8295 w 10000"/>
              <a:gd name="connsiteY303" fmla="*/ 7287 h 10000"/>
              <a:gd name="connsiteX304" fmla="*/ 8333 w 10000"/>
              <a:gd name="connsiteY304" fmla="*/ 7287 h 10000"/>
              <a:gd name="connsiteX305" fmla="*/ 8333 w 10000"/>
              <a:gd name="connsiteY305" fmla="*/ 7132 h 10000"/>
              <a:gd name="connsiteX306" fmla="*/ 8295 w 10000"/>
              <a:gd name="connsiteY306" fmla="*/ 7132 h 10000"/>
              <a:gd name="connsiteX307" fmla="*/ 8333 w 10000"/>
              <a:gd name="connsiteY307" fmla="*/ 6900 h 10000"/>
              <a:gd name="connsiteX308" fmla="*/ 8295 w 10000"/>
              <a:gd name="connsiteY308" fmla="*/ 6900 h 10000"/>
              <a:gd name="connsiteX309" fmla="*/ 8256 w 10000"/>
              <a:gd name="connsiteY309" fmla="*/ 6900 h 10000"/>
              <a:gd name="connsiteX310" fmla="*/ 8256 w 10000"/>
              <a:gd name="connsiteY310" fmla="*/ 6822 h 10000"/>
              <a:gd name="connsiteX311" fmla="*/ 8333 w 10000"/>
              <a:gd name="connsiteY311" fmla="*/ 6590 h 10000"/>
              <a:gd name="connsiteX312" fmla="*/ 8333 w 10000"/>
              <a:gd name="connsiteY312" fmla="*/ 6434 h 10000"/>
              <a:gd name="connsiteX313" fmla="*/ 8411 w 10000"/>
              <a:gd name="connsiteY313" fmla="*/ 6434 h 10000"/>
              <a:gd name="connsiteX314" fmla="*/ 8527 w 10000"/>
              <a:gd name="connsiteY314" fmla="*/ 6279 h 10000"/>
              <a:gd name="connsiteX315" fmla="*/ 8527 w 10000"/>
              <a:gd name="connsiteY315" fmla="*/ 6434 h 10000"/>
              <a:gd name="connsiteX316" fmla="*/ 8566 w 10000"/>
              <a:gd name="connsiteY316" fmla="*/ 6356 h 10000"/>
              <a:gd name="connsiteX317" fmla="*/ 8682 w 10000"/>
              <a:gd name="connsiteY317" fmla="*/ 6279 h 10000"/>
              <a:gd name="connsiteX318" fmla="*/ 8759 w 10000"/>
              <a:gd name="connsiteY318" fmla="*/ 6434 h 10000"/>
              <a:gd name="connsiteX319" fmla="*/ 8798 w 10000"/>
              <a:gd name="connsiteY319" fmla="*/ 6279 h 10000"/>
              <a:gd name="connsiteX320" fmla="*/ 9187 w 10000"/>
              <a:gd name="connsiteY320" fmla="*/ 5737 h 10000"/>
              <a:gd name="connsiteX321" fmla="*/ 9303 w 10000"/>
              <a:gd name="connsiteY321" fmla="*/ 5814 h 10000"/>
              <a:gd name="connsiteX322" fmla="*/ 9342 w 10000"/>
              <a:gd name="connsiteY322" fmla="*/ 5737 h 10000"/>
              <a:gd name="connsiteX323" fmla="*/ 9264 w 10000"/>
              <a:gd name="connsiteY323" fmla="*/ 5271 h 10000"/>
              <a:gd name="connsiteX324" fmla="*/ 9225 w 10000"/>
              <a:gd name="connsiteY324" fmla="*/ 5271 h 10000"/>
              <a:gd name="connsiteX325" fmla="*/ 9225 w 10000"/>
              <a:gd name="connsiteY325" fmla="*/ 5116 h 10000"/>
              <a:gd name="connsiteX326" fmla="*/ 9264 w 10000"/>
              <a:gd name="connsiteY326" fmla="*/ 5116 h 10000"/>
              <a:gd name="connsiteX327" fmla="*/ 9342 w 10000"/>
              <a:gd name="connsiteY327" fmla="*/ 5039 h 10000"/>
              <a:gd name="connsiteX328" fmla="*/ 9419 w 10000"/>
              <a:gd name="connsiteY328" fmla="*/ 4884 h 10000"/>
              <a:gd name="connsiteX329" fmla="*/ 9380 w 10000"/>
              <a:gd name="connsiteY329" fmla="*/ 4729 h 10000"/>
              <a:gd name="connsiteX330" fmla="*/ 9419 w 10000"/>
              <a:gd name="connsiteY330" fmla="*/ 4652 h 10000"/>
              <a:gd name="connsiteX331" fmla="*/ 9458 w 10000"/>
              <a:gd name="connsiteY331" fmla="*/ 4884 h 10000"/>
              <a:gd name="connsiteX332" fmla="*/ 9535 w 10000"/>
              <a:gd name="connsiteY332" fmla="*/ 4884 h 10000"/>
              <a:gd name="connsiteX333" fmla="*/ 9613 w 10000"/>
              <a:gd name="connsiteY333" fmla="*/ 5039 h 10000"/>
              <a:gd name="connsiteX334" fmla="*/ 9806 w 10000"/>
              <a:gd name="connsiteY334" fmla="*/ 5271 h 10000"/>
              <a:gd name="connsiteX335" fmla="*/ 9845 w 10000"/>
              <a:gd name="connsiteY335" fmla="*/ 5039 h 10000"/>
              <a:gd name="connsiteX336" fmla="*/ 9845 w 10000"/>
              <a:gd name="connsiteY336" fmla="*/ 4884 h 10000"/>
              <a:gd name="connsiteX337" fmla="*/ 9923 w 10000"/>
              <a:gd name="connsiteY337" fmla="*/ 4884 h 10000"/>
              <a:gd name="connsiteX338" fmla="*/ 10000 w 10000"/>
              <a:gd name="connsiteY338" fmla="*/ 4729 h 10000"/>
              <a:gd name="connsiteX339" fmla="*/ 9884 w 10000"/>
              <a:gd name="connsiteY339" fmla="*/ 4496 h 10000"/>
              <a:gd name="connsiteX340" fmla="*/ 9690 w 10000"/>
              <a:gd name="connsiteY340" fmla="*/ 4418 h 10000"/>
              <a:gd name="connsiteX341" fmla="*/ 9342 w 10000"/>
              <a:gd name="connsiteY341" fmla="*/ 3799 h 10000"/>
              <a:gd name="connsiteX342" fmla="*/ 9109 w 10000"/>
              <a:gd name="connsiteY342" fmla="*/ 3488 h 10000"/>
              <a:gd name="connsiteX343" fmla="*/ 8798 w 10000"/>
              <a:gd name="connsiteY343" fmla="*/ 3411 h 10000"/>
              <a:gd name="connsiteX344" fmla="*/ 8798 w 10000"/>
              <a:gd name="connsiteY344" fmla="*/ 3799 h 10000"/>
              <a:gd name="connsiteX345" fmla="*/ 8721 w 10000"/>
              <a:gd name="connsiteY345" fmla="*/ 3876 h 10000"/>
              <a:gd name="connsiteX346" fmla="*/ 8643 w 10000"/>
              <a:gd name="connsiteY346" fmla="*/ 3721 h 10000"/>
              <a:gd name="connsiteX347" fmla="*/ 8643 w 10000"/>
              <a:gd name="connsiteY347" fmla="*/ 3566 h 10000"/>
              <a:gd name="connsiteX348" fmla="*/ 8682 w 10000"/>
              <a:gd name="connsiteY348" fmla="*/ 3566 h 10000"/>
              <a:gd name="connsiteX349" fmla="*/ 8721 w 10000"/>
              <a:gd name="connsiteY349" fmla="*/ 3488 h 10000"/>
              <a:gd name="connsiteX350" fmla="*/ 8643 w 10000"/>
              <a:gd name="connsiteY350" fmla="*/ 3488 h 10000"/>
              <a:gd name="connsiteX351" fmla="*/ 8566 w 10000"/>
              <a:gd name="connsiteY351" fmla="*/ 3644 h 10000"/>
              <a:gd name="connsiteX352" fmla="*/ 8372 w 10000"/>
              <a:gd name="connsiteY352" fmla="*/ 3566 h 10000"/>
              <a:gd name="connsiteX353" fmla="*/ 8178 w 10000"/>
              <a:gd name="connsiteY353" fmla="*/ 3566 h 10000"/>
              <a:gd name="connsiteX354" fmla="*/ 8101 w 10000"/>
              <a:gd name="connsiteY354" fmla="*/ 3488 h 10000"/>
              <a:gd name="connsiteX355" fmla="*/ 8140 w 10000"/>
              <a:gd name="connsiteY355" fmla="*/ 3333 h 10000"/>
              <a:gd name="connsiteX356" fmla="*/ 8062 w 10000"/>
              <a:gd name="connsiteY356" fmla="*/ 3101 h 10000"/>
              <a:gd name="connsiteX357" fmla="*/ 7907 w 10000"/>
              <a:gd name="connsiteY357" fmla="*/ 3023 h 10000"/>
              <a:gd name="connsiteX358" fmla="*/ 7675 w 10000"/>
              <a:gd name="connsiteY358" fmla="*/ 3178 h 10000"/>
              <a:gd name="connsiteX359" fmla="*/ 7636 w 10000"/>
              <a:gd name="connsiteY359" fmla="*/ 2946 h 10000"/>
              <a:gd name="connsiteX360" fmla="*/ 7558 w 10000"/>
              <a:gd name="connsiteY360" fmla="*/ 2946 h 10000"/>
              <a:gd name="connsiteX361" fmla="*/ 7520 w 10000"/>
              <a:gd name="connsiteY361" fmla="*/ 2868 h 10000"/>
              <a:gd name="connsiteX362" fmla="*/ 7520 w 10000"/>
              <a:gd name="connsiteY362" fmla="*/ 2636 h 10000"/>
              <a:gd name="connsiteX363" fmla="*/ 7249 w 10000"/>
              <a:gd name="connsiteY363" fmla="*/ 2480 h 10000"/>
              <a:gd name="connsiteX364" fmla="*/ 6938 w 10000"/>
              <a:gd name="connsiteY364" fmla="*/ 2325 h 10000"/>
              <a:gd name="connsiteX365" fmla="*/ 6860 w 10000"/>
              <a:gd name="connsiteY365" fmla="*/ 2636 h 10000"/>
              <a:gd name="connsiteX366" fmla="*/ 6938 w 10000"/>
              <a:gd name="connsiteY366" fmla="*/ 2868 h 10000"/>
              <a:gd name="connsiteX367" fmla="*/ 6705 w 10000"/>
              <a:gd name="connsiteY367" fmla="*/ 2868 h 10000"/>
              <a:gd name="connsiteX368" fmla="*/ 6666 w 10000"/>
              <a:gd name="connsiteY368" fmla="*/ 2868 h 10000"/>
              <a:gd name="connsiteX369" fmla="*/ 6589 w 10000"/>
              <a:gd name="connsiteY369" fmla="*/ 2946 h 10000"/>
              <a:gd name="connsiteX370" fmla="*/ 6473 w 10000"/>
              <a:gd name="connsiteY370" fmla="*/ 2714 h 10000"/>
              <a:gd name="connsiteX371" fmla="*/ 6395 w 10000"/>
              <a:gd name="connsiteY371" fmla="*/ 3178 h 10000"/>
              <a:gd name="connsiteX372" fmla="*/ 6318 w 10000"/>
              <a:gd name="connsiteY372" fmla="*/ 3101 h 10000"/>
              <a:gd name="connsiteX373" fmla="*/ 6240 w 10000"/>
              <a:gd name="connsiteY373" fmla="*/ 2791 h 10000"/>
              <a:gd name="connsiteX374" fmla="*/ 6279 w 10000"/>
              <a:gd name="connsiteY374" fmla="*/ 2403 h 10000"/>
              <a:gd name="connsiteX375" fmla="*/ 6202 w 10000"/>
              <a:gd name="connsiteY375" fmla="*/ 2170 h 10000"/>
              <a:gd name="connsiteX376" fmla="*/ 5969 w 10000"/>
              <a:gd name="connsiteY376" fmla="*/ 2016 h 10000"/>
              <a:gd name="connsiteX377" fmla="*/ 5892 w 10000"/>
              <a:gd name="connsiteY377" fmla="*/ 2016 h 10000"/>
              <a:gd name="connsiteX378" fmla="*/ 5853 w 10000"/>
              <a:gd name="connsiteY378" fmla="*/ 2170 h 10000"/>
              <a:gd name="connsiteX379" fmla="*/ 5892 w 10000"/>
              <a:gd name="connsiteY379" fmla="*/ 2325 h 10000"/>
              <a:gd name="connsiteX380" fmla="*/ 5582 w 10000"/>
              <a:gd name="connsiteY380" fmla="*/ 2248 h 10000"/>
              <a:gd name="connsiteX381" fmla="*/ 5620 w 10000"/>
              <a:gd name="connsiteY381" fmla="*/ 2016 h 10000"/>
              <a:gd name="connsiteX382" fmla="*/ 5427 w 10000"/>
              <a:gd name="connsiteY382" fmla="*/ 1938 h 10000"/>
              <a:gd name="connsiteX383" fmla="*/ 5311 w 10000"/>
              <a:gd name="connsiteY383" fmla="*/ 2093 h 10000"/>
              <a:gd name="connsiteX384" fmla="*/ 5078 w 10000"/>
              <a:gd name="connsiteY384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473 w 10000"/>
              <a:gd name="connsiteY249" fmla="*/ 9457 h 10000"/>
              <a:gd name="connsiteX250" fmla="*/ 6434 w 10000"/>
              <a:gd name="connsiteY250" fmla="*/ 9380 h 10000"/>
              <a:gd name="connsiteX251" fmla="*/ 6357 w 10000"/>
              <a:gd name="connsiteY251" fmla="*/ 9457 h 10000"/>
              <a:gd name="connsiteX252" fmla="*/ 6395 w 10000"/>
              <a:gd name="connsiteY252" fmla="*/ 9691 h 10000"/>
              <a:gd name="connsiteX253" fmla="*/ 6434 w 10000"/>
              <a:gd name="connsiteY253" fmla="*/ 9768 h 10000"/>
              <a:gd name="connsiteX254" fmla="*/ 6589 w 10000"/>
              <a:gd name="connsiteY254" fmla="*/ 9691 h 10000"/>
              <a:gd name="connsiteX255" fmla="*/ 6938 w 10000"/>
              <a:gd name="connsiteY255" fmla="*/ 8838 h 10000"/>
              <a:gd name="connsiteX256" fmla="*/ 6938 w 10000"/>
              <a:gd name="connsiteY256" fmla="*/ 8295 h 10000"/>
              <a:gd name="connsiteX257" fmla="*/ 6976 w 10000"/>
              <a:gd name="connsiteY257" fmla="*/ 8140 h 10000"/>
              <a:gd name="connsiteX258" fmla="*/ 6976 w 10000"/>
              <a:gd name="connsiteY258" fmla="*/ 7907 h 10000"/>
              <a:gd name="connsiteX259" fmla="*/ 6899 w 10000"/>
              <a:gd name="connsiteY259" fmla="*/ 7675 h 10000"/>
              <a:gd name="connsiteX260" fmla="*/ 6860 w 10000"/>
              <a:gd name="connsiteY260" fmla="*/ 7675 h 10000"/>
              <a:gd name="connsiteX261" fmla="*/ 6821 w 10000"/>
              <a:gd name="connsiteY261" fmla="*/ 7830 h 10000"/>
              <a:gd name="connsiteX262" fmla="*/ 6744 w 10000"/>
              <a:gd name="connsiteY262" fmla="*/ 7830 h 10000"/>
              <a:gd name="connsiteX263" fmla="*/ 6783 w 10000"/>
              <a:gd name="connsiteY263" fmla="*/ 7675 h 10000"/>
              <a:gd name="connsiteX264" fmla="*/ 6744 w 10000"/>
              <a:gd name="connsiteY264" fmla="*/ 7675 h 10000"/>
              <a:gd name="connsiteX265" fmla="*/ 6705 w 10000"/>
              <a:gd name="connsiteY265" fmla="*/ 7598 h 10000"/>
              <a:gd name="connsiteX266" fmla="*/ 6628 w 10000"/>
              <a:gd name="connsiteY266" fmla="*/ 7598 h 10000"/>
              <a:gd name="connsiteX267" fmla="*/ 6628 w 10000"/>
              <a:gd name="connsiteY267" fmla="*/ 7520 h 10000"/>
              <a:gd name="connsiteX268" fmla="*/ 6744 w 10000"/>
              <a:gd name="connsiteY268" fmla="*/ 7287 h 10000"/>
              <a:gd name="connsiteX269" fmla="*/ 7094 w 10000"/>
              <a:gd name="connsiteY269" fmla="*/ 6590 h 10000"/>
              <a:gd name="connsiteX270" fmla="*/ 7249 w 10000"/>
              <a:gd name="connsiteY270" fmla="*/ 6512 h 10000"/>
              <a:gd name="connsiteX271" fmla="*/ 7287 w 10000"/>
              <a:gd name="connsiteY271" fmla="*/ 6590 h 10000"/>
              <a:gd name="connsiteX272" fmla="*/ 7326 w 10000"/>
              <a:gd name="connsiteY272" fmla="*/ 6512 h 10000"/>
              <a:gd name="connsiteX273" fmla="*/ 7442 w 10000"/>
              <a:gd name="connsiteY273" fmla="*/ 6590 h 10000"/>
              <a:gd name="connsiteX274" fmla="*/ 7481 w 10000"/>
              <a:gd name="connsiteY274" fmla="*/ 6434 h 10000"/>
              <a:gd name="connsiteX275" fmla="*/ 7597 w 10000"/>
              <a:gd name="connsiteY275" fmla="*/ 6512 h 10000"/>
              <a:gd name="connsiteX276" fmla="*/ 7636 w 10000"/>
              <a:gd name="connsiteY276" fmla="*/ 6512 h 10000"/>
              <a:gd name="connsiteX277" fmla="*/ 7597 w 10000"/>
              <a:gd name="connsiteY277" fmla="*/ 6590 h 10000"/>
              <a:gd name="connsiteX278" fmla="*/ 7597 w 10000"/>
              <a:gd name="connsiteY278" fmla="*/ 6667 h 10000"/>
              <a:gd name="connsiteX279" fmla="*/ 7830 w 10000"/>
              <a:gd name="connsiteY279" fmla="*/ 6590 h 10000"/>
              <a:gd name="connsiteX280" fmla="*/ 7791 w 10000"/>
              <a:gd name="connsiteY280" fmla="*/ 6512 h 10000"/>
              <a:gd name="connsiteX281" fmla="*/ 7946 w 10000"/>
              <a:gd name="connsiteY281" fmla="*/ 5969 h 10000"/>
              <a:gd name="connsiteX282" fmla="*/ 8140 w 10000"/>
              <a:gd name="connsiteY282" fmla="*/ 5892 h 10000"/>
              <a:gd name="connsiteX283" fmla="*/ 8140 w 10000"/>
              <a:gd name="connsiteY283" fmla="*/ 6047 h 10000"/>
              <a:gd name="connsiteX284" fmla="*/ 8140 w 10000"/>
              <a:gd name="connsiteY284" fmla="*/ 6202 h 10000"/>
              <a:gd name="connsiteX285" fmla="*/ 8333 w 10000"/>
              <a:gd name="connsiteY285" fmla="*/ 5969 h 10000"/>
              <a:gd name="connsiteX286" fmla="*/ 8333 w 10000"/>
              <a:gd name="connsiteY286" fmla="*/ 5737 h 10000"/>
              <a:gd name="connsiteX287" fmla="*/ 8411 w 10000"/>
              <a:gd name="connsiteY287" fmla="*/ 5737 h 10000"/>
              <a:gd name="connsiteX288" fmla="*/ 8372 w 10000"/>
              <a:gd name="connsiteY288" fmla="*/ 5814 h 10000"/>
              <a:gd name="connsiteX289" fmla="*/ 8333 w 10000"/>
              <a:gd name="connsiteY289" fmla="*/ 6202 h 10000"/>
              <a:gd name="connsiteX290" fmla="*/ 8256 w 10000"/>
              <a:gd name="connsiteY290" fmla="*/ 6279 h 10000"/>
              <a:gd name="connsiteX291" fmla="*/ 8023 w 10000"/>
              <a:gd name="connsiteY291" fmla="*/ 6822 h 10000"/>
              <a:gd name="connsiteX292" fmla="*/ 7946 w 10000"/>
              <a:gd name="connsiteY292" fmla="*/ 6900 h 10000"/>
              <a:gd name="connsiteX293" fmla="*/ 7868 w 10000"/>
              <a:gd name="connsiteY293" fmla="*/ 7442 h 10000"/>
              <a:gd name="connsiteX294" fmla="*/ 7946 w 10000"/>
              <a:gd name="connsiteY294" fmla="*/ 8372 h 10000"/>
              <a:gd name="connsiteX295" fmla="*/ 8023 w 10000"/>
              <a:gd name="connsiteY295" fmla="*/ 8217 h 10000"/>
              <a:gd name="connsiteX296" fmla="*/ 8101 w 10000"/>
              <a:gd name="connsiteY296" fmla="*/ 7907 h 10000"/>
              <a:gd name="connsiteX297" fmla="*/ 8140 w 10000"/>
              <a:gd name="connsiteY297" fmla="*/ 7907 h 10000"/>
              <a:gd name="connsiteX298" fmla="*/ 8140 w 10000"/>
              <a:gd name="connsiteY298" fmla="*/ 7675 h 10000"/>
              <a:gd name="connsiteX299" fmla="*/ 8178 w 10000"/>
              <a:gd name="connsiteY299" fmla="*/ 7675 h 10000"/>
              <a:gd name="connsiteX300" fmla="*/ 8256 w 10000"/>
              <a:gd name="connsiteY300" fmla="*/ 7598 h 10000"/>
              <a:gd name="connsiteX301" fmla="*/ 8217 w 10000"/>
              <a:gd name="connsiteY301" fmla="*/ 7364 h 10000"/>
              <a:gd name="connsiteX302" fmla="*/ 8295 w 10000"/>
              <a:gd name="connsiteY302" fmla="*/ 7287 h 10000"/>
              <a:gd name="connsiteX303" fmla="*/ 8333 w 10000"/>
              <a:gd name="connsiteY303" fmla="*/ 7287 h 10000"/>
              <a:gd name="connsiteX304" fmla="*/ 8333 w 10000"/>
              <a:gd name="connsiteY304" fmla="*/ 7132 h 10000"/>
              <a:gd name="connsiteX305" fmla="*/ 8295 w 10000"/>
              <a:gd name="connsiteY305" fmla="*/ 7132 h 10000"/>
              <a:gd name="connsiteX306" fmla="*/ 8333 w 10000"/>
              <a:gd name="connsiteY306" fmla="*/ 6900 h 10000"/>
              <a:gd name="connsiteX307" fmla="*/ 8295 w 10000"/>
              <a:gd name="connsiteY307" fmla="*/ 6900 h 10000"/>
              <a:gd name="connsiteX308" fmla="*/ 8256 w 10000"/>
              <a:gd name="connsiteY308" fmla="*/ 6900 h 10000"/>
              <a:gd name="connsiteX309" fmla="*/ 8256 w 10000"/>
              <a:gd name="connsiteY309" fmla="*/ 6822 h 10000"/>
              <a:gd name="connsiteX310" fmla="*/ 8333 w 10000"/>
              <a:gd name="connsiteY310" fmla="*/ 6590 h 10000"/>
              <a:gd name="connsiteX311" fmla="*/ 8333 w 10000"/>
              <a:gd name="connsiteY311" fmla="*/ 6434 h 10000"/>
              <a:gd name="connsiteX312" fmla="*/ 8411 w 10000"/>
              <a:gd name="connsiteY312" fmla="*/ 6434 h 10000"/>
              <a:gd name="connsiteX313" fmla="*/ 8527 w 10000"/>
              <a:gd name="connsiteY313" fmla="*/ 6279 h 10000"/>
              <a:gd name="connsiteX314" fmla="*/ 8527 w 10000"/>
              <a:gd name="connsiteY314" fmla="*/ 6434 h 10000"/>
              <a:gd name="connsiteX315" fmla="*/ 8566 w 10000"/>
              <a:gd name="connsiteY315" fmla="*/ 6356 h 10000"/>
              <a:gd name="connsiteX316" fmla="*/ 8682 w 10000"/>
              <a:gd name="connsiteY316" fmla="*/ 6279 h 10000"/>
              <a:gd name="connsiteX317" fmla="*/ 8759 w 10000"/>
              <a:gd name="connsiteY317" fmla="*/ 6434 h 10000"/>
              <a:gd name="connsiteX318" fmla="*/ 8798 w 10000"/>
              <a:gd name="connsiteY318" fmla="*/ 6279 h 10000"/>
              <a:gd name="connsiteX319" fmla="*/ 9187 w 10000"/>
              <a:gd name="connsiteY319" fmla="*/ 5737 h 10000"/>
              <a:gd name="connsiteX320" fmla="*/ 9303 w 10000"/>
              <a:gd name="connsiteY320" fmla="*/ 5814 h 10000"/>
              <a:gd name="connsiteX321" fmla="*/ 9342 w 10000"/>
              <a:gd name="connsiteY321" fmla="*/ 5737 h 10000"/>
              <a:gd name="connsiteX322" fmla="*/ 9264 w 10000"/>
              <a:gd name="connsiteY322" fmla="*/ 5271 h 10000"/>
              <a:gd name="connsiteX323" fmla="*/ 9225 w 10000"/>
              <a:gd name="connsiteY323" fmla="*/ 5271 h 10000"/>
              <a:gd name="connsiteX324" fmla="*/ 9225 w 10000"/>
              <a:gd name="connsiteY324" fmla="*/ 5116 h 10000"/>
              <a:gd name="connsiteX325" fmla="*/ 9264 w 10000"/>
              <a:gd name="connsiteY325" fmla="*/ 5116 h 10000"/>
              <a:gd name="connsiteX326" fmla="*/ 9342 w 10000"/>
              <a:gd name="connsiteY326" fmla="*/ 5039 h 10000"/>
              <a:gd name="connsiteX327" fmla="*/ 9419 w 10000"/>
              <a:gd name="connsiteY327" fmla="*/ 4884 h 10000"/>
              <a:gd name="connsiteX328" fmla="*/ 9380 w 10000"/>
              <a:gd name="connsiteY328" fmla="*/ 4729 h 10000"/>
              <a:gd name="connsiteX329" fmla="*/ 9419 w 10000"/>
              <a:gd name="connsiteY329" fmla="*/ 4652 h 10000"/>
              <a:gd name="connsiteX330" fmla="*/ 9458 w 10000"/>
              <a:gd name="connsiteY330" fmla="*/ 4884 h 10000"/>
              <a:gd name="connsiteX331" fmla="*/ 9535 w 10000"/>
              <a:gd name="connsiteY331" fmla="*/ 4884 h 10000"/>
              <a:gd name="connsiteX332" fmla="*/ 9613 w 10000"/>
              <a:gd name="connsiteY332" fmla="*/ 5039 h 10000"/>
              <a:gd name="connsiteX333" fmla="*/ 9806 w 10000"/>
              <a:gd name="connsiteY333" fmla="*/ 5271 h 10000"/>
              <a:gd name="connsiteX334" fmla="*/ 9845 w 10000"/>
              <a:gd name="connsiteY334" fmla="*/ 5039 h 10000"/>
              <a:gd name="connsiteX335" fmla="*/ 9845 w 10000"/>
              <a:gd name="connsiteY335" fmla="*/ 4884 h 10000"/>
              <a:gd name="connsiteX336" fmla="*/ 9923 w 10000"/>
              <a:gd name="connsiteY336" fmla="*/ 4884 h 10000"/>
              <a:gd name="connsiteX337" fmla="*/ 10000 w 10000"/>
              <a:gd name="connsiteY337" fmla="*/ 4729 h 10000"/>
              <a:gd name="connsiteX338" fmla="*/ 9884 w 10000"/>
              <a:gd name="connsiteY338" fmla="*/ 4496 h 10000"/>
              <a:gd name="connsiteX339" fmla="*/ 9690 w 10000"/>
              <a:gd name="connsiteY339" fmla="*/ 4418 h 10000"/>
              <a:gd name="connsiteX340" fmla="*/ 9342 w 10000"/>
              <a:gd name="connsiteY340" fmla="*/ 3799 h 10000"/>
              <a:gd name="connsiteX341" fmla="*/ 9109 w 10000"/>
              <a:gd name="connsiteY341" fmla="*/ 3488 h 10000"/>
              <a:gd name="connsiteX342" fmla="*/ 8798 w 10000"/>
              <a:gd name="connsiteY342" fmla="*/ 3411 h 10000"/>
              <a:gd name="connsiteX343" fmla="*/ 8798 w 10000"/>
              <a:gd name="connsiteY343" fmla="*/ 3799 h 10000"/>
              <a:gd name="connsiteX344" fmla="*/ 8721 w 10000"/>
              <a:gd name="connsiteY344" fmla="*/ 3876 h 10000"/>
              <a:gd name="connsiteX345" fmla="*/ 8643 w 10000"/>
              <a:gd name="connsiteY345" fmla="*/ 3721 h 10000"/>
              <a:gd name="connsiteX346" fmla="*/ 8643 w 10000"/>
              <a:gd name="connsiteY346" fmla="*/ 3566 h 10000"/>
              <a:gd name="connsiteX347" fmla="*/ 8682 w 10000"/>
              <a:gd name="connsiteY347" fmla="*/ 3566 h 10000"/>
              <a:gd name="connsiteX348" fmla="*/ 8721 w 10000"/>
              <a:gd name="connsiteY348" fmla="*/ 3488 h 10000"/>
              <a:gd name="connsiteX349" fmla="*/ 8643 w 10000"/>
              <a:gd name="connsiteY349" fmla="*/ 3488 h 10000"/>
              <a:gd name="connsiteX350" fmla="*/ 8566 w 10000"/>
              <a:gd name="connsiteY350" fmla="*/ 3644 h 10000"/>
              <a:gd name="connsiteX351" fmla="*/ 8372 w 10000"/>
              <a:gd name="connsiteY351" fmla="*/ 3566 h 10000"/>
              <a:gd name="connsiteX352" fmla="*/ 8178 w 10000"/>
              <a:gd name="connsiteY352" fmla="*/ 3566 h 10000"/>
              <a:gd name="connsiteX353" fmla="*/ 8101 w 10000"/>
              <a:gd name="connsiteY353" fmla="*/ 3488 h 10000"/>
              <a:gd name="connsiteX354" fmla="*/ 8140 w 10000"/>
              <a:gd name="connsiteY354" fmla="*/ 3333 h 10000"/>
              <a:gd name="connsiteX355" fmla="*/ 8062 w 10000"/>
              <a:gd name="connsiteY355" fmla="*/ 3101 h 10000"/>
              <a:gd name="connsiteX356" fmla="*/ 7907 w 10000"/>
              <a:gd name="connsiteY356" fmla="*/ 3023 h 10000"/>
              <a:gd name="connsiteX357" fmla="*/ 7675 w 10000"/>
              <a:gd name="connsiteY357" fmla="*/ 3178 h 10000"/>
              <a:gd name="connsiteX358" fmla="*/ 7636 w 10000"/>
              <a:gd name="connsiteY358" fmla="*/ 2946 h 10000"/>
              <a:gd name="connsiteX359" fmla="*/ 7558 w 10000"/>
              <a:gd name="connsiteY359" fmla="*/ 2946 h 10000"/>
              <a:gd name="connsiteX360" fmla="*/ 7520 w 10000"/>
              <a:gd name="connsiteY360" fmla="*/ 2868 h 10000"/>
              <a:gd name="connsiteX361" fmla="*/ 7520 w 10000"/>
              <a:gd name="connsiteY361" fmla="*/ 2636 h 10000"/>
              <a:gd name="connsiteX362" fmla="*/ 7249 w 10000"/>
              <a:gd name="connsiteY362" fmla="*/ 2480 h 10000"/>
              <a:gd name="connsiteX363" fmla="*/ 6938 w 10000"/>
              <a:gd name="connsiteY363" fmla="*/ 2325 h 10000"/>
              <a:gd name="connsiteX364" fmla="*/ 6860 w 10000"/>
              <a:gd name="connsiteY364" fmla="*/ 2636 h 10000"/>
              <a:gd name="connsiteX365" fmla="*/ 6938 w 10000"/>
              <a:gd name="connsiteY365" fmla="*/ 2868 h 10000"/>
              <a:gd name="connsiteX366" fmla="*/ 6705 w 10000"/>
              <a:gd name="connsiteY366" fmla="*/ 2868 h 10000"/>
              <a:gd name="connsiteX367" fmla="*/ 6666 w 10000"/>
              <a:gd name="connsiteY367" fmla="*/ 2868 h 10000"/>
              <a:gd name="connsiteX368" fmla="*/ 6589 w 10000"/>
              <a:gd name="connsiteY368" fmla="*/ 2946 h 10000"/>
              <a:gd name="connsiteX369" fmla="*/ 6473 w 10000"/>
              <a:gd name="connsiteY369" fmla="*/ 2714 h 10000"/>
              <a:gd name="connsiteX370" fmla="*/ 6395 w 10000"/>
              <a:gd name="connsiteY370" fmla="*/ 3178 h 10000"/>
              <a:gd name="connsiteX371" fmla="*/ 6318 w 10000"/>
              <a:gd name="connsiteY371" fmla="*/ 3101 h 10000"/>
              <a:gd name="connsiteX372" fmla="*/ 6240 w 10000"/>
              <a:gd name="connsiteY372" fmla="*/ 2791 h 10000"/>
              <a:gd name="connsiteX373" fmla="*/ 6279 w 10000"/>
              <a:gd name="connsiteY373" fmla="*/ 2403 h 10000"/>
              <a:gd name="connsiteX374" fmla="*/ 6202 w 10000"/>
              <a:gd name="connsiteY374" fmla="*/ 2170 h 10000"/>
              <a:gd name="connsiteX375" fmla="*/ 5969 w 10000"/>
              <a:gd name="connsiteY375" fmla="*/ 2016 h 10000"/>
              <a:gd name="connsiteX376" fmla="*/ 5892 w 10000"/>
              <a:gd name="connsiteY376" fmla="*/ 2016 h 10000"/>
              <a:gd name="connsiteX377" fmla="*/ 5853 w 10000"/>
              <a:gd name="connsiteY377" fmla="*/ 2170 h 10000"/>
              <a:gd name="connsiteX378" fmla="*/ 5892 w 10000"/>
              <a:gd name="connsiteY378" fmla="*/ 2325 h 10000"/>
              <a:gd name="connsiteX379" fmla="*/ 5582 w 10000"/>
              <a:gd name="connsiteY379" fmla="*/ 2248 h 10000"/>
              <a:gd name="connsiteX380" fmla="*/ 5620 w 10000"/>
              <a:gd name="connsiteY380" fmla="*/ 2016 h 10000"/>
              <a:gd name="connsiteX381" fmla="*/ 5427 w 10000"/>
              <a:gd name="connsiteY381" fmla="*/ 1938 h 10000"/>
              <a:gd name="connsiteX382" fmla="*/ 5311 w 10000"/>
              <a:gd name="connsiteY382" fmla="*/ 2093 h 10000"/>
              <a:gd name="connsiteX383" fmla="*/ 5078 w 10000"/>
              <a:gd name="connsiteY383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473 w 10000"/>
              <a:gd name="connsiteY249" fmla="*/ 9457 h 10000"/>
              <a:gd name="connsiteX250" fmla="*/ 6434 w 10000"/>
              <a:gd name="connsiteY250" fmla="*/ 9380 h 10000"/>
              <a:gd name="connsiteX251" fmla="*/ 6357 w 10000"/>
              <a:gd name="connsiteY251" fmla="*/ 9457 h 10000"/>
              <a:gd name="connsiteX252" fmla="*/ 6395 w 10000"/>
              <a:gd name="connsiteY252" fmla="*/ 9691 h 10000"/>
              <a:gd name="connsiteX253" fmla="*/ 6589 w 10000"/>
              <a:gd name="connsiteY253" fmla="*/ 9691 h 10000"/>
              <a:gd name="connsiteX254" fmla="*/ 6938 w 10000"/>
              <a:gd name="connsiteY254" fmla="*/ 8838 h 10000"/>
              <a:gd name="connsiteX255" fmla="*/ 6938 w 10000"/>
              <a:gd name="connsiteY255" fmla="*/ 8295 h 10000"/>
              <a:gd name="connsiteX256" fmla="*/ 6976 w 10000"/>
              <a:gd name="connsiteY256" fmla="*/ 8140 h 10000"/>
              <a:gd name="connsiteX257" fmla="*/ 6976 w 10000"/>
              <a:gd name="connsiteY257" fmla="*/ 7907 h 10000"/>
              <a:gd name="connsiteX258" fmla="*/ 6899 w 10000"/>
              <a:gd name="connsiteY258" fmla="*/ 7675 h 10000"/>
              <a:gd name="connsiteX259" fmla="*/ 6860 w 10000"/>
              <a:gd name="connsiteY259" fmla="*/ 7675 h 10000"/>
              <a:gd name="connsiteX260" fmla="*/ 6821 w 10000"/>
              <a:gd name="connsiteY260" fmla="*/ 7830 h 10000"/>
              <a:gd name="connsiteX261" fmla="*/ 6744 w 10000"/>
              <a:gd name="connsiteY261" fmla="*/ 7830 h 10000"/>
              <a:gd name="connsiteX262" fmla="*/ 6783 w 10000"/>
              <a:gd name="connsiteY262" fmla="*/ 7675 h 10000"/>
              <a:gd name="connsiteX263" fmla="*/ 6744 w 10000"/>
              <a:gd name="connsiteY263" fmla="*/ 7675 h 10000"/>
              <a:gd name="connsiteX264" fmla="*/ 6705 w 10000"/>
              <a:gd name="connsiteY264" fmla="*/ 7598 h 10000"/>
              <a:gd name="connsiteX265" fmla="*/ 6628 w 10000"/>
              <a:gd name="connsiteY265" fmla="*/ 7598 h 10000"/>
              <a:gd name="connsiteX266" fmla="*/ 6628 w 10000"/>
              <a:gd name="connsiteY266" fmla="*/ 7520 h 10000"/>
              <a:gd name="connsiteX267" fmla="*/ 6744 w 10000"/>
              <a:gd name="connsiteY267" fmla="*/ 7287 h 10000"/>
              <a:gd name="connsiteX268" fmla="*/ 7094 w 10000"/>
              <a:gd name="connsiteY268" fmla="*/ 6590 h 10000"/>
              <a:gd name="connsiteX269" fmla="*/ 7249 w 10000"/>
              <a:gd name="connsiteY269" fmla="*/ 6512 h 10000"/>
              <a:gd name="connsiteX270" fmla="*/ 7287 w 10000"/>
              <a:gd name="connsiteY270" fmla="*/ 6590 h 10000"/>
              <a:gd name="connsiteX271" fmla="*/ 7326 w 10000"/>
              <a:gd name="connsiteY271" fmla="*/ 6512 h 10000"/>
              <a:gd name="connsiteX272" fmla="*/ 7442 w 10000"/>
              <a:gd name="connsiteY272" fmla="*/ 6590 h 10000"/>
              <a:gd name="connsiteX273" fmla="*/ 7481 w 10000"/>
              <a:gd name="connsiteY273" fmla="*/ 6434 h 10000"/>
              <a:gd name="connsiteX274" fmla="*/ 7597 w 10000"/>
              <a:gd name="connsiteY274" fmla="*/ 6512 h 10000"/>
              <a:gd name="connsiteX275" fmla="*/ 7636 w 10000"/>
              <a:gd name="connsiteY275" fmla="*/ 6512 h 10000"/>
              <a:gd name="connsiteX276" fmla="*/ 7597 w 10000"/>
              <a:gd name="connsiteY276" fmla="*/ 6590 h 10000"/>
              <a:gd name="connsiteX277" fmla="*/ 7597 w 10000"/>
              <a:gd name="connsiteY277" fmla="*/ 6667 h 10000"/>
              <a:gd name="connsiteX278" fmla="*/ 7830 w 10000"/>
              <a:gd name="connsiteY278" fmla="*/ 6590 h 10000"/>
              <a:gd name="connsiteX279" fmla="*/ 7791 w 10000"/>
              <a:gd name="connsiteY279" fmla="*/ 6512 h 10000"/>
              <a:gd name="connsiteX280" fmla="*/ 7946 w 10000"/>
              <a:gd name="connsiteY280" fmla="*/ 5969 h 10000"/>
              <a:gd name="connsiteX281" fmla="*/ 8140 w 10000"/>
              <a:gd name="connsiteY281" fmla="*/ 5892 h 10000"/>
              <a:gd name="connsiteX282" fmla="*/ 8140 w 10000"/>
              <a:gd name="connsiteY282" fmla="*/ 6047 h 10000"/>
              <a:gd name="connsiteX283" fmla="*/ 8140 w 10000"/>
              <a:gd name="connsiteY283" fmla="*/ 6202 h 10000"/>
              <a:gd name="connsiteX284" fmla="*/ 8333 w 10000"/>
              <a:gd name="connsiteY284" fmla="*/ 5969 h 10000"/>
              <a:gd name="connsiteX285" fmla="*/ 8333 w 10000"/>
              <a:gd name="connsiteY285" fmla="*/ 5737 h 10000"/>
              <a:gd name="connsiteX286" fmla="*/ 8411 w 10000"/>
              <a:gd name="connsiteY286" fmla="*/ 5737 h 10000"/>
              <a:gd name="connsiteX287" fmla="*/ 8372 w 10000"/>
              <a:gd name="connsiteY287" fmla="*/ 5814 h 10000"/>
              <a:gd name="connsiteX288" fmla="*/ 8333 w 10000"/>
              <a:gd name="connsiteY288" fmla="*/ 6202 h 10000"/>
              <a:gd name="connsiteX289" fmla="*/ 8256 w 10000"/>
              <a:gd name="connsiteY289" fmla="*/ 6279 h 10000"/>
              <a:gd name="connsiteX290" fmla="*/ 8023 w 10000"/>
              <a:gd name="connsiteY290" fmla="*/ 6822 h 10000"/>
              <a:gd name="connsiteX291" fmla="*/ 7946 w 10000"/>
              <a:gd name="connsiteY291" fmla="*/ 6900 h 10000"/>
              <a:gd name="connsiteX292" fmla="*/ 7868 w 10000"/>
              <a:gd name="connsiteY292" fmla="*/ 7442 h 10000"/>
              <a:gd name="connsiteX293" fmla="*/ 7946 w 10000"/>
              <a:gd name="connsiteY293" fmla="*/ 8372 h 10000"/>
              <a:gd name="connsiteX294" fmla="*/ 8023 w 10000"/>
              <a:gd name="connsiteY294" fmla="*/ 8217 h 10000"/>
              <a:gd name="connsiteX295" fmla="*/ 8101 w 10000"/>
              <a:gd name="connsiteY295" fmla="*/ 7907 h 10000"/>
              <a:gd name="connsiteX296" fmla="*/ 8140 w 10000"/>
              <a:gd name="connsiteY296" fmla="*/ 7907 h 10000"/>
              <a:gd name="connsiteX297" fmla="*/ 8140 w 10000"/>
              <a:gd name="connsiteY297" fmla="*/ 7675 h 10000"/>
              <a:gd name="connsiteX298" fmla="*/ 8178 w 10000"/>
              <a:gd name="connsiteY298" fmla="*/ 7675 h 10000"/>
              <a:gd name="connsiteX299" fmla="*/ 8256 w 10000"/>
              <a:gd name="connsiteY299" fmla="*/ 7598 h 10000"/>
              <a:gd name="connsiteX300" fmla="*/ 8217 w 10000"/>
              <a:gd name="connsiteY300" fmla="*/ 7364 h 10000"/>
              <a:gd name="connsiteX301" fmla="*/ 8295 w 10000"/>
              <a:gd name="connsiteY301" fmla="*/ 7287 h 10000"/>
              <a:gd name="connsiteX302" fmla="*/ 8333 w 10000"/>
              <a:gd name="connsiteY302" fmla="*/ 7287 h 10000"/>
              <a:gd name="connsiteX303" fmla="*/ 8333 w 10000"/>
              <a:gd name="connsiteY303" fmla="*/ 7132 h 10000"/>
              <a:gd name="connsiteX304" fmla="*/ 8295 w 10000"/>
              <a:gd name="connsiteY304" fmla="*/ 7132 h 10000"/>
              <a:gd name="connsiteX305" fmla="*/ 8333 w 10000"/>
              <a:gd name="connsiteY305" fmla="*/ 6900 h 10000"/>
              <a:gd name="connsiteX306" fmla="*/ 8295 w 10000"/>
              <a:gd name="connsiteY306" fmla="*/ 6900 h 10000"/>
              <a:gd name="connsiteX307" fmla="*/ 8256 w 10000"/>
              <a:gd name="connsiteY307" fmla="*/ 6900 h 10000"/>
              <a:gd name="connsiteX308" fmla="*/ 8256 w 10000"/>
              <a:gd name="connsiteY308" fmla="*/ 6822 h 10000"/>
              <a:gd name="connsiteX309" fmla="*/ 8333 w 10000"/>
              <a:gd name="connsiteY309" fmla="*/ 6590 h 10000"/>
              <a:gd name="connsiteX310" fmla="*/ 8333 w 10000"/>
              <a:gd name="connsiteY310" fmla="*/ 6434 h 10000"/>
              <a:gd name="connsiteX311" fmla="*/ 8411 w 10000"/>
              <a:gd name="connsiteY311" fmla="*/ 6434 h 10000"/>
              <a:gd name="connsiteX312" fmla="*/ 8527 w 10000"/>
              <a:gd name="connsiteY312" fmla="*/ 6279 h 10000"/>
              <a:gd name="connsiteX313" fmla="*/ 8527 w 10000"/>
              <a:gd name="connsiteY313" fmla="*/ 6434 h 10000"/>
              <a:gd name="connsiteX314" fmla="*/ 8566 w 10000"/>
              <a:gd name="connsiteY314" fmla="*/ 6356 h 10000"/>
              <a:gd name="connsiteX315" fmla="*/ 8682 w 10000"/>
              <a:gd name="connsiteY315" fmla="*/ 6279 h 10000"/>
              <a:gd name="connsiteX316" fmla="*/ 8759 w 10000"/>
              <a:gd name="connsiteY316" fmla="*/ 6434 h 10000"/>
              <a:gd name="connsiteX317" fmla="*/ 8798 w 10000"/>
              <a:gd name="connsiteY317" fmla="*/ 6279 h 10000"/>
              <a:gd name="connsiteX318" fmla="*/ 9187 w 10000"/>
              <a:gd name="connsiteY318" fmla="*/ 5737 h 10000"/>
              <a:gd name="connsiteX319" fmla="*/ 9303 w 10000"/>
              <a:gd name="connsiteY319" fmla="*/ 5814 h 10000"/>
              <a:gd name="connsiteX320" fmla="*/ 9342 w 10000"/>
              <a:gd name="connsiteY320" fmla="*/ 5737 h 10000"/>
              <a:gd name="connsiteX321" fmla="*/ 9264 w 10000"/>
              <a:gd name="connsiteY321" fmla="*/ 5271 h 10000"/>
              <a:gd name="connsiteX322" fmla="*/ 9225 w 10000"/>
              <a:gd name="connsiteY322" fmla="*/ 5271 h 10000"/>
              <a:gd name="connsiteX323" fmla="*/ 9225 w 10000"/>
              <a:gd name="connsiteY323" fmla="*/ 5116 h 10000"/>
              <a:gd name="connsiteX324" fmla="*/ 9264 w 10000"/>
              <a:gd name="connsiteY324" fmla="*/ 5116 h 10000"/>
              <a:gd name="connsiteX325" fmla="*/ 9342 w 10000"/>
              <a:gd name="connsiteY325" fmla="*/ 5039 h 10000"/>
              <a:gd name="connsiteX326" fmla="*/ 9419 w 10000"/>
              <a:gd name="connsiteY326" fmla="*/ 4884 h 10000"/>
              <a:gd name="connsiteX327" fmla="*/ 9380 w 10000"/>
              <a:gd name="connsiteY327" fmla="*/ 4729 h 10000"/>
              <a:gd name="connsiteX328" fmla="*/ 9419 w 10000"/>
              <a:gd name="connsiteY328" fmla="*/ 4652 h 10000"/>
              <a:gd name="connsiteX329" fmla="*/ 9458 w 10000"/>
              <a:gd name="connsiteY329" fmla="*/ 4884 h 10000"/>
              <a:gd name="connsiteX330" fmla="*/ 9535 w 10000"/>
              <a:gd name="connsiteY330" fmla="*/ 4884 h 10000"/>
              <a:gd name="connsiteX331" fmla="*/ 9613 w 10000"/>
              <a:gd name="connsiteY331" fmla="*/ 5039 h 10000"/>
              <a:gd name="connsiteX332" fmla="*/ 9806 w 10000"/>
              <a:gd name="connsiteY332" fmla="*/ 5271 h 10000"/>
              <a:gd name="connsiteX333" fmla="*/ 9845 w 10000"/>
              <a:gd name="connsiteY333" fmla="*/ 5039 h 10000"/>
              <a:gd name="connsiteX334" fmla="*/ 9845 w 10000"/>
              <a:gd name="connsiteY334" fmla="*/ 4884 h 10000"/>
              <a:gd name="connsiteX335" fmla="*/ 9923 w 10000"/>
              <a:gd name="connsiteY335" fmla="*/ 4884 h 10000"/>
              <a:gd name="connsiteX336" fmla="*/ 10000 w 10000"/>
              <a:gd name="connsiteY336" fmla="*/ 4729 h 10000"/>
              <a:gd name="connsiteX337" fmla="*/ 9884 w 10000"/>
              <a:gd name="connsiteY337" fmla="*/ 4496 h 10000"/>
              <a:gd name="connsiteX338" fmla="*/ 9690 w 10000"/>
              <a:gd name="connsiteY338" fmla="*/ 4418 h 10000"/>
              <a:gd name="connsiteX339" fmla="*/ 9342 w 10000"/>
              <a:gd name="connsiteY339" fmla="*/ 3799 h 10000"/>
              <a:gd name="connsiteX340" fmla="*/ 9109 w 10000"/>
              <a:gd name="connsiteY340" fmla="*/ 3488 h 10000"/>
              <a:gd name="connsiteX341" fmla="*/ 8798 w 10000"/>
              <a:gd name="connsiteY341" fmla="*/ 3411 h 10000"/>
              <a:gd name="connsiteX342" fmla="*/ 8798 w 10000"/>
              <a:gd name="connsiteY342" fmla="*/ 3799 h 10000"/>
              <a:gd name="connsiteX343" fmla="*/ 8721 w 10000"/>
              <a:gd name="connsiteY343" fmla="*/ 3876 h 10000"/>
              <a:gd name="connsiteX344" fmla="*/ 8643 w 10000"/>
              <a:gd name="connsiteY344" fmla="*/ 3721 h 10000"/>
              <a:gd name="connsiteX345" fmla="*/ 8643 w 10000"/>
              <a:gd name="connsiteY345" fmla="*/ 3566 h 10000"/>
              <a:gd name="connsiteX346" fmla="*/ 8682 w 10000"/>
              <a:gd name="connsiteY346" fmla="*/ 3566 h 10000"/>
              <a:gd name="connsiteX347" fmla="*/ 8721 w 10000"/>
              <a:gd name="connsiteY347" fmla="*/ 3488 h 10000"/>
              <a:gd name="connsiteX348" fmla="*/ 8643 w 10000"/>
              <a:gd name="connsiteY348" fmla="*/ 3488 h 10000"/>
              <a:gd name="connsiteX349" fmla="*/ 8566 w 10000"/>
              <a:gd name="connsiteY349" fmla="*/ 3644 h 10000"/>
              <a:gd name="connsiteX350" fmla="*/ 8372 w 10000"/>
              <a:gd name="connsiteY350" fmla="*/ 3566 h 10000"/>
              <a:gd name="connsiteX351" fmla="*/ 8178 w 10000"/>
              <a:gd name="connsiteY351" fmla="*/ 3566 h 10000"/>
              <a:gd name="connsiteX352" fmla="*/ 8101 w 10000"/>
              <a:gd name="connsiteY352" fmla="*/ 3488 h 10000"/>
              <a:gd name="connsiteX353" fmla="*/ 8140 w 10000"/>
              <a:gd name="connsiteY353" fmla="*/ 3333 h 10000"/>
              <a:gd name="connsiteX354" fmla="*/ 8062 w 10000"/>
              <a:gd name="connsiteY354" fmla="*/ 3101 h 10000"/>
              <a:gd name="connsiteX355" fmla="*/ 7907 w 10000"/>
              <a:gd name="connsiteY355" fmla="*/ 3023 h 10000"/>
              <a:gd name="connsiteX356" fmla="*/ 7675 w 10000"/>
              <a:gd name="connsiteY356" fmla="*/ 3178 h 10000"/>
              <a:gd name="connsiteX357" fmla="*/ 7636 w 10000"/>
              <a:gd name="connsiteY357" fmla="*/ 2946 h 10000"/>
              <a:gd name="connsiteX358" fmla="*/ 7558 w 10000"/>
              <a:gd name="connsiteY358" fmla="*/ 2946 h 10000"/>
              <a:gd name="connsiteX359" fmla="*/ 7520 w 10000"/>
              <a:gd name="connsiteY359" fmla="*/ 2868 h 10000"/>
              <a:gd name="connsiteX360" fmla="*/ 7520 w 10000"/>
              <a:gd name="connsiteY360" fmla="*/ 2636 h 10000"/>
              <a:gd name="connsiteX361" fmla="*/ 7249 w 10000"/>
              <a:gd name="connsiteY361" fmla="*/ 2480 h 10000"/>
              <a:gd name="connsiteX362" fmla="*/ 6938 w 10000"/>
              <a:gd name="connsiteY362" fmla="*/ 2325 h 10000"/>
              <a:gd name="connsiteX363" fmla="*/ 6860 w 10000"/>
              <a:gd name="connsiteY363" fmla="*/ 2636 h 10000"/>
              <a:gd name="connsiteX364" fmla="*/ 6938 w 10000"/>
              <a:gd name="connsiteY364" fmla="*/ 2868 h 10000"/>
              <a:gd name="connsiteX365" fmla="*/ 6705 w 10000"/>
              <a:gd name="connsiteY365" fmla="*/ 2868 h 10000"/>
              <a:gd name="connsiteX366" fmla="*/ 6666 w 10000"/>
              <a:gd name="connsiteY366" fmla="*/ 2868 h 10000"/>
              <a:gd name="connsiteX367" fmla="*/ 6589 w 10000"/>
              <a:gd name="connsiteY367" fmla="*/ 2946 h 10000"/>
              <a:gd name="connsiteX368" fmla="*/ 6473 w 10000"/>
              <a:gd name="connsiteY368" fmla="*/ 2714 h 10000"/>
              <a:gd name="connsiteX369" fmla="*/ 6395 w 10000"/>
              <a:gd name="connsiteY369" fmla="*/ 3178 h 10000"/>
              <a:gd name="connsiteX370" fmla="*/ 6318 w 10000"/>
              <a:gd name="connsiteY370" fmla="*/ 3101 h 10000"/>
              <a:gd name="connsiteX371" fmla="*/ 6240 w 10000"/>
              <a:gd name="connsiteY371" fmla="*/ 2791 h 10000"/>
              <a:gd name="connsiteX372" fmla="*/ 6279 w 10000"/>
              <a:gd name="connsiteY372" fmla="*/ 2403 h 10000"/>
              <a:gd name="connsiteX373" fmla="*/ 6202 w 10000"/>
              <a:gd name="connsiteY373" fmla="*/ 2170 h 10000"/>
              <a:gd name="connsiteX374" fmla="*/ 5969 w 10000"/>
              <a:gd name="connsiteY374" fmla="*/ 2016 h 10000"/>
              <a:gd name="connsiteX375" fmla="*/ 5892 w 10000"/>
              <a:gd name="connsiteY375" fmla="*/ 2016 h 10000"/>
              <a:gd name="connsiteX376" fmla="*/ 5853 w 10000"/>
              <a:gd name="connsiteY376" fmla="*/ 2170 h 10000"/>
              <a:gd name="connsiteX377" fmla="*/ 5892 w 10000"/>
              <a:gd name="connsiteY377" fmla="*/ 2325 h 10000"/>
              <a:gd name="connsiteX378" fmla="*/ 5582 w 10000"/>
              <a:gd name="connsiteY378" fmla="*/ 2248 h 10000"/>
              <a:gd name="connsiteX379" fmla="*/ 5620 w 10000"/>
              <a:gd name="connsiteY379" fmla="*/ 2016 h 10000"/>
              <a:gd name="connsiteX380" fmla="*/ 5427 w 10000"/>
              <a:gd name="connsiteY380" fmla="*/ 1938 h 10000"/>
              <a:gd name="connsiteX381" fmla="*/ 5311 w 10000"/>
              <a:gd name="connsiteY381" fmla="*/ 2093 h 10000"/>
              <a:gd name="connsiteX382" fmla="*/ 5078 w 10000"/>
              <a:gd name="connsiteY382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473 w 10000"/>
              <a:gd name="connsiteY249" fmla="*/ 9457 h 10000"/>
              <a:gd name="connsiteX250" fmla="*/ 6434 w 10000"/>
              <a:gd name="connsiteY250" fmla="*/ 9380 h 10000"/>
              <a:gd name="connsiteX251" fmla="*/ 6357 w 10000"/>
              <a:gd name="connsiteY251" fmla="*/ 9457 h 10000"/>
              <a:gd name="connsiteX252" fmla="*/ 6589 w 10000"/>
              <a:gd name="connsiteY252" fmla="*/ 9691 h 10000"/>
              <a:gd name="connsiteX253" fmla="*/ 6938 w 10000"/>
              <a:gd name="connsiteY253" fmla="*/ 8838 h 10000"/>
              <a:gd name="connsiteX254" fmla="*/ 6938 w 10000"/>
              <a:gd name="connsiteY254" fmla="*/ 8295 h 10000"/>
              <a:gd name="connsiteX255" fmla="*/ 6976 w 10000"/>
              <a:gd name="connsiteY255" fmla="*/ 8140 h 10000"/>
              <a:gd name="connsiteX256" fmla="*/ 6976 w 10000"/>
              <a:gd name="connsiteY256" fmla="*/ 7907 h 10000"/>
              <a:gd name="connsiteX257" fmla="*/ 6899 w 10000"/>
              <a:gd name="connsiteY257" fmla="*/ 7675 h 10000"/>
              <a:gd name="connsiteX258" fmla="*/ 6860 w 10000"/>
              <a:gd name="connsiteY258" fmla="*/ 7675 h 10000"/>
              <a:gd name="connsiteX259" fmla="*/ 6821 w 10000"/>
              <a:gd name="connsiteY259" fmla="*/ 7830 h 10000"/>
              <a:gd name="connsiteX260" fmla="*/ 6744 w 10000"/>
              <a:gd name="connsiteY260" fmla="*/ 7830 h 10000"/>
              <a:gd name="connsiteX261" fmla="*/ 6783 w 10000"/>
              <a:gd name="connsiteY261" fmla="*/ 7675 h 10000"/>
              <a:gd name="connsiteX262" fmla="*/ 6744 w 10000"/>
              <a:gd name="connsiteY262" fmla="*/ 7675 h 10000"/>
              <a:gd name="connsiteX263" fmla="*/ 6705 w 10000"/>
              <a:gd name="connsiteY263" fmla="*/ 7598 h 10000"/>
              <a:gd name="connsiteX264" fmla="*/ 6628 w 10000"/>
              <a:gd name="connsiteY264" fmla="*/ 7598 h 10000"/>
              <a:gd name="connsiteX265" fmla="*/ 6628 w 10000"/>
              <a:gd name="connsiteY265" fmla="*/ 7520 h 10000"/>
              <a:gd name="connsiteX266" fmla="*/ 6744 w 10000"/>
              <a:gd name="connsiteY266" fmla="*/ 7287 h 10000"/>
              <a:gd name="connsiteX267" fmla="*/ 7094 w 10000"/>
              <a:gd name="connsiteY267" fmla="*/ 6590 h 10000"/>
              <a:gd name="connsiteX268" fmla="*/ 7249 w 10000"/>
              <a:gd name="connsiteY268" fmla="*/ 6512 h 10000"/>
              <a:gd name="connsiteX269" fmla="*/ 7287 w 10000"/>
              <a:gd name="connsiteY269" fmla="*/ 6590 h 10000"/>
              <a:gd name="connsiteX270" fmla="*/ 7326 w 10000"/>
              <a:gd name="connsiteY270" fmla="*/ 6512 h 10000"/>
              <a:gd name="connsiteX271" fmla="*/ 7442 w 10000"/>
              <a:gd name="connsiteY271" fmla="*/ 6590 h 10000"/>
              <a:gd name="connsiteX272" fmla="*/ 7481 w 10000"/>
              <a:gd name="connsiteY272" fmla="*/ 6434 h 10000"/>
              <a:gd name="connsiteX273" fmla="*/ 7597 w 10000"/>
              <a:gd name="connsiteY273" fmla="*/ 6512 h 10000"/>
              <a:gd name="connsiteX274" fmla="*/ 7636 w 10000"/>
              <a:gd name="connsiteY274" fmla="*/ 6512 h 10000"/>
              <a:gd name="connsiteX275" fmla="*/ 7597 w 10000"/>
              <a:gd name="connsiteY275" fmla="*/ 6590 h 10000"/>
              <a:gd name="connsiteX276" fmla="*/ 7597 w 10000"/>
              <a:gd name="connsiteY276" fmla="*/ 6667 h 10000"/>
              <a:gd name="connsiteX277" fmla="*/ 7830 w 10000"/>
              <a:gd name="connsiteY277" fmla="*/ 6590 h 10000"/>
              <a:gd name="connsiteX278" fmla="*/ 7791 w 10000"/>
              <a:gd name="connsiteY278" fmla="*/ 6512 h 10000"/>
              <a:gd name="connsiteX279" fmla="*/ 7946 w 10000"/>
              <a:gd name="connsiteY279" fmla="*/ 5969 h 10000"/>
              <a:gd name="connsiteX280" fmla="*/ 8140 w 10000"/>
              <a:gd name="connsiteY280" fmla="*/ 5892 h 10000"/>
              <a:gd name="connsiteX281" fmla="*/ 8140 w 10000"/>
              <a:gd name="connsiteY281" fmla="*/ 6047 h 10000"/>
              <a:gd name="connsiteX282" fmla="*/ 8140 w 10000"/>
              <a:gd name="connsiteY282" fmla="*/ 6202 h 10000"/>
              <a:gd name="connsiteX283" fmla="*/ 8333 w 10000"/>
              <a:gd name="connsiteY283" fmla="*/ 5969 h 10000"/>
              <a:gd name="connsiteX284" fmla="*/ 8333 w 10000"/>
              <a:gd name="connsiteY284" fmla="*/ 5737 h 10000"/>
              <a:gd name="connsiteX285" fmla="*/ 8411 w 10000"/>
              <a:gd name="connsiteY285" fmla="*/ 5737 h 10000"/>
              <a:gd name="connsiteX286" fmla="*/ 8372 w 10000"/>
              <a:gd name="connsiteY286" fmla="*/ 5814 h 10000"/>
              <a:gd name="connsiteX287" fmla="*/ 8333 w 10000"/>
              <a:gd name="connsiteY287" fmla="*/ 6202 h 10000"/>
              <a:gd name="connsiteX288" fmla="*/ 8256 w 10000"/>
              <a:gd name="connsiteY288" fmla="*/ 6279 h 10000"/>
              <a:gd name="connsiteX289" fmla="*/ 8023 w 10000"/>
              <a:gd name="connsiteY289" fmla="*/ 6822 h 10000"/>
              <a:gd name="connsiteX290" fmla="*/ 7946 w 10000"/>
              <a:gd name="connsiteY290" fmla="*/ 6900 h 10000"/>
              <a:gd name="connsiteX291" fmla="*/ 7868 w 10000"/>
              <a:gd name="connsiteY291" fmla="*/ 7442 h 10000"/>
              <a:gd name="connsiteX292" fmla="*/ 7946 w 10000"/>
              <a:gd name="connsiteY292" fmla="*/ 8372 h 10000"/>
              <a:gd name="connsiteX293" fmla="*/ 8023 w 10000"/>
              <a:gd name="connsiteY293" fmla="*/ 8217 h 10000"/>
              <a:gd name="connsiteX294" fmla="*/ 8101 w 10000"/>
              <a:gd name="connsiteY294" fmla="*/ 7907 h 10000"/>
              <a:gd name="connsiteX295" fmla="*/ 8140 w 10000"/>
              <a:gd name="connsiteY295" fmla="*/ 7907 h 10000"/>
              <a:gd name="connsiteX296" fmla="*/ 8140 w 10000"/>
              <a:gd name="connsiteY296" fmla="*/ 7675 h 10000"/>
              <a:gd name="connsiteX297" fmla="*/ 8178 w 10000"/>
              <a:gd name="connsiteY297" fmla="*/ 7675 h 10000"/>
              <a:gd name="connsiteX298" fmla="*/ 8256 w 10000"/>
              <a:gd name="connsiteY298" fmla="*/ 7598 h 10000"/>
              <a:gd name="connsiteX299" fmla="*/ 8217 w 10000"/>
              <a:gd name="connsiteY299" fmla="*/ 7364 h 10000"/>
              <a:gd name="connsiteX300" fmla="*/ 8295 w 10000"/>
              <a:gd name="connsiteY300" fmla="*/ 7287 h 10000"/>
              <a:gd name="connsiteX301" fmla="*/ 8333 w 10000"/>
              <a:gd name="connsiteY301" fmla="*/ 7287 h 10000"/>
              <a:gd name="connsiteX302" fmla="*/ 8333 w 10000"/>
              <a:gd name="connsiteY302" fmla="*/ 7132 h 10000"/>
              <a:gd name="connsiteX303" fmla="*/ 8295 w 10000"/>
              <a:gd name="connsiteY303" fmla="*/ 7132 h 10000"/>
              <a:gd name="connsiteX304" fmla="*/ 8333 w 10000"/>
              <a:gd name="connsiteY304" fmla="*/ 6900 h 10000"/>
              <a:gd name="connsiteX305" fmla="*/ 8295 w 10000"/>
              <a:gd name="connsiteY305" fmla="*/ 6900 h 10000"/>
              <a:gd name="connsiteX306" fmla="*/ 8256 w 10000"/>
              <a:gd name="connsiteY306" fmla="*/ 6900 h 10000"/>
              <a:gd name="connsiteX307" fmla="*/ 8256 w 10000"/>
              <a:gd name="connsiteY307" fmla="*/ 6822 h 10000"/>
              <a:gd name="connsiteX308" fmla="*/ 8333 w 10000"/>
              <a:gd name="connsiteY308" fmla="*/ 6590 h 10000"/>
              <a:gd name="connsiteX309" fmla="*/ 8333 w 10000"/>
              <a:gd name="connsiteY309" fmla="*/ 6434 h 10000"/>
              <a:gd name="connsiteX310" fmla="*/ 8411 w 10000"/>
              <a:gd name="connsiteY310" fmla="*/ 6434 h 10000"/>
              <a:gd name="connsiteX311" fmla="*/ 8527 w 10000"/>
              <a:gd name="connsiteY311" fmla="*/ 6279 h 10000"/>
              <a:gd name="connsiteX312" fmla="*/ 8527 w 10000"/>
              <a:gd name="connsiteY312" fmla="*/ 6434 h 10000"/>
              <a:gd name="connsiteX313" fmla="*/ 8566 w 10000"/>
              <a:gd name="connsiteY313" fmla="*/ 6356 h 10000"/>
              <a:gd name="connsiteX314" fmla="*/ 8682 w 10000"/>
              <a:gd name="connsiteY314" fmla="*/ 6279 h 10000"/>
              <a:gd name="connsiteX315" fmla="*/ 8759 w 10000"/>
              <a:gd name="connsiteY315" fmla="*/ 6434 h 10000"/>
              <a:gd name="connsiteX316" fmla="*/ 8798 w 10000"/>
              <a:gd name="connsiteY316" fmla="*/ 6279 h 10000"/>
              <a:gd name="connsiteX317" fmla="*/ 9187 w 10000"/>
              <a:gd name="connsiteY317" fmla="*/ 5737 h 10000"/>
              <a:gd name="connsiteX318" fmla="*/ 9303 w 10000"/>
              <a:gd name="connsiteY318" fmla="*/ 5814 h 10000"/>
              <a:gd name="connsiteX319" fmla="*/ 9342 w 10000"/>
              <a:gd name="connsiteY319" fmla="*/ 5737 h 10000"/>
              <a:gd name="connsiteX320" fmla="*/ 9264 w 10000"/>
              <a:gd name="connsiteY320" fmla="*/ 5271 h 10000"/>
              <a:gd name="connsiteX321" fmla="*/ 9225 w 10000"/>
              <a:gd name="connsiteY321" fmla="*/ 5271 h 10000"/>
              <a:gd name="connsiteX322" fmla="*/ 9225 w 10000"/>
              <a:gd name="connsiteY322" fmla="*/ 5116 h 10000"/>
              <a:gd name="connsiteX323" fmla="*/ 9264 w 10000"/>
              <a:gd name="connsiteY323" fmla="*/ 5116 h 10000"/>
              <a:gd name="connsiteX324" fmla="*/ 9342 w 10000"/>
              <a:gd name="connsiteY324" fmla="*/ 5039 h 10000"/>
              <a:gd name="connsiteX325" fmla="*/ 9419 w 10000"/>
              <a:gd name="connsiteY325" fmla="*/ 4884 h 10000"/>
              <a:gd name="connsiteX326" fmla="*/ 9380 w 10000"/>
              <a:gd name="connsiteY326" fmla="*/ 4729 h 10000"/>
              <a:gd name="connsiteX327" fmla="*/ 9419 w 10000"/>
              <a:gd name="connsiteY327" fmla="*/ 4652 h 10000"/>
              <a:gd name="connsiteX328" fmla="*/ 9458 w 10000"/>
              <a:gd name="connsiteY328" fmla="*/ 4884 h 10000"/>
              <a:gd name="connsiteX329" fmla="*/ 9535 w 10000"/>
              <a:gd name="connsiteY329" fmla="*/ 4884 h 10000"/>
              <a:gd name="connsiteX330" fmla="*/ 9613 w 10000"/>
              <a:gd name="connsiteY330" fmla="*/ 5039 h 10000"/>
              <a:gd name="connsiteX331" fmla="*/ 9806 w 10000"/>
              <a:gd name="connsiteY331" fmla="*/ 5271 h 10000"/>
              <a:gd name="connsiteX332" fmla="*/ 9845 w 10000"/>
              <a:gd name="connsiteY332" fmla="*/ 5039 h 10000"/>
              <a:gd name="connsiteX333" fmla="*/ 9845 w 10000"/>
              <a:gd name="connsiteY333" fmla="*/ 4884 h 10000"/>
              <a:gd name="connsiteX334" fmla="*/ 9923 w 10000"/>
              <a:gd name="connsiteY334" fmla="*/ 4884 h 10000"/>
              <a:gd name="connsiteX335" fmla="*/ 10000 w 10000"/>
              <a:gd name="connsiteY335" fmla="*/ 4729 h 10000"/>
              <a:gd name="connsiteX336" fmla="*/ 9884 w 10000"/>
              <a:gd name="connsiteY336" fmla="*/ 4496 h 10000"/>
              <a:gd name="connsiteX337" fmla="*/ 9690 w 10000"/>
              <a:gd name="connsiteY337" fmla="*/ 4418 h 10000"/>
              <a:gd name="connsiteX338" fmla="*/ 9342 w 10000"/>
              <a:gd name="connsiteY338" fmla="*/ 3799 h 10000"/>
              <a:gd name="connsiteX339" fmla="*/ 9109 w 10000"/>
              <a:gd name="connsiteY339" fmla="*/ 3488 h 10000"/>
              <a:gd name="connsiteX340" fmla="*/ 8798 w 10000"/>
              <a:gd name="connsiteY340" fmla="*/ 3411 h 10000"/>
              <a:gd name="connsiteX341" fmla="*/ 8798 w 10000"/>
              <a:gd name="connsiteY341" fmla="*/ 3799 h 10000"/>
              <a:gd name="connsiteX342" fmla="*/ 8721 w 10000"/>
              <a:gd name="connsiteY342" fmla="*/ 3876 h 10000"/>
              <a:gd name="connsiteX343" fmla="*/ 8643 w 10000"/>
              <a:gd name="connsiteY343" fmla="*/ 3721 h 10000"/>
              <a:gd name="connsiteX344" fmla="*/ 8643 w 10000"/>
              <a:gd name="connsiteY344" fmla="*/ 3566 h 10000"/>
              <a:gd name="connsiteX345" fmla="*/ 8682 w 10000"/>
              <a:gd name="connsiteY345" fmla="*/ 3566 h 10000"/>
              <a:gd name="connsiteX346" fmla="*/ 8721 w 10000"/>
              <a:gd name="connsiteY346" fmla="*/ 3488 h 10000"/>
              <a:gd name="connsiteX347" fmla="*/ 8643 w 10000"/>
              <a:gd name="connsiteY347" fmla="*/ 3488 h 10000"/>
              <a:gd name="connsiteX348" fmla="*/ 8566 w 10000"/>
              <a:gd name="connsiteY348" fmla="*/ 3644 h 10000"/>
              <a:gd name="connsiteX349" fmla="*/ 8372 w 10000"/>
              <a:gd name="connsiteY349" fmla="*/ 3566 h 10000"/>
              <a:gd name="connsiteX350" fmla="*/ 8178 w 10000"/>
              <a:gd name="connsiteY350" fmla="*/ 3566 h 10000"/>
              <a:gd name="connsiteX351" fmla="*/ 8101 w 10000"/>
              <a:gd name="connsiteY351" fmla="*/ 3488 h 10000"/>
              <a:gd name="connsiteX352" fmla="*/ 8140 w 10000"/>
              <a:gd name="connsiteY352" fmla="*/ 3333 h 10000"/>
              <a:gd name="connsiteX353" fmla="*/ 8062 w 10000"/>
              <a:gd name="connsiteY353" fmla="*/ 3101 h 10000"/>
              <a:gd name="connsiteX354" fmla="*/ 7907 w 10000"/>
              <a:gd name="connsiteY354" fmla="*/ 3023 h 10000"/>
              <a:gd name="connsiteX355" fmla="*/ 7675 w 10000"/>
              <a:gd name="connsiteY355" fmla="*/ 3178 h 10000"/>
              <a:gd name="connsiteX356" fmla="*/ 7636 w 10000"/>
              <a:gd name="connsiteY356" fmla="*/ 2946 h 10000"/>
              <a:gd name="connsiteX357" fmla="*/ 7558 w 10000"/>
              <a:gd name="connsiteY357" fmla="*/ 2946 h 10000"/>
              <a:gd name="connsiteX358" fmla="*/ 7520 w 10000"/>
              <a:gd name="connsiteY358" fmla="*/ 2868 h 10000"/>
              <a:gd name="connsiteX359" fmla="*/ 7520 w 10000"/>
              <a:gd name="connsiteY359" fmla="*/ 2636 h 10000"/>
              <a:gd name="connsiteX360" fmla="*/ 7249 w 10000"/>
              <a:gd name="connsiteY360" fmla="*/ 2480 h 10000"/>
              <a:gd name="connsiteX361" fmla="*/ 6938 w 10000"/>
              <a:gd name="connsiteY361" fmla="*/ 2325 h 10000"/>
              <a:gd name="connsiteX362" fmla="*/ 6860 w 10000"/>
              <a:gd name="connsiteY362" fmla="*/ 2636 h 10000"/>
              <a:gd name="connsiteX363" fmla="*/ 6938 w 10000"/>
              <a:gd name="connsiteY363" fmla="*/ 2868 h 10000"/>
              <a:gd name="connsiteX364" fmla="*/ 6705 w 10000"/>
              <a:gd name="connsiteY364" fmla="*/ 2868 h 10000"/>
              <a:gd name="connsiteX365" fmla="*/ 6666 w 10000"/>
              <a:gd name="connsiteY365" fmla="*/ 2868 h 10000"/>
              <a:gd name="connsiteX366" fmla="*/ 6589 w 10000"/>
              <a:gd name="connsiteY366" fmla="*/ 2946 h 10000"/>
              <a:gd name="connsiteX367" fmla="*/ 6473 w 10000"/>
              <a:gd name="connsiteY367" fmla="*/ 2714 h 10000"/>
              <a:gd name="connsiteX368" fmla="*/ 6395 w 10000"/>
              <a:gd name="connsiteY368" fmla="*/ 3178 h 10000"/>
              <a:gd name="connsiteX369" fmla="*/ 6318 w 10000"/>
              <a:gd name="connsiteY369" fmla="*/ 3101 h 10000"/>
              <a:gd name="connsiteX370" fmla="*/ 6240 w 10000"/>
              <a:gd name="connsiteY370" fmla="*/ 2791 h 10000"/>
              <a:gd name="connsiteX371" fmla="*/ 6279 w 10000"/>
              <a:gd name="connsiteY371" fmla="*/ 2403 h 10000"/>
              <a:gd name="connsiteX372" fmla="*/ 6202 w 10000"/>
              <a:gd name="connsiteY372" fmla="*/ 2170 h 10000"/>
              <a:gd name="connsiteX373" fmla="*/ 5969 w 10000"/>
              <a:gd name="connsiteY373" fmla="*/ 2016 h 10000"/>
              <a:gd name="connsiteX374" fmla="*/ 5892 w 10000"/>
              <a:gd name="connsiteY374" fmla="*/ 2016 h 10000"/>
              <a:gd name="connsiteX375" fmla="*/ 5853 w 10000"/>
              <a:gd name="connsiteY375" fmla="*/ 2170 h 10000"/>
              <a:gd name="connsiteX376" fmla="*/ 5892 w 10000"/>
              <a:gd name="connsiteY376" fmla="*/ 2325 h 10000"/>
              <a:gd name="connsiteX377" fmla="*/ 5582 w 10000"/>
              <a:gd name="connsiteY377" fmla="*/ 2248 h 10000"/>
              <a:gd name="connsiteX378" fmla="*/ 5620 w 10000"/>
              <a:gd name="connsiteY378" fmla="*/ 2016 h 10000"/>
              <a:gd name="connsiteX379" fmla="*/ 5427 w 10000"/>
              <a:gd name="connsiteY379" fmla="*/ 1938 h 10000"/>
              <a:gd name="connsiteX380" fmla="*/ 5311 w 10000"/>
              <a:gd name="connsiteY380" fmla="*/ 2093 h 10000"/>
              <a:gd name="connsiteX381" fmla="*/ 5078 w 10000"/>
              <a:gd name="connsiteY381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473 w 10000"/>
              <a:gd name="connsiteY249" fmla="*/ 9457 h 10000"/>
              <a:gd name="connsiteX250" fmla="*/ 6434 w 10000"/>
              <a:gd name="connsiteY250" fmla="*/ 9380 h 10000"/>
              <a:gd name="connsiteX251" fmla="*/ 6589 w 10000"/>
              <a:gd name="connsiteY251" fmla="*/ 9691 h 10000"/>
              <a:gd name="connsiteX252" fmla="*/ 6938 w 10000"/>
              <a:gd name="connsiteY252" fmla="*/ 8838 h 10000"/>
              <a:gd name="connsiteX253" fmla="*/ 6938 w 10000"/>
              <a:gd name="connsiteY253" fmla="*/ 8295 h 10000"/>
              <a:gd name="connsiteX254" fmla="*/ 6976 w 10000"/>
              <a:gd name="connsiteY254" fmla="*/ 8140 h 10000"/>
              <a:gd name="connsiteX255" fmla="*/ 6976 w 10000"/>
              <a:gd name="connsiteY255" fmla="*/ 7907 h 10000"/>
              <a:gd name="connsiteX256" fmla="*/ 6899 w 10000"/>
              <a:gd name="connsiteY256" fmla="*/ 7675 h 10000"/>
              <a:gd name="connsiteX257" fmla="*/ 6860 w 10000"/>
              <a:gd name="connsiteY257" fmla="*/ 7675 h 10000"/>
              <a:gd name="connsiteX258" fmla="*/ 6821 w 10000"/>
              <a:gd name="connsiteY258" fmla="*/ 7830 h 10000"/>
              <a:gd name="connsiteX259" fmla="*/ 6744 w 10000"/>
              <a:gd name="connsiteY259" fmla="*/ 7830 h 10000"/>
              <a:gd name="connsiteX260" fmla="*/ 6783 w 10000"/>
              <a:gd name="connsiteY260" fmla="*/ 7675 h 10000"/>
              <a:gd name="connsiteX261" fmla="*/ 6744 w 10000"/>
              <a:gd name="connsiteY261" fmla="*/ 7675 h 10000"/>
              <a:gd name="connsiteX262" fmla="*/ 6705 w 10000"/>
              <a:gd name="connsiteY262" fmla="*/ 7598 h 10000"/>
              <a:gd name="connsiteX263" fmla="*/ 6628 w 10000"/>
              <a:gd name="connsiteY263" fmla="*/ 7598 h 10000"/>
              <a:gd name="connsiteX264" fmla="*/ 6628 w 10000"/>
              <a:gd name="connsiteY264" fmla="*/ 7520 h 10000"/>
              <a:gd name="connsiteX265" fmla="*/ 6744 w 10000"/>
              <a:gd name="connsiteY265" fmla="*/ 7287 h 10000"/>
              <a:gd name="connsiteX266" fmla="*/ 7094 w 10000"/>
              <a:gd name="connsiteY266" fmla="*/ 6590 h 10000"/>
              <a:gd name="connsiteX267" fmla="*/ 7249 w 10000"/>
              <a:gd name="connsiteY267" fmla="*/ 6512 h 10000"/>
              <a:gd name="connsiteX268" fmla="*/ 7287 w 10000"/>
              <a:gd name="connsiteY268" fmla="*/ 6590 h 10000"/>
              <a:gd name="connsiteX269" fmla="*/ 7326 w 10000"/>
              <a:gd name="connsiteY269" fmla="*/ 6512 h 10000"/>
              <a:gd name="connsiteX270" fmla="*/ 7442 w 10000"/>
              <a:gd name="connsiteY270" fmla="*/ 6590 h 10000"/>
              <a:gd name="connsiteX271" fmla="*/ 7481 w 10000"/>
              <a:gd name="connsiteY271" fmla="*/ 6434 h 10000"/>
              <a:gd name="connsiteX272" fmla="*/ 7597 w 10000"/>
              <a:gd name="connsiteY272" fmla="*/ 6512 h 10000"/>
              <a:gd name="connsiteX273" fmla="*/ 7636 w 10000"/>
              <a:gd name="connsiteY273" fmla="*/ 6512 h 10000"/>
              <a:gd name="connsiteX274" fmla="*/ 7597 w 10000"/>
              <a:gd name="connsiteY274" fmla="*/ 6590 h 10000"/>
              <a:gd name="connsiteX275" fmla="*/ 7597 w 10000"/>
              <a:gd name="connsiteY275" fmla="*/ 6667 h 10000"/>
              <a:gd name="connsiteX276" fmla="*/ 7830 w 10000"/>
              <a:gd name="connsiteY276" fmla="*/ 6590 h 10000"/>
              <a:gd name="connsiteX277" fmla="*/ 7791 w 10000"/>
              <a:gd name="connsiteY277" fmla="*/ 6512 h 10000"/>
              <a:gd name="connsiteX278" fmla="*/ 7946 w 10000"/>
              <a:gd name="connsiteY278" fmla="*/ 5969 h 10000"/>
              <a:gd name="connsiteX279" fmla="*/ 8140 w 10000"/>
              <a:gd name="connsiteY279" fmla="*/ 5892 h 10000"/>
              <a:gd name="connsiteX280" fmla="*/ 8140 w 10000"/>
              <a:gd name="connsiteY280" fmla="*/ 6047 h 10000"/>
              <a:gd name="connsiteX281" fmla="*/ 8140 w 10000"/>
              <a:gd name="connsiteY281" fmla="*/ 6202 h 10000"/>
              <a:gd name="connsiteX282" fmla="*/ 8333 w 10000"/>
              <a:gd name="connsiteY282" fmla="*/ 5969 h 10000"/>
              <a:gd name="connsiteX283" fmla="*/ 8333 w 10000"/>
              <a:gd name="connsiteY283" fmla="*/ 5737 h 10000"/>
              <a:gd name="connsiteX284" fmla="*/ 8411 w 10000"/>
              <a:gd name="connsiteY284" fmla="*/ 5737 h 10000"/>
              <a:gd name="connsiteX285" fmla="*/ 8372 w 10000"/>
              <a:gd name="connsiteY285" fmla="*/ 5814 h 10000"/>
              <a:gd name="connsiteX286" fmla="*/ 8333 w 10000"/>
              <a:gd name="connsiteY286" fmla="*/ 6202 h 10000"/>
              <a:gd name="connsiteX287" fmla="*/ 8256 w 10000"/>
              <a:gd name="connsiteY287" fmla="*/ 6279 h 10000"/>
              <a:gd name="connsiteX288" fmla="*/ 8023 w 10000"/>
              <a:gd name="connsiteY288" fmla="*/ 6822 h 10000"/>
              <a:gd name="connsiteX289" fmla="*/ 7946 w 10000"/>
              <a:gd name="connsiteY289" fmla="*/ 6900 h 10000"/>
              <a:gd name="connsiteX290" fmla="*/ 7868 w 10000"/>
              <a:gd name="connsiteY290" fmla="*/ 7442 h 10000"/>
              <a:gd name="connsiteX291" fmla="*/ 7946 w 10000"/>
              <a:gd name="connsiteY291" fmla="*/ 8372 h 10000"/>
              <a:gd name="connsiteX292" fmla="*/ 8023 w 10000"/>
              <a:gd name="connsiteY292" fmla="*/ 8217 h 10000"/>
              <a:gd name="connsiteX293" fmla="*/ 8101 w 10000"/>
              <a:gd name="connsiteY293" fmla="*/ 7907 h 10000"/>
              <a:gd name="connsiteX294" fmla="*/ 8140 w 10000"/>
              <a:gd name="connsiteY294" fmla="*/ 7907 h 10000"/>
              <a:gd name="connsiteX295" fmla="*/ 8140 w 10000"/>
              <a:gd name="connsiteY295" fmla="*/ 7675 h 10000"/>
              <a:gd name="connsiteX296" fmla="*/ 8178 w 10000"/>
              <a:gd name="connsiteY296" fmla="*/ 7675 h 10000"/>
              <a:gd name="connsiteX297" fmla="*/ 8256 w 10000"/>
              <a:gd name="connsiteY297" fmla="*/ 7598 h 10000"/>
              <a:gd name="connsiteX298" fmla="*/ 8217 w 10000"/>
              <a:gd name="connsiteY298" fmla="*/ 7364 h 10000"/>
              <a:gd name="connsiteX299" fmla="*/ 8295 w 10000"/>
              <a:gd name="connsiteY299" fmla="*/ 7287 h 10000"/>
              <a:gd name="connsiteX300" fmla="*/ 8333 w 10000"/>
              <a:gd name="connsiteY300" fmla="*/ 7287 h 10000"/>
              <a:gd name="connsiteX301" fmla="*/ 8333 w 10000"/>
              <a:gd name="connsiteY301" fmla="*/ 7132 h 10000"/>
              <a:gd name="connsiteX302" fmla="*/ 8295 w 10000"/>
              <a:gd name="connsiteY302" fmla="*/ 7132 h 10000"/>
              <a:gd name="connsiteX303" fmla="*/ 8333 w 10000"/>
              <a:gd name="connsiteY303" fmla="*/ 6900 h 10000"/>
              <a:gd name="connsiteX304" fmla="*/ 8295 w 10000"/>
              <a:gd name="connsiteY304" fmla="*/ 6900 h 10000"/>
              <a:gd name="connsiteX305" fmla="*/ 8256 w 10000"/>
              <a:gd name="connsiteY305" fmla="*/ 6900 h 10000"/>
              <a:gd name="connsiteX306" fmla="*/ 8256 w 10000"/>
              <a:gd name="connsiteY306" fmla="*/ 6822 h 10000"/>
              <a:gd name="connsiteX307" fmla="*/ 8333 w 10000"/>
              <a:gd name="connsiteY307" fmla="*/ 6590 h 10000"/>
              <a:gd name="connsiteX308" fmla="*/ 8333 w 10000"/>
              <a:gd name="connsiteY308" fmla="*/ 6434 h 10000"/>
              <a:gd name="connsiteX309" fmla="*/ 8411 w 10000"/>
              <a:gd name="connsiteY309" fmla="*/ 6434 h 10000"/>
              <a:gd name="connsiteX310" fmla="*/ 8527 w 10000"/>
              <a:gd name="connsiteY310" fmla="*/ 6279 h 10000"/>
              <a:gd name="connsiteX311" fmla="*/ 8527 w 10000"/>
              <a:gd name="connsiteY311" fmla="*/ 6434 h 10000"/>
              <a:gd name="connsiteX312" fmla="*/ 8566 w 10000"/>
              <a:gd name="connsiteY312" fmla="*/ 6356 h 10000"/>
              <a:gd name="connsiteX313" fmla="*/ 8682 w 10000"/>
              <a:gd name="connsiteY313" fmla="*/ 6279 h 10000"/>
              <a:gd name="connsiteX314" fmla="*/ 8759 w 10000"/>
              <a:gd name="connsiteY314" fmla="*/ 6434 h 10000"/>
              <a:gd name="connsiteX315" fmla="*/ 8798 w 10000"/>
              <a:gd name="connsiteY315" fmla="*/ 6279 h 10000"/>
              <a:gd name="connsiteX316" fmla="*/ 9187 w 10000"/>
              <a:gd name="connsiteY316" fmla="*/ 5737 h 10000"/>
              <a:gd name="connsiteX317" fmla="*/ 9303 w 10000"/>
              <a:gd name="connsiteY317" fmla="*/ 5814 h 10000"/>
              <a:gd name="connsiteX318" fmla="*/ 9342 w 10000"/>
              <a:gd name="connsiteY318" fmla="*/ 5737 h 10000"/>
              <a:gd name="connsiteX319" fmla="*/ 9264 w 10000"/>
              <a:gd name="connsiteY319" fmla="*/ 5271 h 10000"/>
              <a:gd name="connsiteX320" fmla="*/ 9225 w 10000"/>
              <a:gd name="connsiteY320" fmla="*/ 5271 h 10000"/>
              <a:gd name="connsiteX321" fmla="*/ 9225 w 10000"/>
              <a:gd name="connsiteY321" fmla="*/ 5116 h 10000"/>
              <a:gd name="connsiteX322" fmla="*/ 9264 w 10000"/>
              <a:gd name="connsiteY322" fmla="*/ 5116 h 10000"/>
              <a:gd name="connsiteX323" fmla="*/ 9342 w 10000"/>
              <a:gd name="connsiteY323" fmla="*/ 5039 h 10000"/>
              <a:gd name="connsiteX324" fmla="*/ 9419 w 10000"/>
              <a:gd name="connsiteY324" fmla="*/ 4884 h 10000"/>
              <a:gd name="connsiteX325" fmla="*/ 9380 w 10000"/>
              <a:gd name="connsiteY325" fmla="*/ 4729 h 10000"/>
              <a:gd name="connsiteX326" fmla="*/ 9419 w 10000"/>
              <a:gd name="connsiteY326" fmla="*/ 4652 h 10000"/>
              <a:gd name="connsiteX327" fmla="*/ 9458 w 10000"/>
              <a:gd name="connsiteY327" fmla="*/ 4884 h 10000"/>
              <a:gd name="connsiteX328" fmla="*/ 9535 w 10000"/>
              <a:gd name="connsiteY328" fmla="*/ 4884 h 10000"/>
              <a:gd name="connsiteX329" fmla="*/ 9613 w 10000"/>
              <a:gd name="connsiteY329" fmla="*/ 5039 h 10000"/>
              <a:gd name="connsiteX330" fmla="*/ 9806 w 10000"/>
              <a:gd name="connsiteY330" fmla="*/ 5271 h 10000"/>
              <a:gd name="connsiteX331" fmla="*/ 9845 w 10000"/>
              <a:gd name="connsiteY331" fmla="*/ 5039 h 10000"/>
              <a:gd name="connsiteX332" fmla="*/ 9845 w 10000"/>
              <a:gd name="connsiteY332" fmla="*/ 4884 h 10000"/>
              <a:gd name="connsiteX333" fmla="*/ 9923 w 10000"/>
              <a:gd name="connsiteY333" fmla="*/ 4884 h 10000"/>
              <a:gd name="connsiteX334" fmla="*/ 10000 w 10000"/>
              <a:gd name="connsiteY334" fmla="*/ 4729 h 10000"/>
              <a:gd name="connsiteX335" fmla="*/ 9884 w 10000"/>
              <a:gd name="connsiteY335" fmla="*/ 4496 h 10000"/>
              <a:gd name="connsiteX336" fmla="*/ 9690 w 10000"/>
              <a:gd name="connsiteY336" fmla="*/ 4418 h 10000"/>
              <a:gd name="connsiteX337" fmla="*/ 9342 w 10000"/>
              <a:gd name="connsiteY337" fmla="*/ 3799 h 10000"/>
              <a:gd name="connsiteX338" fmla="*/ 9109 w 10000"/>
              <a:gd name="connsiteY338" fmla="*/ 3488 h 10000"/>
              <a:gd name="connsiteX339" fmla="*/ 8798 w 10000"/>
              <a:gd name="connsiteY339" fmla="*/ 3411 h 10000"/>
              <a:gd name="connsiteX340" fmla="*/ 8798 w 10000"/>
              <a:gd name="connsiteY340" fmla="*/ 3799 h 10000"/>
              <a:gd name="connsiteX341" fmla="*/ 8721 w 10000"/>
              <a:gd name="connsiteY341" fmla="*/ 3876 h 10000"/>
              <a:gd name="connsiteX342" fmla="*/ 8643 w 10000"/>
              <a:gd name="connsiteY342" fmla="*/ 3721 h 10000"/>
              <a:gd name="connsiteX343" fmla="*/ 8643 w 10000"/>
              <a:gd name="connsiteY343" fmla="*/ 3566 h 10000"/>
              <a:gd name="connsiteX344" fmla="*/ 8682 w 10000"/>
              <a:gd name="connsiteY344" fmla="*/ 3566 h 10000"/>
              <a:gd name="connsiteX345" fmla="*/ 8721 w 10000"/>
              <a:gd name="connsiteY345" fmla="*/ 3488 h 10000"/>
              <a:gd name="connsiteX346" fmla="*/ 8643 w 10000"/>
              <a:gd name="connsiteY346" fmla="*/ 3488 h 10000"/>
              <a:gd name="connsiteX347" fmla="*/ 8566 w 10000"/>
              <a:gd name="connsiteY347" fmla="*/ 3644 h 10000"/>
              <a:gd name="connsiteX348" fmla="*/ 8372 w 10000"/>
              <a:gd name="connsiteY348" fmla="*/ 3566 h 10000"/>
              <a:gd name="connsiteX349" fmla="*/ 8178 w 10000"/>
              <a:gd name="connsiteY349" fmla="*/ 3566 h 10000"/>
              <a:gd name="connsiteX350" fmla="*/ 8101 w 10000"/>
              <a:gd name="connsiteY350" fmla="*/ 3488 h 10000"/>
              <a:gd name="connsiteX351" fmla="*/ 8140 w 10000"/>
              <a:gd name="connsiteY351" fmla="*/ 3333 h 10000"/>
              <a:gd name="connsiteX352" fmla="*/ 8062 w 10000"/>
              <a:gd name="connsiteY352" fmla="*/ 3101 h 10000"/>
              <a:gd name="connsiteX353" fmla="*/ 7907 w 10000"/>
              <a:gd name="connsiteY353" fmla="*/ 3023 h 10000"/>
              <a:gd name="connsiteX354" fmla="*/ 7675 w 10000"/>
              <a:gd name="connsiteY354" fmla="*/ 3178 h 10000"/>
              <a:gd name="connsiteX355" fmla="*/ 7636 w 10000"/>
              <a:gd name="connsiteY355" fmla="*/ 2946 h 10000"/>
              <a:gd name="connsiteX356" fmla="*/ 7558 w 10000"/>
              <a:gd name="connsiteY356" fmla="*/ 2946 h 10000"/>
              <a:gd name="connsiteX357" fmla="*/ 7520 w 10000"/>
              <a:gd name="connsiteY357" fmla="*/ 2868 h 10000"/>
              <a:gd name="connsiteX358" fmla="*/ 7520 w 10000"/>
              <a:gd name="connsiteY358" fmla="*/ 2636 h 10000"/>
              <a:gd name="connsiteX359" fmla="*/ 7249 w 10000"/>
              <a:gd name="connsiteY359" fmla="*/ 2480 h 10000"/>
              <a:gd name="connsiteX360" fmla="*/ 6938 w 10000"/>
              <a:gd name="connsiteY360" fmla="*/ 2325 h 10000"/>
              <a:gd name="connsiteX361" fmla="*/ 6860 w 10000"/>
              <a:gd name="connsiteY361" fmla="*/ 2636 h 10000"/>
              <a:gd name="connsiteX362" fmla="*/ 6938 w 10000"/>
              <a:gd name="connsiteY362" fmla="*/ 2868 h 10000"/>
              <a:gd name="connsiteX363" fmla="*/ 6705 w 10000"/>
              <a:gd name="connsiteY363" fmla="*/ 2868 h 10000"/>
              <a:gd name="connsiteX364" fmla="*/ 6666 w 10000"/>
              <a:gd name="connsiteY364" fmla="*/ 2868 h 10000"/>
              <a:gd name="connsiteX365" fmla="*/ 6589 w 10000"/>
              <a:gd name="connsiteY365" fmla="*/ 2946 h 10000"/>
              <a:gd name="connsiteX366" fmla="*/ 6473 w 10000"/>
              <a:gd name="connsiteY366" fmla="*/ 2714 h 10000"/>
              <a:gd name="connsiteX367" fmla="*/ 6395 w 10000"/>
              <a:gd name="connsiteY367" fmla="*/ 3178 h 10000"/>
              <a:gd name="connsiteX368" fmla="*/ 6318 w 10000"/>
              <a:gd name="connsiteY368" fmla="*/ 3101 h 10000"/>
              <a:gd name="connsiteX369" fmla="*/ 6240 w 10000"/>
              <a:gd name="connsiteY369" fmla="*/ 2791 h 10000"/>
              <a:gd name="connsiteX370" fmla="*/ 6279 w 10000"/>
              <a:gd name="connsiteY370" fmla="*/ 2403 h 10000"/>
              <a:gd name="connsiteX371" fmla="*/ 6202 w 10000"/>
              <a:gd name="connsiteY371" fmla="*/ 2170 h 10000"/>
              <a:gd name="connsiteX372" fmla="*/ 5969 w 10000"/>
              <a:gd name="connsiteY372" fmla="*/ 2016 h 10000"/>
              <a:gd name="connsiteX373" fmla="*/ 5892 w 10000"/>
              <a:gd name="connsiteY373" fmla="*/ 2016 h 10000"/>
              <a:gd name="connsiteX374" fmla="*/ 5853 w 10000"/>
              <a:gd name="connsiteY374" fmla="*/ 2170 h 10000"/>
              <a:gd name="connsiteX375" fmla="*/ 5892 w 10000"/>
              <a:gd name="connsiteY375" fmla="*/ 2325 h 10000"/>
              <a:gd name="connsiteX376" fmla="*/ 5582 w 10000"/>
              <a:gd name="connsiteY376" fmla="*/ 2248 h 10000"/>
              <a:gd name="connsiteX377" fmla="*/ 5620 w 10000"/>
              <a:gd name="connsiteY377" fmla="*/ 2016 h 10000"/>
              <a:gd name="connsiteX378" fmla="*/ 5427 w 10000"/>
              <a:gd name="connsiteY378" fmla="*/ 1938 h 10000"/>
              <a:gd name="connsiteX379" fmla="*/ 5311 w 10000"/>
              <a:gd name="connsiteY379" fmla="*/ 2093 h 10000"/>
              <a:gd name="connsiteX380" fmla="*/ 5078 w 10000"/>
              <a:gd name="connsiteY380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473 w 10000"/>
              <a:gd name="connsiteY249" fmla="*/ 9457 h 10000"/>
              <a:gd name="connsiteX250" fmla="*/ 6589 w 10000"/>
              <a:gd name="connsiteY250" fmla="*/ 9691 h 10000"/>
              <a:gd name="connsiteX251" fmla="*/ 6938 w 10000"/>
              <a:gd name="connsiteY251" fmla="*/ 8838 h 10000"/>
              <a:gd name="connsiteX252" fmla="*/ 6938 w 10000"/>
              <a:gd name="connsiteY252" fmla="*/ 8295 h 10000"/>
              <a:gd name="connsiteX253" fmla="*/ 6976 w 10000"/>
              <a:gd name="connsiteY253" fmla="*/ 8140 h 10000"/>
              <a:gd name="connsiteX254" fmla="*/ 6976 w 10000"/>
              <a:gd name="connsiteY254" fmla="*/ 7907 h 10000"/>
              <a:gd name="connsiteX255" fmla="*/ 6899 w 10000"/>
              <a:gd name="connsiteY255" fmla="*/ 7675 h 10000"/>
              <a:gd name="connsiteX256" fmla="*/ 6860 w 10000"/>
              <a:gd name="connsiteY256" fmla="*/ 7675 h 10000"/>
              <a:gd name="connsiteX257" fmla="*/ 6821 w 10000"/>
              <a:gd name="connsiteY257" fmla="*/ 7830 h 10000"/>
              <a:gd name="connsiteX258" fmla="*/ 6744 w 10000"/>
              <a:gd name="connsiteY258" fmla="*/ 7830 h 10000"/>
              <a:gd name="connsiteX259" fmla="*/ 6783 w 10000"/>
              <a:gd name="connsiteY259" fmla="*/ 7675 h 10000"/>
              <a:gd name="connsiteX260" fmla="*/ 6744 w 10000"/>
              <a:gd name="connsiteY260" fmla="*/ 7675 h 10000"/>
              <a:gd name="connsiteX261" fmla="*/ 6705 w 10000"/>
              <a:gd name="connsiteY261" fmla="*/ 7598 h 10000"/>
              <a:gd name="connsiteX262" fmla="*/ 6628 w 10000"/>
              <a:gd name="connsiteY262" fmla="*/ 7598 h 10000"/>
              <a:gd name="connsiteX263" fmla="*/ 6628 w 10000"/>
              <a:gd name="connsiteY263" fmla="*/ 7520 h 10000"/>
              <a:gd name="connsiteX264" fmla="*/ 6744 w 10000"/>
              <a:gd name="connsiteY264" fmla="*/ 7287 h 10000"/>
              <a:gd name="connsiteX265" fmla="*/ 7094 w 10000"/>
              <a:gd name="connsiteY265" fmla="*/ 6590 h 10000"/>
              <a:gd name="connsiteX266" fmla="*/ 7249 w 10000"/>
              <a:gd name="connsiteY266" fmla="*/ 6512 h 10000"/>
              <a:gd name="connsiteX267" fmla="*/ 7287 w 10000"/>
              <a:gd name="connsiteY267" fmla="*/ 6590 h 10000"/>
              <a:gd name="connsiteX268" fmla="*/ 7326 w 10000"/>
              <a:gd name="connsiteY268" fmla="*/ 6512 h 10000"/>
              <a:gd name="connsiteX269" fmla="*/ 7442 w 10000"/>
              <a:gd name="connsiteY269" fmla="*/ 6590 h 10000"/>
              <a:gd name="connsiteX270" fmla="*/ 7481 w 10000"/>
              <a:gd name="connsiteY270" fmla="*/ 6434 h 10000"/>
              <a:gd name="connsiteX271" fmla="*/ 7597 w 10000"/>
              <a:gd name="connsiteY271" fmla="*/ 6512 h 10000"/>
              <a:gd name="connsiteX272" fmla="*/ 7636 w 10000"/>
              <a:gd name="connsiteY272" fmla="*/ 6512 h 10000"/>
              <a:gd name="connsiteX273" fmla="*/ 7597 w 10000"/>
              <a:gd name="connsiteY273" fmla="*/ 6590 h 10000"/>
              <a:gd name="connsiteX274" fmla="*/ 7597 w 10000"/>
              <a:gd name="connsiteY274" fmla="*/ 6667 h 10000"/>
              <a:gd name="connsiteX275" fmla="*/ 7830 w 10000"/>
              <a:gd name="connsiteY275" fmla="*/ 6590 h 10000"/>
              <a:gd name="connsiteX276" fmla="*/ 7791 w 10000"/>
              <a:gd name="connsiteY276" fmla="*/ 6512 h 10000"/>
              <a:gd name="connsiteX277" fmla="*/ 7946 w 10000"/>
              <a:gd name="connsiteY277" fmla="*/ 5969 h 10000"/>
              <a:gd name="connsiteX278" fmla="*/ 8140 w 10000"/>
              <a:gd name="connsiteY278" fmla="*/ 5892 h 10000"/>
              <a:gd name="connsiteX279" fmla="*/ 8140 w 10000"/>
              <a:gd name="connsiteY279" fmla="*/ 6047 h 10000"/>
              <a:gd name="connsiteX280" fmla="*/ 8140 w 10000"/>
              <a:gd name="connsiteY280" fmla="*/ 6202 h 10000"/>
              <a:gd name="connsiteX281" fmla="*/ 8333 w 10000"/>
              <a:gd name="connsiteY281" fmla="*/ 5969 h 10000"/>
              <a:gd name="connsiteX282" fmla="*/ 8333 w 10000"/>
              <a:gd name="connsiteY282" fmla="*/ 5737 h 10000"/>
              <a:gd name="connsiteX283" fmla="*/ 8411 w 10000"/>
              <a:gd name="connsiteY283" fmla="*/ 5737 h 10000"/>
              <a:gd name="connsiteX284" fmla="*/ 8372 w 10000"/>
              <a:gd name="connsiteY284" fmla="*/ 5814 h 10000"/>
              <a:gd name="connsiteX285" fmla="*/ 8333 w 10000"/>
              <a:gd name="connsiteY285" fmla="*/ 6202 h 10000"/>
              <a:gd name="connsiteX286" fmla="*/ 8256 w 10000"/>
              <a:gd name="connsiteY286" fmla="*/ 6279 h 10000"/>
              <a:gd name="connsiteX287" fmla="*/ 8023 w 10000"/>
              <a:gd name="connsiteY287" fmla="*/ 6822 h 10000"/>
              <a:gd name="connsiteX288" fmla="*/ 7946 w 10000"/>
              <a:gd name="connsiteY288" fmla="*/ 6900 h 10000"/>
              <a:gd name="connsiteX289" fmla="*/ 7868 w 10000"/>
              <a:gd name="connsiteY289" fmla="*/ 7442 h 10000"/>
              <a:gd name="connsiteX290" fmla="*/ 7946 w 10000"/>
              <a:gd name="connsiteY290" fmla="*/ 8372 h 10000"/>
              <a:gd name="connsiteX291" fmla="*/ 8023 w 10000"/>
              <a:gd name="connsiteY291" fmla="*/ 8217 h 10000"/>
              <a:gd name="connsiteX292" fmla="*/ 8101 w 10000"/>
              <a:gd name="connsiteY292" fmla="*/ 7907 h 10000"/>
              <a:gd name="connsiteX293" fmla="*/ 8140 w 10000"/>
              <a:gd name="connsiteY293" fmla="*/ 7907 h 10000"/>
              <a:gd name="connsiteX294" fmla="*/ 8140 w 10000"/>
              <a:gd name="connsiteY294" fmla="*/ 7675 h 10000"/>
              <a:gd name="connsiteX295" fmla="*/ 8178 w 10000"/>
              <a:gd name="connsiteY295" fmla="*/ 7675 h 10000"/>
              <a:gd name="connsiteX296" fmla="*/ 8256 w 10000"/>
              <a:gd name="connsiteY296" fmla="*/ 7598 h 10000"/>
              <a:gd name="connsiteX297" fmla="*/ 8217 w 10000"/>
              <a:gd name="connsiteY297" fmla="*/ 7364 h 10000"/>
              <a:gd name="connsiteX298" fmla="*/ 8295 w 10000"/>
              <a:gd name="connsiteY298" fmla="*/ 7287 h 10000"/>
              <a:gd name="connsiteX299" fmla="*/ 8333 w 10000"/>
              <a:gd name="connsiteY299" fmla="*/ 7287 h 10000"/>
              <a:gd name="connsiteX300" fmla="*/ 8333 w 10000"/>
              <a:gd name="connsiteY300" fmla="*/ 7132 h 10000"/>
              <a:gd name="connsiteX301" fmla="*/ 8295 w 10000"/>
              <a:gd name="connsiteY301" fmla="*/ 7132 h 10000"/>
              <a:gd name="connsiteX302" fmla="*/ 8333 w 10000"/>
              <a:gd name="connsiteY302" fmla="*/ 6900 h 10000"/>
              <a:gd name="connsiteX303" fmla="*/ 8295 w 10000"/>
              <a:gd name="connsiteY303" fmla="*/ 6900 h 10000"/>
              <a:gd name="connsiteX304" fmla="*/ 8256 w 10000"/>
              <a:gd name="connsiteY304" fmla="*/ 6900 h 10000"/>
              <a:gd name="connsiteX305" fmla="*/ 8256 w 10000"/>
              <a:gd name="connsiteY305" fmla="*/ 6822 h 10000"/>
              <a:gd name="connsiteX306" fmla="*/ 8333 w 10000"/>
              <a:gd name="connsiteY306" fmla="*/ 6590 h 10000"/>
              <a:gd name="connsiteX307" fmla="*/ 8333 w 10000"/>
              <a:gd name="connsiteY307" fmla="*/ 6434 h 10000"/>
              <a:gd name="connsiteX308" fmla="*/ 8411 w 10000"/>
              <a:gd name="connsiteY308" fmla="*/ 6434 h 10000"/>
              <a:gd name="connsiteX309" fmla="*/ 8527 w 10000"/>
              <a:gd name="connsiteY309" fmla="*/ 6279 h 10000"/>
              <a:gd name="connsiteX310" fmla="*/ 8527 w 10000"/>
              <a:gd name="connsiteY310" fmla="*/ 6434 h 10000"/>
              <a:gd name="connsiteX311" fmla="*/ 8566 w 10000"/>
              <a:gd name="connsiteY311" fmla="*/ 6356 h 10000"/>
              <a:gd name="connsiteX312" fmla="*/ 8682 w 10000"/>
              <a:gd name="connsiteY312" fmla="*/ 6279 h 10000"/>
              <a:gd name="connsiteX313" fmla="*/ 8759 w 10000"/>
              <a:gd name="connsiteY313" fmla="*/ 6434 h 10000"/>
              <a:gd name="connsiteX314" fmla="*/ 8798 w 10000"/>
              <a:gd name="connsiteY314" fmla="*/ 6279 h 10000"/>
              <a:gd name="connsiteX315" fmla="*/ 9187 w 10000"/>
              <a:gd name="connsiteY315" fmla="*/ 5737 h 10000"/>
              <a:gd name="connsiteX316" fmla="*/ 9303 w 10000"/>
              <a:gd name="connsiteY316" fmla="*/ 5814 h 10000"/>
              <a:gd name="connsiteX317" fmla="*/ 9342 w 10000"/>
              <a:gd name="connsiteY317" fmla="*/ 5737 h 10000"/>
              <a:gd name="connsiteX318" fmla="*/ 9264 w 10000"/>
              <a:gd name="connsiteY318" fmla="*/ 5271 h 10000"/>
              <a:gd name="connsiteX319" fmla="*/ 9225 w 10000"/>
              <a:gd name="connsiteY319" fmla="*/ 5271 h 10000"/>
              <a:gd name="connsiteX320" fmla="*/ 9225 w 10000"/>
              <a:gd name="connsiteY320" fmla="*/ 5116 h 10000"/>
              <a:gd name="connsiteX321" fmla="*/ 9264 w 10000"/>
              <a:gd name="connsiteY321" fmla="*/ 5116 h 10000"/>
              <a:gd name="connsiteX322" fmla="*/ 9342 w 10000"/>
              <a:gd name="connsiteY322" fmla="*/ 5039 h 10000"/>
              <a:gd name="connsiteX323" fmla="*/ 9419 w 10000"/>
              <a:gd name="connsiteY323" fmla="*/ 4884 h 10000"/>
              <a:gd name="connsiteX324" fmla="*/ 9380 w 10000"/>
              <a:gd name="connsiteY324" fmla="*/ 4729 h 10000"/>
              <a:gd name="connsiteX325" fmla="*/ 9419 w 10000"/>
              <a:gd name="connsiteY325" fmla="*/ 4652 h 10000"/>
              <a:gd name="connsiteX326" fmla="*/ 9458 w 10000"/>
              <a:gd name="connsiteY326" fmla="*/ 4884 h 10000"/>
              <a:gd name="connsiteX327" fmla="*/ 9535 w 10000"/>
              <a:gd name="connsiteY327" fmla="*/ 4884 h 10000"/>
              <a:gd name="connsiteX328" fmla="*/ 9613 w 10000"/>
              <a:gd name="connsiteY328" fmla="*/ 5039 h 10000"/>
              <a:gd name="connsiteX329" fmla="*/ 9806 w 10000"/>
              <a:gd name="connsiteY329" fmla="*/ 5271 h 10000"/>
              <a:gd name="connsiteX330" fmla="*/ 9845 w 10000"/>
              <a:gd name="connsiteY330" fmla="*/ 5039 h 10000"/>
              <a:gd name="connsiteX331" fmla="*/ 9845 w 10000"/>
              <a:gd name="connsiteY331" fmla="*/ 4884 h 10000"/>
              <a:gd name="connsiteX332" fmla="*/ 9923 w 10000"/>
              <a:gd name="connsiteY332" fmla="*/ 4884 h 10000"/>
              <a:gd name="connsiteX333" fmla="*/ 10000 w 10000"/>
              <a:gd name="connsiteY333" fmla="*/ 4729 h 10000"/>
              <a:gd name="connsiteX334" fmla="*/ 9884 w 10000"/>
              <a:gd name="connsiteY334" fmla="*/ 4496 h 10000"/>
              <a:gd name="connsiteX335" fmla="*/ 9690 w 10000"/>
              <a:gd name="connsiteY335" fmla="*/ 4418 h 10000"/>
              <a:gd name="connsiteX336" fmla="*/ 9342 w 10000"/>
              <a:gd name="connsiteY336" fmla="*/ 3799 h 10000"/>
              <a:gd name="connsiteX337" fmla="*/ 9109 w 10000"/>
              <a:gd name="connsiteY337" fmla="*/ 3488 h 10000"/>
              <a:gd name="connsiteX338" fmla="*/ 8798 w 10000"/>
              <a:gd name="connsiteY338" fmla="*/ 3411 h 10000"/>
              <a:gd name="connsiteX339" fmla="*/ 8798 w 10000"/>
              <a:gd name="connsiteY339" fmla="*/ 3799 h 10000"/>
              <a:gd name="connsiteX340" fmla="*/ 8721 w 10000"/>
              <a:gd name="connsiteY340" fmla="*/ 3876 h 10000"/>
              <a:gd name="connsiteX341" fmla="*/ 8643 w 10000"/>
              <a:gd name="connsiteY341" fmla="*/ 3721 h 10000"/>
              <a:gd name="connsiteX342" fmla="*/ 8643 w 10000"/>
              <a:gd name="connsiteY342" fmla="*/ 3566 h 10000"/>
              <a:gd name="connsiteX343" fmla="*/ 8682 w 10000"/>
              <a:gd name="connsiteY343" fmla="*/ 3566 h 10000"/>
              <a:gd name="connsiteX344" fmla="*/ 8721 w 10000"/>
              <a:gd name="connsiteY344" fmla="*/ 3488 h 10000"/>
              <a:gd name="connsiteX345" fmla="*/ 8643 w 10000"/>
              <a:gd name="connsiteY345" fmla="*/ 3488 h 10000"/>
              <a:gd name="connsiteX346" fmla="*/ 8566 w 10000"/>
              <a:gd name="connsiteY346" fmla="*/ 3644 h 10000"/>
              <a:gd name="connsiteX347" fmla="*/ 8372 w 10000"/>
              <a:gd name="connsiteY347" fmla="*/ 3566 h 10000"/>
              <a:gd name="connsiteX348" fmla="*/ 8178 w 10000"/>
              <a:gd name="connsiteY348" fmla="*/ 3566 h 10000"/>
              <a:gd name="connsiteX349" fmla="*/ 8101 w 10000"/>
              <a:gd name="connsiteY349" fmla="*/ 3488 h 10000"/>
              <a:gd name="connsiteX350" fmla="*/ 8140 w 10000"/>
              <a:gd name="connsiteY350" fmla="*/ 3333 h 10000"/>
              <a:gd name="connsiteX351" fmla="*/ 8062 w 10000"/>
              <a:gd name="connsiteY351" fmla="*/ 3101 h 10000"/>
              <a:gd name="connsiteX352" fmla="*/ 7907 w 10000"/>
              <a:gd name="connsiteY352" fmla="*/ 3023 h 10000"/>
              <a:gd name="connsiteX353" fmla="*/ 7675 w 10000"/>
              <a:gd name="connsiteY353" fmla="*/ 3178 h 10000"/>
              <a:gd name="connsiteX354" fmla="*/ 7636 w 10000"/>
              <a:gd name="connsiteY354" fmla="*/ 2946 h 10000"/>
              <a:gd name="connsiteX355" fmla="*/ 7558 w 10000"/>
              <a:gd name="connsiteY355" fmla="*/ 2946 h 10000"/>
              <a:gd name="connsiteX356" fmla="*/ 7520 w 10000"/>
              <a:gd name="connsiteY356" fmla="*/ 2868 h 10000"/>
              <a:gd name="connsiteX357" fmla="*/ 7520 w 10000"/>
              <a:gd name="connsiteY357" fmla="*/ 2636 h 10000"/>
              <a:gd name="connsiteX358" fmla="*/ 7249 w 10000"/>
              <a:gd name="connsiteY358" fmla="*/ 2480 h 10000"/>
              <a:gd name="connsiteX359" fmla="*/ 6938 w 10000"/>
              <a:gd name="connsiteY359" fmla="*/ 2325 h 10000"/>
              <a:gd name="connsiteX360" fmla="*/ 6860 w 10000"/>
              <a:gd name="connsiteY360" fmla="*/ 2636 h 10000"/>
              <a:gd name="connsiteX361" fmla="*/ 6938 w 10000"/>
              <a:gd name="connsiteY361" fmla="*/ 2868 h 10000"/>
              <a:gd name="connsiteX362" fmla="*/ 6705 w 10000"/>
              <a:gd name="connsiteY362" fmla="*/ 2868 h 10000"/>
              <a:gd name="connsiteX363" fmla="*/ 6666 w 10000"/>
              <a:gd name="connsiteY363" fmla="*/ 2868 h 10000"/>
              <a:gd name="connsiteX364" fmla="*/ 6589 w 10000"/>
              <a:gd name="connsiteY364" fmla="*/ 2946 h 10000"/>
              <a:gd name="connsiteX365" fmla="*/ 6473 w 10000"/>
              <a:gd name="connsiteY365" fmla="*/ 2714 h 10000"/>
              <a:gd name="connsiteX366" fmla="*/ 6395 w 10000"/>
              <a:gd name="connsiteY366" fmla="*/ 3178 h 10000"/>
              <a:gd name="connsiteX367" fmla="*/ 6318 w 10000"/>
              <a:gd name="connsiteY367" fmla="*/ 3101 h 10000"/>
              <a:gd name="connsiteX368" fmla="*/ 6240 w 10000"/>
              <a:gd name="connsiteY368" fmla="*/ 2791 h 10000"/>
              <a:gd name="connsiteX369" fmla="*/ 6279 w 10000"/>
              <a:gd name="connsiteY369" fmla="*/ 2403 h 10000"/>
              <a:gd name="connsiteX370" fmla="*/ 6202 w 10000"/>
              <a:gd name="connsiteY370" fmla="*/ 2170 h 10000"/>
              <a:gd name="connsiteX371" fmla="*/ 5969 w 10000"/>
              <a:gd name="connsiteY371" fmla="*/ 2016 h 10000"/>
              <a:gd name="connsiteX372" fmla="*/ 5892 w 10000"/>
              <a:gd name="connsiteY372" fmla="*/ 2016 h 10000"/>
              <a:gd name="connsiteX373" fmla="*/ 5853 w 10000"/>
              <a:gd name="connsiteY373" fmla="*/ 2170 h 10000"/>
              <a:gd name="connsiteX374" fmla="*/ 5892 w 10000"/>
              <a:gd name="connsiteY374" fmla="*/ 2325 h 10000"/>
              <a:gd name="connsiteX375" fmla="*/ 5582 w 10000"/>
              <a:gd name="connsiteY375" fmla="*/ 2248 h 10000"/>
              <a:gd name="connsiteX376" fmla="*/ 5620 w 10000"/>
              <a:gd name="connsiteY376" fmla="*/ 2016 h 10000"/>
              <a:gd name="connsiteX377" fmla="*/ 5427 w 10000"/>
              <a:gd name="connsiteY377" fmla="*/ 1938 h 10000"/>
              <a:gd name="connsiteX378" fmla="*/ 5311 w 10000"/>
              <a:gd name="connsiteY378" fmla="*/ 2093 h 10000"/>
              <a:gd name="connsiteX379" fmla="*/ 5078 w 10000"/>
              <a:gd name="connsiteY379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589 w 10000"/>
              <a:gd name="connsiteY249" fmla="*/ 9691 h 10000"/>
              <a:gd name="connsiteX250" fmla="*/ 6938 w 10000"/>
              <a:gd name="connsiteY250" fmla="*/ 8838 h 10000"/>
              <a:gd name="connsiteX251" fmla="*/ 6938 w 10000"/>
              <a:gd name="connsiteY251" fmla="*/ 8295 h 10000"/>
              <a:gd name="connsiteX252" fmla="*/ 6976 w 10000"/>
              <a:gd name="connsiteY252" fmla="*/ 8140 h 10000"/>
              <a:gd name="connsiteX253" fmla="*/ 6976 w 10000"/>
              <a:gd name="connsiteY253" fmla="*/ 7907 h 10000"/>
              <a:gd name="connsiteX254" fmla="*/ 6899 w 10000"/>
              <a:gd name="connsiteY254" fmla="*/ 7675 h 10000"/>
              <a:gd name="connsiteX255" fmla="*/ 6860 w 10000"/>
              <a:gd name="connsiteY255" fmla="*/ 7675 h 10000"/>
              <a:gd name="connsiteX256" fmla="*/ 6821 w 10000"/>
              <a:gd name="connsiteY256" fmla="*/ 7830 h 10000"/>
              <a:gd name="connsiteX257" fmla="*/ 6744 w 10000"/>
              <a:gd name="connsiteY257" fmla="*/ 7830 h 10000"/>
              <a:gd name="connsiteX258" fmla="*/ 6783 w 10000"/>
              <a:gd name="connsiteY258" fmla="*/ 7675 h 10000"/>
              <a:gd name="connsiteX259" fmla="*/ 6744 w 10000"/>
              <a:gd name="connsiteY259" fmla="*/ 7675 h 10000"/>
              <a:gd name="connsiteX260" fmla="*/ 6705 w 10000"/>
              <a:gd name="connsiteY260" fmla="*/ 7598 h 10000"/>
              <a:gd name="connsiteX261" fmla="*/ 6628 w 10000"/>
              <a:gd name="connsiteY261" fmla="*/ 7598 h 10000"/>
              <a:gd name="connsiteX262" fmla="*/ 6628 w 10000"/>
              <a:gd name="connsiteY262" fmla="*/ 7520 h 10000"/>
              <a:gd name="connsiteX263" fmla="*/ 6744 w 10000"/>
              <a:gd name="connsiteY263" fmla="*/ 7287 h 10000"/>
              <a:gd name="connsiteX264" fmla="*/ 7094 w 10000"/>
              <a:gd name="connsiteY264" fmla="*/ 6590 h 10000"/>
              <a:gd name="connsiteX265" fmla="*/ 7249 w 10000"/>
              <a:gd name="connsiteY265" fmla="*/ 6512 h 10000"/>
              <a:gd name="connsiteX266" fmla="*/ 7287 w 10000"/>
              <a:gd name="connsiteY266" fmla="*/ 6590 h 10000"/>
              <a:gd name="connsiteX267" fmla="*/ 7326 w 10000"/>
              <a:gd name="connsiteY267" fmla="*/ 6512 h 10000"/>
              <a:gd name="connsiteX268" fmla="*/ 7442 w 10000"/>
              <a:gd name="connsiteY268" fmla="*/ 6590 h 10000"/>
              <a:gd name="connsiteX269" fmla="*/ 7481 w 10000"/>
              <a:gd name="connsiteY269" fmla="*/ 6434 h 10000"/>
              <a:gd name="connsiteX270" fmla="*/ 7597 w 10000"/>
              <a:gd name="connsiteY270" fmla="*/ 6512 h 10000"/>
              <a:gd name="connsiteX271" fmla="*/ 7636 w 10000"/>
              <a:gd name="connsiteY271" fmla="*/ 6512 h 10000"/>
              <a:gd name="connsiteX272" fmla="*/ 7597 w 10000"/>
              <a:gd name="connsiteY272" fmla="*/ 6590 h 10000"/>
              <a:gd name="connsiteX273" fmla="*/ 7597 w 10000"/>
              <a:gd name="connsiteY273" fmla="*/ 6667 h 10000"/>
              <a:gd name="connsiteX274" fmla="*/ 7830 w 10000"/>
              <a:gd name="connsiteY274" fmla="*/ 6590 h 10000"/>
              <a:gd name="connsiteX275" fmla="*/ 7791 w 10000"/>
              <a:gd name="connsiteY275" fmla="*/ 6512 h 10000"/>
              <a:gd name="connsiteX276" fmla="*/ 7946 w 10000"/>
              <a:gd name="connsiteY276" fmla="*/ 5969 h 10000"/>
              <a:gd name="connsiteX277" fmla="*/ 8140 w 10000"/>
              <a:gd name="connsiteY277" fmla="*/ 5892 h 10000"/>
              <a:gd name="connsiteX278" fmla="*/ 8140 w 10000"/>
              <a:gd name="connsiteY278" fmla="*/ 6047 h 10000"/>
              <a:gd name="connsiteX279" fmla="*/ 8140 w 10000"/>
              <a:gd name="connsiteY279" fmla="*/ 6202 h 10000"/>
              <a:gd name="connsiteX280" fmla="*/ 8333 w 10000"/>
              <a:gd name="connsiteY280" fmla="*/ 5969 h 10000"/>
              <a:gd name="connsiteX281" fmla="*/ 8333 w 10000"/>
              <a:gd name="connsiteY281" fmla="*/ 5737 h 10000"/>
              <a:gd name="connsiteX282" fmla="*/ 8411 w 10000"/>
              <a:gd name="connsiteY282" fmla="*/ 5737 h 10000"/>
              <a:gd name="connsiteX283" fmla="*/ 8372 w 10000"/>
              <a:gd name="connsiteY283" fmla="*/ 5814 h 10000"/>
              <a:gd name="connsiteX284" fmla="*/ 8333 w 10000"/>
              <a:gd name="connsiteY284" fmla="*/ 6202 h 10000"/>
              <a:gd name="connsiteX285" fmla="*/ 8256 w 10000"/>
              <a:gd name="connsiteY285" fmla="*/ 6279 h 10000"/>
              <a:gd name="connsiteX286" fmla="*/ 8023 w 10000"/>
              <a:gd name="connsiteY286" fmla="*/ 6822 h 10000"/>
              <a:gd name="connsiteX287" fmla="*/ 7946 w 10000"/>
              <a:gd name="connsiteY287" fmla="*/ 6900 h 10000"/>
              <a:gd name="connsiteX288" fmla="*/ 7868 w 10000"/>
              <a:gd name="connsiteY288" fmla="*/ 7442 h 10000"/>
              <a:gd name="connsiteX289" fmla="*/ 7946 w 10000"/>
              <a:gd name="connsiteY289" fmla="*/ 8372 h 10000"/>
              <a:gd name="connsiteX290" fmla="*/ 8023 w 10000"/>
              <a:gd name="connsiteY290" fmla="*/ 8217 h 10000"/>
              <a:gd name="connsiteX291" fmla="*/ 8101 w 10000"/>
              <a:gd name="connsiteY291" fmla="*/ 7907 h 10000"/>
              <a:gd name="connsiteX292" fmla="*/ 8140 w 10000"/>
              <a:gd name="connsiteY292" fmla="*/ 7907 h 10000"/>
              <a:gd name="connsiteX293" fmla="*/ 8140 w 10000"/>
              <a:gd name="connsiteY293" fmla="*/ 7675 h 10000"/>
              <a:gd name="connsiteX294" fmla="*/ 8178 w 10000"/>
              <a:gd name="connsiteY294" fmla="*/ 7675 h 10000"/>
              <a:gd name="connsiteX295" fmla="*/ 8256 w 10000"/>
              <a:gd name="connsiteY295" fmla="*/ 7598 h 10000"/>
              <a:gd name="connsiteX296" fmla="*/ 8217 w 10000"/>
              <a:gd name="connsiteY296" fmla="*/ 7364 h 10000"/>
              <a:gd name="connsiteX297" fmla="*/ 8295 w 10000"/>
              <a:gd name="connsiteY297" fmla="*/ 7287 h 10000"/>
              <a:gd name="connsiteX298" fmla="*/ 8333 w 10000"/>
              <a:gd name="connsiteY298" fmla="*/ 7287 h 10000"/>
              <a:gd name="connsiteX299" fmla="*/ 8333 w 10000"/>
              <a:gd name="connsiteY299" fmla="*/ 7132 h 10000"/>
              <a:gd name="connsiteX300" fmla="*/ 8295 w 10000"/>
              <a:gd name="connsiteY300" fmla="*/ 7132 h 10000"/>
              <a:gd name="connsiteX301" fmla="*/ 8333 w 10000"/>
              <a:gd name="connsiteY301" fmla="*/ 6900 h 10000"/>
              <a:gd name="connsiteX302" fmla="*/ 8295 w 10000"/>
              <a:gd name="connsiteY302" fmla="*/ 6900 h 10000"/>
              <a:gd name="connsiteX303" fmla="*/ 8256 w 10000"/>
              <a:gd name="connsiteY303" fmla="*/ 6900 h 10000"/>
              <a:gd name="connsiteX304" fmla="*/ 8256 w 10000"/>
              <a:gd name="connsiteY304" fmla="*/ 6822 h 10000"/>
              <a:gd name="connsiteX305" fmla="*/ 8333 w 10000"/>
              <a:gd name="connsiteY305" fmla="*/ 6590 h 10000"/>
              <a:gd name="connsiteX306" fmla="*/ 8333 w 10000"/>
              <a:gd name="connsiteY306" fmla="*/ 6434 h 10000"/>
              <a:gd name="connsiteX307" fmla="*/ 8411 w 10000"/>
              <a:gd name="connsiteY307" fmla="*/ 6434 h 10000"/>
              <a:gd name="connsiteX308" fmla="*/ 8527 w 10000"/>
              <a:gd name="connsiteY308" fmla="*/ 6279 h 10000"/>
              <a:gd name="connsiteX309" fmla="*/ 8527 w 10000"/>
              <a:gd name="connsiteY309" fmla="*/ 6434 h 10000"/>
              <a:gd name="connsiteX310" fmla="*/ 8566 w 10000"/>
              <a:gd name="connsiteY310" fmla="*/ 6356 h 10000"/>
              <a:gd name="connsiteX311" fmla="*/ 8682 w 10000"/>
              <a:gd name="connsiteY311" fmla="*/ 6279 h 10000"/>
              <a:gd name="connsiteX312" fmla="*/ 8759 w 10000"/>
              <a:gd name="connsiteY312" fmla="*/ 6434 h 10000"/>
              <a:gd name="connsiteX313" fmla="*/ 8798 w 10000"/>
              <a:gd name="connsiteY313" fmla="*/ 6279 h 10000"/>
              <a:gd name="connsiteX314" fmla="*/ 9187 w 10000"/>
              <a:gd name="connsiteY314" fmla="*/ 5737 h 10000"/>
              <a:gd name="connsiteX315" fmla="*/ 9303 w 10000"/>
              <a:gd name="connsiteY315" fmla="*/ 5814 h 10000"/>
              <a:gd name="connsiteX316" fmla="*/ 9342 w 10000"/>
              <a:gd name="connsiteY316" fmla="*/ 5737 h 10000"/>
              <a:gd name="connsiteX317" fmla="*/ 9264 w 10000"/>
              <a:gd name="connsiteY317" fmla="*/ 5271 h 10000"/>
              <a:gd name="connsiteX318" fmla="*/ 9225 w 10000"/>
              <a:gd name="connsiteY318" fmla="*/ 5271 h 10000"/>
              <a:gd name="connsiteX319" fmla="*/ 9225 w 10000"/>
              <a:gd name="connsiteY319" fmla="*/ 5116 h 10000"/>
              <a:gd name="connsiteX320" fmla="*/ 9264 w 10000"/>
              <a:gd name="connsiteY320" fmla="*/ 5116 h 10000"/>
              <a:gd name="connsiteX321" fmla="*/ 9342 w 10000"/>
              <a:gd name="connsiteY321" fmla="*/ 5039 h 10000"/>
              <a:gd name="connsiteX322" fmla="*/ 9419 w 10000"/>
              <a:gd name="connsiteY322" fmla="*/ 4884 h 10000"/>
              <a:gd name="connsiteX323" fmla="*/ 9380 w 10000"/>
              <a:gd name="connsiteY323" fmla="*/ 4729 h 10000"/>
              <a:gd name="connsiteX324" fmla="*/ 9419 w 10000"/>
              <a:gd name="connsiteY324" fmla="*/ 4652 h 10000"/>
              <a:gd name="connsiteX325" fmla="*/ 9458 w 10000"/>
              <a:gd name="connsiteY325" fmla="*/ 4884 h 10000"/>
              <a:gd name="connsiteX326" fmla="*/ 9535 w 10000"/>
              <a:gd name="connsiteY326" fmla="*/ 4884 h 10000"/>
              <a:gd name="connsiteX327" fmla="*/ 9613 w 10000"/>
              <a:gd name="connsiteY327" fmla="*/ 5039 h 10000"/>
              <a:gd name="connsiteX328" fmla="*/ 9806 w 10000"/>
              <a:gd name="connsiteY328" fmla="*/ 5271 h 10000"/>
              <a:gd name="connsiteX329" fmla="*/ 9845 w 10000"/>
              <a:gd name="connsiteY329" fmla="*/ 5039 h 10000"/>
              <a:gd name="connsiteX330" fmla="*/ 9845 w 10000"/>
              <a:gd name="connsiteY330" fmla="*/ 4884 h 10000"/>
              <a:gd name="connsiteX331" fmla="*/ 9923 w 10000"/>
              <a:gd name="connsiteY331" fmla="*/ 4884 h 10000"/>
              <a:gd name="connsiteX332" fmla="*/ 10000 w 10000"/>
              <a:gd name="connsiteY332" fmla="*/ 4729 h 10000"/>
              <a:gd name="connsiteX333" fmla="*/ 9884 w 10000"/>
              <a:gd name="connsiteY333" fmla="*/ 4496 h 10000"/>
              <a:gd name="connsiteX334" fmla="*/ 9690 w 10000"/>
              <a:gd name="connsiteY334" fmla="*/ 4418 h 10000"/>
              <a:gd name="connsiteX335" fmla="*/ 9342 w 10000"/>
              <a:gd name="connsiteY335" fmla="*/ 3799 h 10000"/>
              <a:gd name="connsiteX336" fmla="*/ 9109 w 10000"/>
              <a:gd name="connsiteY336" fmla="*/ 3488 h 10000"/>
              <a:gd name="connsiteX337" fmla="*/ 8798 w 10000"/>
              <a:gd name="connsiteY337" fmla="*/ 3411 h 10000"/>
              <a:gd name="connsiteX338" fmla="*/ 8798 w 10000"/>
              <a:gd name="connsiteY338" fmla="*/ 3799 h 10000"/>
              <a:gd name="connsiteX339" fmla="*/ 8721 w 10000"/>
              <a:gd name="connsiteY339" fmla="*/ 3876 h 10000"/>
              <a:gd name="connsiteX340" fmla="*/ 8643 w 10000"/>
              <a:gd name="connsiteY340" fmla="*/ 3721 h 10000"/>
              <a:gd name="connsiteX341" fmla="*/ 8643 w 10000"/>
              <a:gd name="connsiteY341" fmla="*/ 3566 h 10000"/>
              <a:gd name="connsiteX342" fmla="*/ 8682 w 10000"/>
              <a:gd name="connsiteY342" fmla="*/ 3566 h 10000"/>
              <a:gd name="connsiteX343" fmla="*/ 8721 w 10000"/>
              <a:gd name="connsiteY343" fmla="*/ 3488 h 10000"/>
              <a:gd name="connsiteX344" fmla="*/ 8643 w 10000"/>
              <a:gd name="connsiteY344" fmla="*/ 3488 h 10000"/>
              <a:gd name="connsiteX345" fmla="*/ 8566 w 10000"/>
              <a:gd name="connsiteY345" fmla="*/ 3644 h 10000"/>
              <a:gd name="connsiteX346" fmla="*/ 8372 w 10000"/>
              <a:gd name="connsiteY346" fmla="*/ 3566 h 10000"/>
              <a:gd name="connsiteX347" fmla="*/ 8178 w 10000"/>
              <a:gd name="connsiteY347" fmla="*/ 3566 h 10000"/>
              <a:gd name="connsiteX348" fmla="*/ 8101 w 10000"/>
              <a:gd name="connsiteY348" fmla="*/ 3488 h 10000"/>
              <a:gd name="connsiteX349" fmla="*/ 8140 w 10000"/>
              <a:gd name="connsiteY349" fmla="*/ 3333 h 10000"/>
              <a:gd name="connsiteX350" fmla="*/ 8062 w 10000"/>
              <a:gd name="connsiteY350" fmla="*/ 3101 h 10000"/>
              <a:gd name="connsiteX351" fmla="*/ 7907 w 10000"/>
              <a:gd name="connsiteY351" fmla="*/ 3023 h 10000"/>
              <a:gd name="connsiteX352" fmla="*/ 7675 w 10000"/>
              <a:gd name="connsiteY352" fmla="*/ 3178 h 10000"/>
              <a:gd name="connsiteX353" fmla="*/ 7636 w 10000"/>
              <a:gd name="connsiteY353" fmla="*/ 2946 h 10000"/>
              <a:gd name="connsiteX354" fmla="*/ 7558 w 10000"/>
              <a:gd name="connsiteY354" fmla="*/ 2946 h 10000"/>
              <a:gd name="connsiteX355" fmla="*/ 7520 w 10000"/>
              <a:gd name="connsiteY355" fmla="*/ 2868 h 10000"/>
              <a:gd name="connsiteX356" fmla="*/ 7520 w 10000"/>
              <a:gd name="connsiteY356" fmla="*/ 2636 h 10000"/>
              <a:gd name="connsiteX357" fmla="*/ 7249 w 10000"/>
              <a:gd name="connsiteY357" fmla="*/ 2480 h 10000"/>
              <a:gd name="connsiteX358" fmla="*/ 6938 w 10000"/>
              <a:gd name="connsiteY358" fmla="*/ 2325 h 10000"/>
              <a:gd name="connsiteX359" fmla="*/ 6860 w 10000"/>
              <a:gd name="connsiteY359" fmla="*/ 2636 h 10000"/>
              <a:gd name="connsiteX360" fmla="*/ 6938 w 10000"/>
              <a:gd name="connsiteY360" fmla="*/ 2868 h 10000"/>
              <a:gd name="connsiteX361" fmla="*/ 6705 w 10000"/>
              <a:gd name="connsiteY361" fmla="*/ 2868 h 10000"/>
              <a:gd name="connsiteX362" fmla="*/ 6666 w 10000"/>
              <a:gd name="connsiteY362" fmla="*/ 2868 h 10000"/>
              <a:gd name="connsiteX363" fmla="*/ 6589 w 10000"/>
              <a:gd name="connsiteY363" fmla="*/ 2946 h 10000"/>
              <a:gd name="connsiteX364" fmla="*/ 6473 w 10000"/>
              <a:gd name="connsiteY364" fmla="*/ 2714 h 10000"/>
              <a:gd name="connsiteX365" fmla="*/ 6395 w 10000"/>
              <a:gd name="connsiteY365" fmla="*/ 3178 h 10000"/>
              <a:gd name="connsiteX366" fmla="*/ 6318 w 10000"/>
              <a:gd name="connsiteY366" fmla="*/ 3101 h 10000"/>
              <a:gd name="connsiteX367" fmla="*/ 6240 w 10000"/>
              <a:gd name="connsiteY367" fmla="*/ 2791 h 10000"/>
              <a:gd name="connsiteX368" fmla="*/ 6279 w 10000"/>
              <a:gd name="connsiteY368" fmla="*/ 2403 h 10000"/>
              <a:gd name="connsiteX369" fmla="*/ 6202 w 10000"/>
              <a:gd name="connsiteY369" fmla="*/ 2170 h 10000"/>
              <a:gd name="connsiteX370" fmla="*/ 5969 w 10000"/>
              <a:gd name="connsiteY370" fmla="*/ 2016 h 10000"/>
              <a:gd name="connsiteX371" fmla="*/ 5892 w 10000"/>
              <a:gd name="connsiteY371" fmla="*/ 2016 h 10000"/>
              <a:gd name="connsiteX372" fmla="*/ 5853 w 10000"/>
              <a:gd name="connsiteY372" fmla="*/ 2170 h 10000"/>
              <a:gd name="connsiteX373" fmla="*/ 5892 w 10000"/>
              <a:gd name="connsiteY373" fmla="*/ 2325 h 10000"/>
              <a:gd name="connsiteX374" fmla="*/ 5582 w 10000"/>
              <a:gd name="connsiteY374" fmla="*/ 2248 h 10000"/>
              <a:gd name="connsiteX375" fmla="*/ 5620 w 10000"/>
              <a:gd name="connsiteY375" fmla="*/ 2016 h 10000"/>
              <a:gd name="connsiteX376" fmla="*/ 5427 w 10000"/>
              <a:gd name="connsiteY376" fmla="*/ 1938 h 10000"/>
              <a:gd name="connsiteX377" fmla="*/ 5311 w 10000"/>
              <a:gd name="connsiteY377" fmla="*/ 2093 h 10000"/>
              <a:gd name="connsiteX378" fmla="*/ 5078 w 10000"/>
              <a:gd name="connsiteY378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589 w 10000"/>
              <a:gd name="connsiteY248" fmla="*/ 8993 h 10000"/>
              <a:gd name="connsiteX249" fmla="*/ 6938 w 10000"/>
              <a:gd name="connsiteY249" fmla="*/ 8838 h 10000"/>
              <a:gd name="connsiteX250" fmla="*/ 6938 w 10000"/>
              <a:gd name="connsiteY250" fmla="*/ 8295 h 10000"/>
              <a:gd name="connsiteX251" fmla="*/ 6976 w 10000"/>
              <a:gd name="connsiteY251" fmla="*/ 8140 h 10000"/>
              <a:gd name="connsiteX252" fmla="*/ 6976 w 10000"/>
              <a:gd name="connsiteY252" fmla="*/ 7907 h 10000"/>
              <a:gd name="connsiteX253" fmla="*/ 6899 w 10000"/>
              <a:gd name="connsiteY253" fmla="*/ 7675 h 10000"/>
              <a:gd name="connsiteX254" fmla="*/ 6860 w 10000"/>
              <a:gd name="connsiteY254" fmla="*/ 7675 h 10000"/>
              <a:gd name="connsiteX255" fmla="*/ 6821 w 10000"/>
              <a:gd name="connsiteY255" fmla="*/ 7830 h 10000"/>
              <a:gd name="connsiteX256" fmla="*/ 6744 w 10000"/>
              <a:gd name="connsiteY256" fmla="*/ 7830 h 10000"/>
              <a:gd name="connsiteX257" fmla="*/ 6783 w 10000"/>
              <a:gd name="connsiteY257" fmla="*/ 7675 h 10000"/>
              <a:gd name="connsiteX258" fmla="*/ 6744 w 10000"/>
              <a:gd name="connsiteY258" fmla="*/ 7675 h 10000"/>
              <a:gd name="connsiteX259" fmla="*/ 6705 w 10000"/>
              <a:gd name="connsiteY259" fmla="*/ 7598 h 10000"/>
              <a:gd name="connsiteX260" fmla="*/ 6628 w 10000"/>
              <a:gd name="connsiteY260" fmla="*/ 7598 h 10000"/>
              <a:gd name="connsiteX261" fmla="*/ 6628 w 10000"/>
              <a:gd name="connsiteY261" fmla="*/ 7520 h 10000"/>
              <a:gd name="connsiteX262" fmla="*/ 6744 w 10000"/>
              <a:gd name="connsiteY262" fmla="*/ 7287 h 10000"/>
              <a:gd name="connsiteX263" fmla="*/ 7094 w 10000"/>
              <a:gd name="connsiteY263" fmla="*/ 6590 h 10000"/>
              <a:gd name="connsiteX264" fmla="*/ 7249 w 10000"/>
              <a:gd name="connsiteY264" fmla="*/ 6512 h 10000"/>
              <a:gd name="connsiteX265" fmla="*/ 7287 w 10000"/>
              <a:gd name="connsiteY265" fmla="*/ 6590 h 10000"/>
              <a:gd name="connsiteX266" fmla="*/ 7326 w 10000"/>
              <a:gd name="connsiteY266" fmla="*/ 6512 h 10000"/>
              <a:gd name="connsiteX267" fmla="*/ 7442 w 10000"/>
              <a:gd name="connsiteY267" fmla="*/ 6590 h 10000"/>
              <a:gd name="connsiteX268" fmla="*/ 7481 w 10000"/>
              <a:gd name="connsiteY268" fmla="*/ 6434 h 10000"/>
              <a:gd name="connsiteX269" fmla="*/ 7597 w 10000"/>
              <a:gd name="connsiteY269" fmla="*/ 6512 h 10000"/>
              <a:gd name="connsiteX270" fmla="*/ 7636 w 10000"/>
              <a:gd name="connsiteY270" fmla="*/ 6512 h 10000"/>
              <a:gd name="connsiteX271" fmla="*/ 7597 w 10000"/>
              <a:gd name="connsiteY271" fmla="*/ 6590 h 10000"/>
              <a:gd name="connsiteX272" fmla="*/ 7597 w 10000"/>
              <a:gd name="connsiteY272" fmla="*/ 6667 h 10000"/>
              <a:gd name="connsiteX273" fmla="*/ 7830 w 10000"/>
              <a:gd name="connsiteY273" fmla="*/ 6590 h 10000"/>
              <a:gd name="connsiteX274" fmla="*/ 7791 w 10000"/>
              <a:gd name="connsiteY274" fmla="*/ 6512 h 10000"/>
              <a:gd name="connsiteX275" fmla="*/ 7946 w 10000"/>
              <a:gd name="connsiteY275" fmla="*/ 5969 h 10000"/>
              <a:gd name="connsiteX276" fmla="*/ 8140 w 10000"/>
              <a:gd name="connsiteY276" fmla="*/ 5892 h 10000"/>
              <a:gd name="connsiteX277" fmla="*/ 8140 w 10000"/>
              <a:gd name="connsiteY277" fmla="*/ 6047 h 10000"/>
              <a:gd name="connsiteX278" fmla="*/ 8140 w 10000"/>
              <a:gd name="connsiteY278" fmla="*/ 6202 h 10000"/>
              <a:gd name="connsiteX279" fmla="*/ 8333 w 10000"/>
              <a:gd name="connsiteY279" fmla="*/ 5969 h 10000"/>
              <a:gd name="connsiteX280" fmla="*/ 8333 w 10000"/>
              <a:gd name="connsiteY280" fmla="*/ 5737 h 10000"/>
              <a:gd name="connsiteX281" fmla="*/ 8411 w 10000"/>
              <a:gd name="connsiteY281" fmla="*/ 5737 h 10000"/>
              <a:gd name="connsiteX282" fmla="*/ 8372 w 10000"/>
              <a:gd name="connsiteY282" fmla="*/ 5814 h 10000"/>
              <a:gd name="connsiteX283" fmla="*/ 8333 w 10000"/>
              <a:gd name="connsiteY283" fmla="*/ 6202 h 10000"/>
              <a:gd name="connsiteX284" fmla="*/ 8256 w 10000"/>
              <a:gd name="connsiteY284" fmla="*/ 6279 h 10000"/>
              <a:gd name="connsiteX285" fmla="*/ 8023 w 10000"/>
              <a:gd name="connsiteY285" fmla="*/ 6822 h 10000"/>
              <a:gd name="connsiteX286" fmla="*/ 7946 w 10000"/>
              <a:gd name="connsiteY286" fmla="*/ 6900 h 10000"/>
              <a:gd name="connsiteX287" fmla="*/ 7868 w 10000"/>
              <a:gd name="connsiteY287" fmla="*/ 7442 h 10000"/>
              <a:gd name="connsiteX288" fmla="*/ 7946 w 10000"/>
              <a:gd name="connsiteY288" fmla="*/ 8372 h 10000"/>
              <a:gd name="connsiteX289" fmla="*/ 8023 w 10000"/>
              <a:gd name="connsiteY289" fmla="*/ 8217 h 10000"/>
              <a:gd name="connsiteX290" fmla="*/ 8101 w 10000"/>
              <a:gd name="connsiteY290" fmla="*/ 7907 h 10000"/>
              <a:gd name="connsiteX291" fmla="*/ 8140 w 10000"/>
              <a:gd name="connsiteY291" fmla="*/ 7907 h 10000"/>
              <a:gd name="connsiteX292" fmla="*/ 8140 w 10000"/>
              <a:gd name="connsiteY292" fmla="*/ 7675 h 10000"/>
              <a:gd name="connsiteX293" fmla="*/ 8178 w 10000"/>
              <a:gd name="connsiteY293" fmla="*/ 7675 h 10000"/>
              <a:gd name="connsiteX294" fmla="*/ 8256 w 10000"/>
              <a:gd name="connsiteY294" fmla="*/ 7598 h 10000"/>
              <a:gd name="connsiteX295" fmla="*/ 8217 w 10000"/>
              <a:gd name="connsiteY295" fmla="*/ 7364 h 10000"/>
              <a:gd name="connsiteX296" fmla="*/ 8295 w 10000"/>
              <a:gd name="connsiteY296" fmla="*/ 7287 h 10000"/>
              <a:gd name="connsiteX297" fmla="*/ 8333 w 10000"/>
              <a:gd name="connsiteY297" fmla="*/ 7287 h 10000"/>
              <a:gd name="connsiteX298" fmla="*/ 8333 w 10000"/>
              <a:gd name="connsiteY298" fmla="*/ 7132 h 10000"/>
              <a:gd name="connsiteX299" fmla="*/ 8295 w 10000"/>
              <a:gd name="connsiteY299" fmla="*/ 7132 h 10000"/>
              <a:gd name="connsiteX300" fmla="*/ 8333 w 10000"/>
              <a:gd name="connsiteY300" fmla="*/ 6900 h 10000"/>
              <a:gd name="connsiteX301" fmla="*/ 8295 w 10000"/>
              <a:gd name="connsiteY301" fmla="*/ 6900 h 10000"/>
              <a:gd name="connsiteX302" fmla="*/ 8256 w 10000"/>
              <a:gd name="connsiteY302" fmla="*/ 6900 h 10000"/>
              <a:gd name="connsiteX303" fmla="*/ 8256 w 10000"/>
              <a:gd name="connsiteY303" fmla="*/ 6822 h 10000"/>
              <a:gd name="connsiteX304" fmla="*/ 8333 w 10000"/>
              <a:gd name="connsiteY304" fmla="*/ 6590 h 10000"/>
              <a:gd name="connsiteX305" fmla="*/ 8333 w 10000"/>
              <a:gd name="connsiteY305" fmla="*/ 6434 h 10000"/>
              <a:gd name="connsiteX306" fmla="*/ 8411 w 10000"/>
              <a:gd name="connsiteY306" fmla="*/ 6434 h 10000"/>
              <a:gd name="connsiteX307" fmla="*/ 8527 w 10000"/>
              <a:gd name="connsiteY307" fmla="*/ 6279 h 10000"/>
              <a:gd name="connsiteX308" fmla="*/ 8527 w 10000"/>
              <a:gd name="connsiteY308" fmla="*/ 6434 h 10000"/>
              <a:gd name="connsiteX309" fmla="*/ 8566 w 10000"/>
              <a:gd name="connsiteY309" fmla="*/ 6356 h 10000"/>
              <a:gd name="connsiteX310" fmla="*/ 8682 w 10000"/>
              <a:gd name="connsiteY310" fmla="*/ 6279 h 10000"/>
              <a:gd name="connsiteX311" fmla="*/ 8759 w 10000"/>
              <a:gd name="connsiteY311" fmla="*/ 6434 h 10000"/>
              <a:gd name="connsiteX312" fmla="*/ 8798 w 10000"/>
              <a:gd name="connsiteY312" fmla="*/ 6279 h 10000"/>
              <a:gd name="connsiteX313" fmla="*/ 9187 w 10000"/>
              <a:gd name="connsiteY313" fmla="*/ 5737 h 10000"/>
              <a:gd name="connsiteX314" fmla="*/ 9303 w 10000"/>
              <a:gd name="connsiteY314" fmla="*/ 5814 h 10000"/>
              <a:gd name="connsiteX315" fmla="*/ 9342 w 10000"/>
              <a:gd name="connsiteY315" fmla="*/ 5737 h 10000"/>
              <a:gd name="connsiteX316" fmla="*/ 9264 w 10000"/>
              <a:gd name="connsiteY316" fmla="*/ 5271 h 10000"/>
              <a:gd name="connsiteX317" fmla="*/ 9225 w 10000"/>
              <a:gd name="connsiteY317" fmla="*/ 5271 h 10000"/>
              <a:gd name="connsiteX318" fmla="*/ 9225 w 10000"/>
              <a:gd name="connsiteY318" fmla="*/ 5116 h 10000"/>
              <a:gd name="connsiteX319" fmla="*/ 9264 w 10000"/>
              <a:gd name="connsiteY319" fmla="*/ 5116 h 10000"/>
              <a:gd name="connsiteX320" fmla="*/ 9342 w 10000"/>
              <a:gd name="connsiteY320" fmla="*/ 5039 h 10000"/>
              <a:gd name="connsiteX321" fmla="*/ 9419 w 10000"/>
              <a:gd name="connsiteY321" fmla="*/ 4884 h 10000"/>
              <a:gd name="connsiteX322" fmla="*/ 9380 w 10000"/>
              <a:gd name="connsiteY322" fmla="*/ 4729 h 10000"/>
              <a:gd name="connsiteX323" fmla="*/ 9419 w 10000"/>
              <a:gd name="connsiteY323" fmla="*/ 4652 h 10000"/>
              <a:gd name="connsiteX324" fmla="*/ 9458 w 10000"/>
              <a:gd name="connsiteY324" fmla="*/ 4884 h 10000"/>
              <a:gd name="connsiteX325" fmla="*/ 9535 w 10000"/>
              <a:gd name="connsiteY325" fmla="*/ 4884 h 10000"/>
              <a:gd name="connsiteX326" fmla="*/ 9613 w 10000"/>
              <a:gd name="connsiteY326" fmla="*/ 5039 h 10000"/>
              <a:gd name="connsiteX327" fmla="*/ 9806 w 10000"/>
              <a:gd name="connsiteY327" fmla="*/ 5271 h 10000"/>
              <a:gd name="connsiteX328" fmla="*/ 9845 w 10000"/>
              <a:gd name="connsiteY328" fmla="*/ 5039 h 10000"/>
              <a:gd name="connsiteX329" fmla="*/ 9845 w 10000"/>
              <a:gd name="connsiteY329" fmla="*/ 4884 h 10000"/>
              <a:gd name="connsiteX330" fmla="*/ 9923 w 10000"/>
              <a:gd name="connsiteY330" fmla="*/ 4884 h 10000"/>
              <a:gd name="connsiteX331" fmla="*/ 10000 w 10000"/>
              <a:gd name="connsiteY331" fmla="*/ 4729 h 10000"/>
              <a:gd name="connsiteX332" fmla="*/ 9884 w 10000"/>
              <a:gd name="connsiteY332" fmla="*/ 4496 h 10000"/>
              <a:gd name="connsiteX333" fmla="*/ 9690 w 10000"/>
              <a:gd name="connsiteY333" fmla="*/ 4418 h 10000"/>
              <a:gd name="connsiteX334" fmla="*/ 9342 w 10000"/>
              <a:gd name="connsiteY334" fmla="*/ 3799 h 10000"/>
              <a:gd name="connsiteX335" fmla="*/ 9109 w 10000"/>
              <a:gd name="connsiteY335" fmla="*/ 3488 h 10000"/>
              <a:gd name="connsiteX336" fmla="*/ 8798 w 10000"/>
              <a:gd name="connsiteY336" fmla="*/ 3411 h 10000"/>
              <a:gd name="connsiteX337" fmla="*/ 8798 w 10000"/>
              <a:gd name="connsiteY337" fmla="*/ 3799 h 10000"/>
              <a:gd name="connsiteX338" fmla="*/ 8721 w 10000"/>
              <a:gd name="connsiteY338" fmla="*/ 3876 h 10000"/>
              <a:gd name="connsiteX339" fmla="*/ 8643 w 10000"/>
              <a:gd name="connsiteY339" fmla="*/ 3721 h 10000"/>
              <a:gd name="connsiteX340" fmla="*/ 8643 w 10000"/>
              <a:gd name="connsiteY340" fmla="*/ 3566 h 10000"/>
              <a:gd name="connsiteX341" fmla="*/ 8682 w 10000"/>
              <a:gd name="connsiteY341" fmla="*/ 3566 h 10000"/>
              <a:gd name="connsiteX342" fmla="*/ 8721 w 10000"/>
              <a:gd name="connsiteY342" fmla="*/ 3488 h 10000"/>
              <a:gd name="connsiteX343" fmla="*/ 8643 w 10000"/>
              <a:gd name="connsiteY343" fmla="*/ 3488 h 10000"/>
              <a:gd name="connsiteX344" fmla="*/ 8566 w 10000"/>
              <a:gd name="connsiteY344" fmla="*/ 3644 h 10000"/>
              <a:gd name="connsiteX345" fmla="*/ 8372 w 10000"/>
              <a:gd name="connsiteY345" fmla="*/ 3566 h 10000"/>
              <a:gd name="connsiteX346" fmla="*/ 8178 w 10000"/>
              <a:gd name="connsiteY346" fmla="*/ 3566 h 10000"/>
              <a:gd name="connsiteX347" fmla="*/ 8101 w 10000"/>
              <a:gd name="connsiteY347" fmla="*/ 3488 h 10000"/>
              <a:gd name="connsiteX348" fmla="*/ 8140 w 10000"/>
              <a:gd name="connsiteY348" fmla="*/ 3333 h 10000"/>
              <a:gd name="connsiteX349" fmla="*/ 8062 w 10000"/>
              <a:gd name="connsiteY349" fmla="*/ 3101 h 10000"/>
              <a:gd name="connsiteX350" fmla="*/ 7907 w 10000"/>
              <a:gd name="connsiteY350" fmla="*/ 3023 h 10000"/>
              <a:gd name="connsiteX351" fmla="*/ 7675 w 10000"/>
              <a:gd name="connsiteY351" fmla="*/ 3178 h 10000"/>
              <a:gd name="connsiteX352" fmla="*/ 7636 w 10000"/>
              <a:gd name="connsiteY352" fmla="*/ 2946 h 10000"/>
              <a:gd name="connsiteX353" fmla="*/ 7558 w 10000"/>
              <a:gd name="connsiteY353" fmla="*/ 2946 h 10000"/>
              <a:gd name="connsiteX354" fmla="*/ 7520 w 10000"/>
              <a:gd name="connsiteY354" fmla="*/ 2868 h 10000"/>
              <a:gd name="connsiteX355" fmla="*/ 7520 w 10000"/>
              <a:gd name="connsiteY355" fmla="*/ 2636 h 10000"/>
              <a:gd name="connsiteX356" fmla="*/ 7249 w 10000"/>
              <a:gd name="connsiteY356" fmla="*/ 2480 h 10000"/>
              <a:gd name="connsiteX357" fmla="*/ 6938 w 10000"/>
              <a:gd name="connsiteY357" fmla="*/ 2325 h 10000"/>
              <a:gd name="connsiteX358" fmla="*/ 6860 w 10000"/>
              <a:gd name="connsiteY358" fmla="*/ 2636 h 10000"/>
              <a:gd name="connsiteX359" fmla="*/ 6938 w 10000"/>
              <a:gd name="connsiteY359" fmla="*/ 2868 h 10000"/>
              <a:gd name="connsiteX360" fmla="*/ 6705 w 10000"/>
              <a:gd name="connsiteY360" fmla="*/ 2868 h 10000"/>
              <a:gd name="connsiteX361" fmla="*/ 6666 w 10000"/>
              <a:gd name="connsiteY361" fmla="*/ 2868 h 10000"/>
              <a:gd name="connsiteX362" fmla="*/ 6589 w 10000"/>
              <a:gd name="connsiteY362" fmla="*/ 2946 h 10000"/>
              <a:gd name="connsiteX363" fmla="*/ 6473 w 10000"/>
              <a:gd name="connsiteY363" fmla="*/ 2714 h 10000"/>
              <a:gd name="connsiteX364" fmla="*/ 6395 w 10000"/>
              <a:gd name="connsiteY364" fmla="*/ 3178 h 10000"/>
              <a:gd name="connsiteX365" fmla="*/ 6318 w 10000"/>
              <a:gd name="connsiteY365" fmla="*/ 3101 h 10000"/>
              <a:gd name="connsiteX366" fmla="*/ 6240 w 10000"/>
              <a:gd name="connsiteY366" fmla="*/ 2791 h 10000"/>
              <a:gd name="connsiteX367" fmla="*/ 6279 w 10000"/>
              <a:gd name="connsiteY367" fmla="*/ 2403 h 10000"/>
              <a:gd name="connsiteX368" fmla="*/ 6202 w 10000"/>
              <a:gd name="connsiteY368" fmla="*/ 2170 h 10000"/>
              <a:gd name="connsiteX369" fmla="*/ 5969 w 10000"/>
              <a:gd name="connsiteY369" fmla="*/ 2016 h 10000"/>
              <a:gd name="connsiteX370" fmla="*/ 5892 w 10000"/>
              <a:gd name="connsiteY370" fmla="*/ 2016 h 10000"/>
              <a:gd name="connsiteX371" fmla="*/ 5853 w 10000"/>
              <a:gd name="connsiteY371" fmla="*/ 2170 h 10000"/>
              <a:gd name="connsiteX372" fmla="*/ 5892 w 10000"/>
              <a:gd name="connsiteY372" fmla="*/ 2325 h 10000"/>
              <a:gd name="connsiteX373" fmla="*/ 5582 w 10000"/>
              <a:gd name="connsiteY373" fmla="*/ 2248 h 10000"/>
              <a:gd name="connsiteX374" fmla="*/ 5620 w 10000"/>
              <a:gd name="connsiteY374" fmla="*/ 2016 h 10000"/>
              <a:gd name="connsiteX375" fmla="*/ 5427 w 10000"/>
              <a:gd name="connsiteY375" fmla="*/ 1938 h 10000"/>
              <a:gd name="connsiteX376" fmla="*/ 5311 w 10000"/>
              <a:gd name="connsiteY376" fmla="*/ 2093 h 10000"/>
              <a:gd name="connsiteX377" fmla="*/ 5078 w 10000"/>
              <a:gd name="connsiteY377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589 w 10000"/>
              <a:gd name="connsiteY247" fmla="*/ 8838 h 10000"/>
              <a:gd name="connsiteX248" fmla="*/ 6938 w 10000"/>
              <a:gd name="connsiteY248" fmla="*/ 8838 h 10000"/>
              <a:gd name="connsiteX249" fmla="*/ 6938 w 10000"/>
              <a:gd name="connsiteY249" fmla="*/ 8295 h 10000"/>
              <a:gd name="connsiteX250" fmla="*/ 6976 w 10000"/>
              <a:gd name="connsiteY250" fmla="*/ 8140 h 10000"/>
              <a:gd name="connsiteX251" fmla="*/ 6976 w 10000"/>
              <a:gd name="connsiteY251" fmla="*/ 7907 h 10000"/>
              <a:gd name="connsiteX252" fmla="*/ 6899 w 10000"/>
              <a:gd name="connsiteY252" fmla="*/ 7675 h 10000"/>
              <a:gd name="connsiteX253" fmla="*/ 6860 w 10000"/>
              <a:gd name="connsiteY253" fmla="*/ 7675 h 10000"/>
              <a:gd name="connsiteX254" fmla="*/ 6821 w 10000"/>
              <a:gd name="connsiteY254" fmla="*/ 7830 h 10000"/>
              <a:gd name="connsiteX255" fmla="*/ 6744 w 10000"/>
              <a:gd name="connsiteY255" fmla="*/ 7830 h 10000"/>
              <a:gd name="connsiteX256" fmla="*/ 6783 w 10000"/>
              <a:gd name="connsiteY256" fmla="*/ 7675 h 10000"/>
              <a:gd name="connsiteX257" fmla="*/ 6744 w 10000"/>
              <a:gd name="connsiteY257" fmla="*/ 7675 h 10000"/>
              <a:gd name="connsiteX258" fmla="*/ 6705 w 10000"/>
              <a:gd name="connsiteY258" fmla="*/ 7598 h 10000"/>
              <a:gd name="connsiteX259" fmla="*/ 6628 w 10000"/>
              <a:gd name="connsiteY259" fmla="*/ 7598 h 10000"/>
              <a:gd name="connsiteX260" fmla="*/ 6628 w 10000"/>
              <a:gd name="connsiteY260" fmla="*/ 7520 h 10000"/>
              <a:gd name="connsiteX261" fmla="*/ 6744 w 10000"/>
              <a:gd name="connsiteY261" fmla="*/ 7287 h 10000"/>
              <a:gd name="connsiteX262" fmla="*/ 7094 w 10000"/>
              <a:gd name="connsiteY262" fmla="*/ 6590 h 10000"/>
              <a:gd name="connsiteX263" fmla="*/ 7249 w 10000"/>
              <a:gd name="connsiteY263" fmla="*/ 6512 h 10000"/>
              <a:gd name="connsiteX264" fmla="*/ 7287 w 10000"/>
              <a:gd name="connsiteY264" fmla="*/ 6590 h 10000"/>
              <a:gd name="connsiteX265" fmla="*/ 7326 w 10000"/>
              <a:gd name="connsiteY265" fmla="*/ 6512 h 10000"/>
              <a:gd name="connsiteX266" fmla="*/ 7442 w 10000"/>
              <a:gd name="connsiteY266" fmla="*/ 6590 h 10000"/>
              <a:gd name="connsiteX267" fmla="*/ 7481 w 10000"/>
              <a:gd name="connsiteY267" fmla="*/ 6434 h 10000"/>
              <a:gd name="connsiteX268" fmla="*/ 7597 w 10000"/>
              <a:gd name="connsiteY268" fmla="*/ 6512 h 10000"/>
              <a:gd name="connsiteX269" fmla="*/ 7636 w 10000"/>
              <a:gd name="connsiteY269" fmla="*/ 6512 h 10000"/>
              <a:gd name="connsiteX270" fmla="*/ 7597 w 10000"/>
              <a:gd name="connsiteY270" fmla="*/ 6590 h 10000"/>
              <a:gd name="connsiteX271" fmla="*/ 7597 w 10000"/>
              <a:gd name="connsiteY271" fmla="*/ 6667 h 10000"/>
              <a:gd name="connsiteX272" fmla="*/ 7830 w 10000"/>
              <a:gd name="connsiteY272" fmla="*/ 6590 h 10000"/>
              <a:gd name="connsiteX273" fmla="*/ 7791 w 10000"/>
              <a:gd name="connsiteY273" fmla="*/ 6512 h 10000"/>
              <a:gd name="connsiteX274" fmla="*/ 7946 w 10000"/>
              <a:gd name="connsiteY274" fmla="*/ 5969 h 10000"/>
              <a:gd name="connsiteX275" fmla="*/ 8140 w 10000"/>
              <a:gd name="connsiteY275" fmla="*/ 5892 h 10000"/>
              <a:gd name="connsiteX276" fmla="*/ 8140 w 10000"/>
              <a:gd name="connsiteY276" fmla="*/ 6047 h 10000"/>
              <a:gd name="connsiteX277" fmla="*/ 8140 w 10000"/>
              <a:gd name="connsiteY277" fmla="*/ 6202 h 10000"/>
              <a:gd name="connsiteX278" fmla="*/ 8333 w 10000"/>
              <a:gd name="connsiteY278" fmla="*/ 5969 h 10000"/>
              <a:gd name="connsiteX279" fmla="*/ 8333 w 10000"/>
              <a:gd name="connsiteY279" fmla="*/ 5737 h 10000"/>
              <a:gd name="connsiteX280" fmla="*/ 8411 w 10000"/>
              <a:gd name="connsiteY280" fmla="*/ 5737 h 10000"/>
              <a:gd name="connsiteX281" fmla="*/ 8372 w 10000"/>
              <a:gd name="connsiteY281" fmla="*/ 5814 h 10000"/>
              <a:gd name="connsiteX282" fmla="*/ 8333 w 10000"/>
              <a:gd name="connsiteY282" fmla="*/ 6202 h 10000"/>
              <a:gd name="connsiteX283" fmla="*/ 8256 w 10000"/>
              <a:gd name="connsiteY283" fmla="*/ 6279 h 10000"/>
              <a:gd name="connsiteX284" fmla="*/ 8023 w 10000"/>
              <a:gd name="connsiteY284" fmla="*/ 6822 h 10000"/>
              <a:gd name="connsiteX285" fmla="*/ 7946 w 10000"/>
              <a:gd name="connsiteY285" fmla="*/ 6900 h 10000"/>
              <a:gd name="connsiteX286" fmla="*/ 7868 w 10000"/>
              <a:gd name="connsiteY286" fmla="*/ 7442 h 10000"/>
              <a:gd name="connsiteX287" fmla="*/ 7946 w 10000"/>
              <a:gd name="connsiteY287" fmla="*/ 8372 h 10000"/>
              <a:gd name="connsiteX288" fmla="*/ 8023 w 10000"/>
              <a:gd name="connsiteY288" fmla="*/ 8217 h 10000"/>
              <a:gd name="connsiteX289" fmla="*/ 8101 w 10000"/>
              <a:gd name="connsiteY289" fmla="*/ 7907 h 10000"/>
              <a:gd name="connsiteX290" fmla="*/ 8140 w 10000"/>
              <a:gd name="connsiteY290" fmla="*/ 7907 h 10000"/>
              <a:gd name="connsiteX291" fmla="*/ 8140 w 10000"/>
              <a:gd name="connsiteY291" fmla="*/ 7675 h 10000"/>
              <a:gd name="connsiteX292" fmla="*/ 8178 w 10000"/>
              <a:gd name="connsiteY292" fmla="*/ 7675 h 10000"/>
              <a:gd name="connsiteX293" fmla="*/ 8256 w 10000"/>
              <a:gd name="connsiteY293" fmla="*/ 7598 h 10000"/>
              <a:gd name="connsiteX294" fmla="*/ 8217 w 10000"/>
              <a:gd name="connsiteY294" fmla="*/ 7364 h 10000"/>
              <a:gd name="connsiteX295" fmla="*/ 8295 w 10000"/>
              <a:gd name="connsiteY295" fmla="*/ 7287 h 10000"/>
              <a:gd name="connsiteX296" fmla="*/ 8333 w 10000"/>
              <a:gd name="connsiteY296" fmla="*/ 7287 h 10000"/>
              <a:gd name="connsiteX297" fmla="*/ 8333 w 10000"/>
              <a:gd name="connsiteY297" fmla="*/ 7132 h 10000"/>
              <a:gd name="connsiteX298" fmla="*/ 8295 w 10000"/>
              <a:gd name="connsiteY298" fmla="*/ 7132 h 10000"/>
              <a:gd name="connsiteX299" fmla="*/ 8333 w 10000"/>
              <a:gd name="connsiteY299" fmla="*/ 6900 h 10000"/>
              <a:gd name="connsiteX300" fmla="*/ 8295 w 10000"/>
              <a:gd name="connsiteY300" fmla="*/ 6900 h 10000"/>
              <a:gd name="connsiteX301" fmla="*/ 8256 w 10000"/>
              <a:gd name="connsiteY301" fmla="*/ 6900 h 10000"/>
              <a:gd name="connsiteX302" fmla="*/ 8256 w 10000"/>
              <a:gd name="connsiteY302" fmla="*/ 6822 h 10000"/>
              <a:gd name="connsiteX303" fmla="*/ 8333 w 10000"/>
              <a:gd name="connsiteY303" fmla="*/ 6590 h 10000"/>
              <a:gd name="connsiteX304" fmla="*/ 8333 w 10000"/>
              <a:gd name="connsiteY304" fmla="*/ 6434 h 10000"/>
              <a:gd name="connsiteX305" fmla="*/ 8411 w 10000"/>
              <a:gd name="connsiteY305" fmla="*/ 6434 h 10000"/>
              <a:gd name="connsiteX306" fmla="*/ 8527 w 10000"/>
              <a:gd name="connsiteY306" fmla="*/ 6279 h 10000"/>
              <a:gd name="connsiteX307" fmla="*/ 8527 w 10000"/>
              <a:gd name="connsiteY307" fmla="*/ 6434 h 10000"/>
              <a:gd name="connsiteX308" fmla="*/ 8566 w 10000"/>
              <a:gd name="connsiteY308" fmla="*/ 6356 h 10000"/>
              <a:gd name="connsiteX309" fmla="*/ 8682 w 10000"/>
              <a:gd name="connsiteY309" fmla="*/ 6279 h 10000"/>
              <a:gd name="connsiteX310" fmla="*/ 8759 w 10000"/>
              <a:gd name="connsiteY310" fmla="*/ 6434 h 10000"/>
              <a:gd name="connsiteX311" fmla="*/ 8798 w 10000"/>
              <a:gd name="connsiteY311" fmla="*/ 6279 h 10000"/>
              <a:gd name="connsiteX312" fmla="*/ 9187 w 10000"/>
              <a:gd name="connsiteY312" fmla="*/ 5737 h 10000"/>
              <a:gd name="connsiteX313" fmla="*/ 9303 w 10000"/>
              <a:gd name="connsiteY313" fmla="*/ 5814 h 10000"/>
              <a:gd name="connsiteX314" fmla="*/ 9342 w 10000"/>
              <a:gd name="connsiteY314" fmla="*/ 5737 h 10000"/>
              <a:gd name="connsiteX315" fmla="*/ 9264 w 10000"/>
              <a:gd name="connsiteY315" fmla="*/ 5271 h 10000"/>
              <a:gd name="connsiteX316" fmla="*/ 9225 w 10000"/>
              <a:gd name="connsiteY316" fmla="*/ 5271 h 10000"/>
              <a:gd name="connsiteX317" fmla="*/ 9225 w 10000"/>
              <a:gd name="connsiteY317" fmla="*/ 5116 h 10000"/>
              <a:gd name="connsiteX318" fmla="*/ 9264 w 10000"/>
              <a:gd name="connsiteY318" fmla="*/ 5116 h 10000"/>
              <a:gd name="connsiteX319" fmla="*/ 9342 w 10000"/>
              <a:gd name="connsiteY319" fmla="*/ 5039 h 10000"/>
              <a:gd name="connsiteX320" fmla="*/ 9419 w 10000"/>
              <a:gd name="connsiteY320" fmla="*/ 4884 h 10000"/>
              <a:gd name="connsiteX321" fmla="*/ 9380 w 10000"/>
              <a:gd name="connsiteY321" fmla="*/ 4729 h 10000"/>
              <a:gd name="connsiteX322" fmla="*/ 9419 w 10000"/>
              <a:gd name="connsiteY322" fmla="*/ 4652 h 10000"/>
              <a:gd name="connsiteX323" fmla="*/ 9458 w 10000"/>
              <a:gd name="connsiteY323" fmla="*/ 4884 h 10000"/>
              <a:gd name="connsiteX324" fmla="*/ 9535 w 10000"/>
              <a:gd name="connsiteY324" fmla="*/ 4884 h 10000"/>
              <a:gd name="connsiteX325" fmla="*/ 9613 w 10000"/>
              <a:gd name="connsiteY325" fmla="*/ 5039 h 10000"/>
              <a:gd name="connsiteX326" fmla="*/ 9806 w 10000"/>
              <a:gd name="connsiteY326" fmla="*/ 5271 h 10000"/>
              <a:gd name="connsiteX327" fmla="*/ 9845 w 10000"/>
              <a:gd name="connsiteY327" fmla="*/ 5039 h 10000"/>
              <a:gd name="connsiteX328" fmla="*/ 9845 w 10000"/>
              <a:gd name="connsiteY328" fmla="*/ 4884 h 10000"/>
              <a:gd name="connsiteX329" fmla="*/ 9923 w 10000"/>
              <a:gd name="connsiteY329" fmla="*/ 4884 h 10000"/>
              <a:gd name="connsiteX330" fmla="*/ 10000 w 10000"/>
              <a:gd name="connsiteY330" fmla="*/ 4729 h 10000"/>
              <a:gd name="connsiteX331" fmla="*/ 9884 w 10000"/>
              <a:gd name="connsiteY331" fmla="*/ 4496 h 10000"/>
              <a:gd name="connsiteX332" fmla="*/ 9690 w 10000"/>
              <a:gd name="connsiteY332" fmla="*/ 4418 h 10000"/>
              <a:gd name="connsiteX333" fmla="*/ 9342 w 10000"/>
              <a:gd name="connsiteY333" fmla="*/ 3799 h 10000"/>
              <a:gd name="connsiteX334" fmla="*/ 9109 w 10000"/>
              <a:gd name="connsiteY334" fmla="*/ 3488 h 10000"/>
              <a:gd name="connsiteX335" fmla="*/ 8798 w 10000"/>
              <a:gd name="connsiteY335" fmla="*/ 3411 h 10000"/>
              <a:gd name="connsiteX336" fmla="*/ 8798 w 10000"/>
              <a:gd name="connsiteY336" fmla="*/ 3799 h 10000"/>
              <a:gd name="connsiteX337" fmla="*/ 8721 w 10000"/>
              <a:gd name="connsiteY337" fmla="*/ 3876 h 10000"/>
              <a:gd name="connsiteX338" fmla="*/ 8643 w 10000"/>
              <a:gd name="connsiteY338" fmla="*/ 3721 h 10000"/>
              <a:gd name="connsiteX339" fmla="*/ 8643 w 10000"/>
              <a:gd name="connsiteY339" fmla="*/ 3566 h 10000"/>
              <a:gd name="connsiteX340" fmla="*/ 8682 w 10000"/>
              <a:gd name="connsiteY340" fmla="*/ 3566 h 10000"/>
              <a:gd name="connsiteX341" fmla="*/ 8721 w 10000"/>
              <a:gd name="connsiteY341" fmla="*/ 3488 h 10000"/>
              <a:gd name="connsiteX342" fmla="*/ 8643 w 10000"/>
              <a:gd name="connsiteY342" fmla="*/ 3488 h 10000"/>
              <a:gd name="connsiteX343" fmla="*/ 8566 w 10000"/>
              <a:gd name="connsiteY343" fmla="*/ 3644 h 10000"/>
              <a:gd name="connsiteX344" fmla="*/ 8372 w 10000"/>
              <a:gd name="connsiteY344" fmla="*/ 3566 h 10000"/>
              <a:gd name="connsiteX345" fmla="*/ 8178 w 10000"/>
              <a:gd name="connsiteY345" fmla="*/ 3566 h 10000"/>
              <a:gd name="connsiteX346" fmla="*/ 8101 w 10000"/>
              <a:gd name="connsiteY346" fmla="*/ 3488 h 10000"/>
              <a:gd name="connsiteX347" fmla="*/ 8140 w 10000"/>
              <a:gd name="connsiteY347" fmla="*/ 3333 h 10000"/>
              <a:gd name="connsiteX348" fmla="*/ 8062 w 10000"/>
              <a:gd name="connsiteY348" fmla="*/ 3101 h 10000"/>
              <a:gd name="connsiteX349" fmla="*/ 7907 w 10000"/>
              <a:gd name="connsiteY349" fmla="*/ 3023 h 10000"/>
              <a:gd name="connsiteX350" fmla="*/ 7675 w 10000"/>
              <a:gd name="connsiteY350" fmla="*/ 3178 h 10000"/>
              <a:gd name="connsiteX351" fmla="*/ 7636 w 10000"/>
              <a:gd name="connsiteY351" fmla="*/ 2946 h 10000"/>
              <a:gd name="connsiteX352" fmla="*/ 7558 w 10000"/>
              <a:gd name="connsiteY352" fmla="*/ 2946 h 10000"/>
              <a:gd name="connsiteX353" fmla="*/ 7520 w 10000"/>
              <a:gd name="connsiteY353" fmla="*/ 2868 h 10000"/>
              <a:gd name="connsiteX354" fmla="*/ 7520 w 10000"/>
              <a:gd name="connsiteY354" fmla="*/ 2636 h 10000"/>
              <a:gd name="connsiteX355" fmla="*/ 7249 w 10000"/>
              <a:gd name="connsiteY355" fmla="*/ 2480 h 10000"/>
              <a:gd name="connsiteX356" fmla="*/ 6938 w 10000"/>
              <a:gd name="connsiteY356" fmla="*/ 2325 h 10000"/>
              <a:gd name="connsiteX357" fmla="*/ 6860 w 10000"/>
              <a:gd name="connsiteY357" fmla="*/ 2636 h 10000"/>
              <a:gd name="connsiteX358" fmla="*/ 6938 w 10000"/>
              <a:gd name="connsiteY358" fmla="*/ 2868 h 10000"/>
              <a:gd name="connsiteX359" fmla="*/ 6705 w 10000"/>
              <a:gd name="connsiteY359" fmla="*/ 2868 h 10000"/>
              <a:gd name="connsiteX360" fmla="*/ 6666 w 10000"/>
              <a:gd name="connsiteY360" fmla="*/ 2868 h 10000"/>
              <a:gd name="connsiteX361" fmla="*/ 6589 w 10000"/>
              <a:gd name="connsiteY361" fmla="*/ 2946 h 10000"/>
              <a:gd name="connsiteX362" fmla="*/ 6473 w 10000"/>
              <a:gd name="connsiteY362" fmla="*/ 2714 h 10000"/>
              <a:gd name="connsiteX363" fmla="*/ 6395 w 10000"/>
              <a:gd name="connsiteY363" fmla="*/ 3178 h 10000"/>
              <a:gd name="connsiteX364" fmla="*/ 6318 w 10000"/>
              <a:gd name="connsiteY364" fmla="*/ 3101 h 10000"/>
              <a:gd name="connsiteX365" fmla="*/ 6240 w 10000"/>
              <a:gd name="connsiteY365" fmla="*/ 2791 h 10000"/>
              <a:gd name="connsiteX366" fmla="*/ 6279 w 10000"/>
              <a:gd name="connsiteY366" fmla="*/ 2403 h 10000"/>
              <a:gd name="connsiteX367" fmla="*/ 6202 w 10000"/>
              <a:gd name="connsiteY367" fmla="*/ 2170 h 10000"/>
              <a:gd name="connsiteX368" fmla="*/ 5969 w 10000"/>
              <a:gd name="connsiteY368" fmla="*/ 2016 h 10000"/>
              <a:gd name="connsiteX369" fmla="*/ 5892 w 10000"/>
              <a:gd name="connsiteY369" fmla="*/ 2016 h 10000"/>
              <a:gd name="connsiteX370" fmla="*/ 5853 w 10000"/>
              <a:gd name="connsiteY370" fmla="*/ 2170 h 10000"/>
              <a:gd name="connsiteX371" fmla="*/ 5892 w 10000"/>
              <a:gd name="connsiteY371" fmla="*/ 2325 h 10000"/>
              <a:gd name="connsiteX372" fmla="*/ 5582 w 10000"/>
              <a:gd name="connsiteY372" fmla="*/ 2248 h 10000"/>
              <a:gd name="connsiteX373" fmla="*/ 5620 w 10000"/>
              <a:gd name="connsiteY373" fmla="*/ 2016 h 10000"/>
              <a:gd name="connsiteX374" fmla="*/ 5427 w 10000"/>
              <a:gd name="connsiteY374" fmla="*/ 1938 h 10000"/>
              <a:gd name="connsiteX375" fmla="*/ 5311 w 10000"/>
              <a:gd name="connsiteY375" fmla="*/ 2093 h 10000"/>
              <a:gd name="connsiteX376" fmla="*/ 5078 w 10000"/>
              <a:gd name="connsiteY376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760 h 10000"/>
              <a:gd name="connsiteX245" fmla="*/ 6357 w 10000"/>
              <a:gd name="connsiteY245" fmla="*/ 8915 h 10000"/>
              <a:gd name="connsiteX246" fmla="*/ 6434 w 10000"/>
              <a:gd name="connsiteY246" fmla="*/ 8915 h 10000"/>
              <a:gd name="connsiteX247" fmla="*/ 6938 w 10000"/>
              <a:gd name="connsiteY247" fmla="*/ 8838 h 10000"/>
              <a:gd name="connsiteX248" fmla="*/ 6938 w 10000"/>
              <a:gd name="connsiteY248" fmla="*/ 8295 h 10000"/>
              <a:gd name="connsiteX249" fmla="*/ 6976 w 10000"/>
              <a:gd name="connsiteY249" fmla="*/ 8140 h 10000"/>
              <a:gd name="connsiteX250" fmla="*/ 6976 w 10000"/>
              <a:gd name="connsiteY250" fmla="*/ 7907 h 10000"/>
              <a:gd name="connsiteX251" fmla="*/ 6899 w 10000"/>
              <a:gd name="connsiteY251" fmla="*/ 7675 h 10000"/>
              <a:gd name="connsiteX252" fmla="*/ 6860 w 10000"/>
              <a:gd name="connsiteY252" fmla="*/ 7675 h 10000"/>
              <a:gd name="connsiteX253" fmla="*/ 6821 w 10000"/>
              <a:gd name="connsiteY253" fmla="*/ 7830 h 10000"/>
              <a:gd name="connsiteX254" fmla="*/ 6744 w 10000"/>
              <a:gd name="connsiteY254" fmla="*/ 7830 h 10000"/>
              <a:gd name="connsiteX255" fmla="*/ 6783 w 10000"/>
              <a:gd name="connsiteY255" fmla="*/ 7675 h 10000"/>
              <a:gd name="connsiteX256" fmla="*/ 6744 w 10000"/>
              <a:gd name="connsiteY256" fmla="*/ 7675 h 10000"/>
              <a:gd name="connsiteX257" fmla="*/ 6705 w 10000"/>
              <a:gd name="connsiteY257" fmla="*/ 7598 h 10000"/>
              <a:gd name="connsiteX258" fmla="*/ 6628 w 10000"/>
              <a:gd name="connsiteY258" fmla="*/ 7598 h 10000"/>
              <a:gd name="connsiteX259" fmla="*/ 6628 w 10000"/>
              <a:gd name="connsiteY259" fmla="*/ 7520 h 10000"/>
              <a:gd name="connsiteX260" fmla="*/ 6744 w 10000"/>
              <a:gd name="connsiteY260" fmla="*/ 7287 h 10000"/>
              <a:gd name="connsiteX261" fmla="*/ 7094 w 10000"/>
              <a:gd name="connsiteY261" fmla="*/ 6590 h 10000"/>
              <a:gd name="connsiteX262" fmla="*/ 7249 w 10000"/>
              <a:gd name="connsiteY262" fmla="*/ 6512 h 10000"/>
              <a:gd name="connsiteX263" fmla="*/ 7287 w 10000"/>
              <a:gd name="connsiteY263" fmla="*/ 6590 h 10000"/>
              <a:gd name="connsiteX264" fmla="*/ 7326 w 10000"/>
              <a:gd name="connsiteY264" fmla="*/ 6512 h 10000"/>
              <a:gd name="connsiteX265" fmla="*/ 7442 w 10000"/>
              <a:gd name="connsiteY265" fmla="*/ 6590 h 10000"/>
              <a:gd name="connsiteX266" fmla="*/ 7481 w 10000"/>
              <a:gd name="connsiteY266" fmla="*/ 6434 h 10000"/>
              <a:gd name="connsiteX267" fmla="*/ 7597 w 10000"/>
              <a:gd name="connsiteY267" fmla="*/ 6512 h 10000"/>
              <a:gd name="connsiteX268" fmla="*/ 7636 w 10000"/>
              <a:gd name="connsiteY268" fmla="*/ 6512 h 10000"/>
              <a:gd name="connsiteX269" fmla="*/ 7597 w 10000"/>
              <a:gd name="connsiteY269" fmla="*/ 6590 h 10000"/>
              <a:gd name="connsiteX270" fmla="*/ 7597 w 10000"/>
              <a:gd name="connsiteY270" fmla="*/ 6667 h 10000"/>
              <a:gd name="connsiteX271" fmla="*/ 7830 w 10000"/>
              <a:gd name="connsiteY271" fmla="*/ 6590 h 10000"/>
              <a:gd name="connsiteX272" fmla="*/ 7791 w 10000"/>
              <a:gd name="connsiteY272" fmla="*/ 6512 h 10000"/>
              <a:gd name="connsiteX273" fmla="*/ 7946 w 10000"/>
              <a:gd name="connsiteY273" fmla="*/ 5969 h 10000"/>
              <a:gd name="connsiteX274" fmla="*/ 8140 w 10000"/>
              <a:gd name="connsiteY274" fmla="*/ 5892 h 10000"/>
              <a:gd name="connsiteX275" fmla="*/ 8140 w 10000"/>
              <a:gd name="connsiteY275" fmla="*/ 6047 h 10000"/>
              <a:gd name="connsiteX276" fmla="*/ 8140 w 10000"/>
              <a:gd name="connsiteY276" fmla="*/ 6202 h 10000"/>
              <a:gd name="connsiteX277" fmla="*/ 8333 w 10000"/>
              <a:gd name="connsiteY277" fmla="*/ 5969 h 10000"/>
              <a:gd name="connsiteX278" fmla="*/ 8333 w 10000"/>
              <a:gd name="connsiteY278" fmla="*/ 5737 h 10000"/>
              <a:gd name="connsiteX279" fmla="*/ 8411 w 10000"/>
              <a:gd name="connsiteY279" fmla="*/ 5737 h 10000"/>
              <a:gd name="connsiteX280" fmla="*/ 8372 w 10000"/>
              <a:gd name="connsiteY280" fmla="*/ 5814 h 10000"/>
              <a:gd name="connsiteX281" fmla="*/ 8333 w 10000"/>
              <a:gd name="connsiteY281" fmla="*/ 6202 h 10000"/>
              <a:gd name="connsiteX282" fmla="*/ 8256 w 10000"/>
              <a:gd name="connsiteY282" fmla="*/ 6279 h 10000"/>
              <a:gd name="connsiteX283" fmla="*/ 8023 w 10000"/>
              <a:gd name="connsiteY283" fmla="*/ 6822 h 10000"/>
              <a:gd name="connsiteX284" fmla="*/ 7946 w 10000"/>
              <a:gd name="connsiteY284" fmla="*/ 6900 h 10000"/>
              <a:gd name="connsiteX285" fmla="*/ 7868 w 10000"/>
              <a:gd name="connsiteY285" fmla="*/ 7442 h 10000"/>
              <a:gd name="connsiteX286" fmla="*/ 7946 w 10000"/>
              <a:gd name="connsiteY286" fmla="*/ 8372 h 10000"/>
              <a:gd name="connsiteX287" fmla="*/ 8023 w 10000"/>
              <a:gd name="connsiteY287" fmla="*/ 8217 h 10000"/>
              <a:gd name="connsiteX288" fmla="*/ 8101 w 10000"/>
              <a:gd name="connsiteY288" fmla="*/ 7907 h 10000"/>
              <a:gd name="connsiteX289" fmla="*/ 8140 w 10000"/>
              <a:gd name="connsiteY289" fmla="*/ 7907 h 10000"/>
              <a:gd name="connsiteX290" fmla="*/ 8140 w 10000"/>
              <a:gd name="connsiteY290" fmla="*/ 7675 h 10000"/>
              <a:gd name="connsiteX291" fmla="*/ 8178 w 10000"/>
              <a:gd name="connsiteY291" fmla="*/ 7675 h 10000"/>
              <a:gd name="connsiteX292" fmla="*/ 8256 w 10000"/>
              <a:gd name="connsiteY292" fmla="*/ 7598 h 10000"/>
              <a:gd name="connsiteX293" fmla="*/ 8217 w 10000"/>
              <a:gd name="connsiteY293" fmla="*/ 7364 h 10000"/>
              <a:gd name="connsiteX294" fmla="*/ 8295 w 10000"/>
              <a:gd name="connsiteY294" fmla="*/ 7287 h 10000"/>
              <a:gd name="connsiteX295" fmla="*/ 8333 w 10000"/>
              <a:gd name="connsiteY295" fmla="*/ 7287 h 10000"/>
              <a:gd name="connsiteX296" fmla="*/ 8333 w 10000"/>
              <a:gd name="connsiteY296" fmla="*/ 7132 h 10000"/>
              <a:gd name="connsiteX297" fmla="*/ 8295 w 10000"/>
              <a:gd name="connsiteY297" fmla="*/ 7132 h 10000"/>
              <a:gd name="connsiteX298" fmla="*/ 8333 w 10000"/>
              <a:gd name="connsiteY298" fmla="*/ 6900 h 10000"/>
              <a:gd name="connsiteX299" fmla="*/ 8295 w 10000"/>
              <a:gd name="connsiteY299" fmla="*/ 6900 h 10000"/>
              <a:gd name="connsiteX300" fmla="*/ 8256 w 10000"/>
              <a:gd name="connsiteY300" fmla="*/ 6900 h 10000"/>
              <a:gd name="connsiteX301" fmla="*/ 8256 w 10000"/>
              <a:gd name="connsiteY301" fmla="*/ 6822 h 10000"/>
              <a:gd name="connsiteX302" fmla="*/ 8333 w 10000"/>
              <a:gd name="connsiteY302" fmla="*/ 6590 h 10000"/>
              <a:gd name="connsiteX303" fmla="*/ 8333 w 10000"/>
              <a:gd name="connsiteY303" fmla="*/ 6434 h 10000"/>
              <a:gd name="connsiteX304" fmla="*/ 8411 w 10000"/>
              <a:gd name="connsiteY304" fmla="*/ 6434 h 10000"/>
              <a:gd name="connsiteX305" fmla="*/ 8527 w 10000"/>
              <a:gd name="connsiteY305" fmla="*/ 6279 h 10000"/>
              <a:gd name="connsiteX306" fmla="*/ 8527 w 10000"/>
              <a:gd name="connsiteY306" fmla="*/ 6434 h 10000"/>
              <a:gd name="connsiteX307" fmla="*/ 8566 w 10000"/>
              <a:gd name="connsiteY307" fmla="*/ 6356 h 10000"/>
              <a:gd name="connsiteX308" fmla="*/ 8682 w 10000"/>
              <a:gd name="connsiteY308" fmla="*/ 6279 h 10000"/>
              <a:gd name="connsiteX309" fmla="*/ 8759 w 10000"/>
              <a:gd name="connsiteY309" fmla="*/ 6434 h 10000"/>
              <a:gd name="connsiteX310" fmla="*/ 8798 w 10000"/>
              <a:gd name="connsiteY310" fmla="*/ 6279 h 10000"/>
              <a:gd name="connsiteX311" fmla="*/ 9187 w 10000"/>
              <a:gd name="connsiteY311" fmla="*/ 5737 h 10000"/>
              <a:gd name="connsiteX312" fmla="*/ 9303 w 10000"/>
              <a:gd name="connsiteY312" fmla="*/ 5814 h 10000"/>
              <a:gd name="connsiteX313" fmla="*/ 9342 w 10000"/>
              <a:gd name="connsiteY313" fmla="*/ 5737 h 10000"/>
              <a:gd name="connsiteX314" fmla="*/ 9264 w 10000"/>
              <a:gd name="connsiteY314" fmla="*/ 5271 h 10000"/>
              <a:gd name="connsiteX315" fmla="*/ 9225 w 10000"/>
              <a:gd name="connsiteY315" fmla="*/ 5271 h 10000"/>
              <a:gd name="connsiteX316" fmla="*/ 9225 w 10000"/>
              <a:gd name="connsiteY316" fmla="*/ 5116 h 10000"/>
              <a:gd name="connsiteX317" fmla="*/ 9264 w 10000"/>
              <a:gd name="connsiteY317" fmla="*/ 5116 h 10000"/>
              <a:gd name="connsiteX318" fmla="*/ 9342 w 10000"/>
              <a:gd name="connsiteY318" fmla="*/ 5039 h 10000"/>
              <a:gd name="connsiteX319" fmla="*/ 9419 w 10000"/>
              <a:gd name="connsiteY319" fmla="*/ 4884 h 10000"/>
              <a:gd name="connsiteX320" fmla="*/ 9380 w 10000"/>
              <a:gd name="connsiteY320" fmla="*/ 4729 h 10000"/>
              <a:gd name="connsiteX321" fmla="*/ 9419 w 10000"/>
              <a:gd name="connsiteY321" fmla="*/ 4652 h 10000"/>
              <a:gd name="connsiteX322" fmla="*/ 9458 w 10000"/>
              <a:gd name="connsiteY322" fmla="*/ 4884 h 10000"/>
              <a:gd name="connsiteX323" fmla="*/ 9535 w 10000"/>
              <a:gd name="connsiteY323" fmla="*/ 4884 h 10000"/>
              <a:gd name="connsiteX324" fmla="*/ 9613 w 10000"/>
              <a:gd name="connsiteY324" fmla="*/ 5039 h 10000"/>
              <a:gd name="connsiteX325" fmla="*/ 9806 w 10000"/>
              <a:gd name="connsiteY325" fmla="*/ 5271 h 10000"/>
              <a:gd name="connsiteX326" fmla="*/ 9845 w 10000"/>
              <a:gd name="connsiteY326" fmla="*/ 5039 h 10000"/>
              <a:gd name="connsiteX327" fmla="*/ 9845 w 10000"/>
              <a:gd name="connsiteY327" fmla="*/ 4884 h 10000"/>
              <a:gd name="connsiteX328" fmla="*/ 9923 w 10000"/>
              <a:gd name="connsiteY328" fmla="*/ 4884 h 10000"/>
              <a:gd name="connsiteX329" fmla="*/ 10000 w 10000"/>
              <a:gd name="connsiteY329" fmla="*/ 4729 h 10000"/>
              <a:gd name="connsiteX330" fmla="*/ 9884 w 10000"/>
              <a:gd name="connsiteY330" fmla="*/ 4496 h 10000"/>
              <a:gd name="connsiteX331" fmla="*/ 9690 w 10000"/>
              <a:gd name="connsiteY331" fmla="*/ 4418 h 10000"/>
              <a:gd name="connsiteX332" fmla="*/ 9342 w 10000"/>
              <a:gd name="connsiteY332" fmla="*/ 3799 h 10000"/>
              <a:gd name="connsiteX333" fmla="*/ 9109 w 10000"/>
              <a:gd name="connsiteY333" fmla="*/ 3488 h 10000"/>
              <a:gd name="connsiteX334" fmla="*/ 8798 w 10000"/>
              <a:gd name="connsiteY334" fmla="*/ 3411 h 10000"/>
              <a:gd name="connsiteX335" fmla="*/ 8798 w 10000"/>
              <a:gd name="connsiteY335" fmla="*/ 3799 h 10000"/>
              <a:gd name="connsiteX336" fmla="*/ 8721 w 10000"/>
              <a:gd name="connsiteY336" fmla="*/ 3876 h 10000"/>
              <a:gd name="connsiteX337" fmla="*/ 8643 w 10000"/>
              <a:gd name="connsiteY337" fmla="*/ 3721 h 10000"/>
              <a:gd name="connsiteX338" fmla="*/ 8643 w 10000"/>
              <a:gd name="connsiteY338" fmla="*/ 3566 h 10000"/>
              <a:gd name="connsiteX339" fmla="*/ 8682 w 10000"/>
              <a:gd name="connsiteY339" fmla="*/ 3566 h 10000"/>
              <a:gd name="connsiteX340" fmla="*/ 8721 w 10000"/>
              <a:gd name="connsiteY340" fmla="*/ 3488 h 10000"/>
              <a:gd name="connsiteX341" fmla="*/ 8643 w 10000"/>
              <a:gd name="connsiteY341" fmla="*/ 3488 h 10000"/>
              <a:gd name="connsiteX342" fmla="*/ 8566 w 10000"/>
              <a:gd name="connsiteY342" fmla="*/ 3644 h 10000"/>
              <a:gd name="connsiteX343" fmla="*/ 8372 w 10000"/>
              <a:gd name="connsiteY343" fmla="*/ 3566 h 10000"/>
              <a:gd name="connsiteX344" fmla="*/ 8178 w 10000"/>
              <a:gd name="connsiteY344" fmla="*/ 3566 h 10000"/>
              <a:gd name="connsiteX345" fmla="*/ 8101 w 10000"/>
              <a:gd name="connsiteY345" fmla="*/ 3488 h 10000"/>
              <a:gd name="connsiteX346" fmla="*/ 8140 w 10000"/>
              <a:gd name="connsiteY346" fmla="*/ 3333 h 10000"/>
              <a:gd name="connsiteX347" fmla="*/ 8062 w 10000"/>
              <a:gd name="connsiteY347" fmla="*/ 3101 h 10000"/>
              <a:gd name="connsiteX348" fmla="*/ 7907 w 10000"/>
              <a:gd name="connsiteY348" fmla="*/ 3023 h 10000"/>
              <a:gd name="connsiteX349" fmla="*/ 7675 w 10000"/>
              <a:gd name="connsiteY349" fmla="*/ 3178 h 10000"/>
              <a:gd name="connsiteX350" fmla="*/ 7636 w 10000"/>
              <a:gd name="connsiteY350" fmla="*/ 2946 h 10000"/>
              <a:gd name="connsiteX351" fmla="*/ 7558 w 10000"/>
              <a:gd name="connsiteY351" fmla="*/ 2946 h 10000"/>
              <a:gd name="connsiteX352" fmla="*/ 7520 w 10000"/>
              <a:gd name="connsiteY352" fmla="*/ 2868 h 10000"/>
              <a:gd name="connsiteX353" fmla="*/ 7520 w 10000"/>
              <a:gd name="connsiteY353" fmla="*/ 2636 h 10000"/>
              <a:gd name="connsiteX354" fmla="*/ 7249 w 10000"/>
              <a:gd name="connsiteY354" fmla="*/ 2480 h 10000"/>
              <a:gd name="connsiteX355" fmla="*/ 6938 w 10000"/>
              <a:gd name="connsiteY355" fmla="*/ 2325 h 10000"/>
              <a:gd name="connsiteX356" fmla="*/ 6860 w 10000"/>
              <a:gd name="connsiteY356" fmla="*/ 2636 h 10000"/>
              <a:gd name="connsiteX357" fmla="*/ 6938 w 10000"/>
              <a:gd name="connsiteY357" fmla="*/ 2868 h 10000"/>
              <a:gd name="connsiteX358" fmla="*/ 6705 w 10000"/>
              <a:gd name="connsiteY358" fmla="*/ 2868 h 10000"/>
              <a:gd name="connsiteX359" fmla="*/ 6666 w 10000"/>
              <a:gd name="connsiteY359" fmla="*/ 2868 h 10000"/>
              <a:gd name="connsiteX360" fmla="*/ 6589 w 10000"/>
              <a:gd name="connsiteY360" fmla="*/ 2946 h 10000"/>
              <a:gd name="connsiteX361" fmla="*/ 6473 w 10000"/>
              <a:gd name="connsiteY361" fmla="*/ 2714 h 10000"/>
              <a:gd name="connsiteX362" fmla="*/ 6395 w 10000"/>
              <a:gd name="connsiteY362" fmla="*/ 3178 h 10000"/>
              <a:gd name="connsiteX363" fmla="*/ 6318 w 10000"/>
              <a:gd name="connsiteY363" fmla="*/ 3101 h 10000"/>
              <a:gd name="connsiteX364" fmla="*/ 6240 w 10000"/>
              <a:gd name="connsiteY364" fmla="*/ 2791 h 10000"/>
              <a:gd name="connsiteX365" fmla="*/ 6279 w 10000"/>
              <a:gd name="connsiteY365" fmla="*/ 2403 h 10000"/>
              <a:gd name="connsiteX366" fmla="*/ 6202 w 10000"/>
              <a:gd name="connsiteY366" fmla="*/ 2170 h 10000"/>
              <a:gd name="connsiteX367" fmla="*/ 5969 w 10000"/>
              <a:gd name="connsiteY367" fmla="*/ 2016 h 10000"/>
              <a:gd name="connsiteX368" fmla="*/ 5892 w 10000"/>
              <a:gd name="connsiteY368" fmla="*/ 2016 h 10000"/>
              <a:gd name="connsiteX369" fmla="*/ 5853 w 10000"/>
              <a:gd name="connsiteY369" fmla="*/ 2170 h 10000"/>
              <a:gd name="connsiteX370" fmla="*/ 5892 w 10000"/>
              <a:gd name="connsiteY370" fmla="*/ 2325 h 10000"/>
              <a:gd name="connsiteX371" fmla="*/ 5582 w 10000"/>
              <a:gd name="connsiteY371" fmla="*/ 2248 h 10000"/>
              <a:gd name="connsiteX372" fmla="*/ 5620 w 10000"/>
              <a:gd name="connsiteY372" fmla="*/ 2016 h 10000"/>
              <a:gd name="connsiteX373" fmla="*/ 5427 w 10000"/>
              <a:gd name="connsiteY373" fmla="*/ 1938 h 10000"/>
              <a:gd name="connsiteX374" fmla="*/ 5311 w 10000"/>
              <a:gd name="connsiteY374" fmla="*/ 2093 h 10000"/>
              <a:gd name="connsiteX375" fmla="*/ 5078 w 10000"/>
              <a:gd name="connsiteY375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357 w 10000"/>
              <a:gd name="connsiteY244" fmla="*/ 8915 h 10000"/>
              <a:gd name="connsiteX245" fmla="*/ 6434 w 10000"/>
              <a:gd name="connsiteY245" fmla="*/ 8915 h 10000"/>
              <a:gd name="connsiteX246" fmla="*/ 6938 w 10000"/>
              <a:gd name="connsiteY246" fmla="*/ 8838 h 10000"/>
              <a:gd name="connsiteX247" fmla="*/ 6938 w 10000"/>
              <a:gd name="connsiteY247" fmla="*/ 8295 h 10000"/>
              <a:gd name="connsiteX248" fmla="*/ 6976 w 10000"/>
              <a:gd name="connsiteY248" fmla="*/ 8140 h 10000"/>
              <a:gd name="connsiteX249" fmla="*/ 6976 w 10000"/>
              <a:gd name="connsiteY249" fmla="*/ 7907 h 10000"/>
              <a:gd name="connsiteX250" fmla="*/ 6899 w 10000"/>
              <a:gd name="connsiteY250" fmla="*/ 7675 h 10000"/>
              <a:gd name="connsiteX251" fmla="*/ 6860 w 10000"/>
              <a:gd name="connsiteY251" fmla="*/ 7675 h 10000"/>
              <a:gd name="connsiteX252" fmla="*/ 6821 w 10000"/>
              <a:gd name="connsiteY252" fmla="*/ 7830 h 10000"/>
              <a:gd name="connsiteX253" fmla="*/ 6744 w 10000"/>
              <a:gd name="connsiteY253" fmla="*/ 7830 h 10000"/>
              <a:gd name="connsiteX254" fmla="*/ 6783 w 10000"/>
              <a:gd name="connsiteY254" fmla="*/ 7675 h 10000"/>
              <a:gd name="connsiteX255" fmla="*/ 6744 w 10000"/>
              <a:gd name="connsiteY255" fmla="*/ 7675 h 10000"/>
              <a:gd name="connsiteX256" fmla="*/ 6705 w 10000"/>
              <a:gd name="connsiteY256" fmla="*/ 7598 h 10000"/>
              <a:gd name="connsiteX257" fmla="*/ 6628 w 10000"/>
              <a:gd name="connsiteY257" fmla="*/ 7598 h 10000"/>
              <a:gd name="connsiteX258" fmla="*/ 6628 w 10000"/>
              <a:gd name="connsiteY258" fmla="*/ 7520 h 10000"/>
              <a:gd name="connsiteX259" fmla="*/ 6744 w 10000"/>
              <a:gd name="connsiteY259" fmla="*/ 7287 h 10000"/>
              <a:gd name="connsiteX260" fmla="*/ 7094 w 10000"/>
              <a:gd name="connsiteY260" fmla="*/ 6590 h 10000"/>
              <a:gd name="connsiteX261" fmla="*/ 7249 w 10000"/>
              <a:gd name="connsiteY261" fmla="*/ 6512 h 10000"/>
              <a:gd name="connsiteX262" fmla="*/ 7287 w 10000"/>
              <a:gd name="connsiteY262" fmla="*/ 6590 h 10000"/>
              <a:gd name="connsiteX263" fmla="*/ 7326 w 10000"/>
              <a:gd name="connsiteY263" fmla="*/ 6512 h 10000"/>
              <a:gd name="connsiteX264" fmla="*/ 7442 w 10000"/>
              <a:gd name="connsiteY264" fmla="*/ 6590 h 10000"/>
              <a:gd name="connsiteX265" fmla="*/ 7481 w 10000"/>
              <a:gd name="connsiteY265" fmla="*/ 6434 h 10000"/>
              <a:gd name="connsiteX266" fmla="*/ 7597 w 10000"/>
              <a:gd name="connsiteY266" fmla="*/ 6512 h 10000"/>
              <a:gd name="connsiteX267" fmla="*/ 7636 w 10000"/>
              <a:gd name="connsiteY267" fmla="*/ 6512 h 10000"/>
              <a:gd name="connsiteX268" fmla="*/ 7597 w 10000"/>
              <a:gd name="connsiteY268" fmla="*/ 6590 h 10000"/>
              <a:gd name="connsiteX269" fmla="*/ 7597 w 10000"/>
              <a:gd name="connsiteY269" fmla="*/ 6667 h 10000"/>
              <a:gd name="connsiteX270" fmla="*/ 7830 w 10000"/>
              <a:gd name="connsiteY270" fmla="*/ 6590 h 10000"/>
              <a:gd name="connsiteX271" fmla="*/ 7791 w 10000"/>
              <a:gd name="connsiteY271" fmla="*/ 6512 h 10000"/>
              <a:gd name="connsiteX272" fmla="*/ 7946 w 10000"/>
              <a:gd name="connsiteY272" fmla="*/ 5969 h 10000"/>
              <a:gd name="connsiteX273" fmla="*/ 8140 w 10000"/>
              <a:gd name="connsiteY273" fmla="*/ 5892 h 10000"/>
              <a:gd name="connsiteX274" fmla="*/ 8140 w 10000"/>
              <a:gd name="connsiteY274" fmla="*/ 6047 h 10000"/>
              <a:gd name="connsiteX275" fmla="*/ 8140 w 10000"/>
              <a:gd name="connsiteY275" fmla="*/ 6202 h 10000"/>
              <a:gd name="connsiteX276" fmla="*/ 8333 w 10000"/>
              <a:gd name="connsiteY276" fmla="*/ 5969 h 10000"/>
              <a:gd name="connsiteX277" fmla="*/ 8333 w 10000"/>
              <a:gd name="connsiteY277" fmla="*/ 5737 h 10000"/>
              <a:gd name="connsiteX278" fmla="*/ 8411 w 10000"/>
              <a:gd name="connsiteY278" fmla="*/ 5737 h 10000"/>
              <a:gd name="connsiteX279" fmla="*/ 8372 w 10000"/>
              <a:gd name="connsiteY279" fmla="*/ 5814 h 10000"/>
              <a:gd name="connsiteX280" fmla="*/ 8333 w 10000"/>
              <a:gd name="connsiteY280" fmla="*/ 6202 h 10000"/>
              <a:gd name="connsiteX281" fmla="*/ 8256 w 10000"/>
              <a:gd name="connsiteY281" fmla="*/ 6279 h 10000"/>
              <a:gd name="connsiteX282" fmla="*/ 8023 w 10000"/>
              <a:gd name="connsiteY282" fmla="*/ 6822 h 10000"/>
              <a:gd name="connsiteX283" fmla="*/ 7946 w 10000"/>
              <a:gd name="connsiteY283" fmla="*/ 6900 h 10000"/>
              <a:gd name="connsiteX284" fmla="*/ 7868 w 10000"/>
              <a:gd name="connsiteY284" fmla="*/ 7442 h 10000"/>
              <a:gd name="connsiteX285" fmla="*/ 7946 w 10000"/>
              <a:gd name="connsiteY285" fmla="*/ 8372 h 10000"/>
              <a:gd name="connsiteX286" fmla="*/ 8023 w 10000"/>
              <a:gd name="connsiteY286" fmla="*/ 8217 h 10000"/>
              <a:gd name="connsiteX287" fmla="*/ 8101 w 10000"/>
              <a:gd name="connsiteY287" fmla="*/ 7907 h 10000"/>
              <a:gd name="connsiteX288" fmla="*/ 8140 w 10000"/>
              <a:gd name="connsiteY288" fmla="*/ 7907 h 10000"/>
              <a:gd name="connsiteX289" fmla="*/ 8140 w 10000"/>
              <a:gd name="connsiteY289" fmla="*/ 7675 h 10000"/>
              <a:gd name="connsiteX290" fmla="*/ 8178 w 10000"/>
              <a:gd name="connsiteY290" fmla="*/ 7675 h 10000"/>
              <a:gd name="connsiteX291" fmla="*/ 8256 w 10000"/>
              <a:gd name="connsiteY291" fmla="*/ 7598 h 10000"/>
              <a:gd name="connsiteX292" fmla="*/ 8217 w 10000"/>
              <a:gd name="connsiteY292" fmla="*/ 7364 h 10000"/>
              <a:gd name="connsiteX293" fmla="*/ 8295 w 10000"/>
              <a:gd name="connsiteY293" fmla="*/ 7287 h 10000"/>
              <a:gd name="connsiteX294" fmla="*/ 8333 w 10000"/>
              <a:gd name="connsiteY294" fmla="*/ 7287 h 10000"/>
              <a:gd name="connsiteX295" fmla="*/ 8333 w 10000"/>
              <a:gd name="connsiteY295" fmla="*/ 7132 h 10000"/>
              <a:gd name="connsiteX296" fmla="*/ 8295 w 10000"/>
              <a:gd name="connsiteY296" fmla="*/ 7132 h 10000"/>
              <a:gd name="connsiteX297" fmla="*/ 8333 w 10000"/>
              <a:gd name="connsiteY297" fmla="*/ 6900 h 10000"/>
              <a:gd name="connsiteX298" fmla="*/ 8295 w 10000"/>
              <a:gd name="connsiteY298" fmla="*/ 6900 h 10000"/>
              <a:gd name="connsiteX299" fmla="*/ 8256 w 10000"/>
              <a:gd name="connsiteY299" fmla="*/ 6900 h 10000"/>
              <a:gd name="connsiteX300" fmla="*/ 8256 w 10000"/>
              <a:gd name="connsiteY300" fmla="*/ 6822 h 10000"/>
              <a:gd name="connsiteX301" fmla="*/ 8333 w 10000"/>
              <a:gd name="connsiteY301" fmla="*/ 6590 h 10000"/>
              <a:gd name="connsiteX302" fmla="*/ 8333 w 10000"/>
              <a:gd name="connsiteY302" fmla="*/ 6434 h 10000"/>
              <a:gd name="connsiteX303" fmla="*/ 8411 w 10000"/>
              <a:gd name="connsiteY303" fmla="*/ 6434 h 10000"/>
              <a:gd name="connsiteX304" fmla="*/ 8527 w 10000"/>
              <a:gd name="connsiteY304" fmla="*/ 6279 h 10000"/>
              <a:gd name="connsiteX305" fmla="*/ 8527 w 10000"/>
              <a:gd name="connsiteY305" fmla="*/ 6434 h 10000"/>
              <a:gd name="connsiteX306" fmla="*/ 8566 w 10000"/>
              <a:gd name="connsiteY306" fmla="*/ 6356 h 10000"/>
              <a:gd name="connsiteX307" fmla="*/ 8682 w 10000"/>
              <a:gd name="connsiteY307" fmla="*/ 6279 h 10000"/>
              <a:gd name="connsiteX308" fmla="*/ 8759 w 10000"/>
              <a:gd name="connsiteY308" fmla="*/ 6434 h 10000"/>
              <a:gd name="connsiteX309" fmla="*/ 8798 w 10000"/>
              <a:gd name="connsiteY309" fmla="*/ 6279 h 10000"/>
              <a:gd name="connsiteX310" fmla="*/ 9187 w 10000"/>
              <a:gd name="connsiteY310" fmla="*/ 5737 h 10000"/>
              <a:gd name="connsiteX311" fmla="*/ 9303 w 10000"/>
              <a:gd name="connsiteY311" fmla="*/ 5814 h 10000"/>
              <a:gd name="connsiteX312" fmla="*/ 9342 w 10000"/>
              <a:gd name="connsiteY312" fmla="*/ 5737 h 10000"/>
              <a:gd name="connsiteX313" fmla="*/ 9264 w 10000"/>
              <a:gd name="connsiteY313" fmla="*/ 5271 h 10000"/>
              <a:gd name="connsiteX314" fmla="*/ 9225 w 10000"/>
              <a:gd name="connsiteY314" fmla="*/ 5271 h 10000"/>
              <a:gd name="connsiteX315" fmla="*/ 9225 w 10000"/>
              <a:gd name="connsiteY315" fmla="*/ 5116 h 10000"/>
              <a:gd name="connsiteX316" fmla="*/ 9264 w 10000"/>
              <a:gd name="connsiteY316" fmla="*/ 5116 h 10000"/>
              <a:gd name="connsiteX317" fmla="*/ 9342 w 10000"/>
              <a:gd name="connsiteY317" fmla="*/ 5039 h 10000"/>
              <a:gd name="connsiteX318" fmla="*/ 9419 w 10000"/>
              <a:gd name="connsiteY318" fmla="*/ 4884 h 10000"/>
              <a:gd name="connsiteX319" fmla="*/ 9380 w 10000"/>
              <a:gd name="connsiteY319" fmla="*/ 4729 h 10000"/>
              <a:gd name="connsiteX320" fmla="*/ 9419 w 10000"/>
              <a:gd name="connsiteY320" fmla="*/ 4652 h 10000"/>
              <a:gd name="connsiteX321" fmla="*/ 9458 w 10000"/>
              <a:gd name="connsiteY321" fmla="*/ 4884 h 10000"/>
              <a:gd name="connsiteX322" fmla="*/ 9535 w 10000"/>
              <a:gd name="connsiteY322" fmla="*/ 4884 h 10000"/>
              <a:gd name="connsiteX323" fmla="*/ 9613 w 10000"/>
              <a:gd name="connsiteY323" fmla="*/ 5039 h 10000"/>
              <a:gd name="connsiteX324" fmla="*/ 9806 w 10000"/>
              <a:gd name="connsiteY324" fmla="*/ 5271 h 10000"/>
              <a:gd name="connsiteX325" fmla="*/ 9845 w 10000"/>
              <a:gd name="connsiteY325" fmla="*/ 5039 h 10000"/>
              <a:gd name="connsiteX326" fmla="*/ 9845 w 10000"/>
              <a:gd name="connsiteY326" fmla="*/ 4884 h 10000"/>
              <a:gd name="connsiteX327" fmla="*/ 9923 w 10000"/>
              <a:gd name="connsiteY327" fmla="*/ 4884 h 10000"/>
              <a:gd name="connsiteX328" fmla="*/ 10000 w 10000"/>
              <a:gd name="connsiteY328" fmla="*/ 4729 h 10000"/>
              <a:gd name="connsiteX329" fmla="*/ 9884 w 10000"/>
              <a:gd name="connsiteY329" fmla="*/ 4496 h 10000"/>
              <a:gd name="connsiteX330" fmla="*/ 9690 w 10000"/>
              <a:gd name="connsiteY330" fmla="*/ 4418 h 10000"/>
              <a:gd name="connsiteX331" fmla="*/ 9342 w 10000"/>
              <a:gd name="connsiteY331" fmla="*/ 3799 h 10000"/>
              <a:gd name="connsiteX332" fmla="*/ 9109 w 10000"/>
              <a:gd name="connsiteY332" fmla="*/ 3488 h 10000"/>
              <a:gd name="connsiteX333" fmla="*/ 8798 w 10000"/>
              <a:gd name="connsiteY333" fmla="*/ 3411 h 10000"/>
              <a:gd name="connsiteX334" fmla="*/ 8798 w 10000"/>
              <a:gd name="connsiteY334" fmla="*/ 3799 h 10000"/>
              <a:gd name="connsiteX335" fmla="*/ 8721 w 10000"/>
              <a:gd name="connsiteY335" fmla="*/ 3876 h 10000"/>
              <a:gd name="connsiteX336" fmla="*/ 8643 w 10000"/>
              <a:gd name="connsiteY336" fmla="*/ 3721 h 10000"/>
              <a:gd name="connsiteX337" fmla="*/ 8643 w 10000"/>
              <a:gd name="connsiteY337" fmla="*/ 3566 h 10000"/>
              <a:gd name="connsiteX338" fmla="*/ 8682 w 10000"/>
              <a:gd name="connsiteY338" fmla="*/ 3566 h 10000"/>
              <a:gd name="connsiteX339" fmla="*/ 8721 w 10000"/>
              <a:gd name="connsiteY339" fmla="*/ 3488 h 10000"/>
              <a:gd name="connsiteX340" fmla="*/ 8643 w 10000"/>
              <a:gd name="connsiteY340" fmla="*/ 3488 h 10000"/>
              <a:gd name="connsiteX341" fmla="*/ 8566 w 10000"/>
              <a:gd name="connsiteY341" fmla="*/ 3644 h 10000"/>
              <a:gd name="connsiteX342" fmla="*/ 8372 w 10000"/>
              <a:gd name="connsiteY342" fmla="*/ 3566 h 10000"/>
              <a:gd name="connsiteX343" fmla="*/ 8178 w 10000"/>
              <a:gd name="connsiteY343" fmla="*/ 3566 h 10000"/>
              <a:gd name="connsiteX344" fmla="*/ 8101 w 10000"/>
              <a:gd name="connsiteY344" fmla="*/ 3488 h 10000"/>
              <a:gd name="connsiteX345" fmla="*/ 8140 w 10000"/>
              <a:gd name="connsiteY345" fmla="*/ 3333 h 10000"/>
              <a:gd name="connsiteX346" fmla="*/ 8062 w 10000"/>
              <a:gd name="connsiteY346" fmla="*/ 3101 h 10000"/>
              <a:gd name="connsiteX347" fmla="*/ 7907 w 10000"/>
              <a:gd name="connsiteY347" fmla="*/ 3023 h 10000"/>
              <a:gd name="connsiteX348" fmla="*/ 7675 w 10000"/>
              <a:gd name="connsiteY348" fmla="*/ 3178 h 10000"/>
              <a:gd name="connsiteX349" fmla="*/ 7636 w 10000"/>
              <a:gd name="connsiteY349" fmla="*/ 2946 h 10000"/>
              <a:gd name="connsiteX350" fmla="*/ 7558 w 10000"/>
              <a:gd name="connsiteY350" fmla="*/ 2946 h 10000"/>
              <a:gd name="connsiteX351" fmla="*/ 7520 w 10000"/>
              <a:gd name="connsiteY351" fmla="*/ 2868 h 10000"/>
              <a:gd name="connsiteX352" fmla="*/ 7520 w 10000"/>
              <a:gd name="connsiteY352" fmla="*/ 2636 h 10000"/>
              <a:gd name="connsiteX353" fmla="*/ 7249 w 10000"/>
              <a:gd name="connsiteY353" fmla="*/ 2480 h 10000"/>
              <a:gd name="connsiteX354" fmla="*/ 6938 w 10000"/>
              <a:gd name="connsiteY354" fmla="*/ 2325 h 10000"/>
              <a:gd name="connsiteX355" fmla="*/ 6860 w 10000"/>
              <a:gd name="connsiteY355" fmla="*/ 2636 h 10000"/>
              <a:gd name="connsiteX356" fmla="*/ 6938 w 10000"/>
              <a:gd name="connsiteY356" fmla="*/ 2868 h 10000"/>
              <a:gd name="connsiteX357" fmla="*/ 6705 w 10000"/>
              <a:gd name="connsiteY357" fmla="*/ 2868 h 10000"/>
              <a:gd name="connsiteX358" fmla="*/ 6666 w 10000"/>
              <a:gd name="connsiteY358" fmla="*/ 2868 h 10000"/>
              <a:gd name="connsiteX359" fmla="*/ 6589 w 10000"/>
              <a:gd name="connsiteY359" fmla="*/ 2946 h 10000"/>
              <a:gd name="connsiteX360" fmla="*/ 6473 w 10000"/>
              <a:gd name="connsiteY360" fmla="*/ 2714 h 10000"/>
              <a:gd name="connsiteX361" fmla="*/ 6395 w 10000"/>
              <a:gd name="connsiteY361" fmla="*/ 3178 h 10000"/>
              <a:gd name="connsiteX362" fmla="*/ 6318 w 10000"/>
              <a:gd name="connsiteY362" fmla="*/ 3101 h 10000"/>
              <a:gd name="connsiteX363" fmla="*/ 6240 w 10000"/>
              <a:gd name="connsiteY363" fmla="*/ 2791 h 10000"/>
              <a:gd name="connsiteX364" fmla="*/ 6279 w 10000"/>
              <a:gd name="connsiteY364" fmla="*/ 2403 h 10000"/>
              <a:gd name="connsiteX365" fmla="*/ 6202 w 10000"/>
              <a:gd name="connsiteY365" fmla="*/ 2170 h 10000"/>
              <a:gd name="connsiteX366" fmla="*/ 5969 w 10000"/>
              <a:gd name="connsiteY366" fmla="*/ 2016 h 10000"/>
              <a:gd name="connsiteX367" fmla="*/ 5892 w 10000"/>
              <a:gd name="connsiteY367" fmla="*/ 2016 h 10000"/>
              <a:gd name="connsiteX368" fmla="*/ 5853 w 10000"/>
              <a:gd name="connsiteY368" fmla="*/ 2170 h 10000"/>
              <a:gd name="connsiteX369" fmla="*/ 5892 w 10000"/>
              <a:gd name="connsiteY369" fmla="*/ 2325 h 10000"/>
              <a:gd name="connsiteX370" fmla="*/ 5582 w 10000"/>
              <a:gd name="connsiteY370" fmla="*/ 2248 h 10000"/>
              <a:gd name="connsiteX371" fmla="*/ 5620 w 10000"/>
              <a:gd name="connsiteY371" fmla="*/ 2016 h 10000"/>
              <a:gd name="connsiteX372" fmla="*/ 5427 w 10000"/>
              <a:gd name="connsiteY372" fmla="*/ 1938 h 10000"/>
              <a:gd name="connsiteX373" fmla="*/ 5311 w 10000"/>
              <a:gd name="connsiteY373" fmla="*/ 2093 h 10000"/>
              <a:gd name="connsiteX374" fmla="*/ 5078 w 10000"/>
              <a:gd name="connsiteY374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434 w 10000"/>
              <a:gd name="connsiteY244" fmla="*/ 8915 h 10000"/>
              <a:gd name="connsiteX245" fmla="*/ 6938 w 10000"/>
              <a:gd name="connsiteY245" fmla="*/ 8838 h 10000"/>
              <a:gd name="connsiteX246" fmla="*/ 6938 w 10000"/>
              <a:gd name="connsiteY246" fmla="*/ 8295 h 10000"/>
              <a:gd name="connsiteX247" fmla="*/ 6976 w 10000"/>
              <a:gd name="connsiteY247" fmla="*/ 8140 h 10000"/>
              <a:gd name="connsiteX248" fmla="*/ 6976 w 10000"/>
              <a:gd name="connsiteY248" fmla="*/ 7907 h 10000"/>
              <a:gd name="connsiteX249" fmla="*/ 6899 w 10000"/>
              <a:gd name="connsiteY249" fmla="*/ 7675 h 10000"/>
              <a:gd name="connsiteX250" fmla="*/ 6860 w 10000"/>
              <a:gd name="connsiteY250" fmla="*/ 7675 h 10000"/>
              <a:gd name="connsiteX251" fmla="*/ 6821 w 10000"/>
              <a:gd name="connsiteY251" fmla="*/ 7830 h 10000"/>
              <a:gd name="connsiteX252" fmla="*/ 6744 w 10000"/>
              <a:gd name="connsiteY252" fmla="*/ 7830 h 10000"/>
              <a:gd name="connsiteX253" fmla="*/ 6783 w 10000"/>
              <a:gd name="connsiteY253" fmla="*/ 7675 h 10000"/>
              <a:gd name="connsiteX254" fmla="*/ 6744 w 10000"/>
              <a:gd name="connsiteY254" fmla="*/ 7675 h 10000"/>
              <a:gd name="connsiteX255" fmla="*/ 6705 w 10000"/>
              <a:gd name="connsiteY255" fmla="*/ 7598 h 10000"/>
              <a:gd name="connsiteX256" fmla="*/ 6628 w 10000"/>
              <a:gd name="connsiteY256" fmla="*/ 7598 h 10000"/>
              <a:gd name="connsiteX257" fmla="*/ 6628 w 10000"/>
              <a:gd name="connsiteY257" fmla="*/ 7520 h 10000"/>
              <a:gd name="connsiteX258" fmla="*/ 6744 w 10000"/>
              <a:gd name="connsiteY258" fmla="*/ 7287 h 10000"/>
              <a:gd name="connsiteX259" fmla="*/ 7094 w 10000"/>
              <a:gd name="connsiteY259" fmla="*/ 6590 h 10000"/>
              <a:gd name="connsiteX260" fmla="*/ 7249 w 10000"/>
              <a:gd name="connsiteY260" fmla="*/ 6512 h 10000"/>
              <a:gd name="connsiteX261" fmla="*/ 7287 w 10000"/>
              <a:gd name="connsiteY261" fmla="*/ 6590 h 10000"/>
              <a:gd name="connsiteX262" fmla="*/ 7326 w 10000"/>
              <a:gd name="connsiteY262" fmla="*/ 6512 h 10000"/>
              <a:gd name="connsiteX263" fmla="*/ 7442 w 10000"/>
              <a:gd name="connsiteY263" fmla="*/ 6590 h 10000"/>
              <a:gd name="connsiteX264" fmla="*/ 7481 w 10000"/>
              <a:gd name="connsiteY264" fmla="*/ 6434 h 10000"/>
              <a:gd name="connsiteX265" fmla="*/ 7597 w 10000"/>
              <a:gd name="connsiteY265" fmla="*/ 6512 h 10000"/>
              <a:gd name="connsiteX266" fmla="*/ 7636 w 10000"/>
              <a:gd name="connsiteY266" fmla="*/ 6512 h 10000"/>
              <a:gd name="connsiteX267" fmla="*/ 7597 w 10000"/>
              <a:gd name="connsiteY267" fmla="*/ 6590 h 10000"/>
              <a:gd name="connsiteX268" fmla="*/ 7597 w 10000"/>
              <a:gd name="connsiteY268" fmla="*/ 6667 h 10000"/>
              <a:gd name="connsiteX269" fmla="*/ 7830 w 10000"/>
              <a:gd name="connsiteY269" fmla="*/ 6590 h 10000"/>
              <a:gd name="connsiteX270" fmla="*/ 7791 w 10000"/>
              <a:gd name="connsiteY270" fmla="*/ 6512 h 10000"/>
              <a:gd name="connsiteX271" fmla="*/ 7946 w 10000"/>
              <a:gd name="connsiteY271" fmla="*/ 5969 h 10000"/>
              <a:gd name="connsiteX272" fmla="*/ 8140 w 10000"/>
              <a:gd name="connsiteY272" fmla="*/ 5892 h 10000"/>
              <a:gd name="connsiteX273" fmla="*/ 8140 w 10000"/>
              <a:gd name="connsiteY273" fmla="*/ 6047 h 10000"/>
              <a:gd name="connsiteX274" fmla="*/ 8140 w 10000"/>
              <a:gd name="connsiteY274" fmla="*/ 6202 h 10000"/>
              <a:gd name="connsiteX275" fmla="*/ 8333 w 10000"/>
              <a:gd name="connsiteY275" fmla="*/ 5969 h 10000"/>
              <a:gd name="connsiteX276" fmla="*/ 8333 w 10000"/>
              <a:gd name="connsiteY276" fmla="*/ 5737 h 10000"/>
              <a:gd name="connsiteX277" fmla="*/ 8411 w 10000"/>
              <a:gd name="connsiteY277" fmla="*/ 5737 h 10000"/>
              <a:gd name="connsiteX278" fmla="*/ 8372 w 10000"/>
              <a:gd name="connsiteY278" fmla="*/ 5814 h 10000"/>
              <a:gd name="connsiteX279" fmla="*/ 8333 w 10000"/>
              <a:gd name="connsiteY279" fmla="*/ 6202 h 10000"/>
              <a:gd name="connsiteX280" fmla="*/ 8256 w 10000"/>
              <a:gd name="connsiteY280" fmla="*/ 6279 h 10000"/>
              <a:gd name="connsiteX281" fmla="*/ 8023 w 10000"/>
              <a:gd name="connsiteY281" fmla="*/ 6822 h 10000"/>
              <a:gd name="connsiteX282" fmla="*/ 7946 w 10000"/>
              <a:gd name="connsiteY282" fmla="*/ 6900 h 10000"/>
              <a:gd name="connsiteX283" fmla="*/ 7868 w 10000"/>
              <a:gd name="connsiteY283" fmla="*/ 7442 h 10000"/>
              <a:gd name="connsiteX284" fmla="*/ 7946 w 10000"/>
              <a:gd name="connsiteY284" fmla="*/ 8372 h 10000"/>
              <a:gd name="connsiteX285" fmla="*/ 8023 w 10000"/>
              <a:gd name="connsiteY285" fmla="*/ 8217 h 10000"/>
              <a:gd name="connsiteX286" fmla="*/ 8101 w 10000"/>
              <a:gd name="connsiteY286" fmla="*/ 7907 h 10000"/>
              <a:gd name="connsiteX287" fmla="*/ 8140 w 10000"/>
              <a:gd name="connsiteY287" fmla="*/ 7907 h 10000"/>
              <a:gd name="connsiteX288" fmla="*/ 8140 w 10000"/>
              <a:gd name="connsiteY288" fmla="*/ 7675 h 10000"/>
              <a:gd name="connsiteX289" fmla="*/ 8178 w 10000"/>
              <a:gd name="connsiteY289" fmla="*/ 7675 h 10000"/>
              <a:gd name="connsiteX290" fmla="*/ 8256 w 10000"/>
              <a:gd name="connsiteY290" fmla="*/ 7598 h 10000"/>
              <a:gd name="connsiteX291" fmla="*/ 8217 w 10000"/>
              <a:gd name="connsiteY291" fmla="*/ 7364 h 10000"/>
              <a:gd name="connsiteX292" fmla="*/ 8295 w 10000"/>
              <a:gd name="connsiteY292" fmla="*/ 7287 h 10000"/>
              <a:gd name="connsiteX293" fmla="*/ 8333 w 10000"/>
              <a:gd name="connsiteY293" fmla="*/ 7287 h 10000"/>
              <a:gd name="connsiteX294" fmla="*/ 8333 w 10000"/>
              <a:gd name="connsiteY294" fmla="*/ 7132 h 10000"/>
              <a:gd name="connsiteX295" fmla="*/ 8295 w 10000"/>
              <a:gd name="connsiteY295" fmla="*/ 7132 h 10000"/>
              <a:gd name="connsiteX296" fmla="*/ 8333 w 10000"/>
              <a:gd name="connsiteY296" fmla="*/ 6900 h 10000"/>
              <a:gd name="connsiteX297" fmla="*/ 8295 w 10000"/>
              <a:gd name="connsiteY297" fmla="*/ 6900 h 10000"/>
              <a:gd name="connsiteX298" fmla="*/ 8256 w 10000"/>
              <a:gd name="connsiteY298" fmla="*/ 6900 h 10000"/>
              <a:gd name="connsiteX299" fmla="*/ 8256 w 10000"/>
              <a:gd name="connsiteY299" fmla="*/ 6822 h 10000"/>
              <a:gd name="connsiteX300" fmla="*/ 8333 w 10000"/>
              <a:gd name="connsiteY300" fmla="*/ 6590 h 10000"/>
              <a:gd name="connsiteX301" fmla="*/ 8333 w 10000"/>
              <a:gd name="connsiteY301" fmla="*/ 6434 h 10000"/>
              <a:gd name="connsiteX302" fmla="*/ 8411 w 10000"/>
              <a:gd name="connsiteY302" fmla="*/ 6434 h 10000"/>
              <a:gd name="connsiteX303" fmla="*/ 8527 w 10000"/>
              <a:gd name="connsiteY303" fmla="*/ 6279 h 10000"/>
              <a:gd name="connsiteX304" fmla="*/ 8527 w 10000"/>
              <a:gd name="connsiteY304" fmla="*/ 6434 h 10000"/>
              <a:gd name="connsiteX305" fmla="*/ 8566 w 10000"/>
              <a:gd name="connsiteY305" fmla="*/ 6356 h 10000"/>
              <a:gd name="connsiteX306" fmla="*/ 8682 w 10000"/>
              <a:gd name="connsiteY306" fmla="*/ 6279 h 10000"/>
              <a:gd name="connsiteX307" fmla="*/ 8759 w 10000"/>
              <a:gd name="connsiteY307" fmla="*/ 6434 h 10000"/>
              <a:gd name="connsiteX308" fmla="*/ 8798 w 10000"/>
              <a:gd name="connsiteY308" fmla="*/ 6279 h 10000"/>
              <a:gd name="connsiteX309" fmla="*/ 9187 w 10000"/>
              <a:gd name="connsiteY309" fmla="*/ 5737 h 10000"/>
              <a:gd name="connsiteX310" fmla="*/ 9303 w 10000"/>
              <a:gd name="connsiteY310" fmla="*/ 5814 h 10000"/>
              <a:gd name="connsiteX311" fmla="*/ 9342 w 10000"/>
              <a:gd name="connsiteY311" fmla="*/ 5737 h 10000"/>
              <a:gd name="connsiteX312" fmla="*/ 9264 w 10000"/>
              <a:gd name="connsiteY312" fmla="*/ 5271 h 10000"/>
              <a:gd name="connsiteX313" fmla="*/ 9225 w 10000"/>
              <a:gd name="connsiteY313" fmla="*/ 5271 h 10000"/>
              <a:gd name="connsiteX314" fmla="*/ 9225 w 10000"/>
              <a:gd name="connsiteY314" fmla="*/ 5116 h 10000"/>
              <a:gd name="connsiteX315" fmla="*/ 9264 w 10000"/>
              <a:gd name="connsiteY315" fmla="*/ 5116 h 10000"/>
              <a:gd name="connsiteX316" fmla="*/ 9342 w 10000"/>
              <a:gd name="connsiteY316" fmla="*/ 5039 h 10000"/>
              <a:gd name="connsiteX317" fmla="*/ 9419 w 10000"/>
              <a:gd name="connsiteY317" fmla="*/ 4884 h 10000"/>
              <a:gd name="connsiteX318" fmla="*/ 9380 w 10000"/>
              <a:gd name="connsiteY318" fmla="*/ 4729 h 10000"/>
              <a:gd name="connsiteX319" fmla="*/ 9419 w 10000"/>
              <a:gd name="connsiteY319" fmla="*/ 4652 h 10000"/>
              <a:gd name="connsiteX320" fmla="*/ 9458 w 10000"/>
              <a:gd name="connsiteY320" fmla="*/ 4884 h 10000"/>
              <a:gd name="connsiteX321" fmla="*/ 9535 w 10000"/>
              <a:gd name="connsiteY321" fmla="*/ 4884 h 10000"/>
              <a:gd name="connsiteX322" fmla="*/ 9613 w 10000"/>
              <a:gd name="connsiteY322" fmla="*/ 5039 h 10000"/>
              <a:gd name="connsiteX323" fmla="*/ 9806 w 10000"/>
              <a:gd name="connsiteY323" fmla="*/ 5271 h 10000"/>
              <a:gd name="connsiteX324" fmla="*/ 9845 w 10000"/>
              <a:gd name="connsiteY324" fmla="*/ 5039 h 10000"/>
              <a:gd name="connsiteX325" fmla="*/ 9845 w 10000"/>
              <a:gd name="connsiteY325" fmla="*/ 4884 h 10000"/>
              <a:gd name="connsiteX326" fmla="*/ 9923 w 10000"/>
              <a:gd name="connsiteY326" fmla="*/ 4884 h 10000"/>
              <a:gd name="connsiteX327" fmla="*/ 10000 w 10000"/>
              <a:gd name="connsiteY327" fmla="*/ 4729 h 10000"/>
              <a:gd name="connsiteX328" fmla="*/ 9884 w 10000"/>
              <a:gd name="connsiteY328" fmla="*/ 4496 h 10000"/>
              <a:gd name="connsiteX329" fmla="*/ 9690 w 10000"/>
              <a:gd name="connsiteY329" fmla="*/ 4418 h 10000"/>
              <a:gd name="connsiteX330" fmla="*/ 9342 w 10000"/>
              <a:gd name="connsiteY330" fmla="*/ 3799 h 10000"/>
              <a:gd name="connsiteX331" fmla="*/ 9109 w 10000"/>
              <a:gd name="connsiteY331" fmla="*/ 3488 h 10000"/>
              <a:gd name="connsiteX332" fmla="*/ 8798 w 10000"/>
              <a:gd name="connsiteY332" fmla="*/ 3411 h 10000"/>
              <a:gd name="connsiteX333" fmla="*/ 8798 w 10000"/>
              <a:gd name="connsiteY333" fmla="*/ 3799 h 10000"/>
              <a:gd name="connsiteX334" fmla="*/ 8721 w 10000"/>
              <a:gd name="connsiteY334" fmla="*/ 3876 h 10000"/>
              <a:gd name="connsiteX335" fmla="*/ 8643 w 10000"/>
              <a:gd name="connsiteY335" fmla="*/ 3721 h 10000"/>
              <a:gd name="connsiteX336" fmla="*/ 8643 w 10000"/>
              <a:gd name="connsiteY336" fmla="*/ 3566 h 10000"/>
              <a:gd name="connsiteX337" fmla="*/ 8682 w 10000"/>
              <a:gd name="connsiteY337" fmla="*/ 3566 h 10000"/>
              <a:gd name="connsiteX338" fmla="*/ 8721 w 10000"/>
              <a:gd name="connsiteY338" fmla="*/ 3488 h 10000"/>
              <a:gd name="connsiteX339" fmla="*/ 8643 w 10000"/>
              <a:gd name="connsiteY339" fmla="*/ 3488 h 10000"/>
              <a:gd name="connsiteX340" fmla="*/ 8566 w 10000"/>
              <a:gd name="connsiteY340" fmla="*/ 3644 h 10000"/>
              <a:gd name="connsiteX341" fmla="*/ 8372 w 10000"/>
              <a:gd name="connsiteY341" fmla="*/ 3566 h 10000"/>
              <a:gd name="connsiteX342" fmla="*/ 8178 w 10000"/>
              <a:gd name="connsiteY342" fmla="*/ 3566 h 10000"/>
              <a:gd name="connsiteX343" fmla="*/ 8101 w 10000"/>
              <a:gd name="connsiteY343" fmla="*/ 3488 h 10000"/>
              <a:gd name="connsiteX344" fmla="*/ 8140 w 10000"/>
              <a:gd name="connsiteY344" fmla="*/ 3333 h 10000"/>
              <a:gd name="connsiteX345" fmla="*/ 8062 w 10000"/>
              <a:gd name="connsiteY345" fmla="*/ 3101 h 10000"/>
              <a:gd name="connsiteX346" fmla="*/ 7907 w 10000"/>
              <a:gd name="connsiteY346" fmla="*/ 3023 h 10000"/>
              <a:gd name="connsiteX347" fmla="*/ 7675 w 10000"/>
              <a:gd name="connsiteY347" fmla="*/ 3178 h 10000"/>
              <a:gd name="connsiteX348" fmla="*/ 7636 w 10000"/>
              <a:gd name="connsiteY348" fmla="*/ 2946 h 10000"/>
              <a:gd name="connsiteX349" fmla="*/ 7558 w 10000"/>
              <a:gd name="connsiteY349" fmla="*/ 2946 h 10000"/>
              <a:gd name="connsiteX350" fmla="*/ 7520 w 10000"/>
              <a:gd name="connsiteY350" fmla="*/ 2868 h 10000"/>
              <a:gd name="connsiteX351" fmla="*/ 7520 w 10000"/>
              <a:gd name="connsiteY351" fmla="*/ 2636 h 10000"/>
              <a:gd name="connsiteX352" fmla="*/ 7249 w 10000"/>
              <a:gd name="connsiteY352" fmla="*/ 2480 h 10000"/>
              <a:gd name="connsiteX353" fmla="*/ 6938 w 10000"/>
              <a:gd name="connsiteY353" fmla="*/ 2325 h 10000"/>
              <a:gd name="connsiteX354" fmla="*/ 6860 w 10000"/>
              <a:gd name="connsiteY354" fmla="*/ 2636 h 10000"/>
              <a:gd name="connsiteX355" fmla="*/ 6938 w 10000"/>
              <a:gd name="connsiteY355" fmla="*/ 2868 h 10000"/>
              <a:gd name="connsiteX356" fmla="*/ 6705 w 10000"/>
              <a:gd name="connsiteY356" fmla="*/ 2868 h 10000"/>
              <a:gd name="connsiteX357" fmla="*/ 6666 w 10000"/>
              <a:gd name="connsiteY357" fmla="*/ 2868 h 10000"/>
              <a:gd name="connsiteX358" fmla="*/ 6589 w 10000"/>
              <a:gd name="connsiteY358" fmla="*/ 2946 h 10000"/>
              <a:gd name="connsiteX359" fmla="*/ 6473 w 10000"/>
              <a:gd name="connsiteY359" fmla="*/ 2714 h 10000"/>
              <a:gd name="connsiteX360" fmla="*/ 6395 w 10000"/>
              <a:gd name="connsiteY360" fmla="*/ 3178 h 10000"/>
              <a:gd name="connsiteX361" fmla="*/ 6318 w 10000"/>
              <a:gd name="connsiteY361" fmla="*/ 3101 h 10000"/>
              <a:gd name="connsiteX362" fmla="*/ 6240 w 10000"/>
              <a:gd name="connsiteY362" fmla="*/ 2791 h 10000"/>
              <a:gd name="connsiteX363" fmla="*/ 6279 w 10000"/>
              <a:gd name="connsiteY363" fmla="*/ 2403 h 10000"/>
              <a:gd name="connsiteX364" fmla="*/ 6202 w 10000"/>
              <a:gd name="connsiteY364" fmla="*/ 2170 h 10000"/>
              <a:gd name="connsiteX365" fmla="*/ 5969 w 10000"/>
              <a:gd name="connsiteY365" fmla="*/ 2016 h 10000"/>
              <a:gd name="connsiteX366" fmla="*/ 5892 w 10000"/>
              <a:gd name="connsiteY366" fmla="*/ 2016 h 10000"/>
              <a:gd name="connsiteX367" fmla="*/ 5853 w 10000"/>
              <a:gd name="connsiteY367" fmla="*/ 2170 h 10000"/>
              <a:gd name="connsiteX368" fmla="*/ 5892 w 10000"/>
              <a:gd name="connsiteY368" fmla="*/ 2325 h 10000"/>
              <a:gd name="connsiteX369" fmla="*/ 5582 w 10000"/>
              <a:gd name="connsiteY369" fmla="*/ 2248 h 10000"/>
              <a:gd name="connsiteX370" fmla="*/ 5620 w 10000"/>
              <a:gd name="connsiteY370" fmla="*/ 2016 h 10000"/>
              <a:gd name="connsiteX371" fmla="*/ 5427 w 10000"/>
              <a:gd name="connsiteY371" fmla="*/ 1938 h 10000"/>
              <a:gd name="connsiteX372" fmla="*/ 5311 w 10000"/>
              <a:gd name="connsiteY372" fmla="*/ 2093 h 10000"/>
              <a:gd name="connsiteX373" fmla="*/ 5078 w 10000"/>
              <a:gd name="connsiteY373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240 w 10000"/>
              <a:gd name="connsiteY243" fmla="*/ 8605 h 10000"/>
              <a:gd name="connsiteX244" fmla="*/ 6938 w 10000"/>
              <a:gd name="connsiteY244" fmla="*/ 8838 h 10000"/>
              <a:gd name="connsiteX245" fmla="*/ 6938 w 10000"/>
              <a:gd name="connsiteY245" fmla="*/ 8295 h 10000"/>
              <a:gd name="connsiteX246" fmla="*/ 6976 w 10000"/>
              <a:gd name="connsiteY246" fmla="*/ 8140 h 10000"/>
              <a:gd name="connsiteX247" fmla="*/ 6976 w 10000"/>
              <a:gd name="connsiteY247" fmla="*/ 7907 h 10000"/>
              <a:gd name="connsiteX248" fmla="*/ 6899 w 10000"/>
              <a:gd name="connsiteY248" fmla="*/ 7675 h 10000"/>
              <a:gd name="connsiteX249" fmla="*/ 6860 w 10000"/>
              <a:gd name="connsiteY249" fmla="*/ 7675 h 10000"/>
              <a:gd name="connsiteX250" fmla="*/ 6821 w 10000"/>
              <a:gd name="connsiteY250" fmla="*/ 7830 h 10000"/>
              <a:gd name="connsiteX251" fmla="*/ 6744 w 10000"/>
              <a:gd name="connsiteY251" fmla="*/ 7830 h 10000"/>
              <a:gd name="connsiteX252" fmla="*/ 6783 w 10000"/>
              <a:gd name="connsiteY252" fmla="*/ 7675 h 10000"/>
              <a:gd name="connsiteX253" fmla="*/ 6744 w 10000"/>
              <a:gd name="connsiteY253" fmla="*/ 7675 h 10000"/>
              <a:gd name="connsiteX254" fmla="*/ 6705 w 10000"/>
              <a:gd name="connsiteY254" fmla="*/ 7598 h 10000"/>
              <a:gd name="connsiteX255" fmla="*/ 6628 w 10000"/>
              <a:gd name="connsiteY255" fmla="*/ 7598 h 10000"/>
              <a:gd name="connsiteX256" fmla="*/ 6628 w 10000"/>
              <a:gd name="connsiteY256" fmla="*/ 7520 h 10000"/>
              <a:gd name="connsiteX257" fmla="*/ 6744 w 10000"/>
              <a:gd name="connsiteY257" fmla="*/ 7287 h 10000"/>
              <a:gd name="connsiteX258" fmla="*/ 7094 w 10000"/>
              <a:gd name="connsiteY258" fmla="*/ 6590 h 10000"/>
              <a:gd name="connsiteX259" fmla="*/ 7249 w 10000"/>
              <a:gd name="connsiteY259" fmla="*/ 6512 h 10000"/>
              <a:gd name="connsiteX260" fmla="*/ 7287 w 10000"/>
              <a:gd name="connsiteY260" fmla="*/ 6590 h 10000"/>
              <a:gd name="connsiteX261" fmla="*/ 7326 w 10000"/>
              <a:gd name="connsiteY261" fmla="*/ 6512 h 10000"/>
              <a:gd name="connsiteX262" fmla="*/ 7442 w 10000"/>
              <a:gd name="connsiteY262" fmla="*/ 6590 h 10000"/>
              <a:gd name="connsiteX263" fmla="*/ 7481 w 10000"/>
              <a:gd name="connsiteY263" fmla="*/ 6434 h 10000"/>
              <a:gd name="connsiteX264" fmla="*/ 7597 w 10000"/>
              <a:gd name="connsiteY264" fmla="*/ 6512 h 10000"/>
              <a:gd name="connsiteX265" fmla="*/ 7636 w 10000"/>
              <a:gd name="connsiteY265" fmla="*/ 6512 h 10000"/>
              <a:gd name="connsiteX266" fmla="*/ 7597 w 10000"/>
              <a:gd name="connsiteY266" fmla="*/ 6590 h 10000"/>
              <a:gd name="connsiteX267" fmla="*/ 7597 w 10000"/>
              <a:gd name="connsiteY267" fmla="*/ 6667 h 10000"/>
              <a:gd name="connsiteX268" fmla="*/ 7830 w 10000"/>
              <a:gd name="connsiteY268" fmla="*/ 6590 h 10000"/>
              <a:gd name="connsiteX269" fmla="*/ 7791 w 10000"/>
              <a:gd name="connsiteY269" fmla="*/ 6512 h 10000"/>
              <a:gd name="connsiteX270" fmla="*/ 7946 w 10000"/>
              <a:gd name="connsiteY270" fmla="*/ 5969 h 10000"/>
              <a:gd name="connsiteX271" fmla="*/ 8140 w 10000"/>
              <a:gd name="connsiteY271" fmla="*/ 5892 h 10000"/>
              <a:gd name="connsiteX272" fmla="*/ 8140 w 10000"/>
              <a:gd name="connsiteY272" fmla="*/ 6047 h 10000"/>
              <a:gd name="connsiteX273" fmla="*/ 8140 w 10000"/>
              <a:gd name="connsiteY273" fmla="*/ 6202 h 10000"/>
              <a:gd name="connsiteX274" fmla="*/ 8333 w 10000"/>
              <a:gd name="connsiteY274" fmla="*/ 5969 h 10000"/>
              <a:gd name="connsiteX275" fmla="*/ 8333 w 10000"/>
              <a:gd name="connsiteY275" fmla="*/ 5737 h 10000"/>
              <a:gd name="connsiteX276" fmla="*/ 8411 w 10000"/>
              <a:gd name="connsiteY276" fmla="*/ 5737 h 10000"/>
              <a:gd name="connsiteX277" fmla="*/ 8372 w 10000"/>
              <a:gd name="connsiteY277" fmla="*/ 5814 h 10000"/>
              <a:gd name="connsiteX278" fmla="*/ 8333 w 10000"/>
              <a:gd name="connsiteY278" fmla="*/ 6202 h 10000"/>
              <a:gd name="connsiteX279" fmla="*/ 8256 w 10000"/>
              <a:gd name="connsiteY279" fmla="*/ 6279 h 10000"/>
              <a:gd name="connsiteX280" fmla="*/ 8023 w 10000"/>
              <a:gd name="connsiteY280" fmla="*/ 6822 h 10000"/>
              <a:gd name="connsiteX281" fmla="*/ 7946 w 10000"/>
              <a:gd name="connsiteY281" fmla="*/ 6900 h 10000"/>
              <a:gd name="connsiteX282" fmla="*/ 7868 w 10000"/>
              <a:gd name="connsiteY282" fmla="*/ 7442 h 10000"/>
              <a:gd name="connsiteX283" fmla="*/ 7946 w 10000"/>
              <a:gd name="connsiteY283" fmla="*/ 8372 h 10000"/>
              <a:gd name="connsiteX284" fmla="*/ 8023 w 10000"/>
              <a:gd name="connsiteY284" fmla="*/ 8217 h 10000"/>
              <a:gd name="connsiteX285" fmla="*/ 8101 w 10000"/>
              <a:gd name="connsiteY285" fmla="*/ 7907 h 10000"/>
              <a:gd name="connsiteX286" fmla="*/ 8140 w 10000"/>
              <a:gd name="connsiteY286" fmla="*/ 7907 h 10000"/>
              <a:gd name="connsiteX287" fmla="*/ 8140 w 10000"/>
              <a:gd name="connsiteY287" fmla="*/ 7675 h 10000"/>
              <a:gd name="connsiteX288" fmla="*/ 8178 w 10000"/>
              <a:gd name="connsiteY288" fmla="*/ 7675 h 10000"/>
              <a:gd name="connsiteX289" fmla="*/ 8256 w 10000"/>
              <a:gd name="connsiteY289" fmla="*/ 7598 h 10000"/>
              <a:gd name="connsiteX290" fmla="*/ 8217 w 10000"/>
              <a:gd name="connsiteY290" fmla="*/ 7364 h 10000"/>
              <a:gd name="connsiteX291" fmla="*/ 8295 w 10000"/>
              <a:gd name="connsiteY291" fmla="*/ 7287 h 10000"/>
              <a:gd name="connsiteX292" fmla="*/ 8333 w 10000"/>
              <a:gd name="connsiteY292" fmla="*/ 7287 h 10000"/>
              <a:gd name="connsiteX293" fmla="*/ 8333 w 10000"/>
              <a:gd name="connsiteY293" fmla="*/ 7132 h 10000"/>
              <a:gd name="connsiteX294" fmla="*/ 8295 w 10000"/>
              <a:gd name="connsiteY294" fmla="*/ 7132 h 10000"/>
              <a:gd name="connsiteX295" fmla="*/ 8333 w 10000"/>
              <a:gd name="connsiteY295" fmla="*/ 6900 h 10000"/>
              <a:gd name="connsiteX296" fmla="*/ 8295 w 10000"/>
              <a:gd name="connsiteY296" fmla="*/ 6900 h 10000"/>
              <a:gd name="connsiteX297" fmla="*/ 8256 w 10000"/>
              <a:gd name="connsiteY297" fmla="*/ 6900 h 10000"/>
              <a:gd name="connsiteX298" fmla="*/ 8256 w 10000"/>
              <a:gd name="connsiteY298" fmla="*/ 6822 h 10000"/>
              <a:gd name="connsiteX299" fmla="*/ 8333 w 10000"/>
              <a:gd name="connsiteY299" fmla="*/ 6590 h 10000"/>
              <a:gd name="connsiteX300" fmla="*/ 8333 w 10000"/>
              <a:gd name="connsiteY300" fmla="*/ 6434 h 10000"/>
              <a:gd name="connsiteX301" fmla="*/ 8411 w 10000"/>
              <a:gd name="connsiteY301" fmla="*/ 6434 h 10000"/>
              <a:gd name="connsiteX302" fmla="*/ 8527 w 10000"/>
              <a:gd name="connsiteY302" fmla="*/ 6279 h 10000"/>
              <a:gd name="connsiteX303" fmla="*/ 8527 w 10000"/>
              <a:gd name="connsiteY303" fmla="*/ 6434 h 10000"/>
              <a:gd name="connsiteX304" fmla="*/ 8566 w 10000"/>
              <a:gd name="connsiteY304" fmla="*/ 6356 h 10000"/>
              <a:gd name="connsiteX305" fmla="*/ 8682 w 10000"/>
              <a:gd name="connsiteY305" fmla="*/ 6279 h 10000"/>
              <a:gd name="connsiteX306" fmla="*/ 8759 w 10000"/>
              <a:gd name="connsiteY306" fmla="*/ 6434 h 10000"/>
              <a:gd name="connsiteX307" fmla="*/ 8798 w 10000"/>
              <a:gd name="connsiteY307" fmla="*/ 6279 h 10000"/>
              <a:gd name="connsiteX308" fmla="*/ 9187 w 10000"/>
              <a:gd name="connsiteY308" fmla="*/ 5737 h 10000"/>
              <a:gd name="connsiteX309" fmla="*/ 9303 w 10000"/>
              <a:gd name="connsiteY309" fmla="*/ 5814 h 10000"/>
              <a:gd name="connsiteX310" fmla="*/ 9342 w 10000"/>
              <a:gd name="connsiteY310" fmla="*/ 5737 h 10000"/>
              <a:gd name="connsiteX311" fmla="*/ 9264 w 10000"/>
              <a:gd name="connsiteY311" fmla="*/ 5271 h 10000"/>
              <a:gd name="connsiteX312" fmla="*/ 9225 w 10000"/>
              <a:gd name="connsiteY312" fmla="*/ 5271 h 10000"/>
              <a:gd name="connsiteX313" fmla="*/ 9225 w 10000"/>
              <a:gd name="connsiteY313" fmla="*/ 5116 h 10000"/>
              <a:gd name="connsiteX314" fmla="*/ 9264 w 10000"/>
              <a:gd name="connsiteY314" fmla="*/ 5116 h 10000"/>
              <a:gd name="connsiteX315" fmla="*/ 9342 w 10000"/>
              <a:gd name="connsiteY315" fmla="*/ 5039 h 10000"/>
              <a:gd name="connsiteX316" fmla="*/ 9419 w 10000"/>
              <a:gd name="connsiteY316" fmla="*/ 4884 h 10000"/>
              <a:gd name="connsiteX317" fmla="*/ 9380 w 10000"/>
              <a:gd name="connsiteY317" fmla="*/ 4729 h 10000"/>
              <a:gd name="connsiteX318" fmla="*/ 9419 w 10000"/>
              <a:gd name="connsiteY318" fmla="*/ 4652 h 10000"/>
              <a:gd name="connsiteX319" fmla="*/ 9458 w 10000"/>
              <a:gd name="connsiteY319" fmla="*/ 4884 h 10000"/>
              <a:gd name="connsiteX320" fmla="*/ 9535 w 10000"/>
              <a:gd name="connsiteY320" fmla="*/ 4884 h 10000"/>
              <a:gd name="connsiteX321" fmla="*/ 9613 w 10000"/>
              <a:gd name="connsiteY321" fmla="*/ 5039 h 10000"/>
              <a:gd name="connsiteX322" fmla="*/ 9806 w 10000"/>
              <a:gd name="connsiteY322" fmla="*/ 5271 h 10000"/>
              <a:gd name="connsiteX323" fmla="*/ 9845 w 10000"/>
              <a:gd name="connsiteY323" fmla="*/ 5039 h 10000"/>
              <a:gd name="connsiteX324" fmla="*/ 9845 w 10000"/>
              <a:gd name="connsiteY324" fmla="*/ 4884 h 10000"/>
              <a:gd name="connsiteX325" fmla="*/ 9923 w 10000"/>
              <a:gd name="connsiteY325" fmla="*/ 4884 h 10000"/>
              <a:gd name="connsiteX326" fmla="*/ 10000 w 10000"/>
              <a:gd name="connsiteY326" fmla="*/ 4729 h 10000"/>
              <a:gd name="connsiteX327" fmla="*/ 9884 w 10000"/>
              <a:gd name="connsiteY327" fmla="*/ 4496 h 10000"/>
              <a:gd name="connsiteX328" fmla="*/ 9690 w 10000"/>
              <a:gd name="connsiteY328" fmla="*/ 4418 h 10000"/>
              <a:gd name="connsiteX329" fmla="*/ 9342 w 10000"/>
              <a:gd name="connsiteY329" fmla="*/ 3799 h 10000"/>
              <a:gd name="connsiteX330" fmla="*/ 9109 w 10000"/>
              <a:gd name="connsiteY330" fmla="*/ 3488 h 10000"/>
              <a:gd name="connsiteX331" fmla="*/ 8798 w 10000"/>
              <a:gd name="connsiteY331" fmla="*/ 3411 h 10000"/>
              <a:gd name="connsiteX332" fmla="*/ 8798 w 10000"/>
              <a:gd name="connsiteY332" fmla="*/ 3799 h 10000"/>
              <a:gd name="connsiteX333" fmla="*/ 8721 w 10000"/>
              <a:gd name="connsiteY333" fmla="*/ 3876 h 10000"/>
              <a:gd name="connsiteX334" fmla="*/ 8643 w 10000"/>
              <a:gd name="connsiteY334" fmla="*/ 3721 h 10000"/>
              <a:gd name="connsiteX335" fmla="*/ 8643 w 10000"/>
              <a:gd name="connsiteY335" fmla="*/ 3566 h 10000"/>
              <a:gd name="connsiteX336" fmla="*/ 8682 w 10000"/>
              <a:gd name="connsiteY336" fmla="*/ 3566 h 10000"/>
              <a:gd name="connsiteX337" fmla="*/ 8721 w 10000"/>
              <a:gd name="connsiteY337" fmla="*/ 3488 h 10000"/>
              <a:gd name="connsiteX338" fmla="*/ 8643 w 10000"/>
              <a:gd name="connsiteY338" fmla="*/ 3488 h 10000"/>
              <a:gd name="connsiteX339" fmla="*/ 8566 w 10000"/>
              <a:gd name="connsiteY339" fmla="*/ 3644 h 10000"/>
              <a:gd name="connsiteX340" fmla="*/ 8372 w 10000"/>
              <a:gd name="connsiteY340" fmla="*/ 3566 h 10000"/>
              <a:gd name="connsiteX341" fmla="*/ 8178 w 10000"/>
              <a:gd name="connsiteY341" fmla="*/ 3566 h 10000"/>
              <a:gd name="connsiteX342" fmla="*/ 8101 w 10000"/>
              <a:gd name="connsiteY342" fmla="*/ 3488 h 10000"/>
              <a:gd name="connsiteX343" fmla="*/ 8140 w 10000"/>
              <a:gd name="connsiteY343" fmla="*/ 3333 h 10000"/>
              <a:gd name="connsiteX344" fmla="*/ 8062 w 10000"/>
              <a:gd name="connsiteY344" fmla="*/ 3101 h 10000"/>
              <a:gd name="connsiteX345" fmla="*/ 7907 w 10000"/>
              <a:gd name="connsiteY345" fmla="*/ 3023 h 10000"/>
              <a:gd name="connsiteX346" fmla="*/ 7675 w 10000"/>
              <a:gd name="connsiteY346" fmla="*/ 3178 h 10000"/>
              <a:gd name="connsiteX347" fmla="*/ 7636 w 10000"/>
              <a:gd name="connsiteY347" fmla="*/ 2946 h 10000"/>
              <a:gd name="connsiteX348" fmla="*/ 7558 w 10000"/>
              <a:gd name="connsiteY348" fmla="*/ 2946 h 10000"/>
              <a:gd name="connsiteX349" fmla="*/ 7520 w 10000"/>
              <a:gd name="connsiteY349" fmla="*/ 2868 h 10000"/>
              <a:gd name="connsiteX350" fmla="*/ 7520 w 10000"/>
              <a:gd name="connsiteY350" fmla="*/ 2636 h 10000"/>
              <a:gd name="connsiteX351" fmla="*/ 7249 w 10000"/>
              <a:gd name="connsiteY351" fmla="*/ 2480 h 10000"/>
              <a:gd name="connsiteX352" fmla="*/ 6938 w 10000"/>
              <a:gd name="connsiteY352" fmla="*/ 2325 h 10000"/>
              <a:gd name="connsiteX353" fmla="*/ 6860 w 10000"/>
              <a:gd name="connsiteY353" fmla="*/ 2636 h 10000"/>
              <a:gd name="connsiteX354" fmla="*/ 6938 w 10000"/>
              <a:gd name="connsiteY354" fmla="*/ 2868 h 10000"/>
              <a:gd name="connsiteX355" fmla="*/ 6705 w 10000"/>
              <a:gd name="connsiteY355" fmla="*/ 2868 h 10000"/>
              <a:gd name="connsiteX356" fmla="*/ 6666 w 10000"/>
              <a:gd name="connsiteY356" fmla="*/ 2868 h 10000"/>
              <a:gd name="connsiteX357" fmla="*/ 6589 w 10000"/>
              <a:gd name="connsiteY357" fmla="*/ 2946 h 10000"/>
              <a:gd name="connsiteX358" fmla="*/ 6473 w 10000"/>
              <a:gd name="connsiteY358" fmla="*/ 2714 h 10000"/>
              <a:gd name="connsiteX359" fmla="*/ 6395 w 10000"/>
              <a:gd name="connsiteY359" fmla="*/ 3178 h 10000"/>
              <a:gd name="connsiteX360" fmla="*/ 6318 w 10000"/>
              <a:gd name="connsiteY360" fmla="*/ 3101 h 10000"/>
              <a:gd name="connsiteX361" fmla="*/ 6240 w 10000"/>
              <a:gd name="connsiteY361" fmla="*/ 2791 h 10000"/>
              <a:gd name="connsiteX362" fmla="*/ 6279 w 10000"/>
              <a:gd name="connsiteY362" fmla="*/ 2403 h 10000"/>
              <a:gd name="connsiteX363" fmla="*/ 6202 w 10000"/>
              <a:gd name="connsiteY363" fmla="*/ 2170 h 10000"/>
              <a:gd name="connsiteX364" fmla="*/ 5969 w 10000"/>
              <a:gd name="connsiteY364" fmla="*/ 2016 h 10000"/>
              <a:gd name="connsiteX365" fmla="*/ 5892 w 10000"/>
              <a:gd name="connsiteY365" fmla="*/ 2016 h 10000"/>
              <a:gd name="connsiteX366" fmla="*/ 5853 w 10000"/>
              <a:gd name="connsiteY366" fmla="*/ 2170 h 10000"/>
              <a:gd name="connsiteX367" fmla="*/ 5892 w 10000"/>
              <a:gd name="connsiteY367" fmla="*/ 2325 h 10000"/>
              <a:gd name="connsiteX368" fmla="*/ 5582 w 10000"/>
              <a:gd name="connsiteY368" fmla="*/ 2248 h 10000"/>
              <a:gd name="connsiteX369" fmla="*/ 5620 w 10000"/>
              <a:gd name="connsiteY369" fmla="*/ 2016 h 10000"/>
              <a:gd name="connsiteX370" fmla="*/ 5427 w 10000"/>
              <a:gd name="connsiteY370" fmla="*/ 1938 h 10000"/>
              <a:gd name="connsiteX371" fmla="*/ 5311 w 10000"/>
              <a:gd name="connsiteY371" fmla="*/ 2093 h 10000"/>
              <a:gd name="connsiteX372" fmla="*/ 5078 w 10000"/>
              <a:gd name="connsiteY372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163 w 10000"/>
              <a:gd name="connsiteY242" fmla="*/ 8605 h 10000"/>
              <a:gd name="connsiteX243" fmla="*/ 6938 w 10000"/>
              <a:gd name="connsiteY243" fmla="*/ 8838 h 10000"/>
              <a:gd name="connsiteX244" fmla="*/ 6938 w 10000"/>
              <a:gd name="connsiteY244" fmla="*/ 8295 h 10000"/>
              <a:gd name="connsiteX245" fmla="*/ 6976 w 10000"/>
              <a:gd name="connsiteY245" fmla="*/ 8140 h 10000"/>
              <a:gd name="connsiteX246" fmla="*/ 6976 w 10000"/>
              <a:gd name="connsiteY246" fmla="*/ 7907 h 10000"/>
              <a:gd name="connsiteX247" fmla="*/ 6899 w 10000"/>
              <a:gd name="connsiteY247" fmla="*/ 7675 h 10000"/>
              <a:gd name="connsiteX248" fmla="*/ 6860 w 10000"/>
              <a:gd name="connsiteY248" fmla="*/ 7675 h 10000"/>
              <a:gd name="connsiteX249" fmla="*/ 6821 w 10000"/>
              <a:gd name="connsiteY249" fmla="*/ 7830 h 10000"/>
              <a:gd name="connsiteX250" fmla="*/ 6744 w 10000"/>
              <a:gd name="connsiteY250" fmla="*/ 7830 h 10000"/>
              <a:gd name="connsiteX251" fmla="*/ 6783 w 10000"/>
              <a:gd name="connsiteY251" fmla="*/ 7675 h 10000"/>
              <a:gd name="connsiteX252" fmla="*/ 6744 w 10000"/>
              <a:gd name="connsiteY252" fmla="*/ 7675 h 10000"/>
              <a:gd name="connsiteX253" fmla="*/ 6705 w 10000"/>
              <a:gd name="connsiteY253" fmla="*/ 7598 h 10000"/>
              <a:gd name="connsiteX254" fmla="*/ 6628 w 10000"/>
              <a:gd name="connsiteY254" fmla="*/ 7598 h 10000"/>
              <a:gd name="connsiteX255" fmla="*/ 6628 w 10000"/>
              <a:gd name="connsiteY255" fmla="*/ 7520 h 10000"/>
              <a:gd name="connsiteX256" fmla="*/ 6744 w 10000"/>
              <a:gd name="connsiteY256" fmla="*/ 7287 h 10000"/>
              <a:gd name="connsiteX257" fmla="*/ 7094 w 10000"/>
              <a:gd name="connsiteY257" fmla="*/ 6590 h 10000"/>
              <a:gd name="connsiteX258" fmla="*/ 7249 w 10000"/>
              <a:gd name="connsiteY258" fmla="*/ 6512 h 10000"/>
              <a:gd name="connsiteX259" fmla="*/ 7287 w 10000"/>
              <a:gd name="connsiteY259" fmla="*/ 6590 h 10000"/>
              <a:gd name="connsiteX260" fmla="*/ 7326 w 10000"/>
              <a:gd name="connsiteY260" fmla="*/ 6512 h 10000"/>
              <a:gd name="connsiteX261" fmla="*/ 7442 w 10000"/>
              <a:gd name="connsiteY261" fmla="*/ 6590 h 10000"/>
              <a:gd name="connsiteX262" fmla="*/ 7481 w 10000"/>
              <a:gd name="connsiteY262" fmla="*/ 6434 h 10000"/>
              <a:gd name="connsiteX263" fmla="*/ 7597 w 10000"/>
              <a:gd name="connsiteY263" fmla="*/ 6512 h 10000"/>
              <a:gd name="connsiteX264" fmla="*/ 7636 w 10000"/>
              <a:gd name="connsiteY264" fmla="*/ 6512 h 10000"/>
              <a:gd name="connsiteX265" fmla="*/ 7597 w 10000"/>
              <a:gd name="connsiteY265" fmla="*/ 6590 h 10000"/>
              <a:gd name="connsiteX266" fmla="*/ 7597 w 10000"/>
              <a:gd name="connsiteY266" fmla="*/ 6667 h 10000"/>
              <a:gd name="connsiteX267" fmla="*/ 7830 w 10000"/>
              <a:gd name="connsiteY267" fmla="*/ 6590 h 10000"/>
              <a:gd name="connsiteX268" fmla="*/ 7791 w 10000"/>
              <a:gd name="connsiteY268" fmla="*/ 6512 h 10000"/>
              <a:gd name="connsiteX269" fmla="*/ 7946 w 10000"/>
              <a:gd name="connsiteY269" fmla="*/ 5969 h 10000"/>
              <a:gd name="connsiteX270" fmla="*/ 8140 w 10000"/>
              <a:gd name="connsiteY270" fmla="*/ 5892 h 10000"/>
              <a:gd name="connsiteX271" fmla="*/ 8140 w 10000"/>
              <a:gd name="connsiteY271" fmla="*/ 6047 h 10000"/>
              <a:gd name="connsiteX272" fmla="*/ 8140 w 10000"/>
              <a:gd name="connsiteY272" fmla="*/ 6202 h 10000"/>
              <a:gd name="connsiteX273" fmla="*/ 8333 w 10000"/>
              <a:gd name="connsiteY273" fmla="*/ 5969 h 10000"/>
              <a:gd name="connsiteX274" fmla="*/ 8333 w 10000"/>
              <a:gd name="connsiteY274" fmla="*/ 5737 h 10000"/>
              <a:gd name="connsiteX275" fmla="*/ 8411 w 10000"/>
              <a:gd name="connsiteY275" fmla="*/ 5737 h 10000"/>
              <a:gd name="connsiteX276" fmla="*/ 8372 w 10000"/>
              <a:gd name="connsiteY276" fmla="*/ 5814 h 10000"/>
              <a:gd name="connsiteX277" fmla="*/ 8333 w 10000"/>
              <a:gd name="connsiteY277" fmla="*/ 6202 h 10000"/>
              <a:gd name="connsiteX278" fmla="*/ 8256 w 10000"/>
              <a:gd name="connsiteY278" fmla="*/ 6279 h 10000"/>
              <a:gd name="connsiteX279" fmla="*/ 8023 w 10000"/>
              <a:gd name="connsiteY279" fmla="*/ 6822 h 10000"/>
              <a:gd name="connsiteX280" fmla="*/ 7946 w 10000"/>
              <a:gd name="connsiteY280" fmla="*/ 6900 h 10000"/>
              <a:gd name="connsiteX281" fmla="*/ 7868 w 10000"/>
              <a:gd name="connsiteY281" fmla="*/ 7442 h 10000"/>
              <a:gd name="connsiteX282" fmla="*/ 7946 w 10000"/>
              <a:gd name="connsiteY282" fmla="*/ 8372 h 10000"/>
              <a:gd name="connsiteX283" fmla="*/ 8023 w 10000"/>
              <a:gd name="connsiteY283" fmla="*/ 8217 h 10000"/>
              <a:gd name="connsiteX284" fmla="*/ 8101 w 10000"/>
              <a:gd name="connsiteY284" fmla="*/ 7907 h 10000"/>
              <a:gd name="connsiteX285" fmla="*/ 8140 w 10000"/>
              <a:gd name="connsiteY285" fmla="*/ 7907 h 10000"/>
              <a:gd name="connsiteX286" fmla="*/ 8140 w 10000"/>
              <a:gd name="connsiteY286" fmla="*/ 7675 h 10000"/>
              <a:gd name="connsiteX287" fmla="*/ 8178 w 10000"/>
              <a:gd name="connsiteY287" fmla="*/ 7675 h 10000"/>
              <a:gd name="connsiteX288" fmla="*/ 8256 w 10000"/>
              <a:gd name="connsiteY288" fmla="*/ 7598 h 10000"/>
              <a:gd name="connsiteX289" fmla="*/ 8217 w 10000"/>
              <a:gd name="connsiteY289" fmla="*/ 7364 h 10000"/>
              <a:gd name="connsiteX290" fmla="*/ 8295 w 10000"/>
              <a:gd name="connsiteY290" fmla="*/ 7287 h 10000"/>
              <a:gd name="connsiteX291" fmla="*/ 8333 w 10000"/>
              <a:gd name="connsiteY291" fmla="*/ 7287 h 10000"/>
              <a:gd name="connsiteX292" fmla="*/ 8333 w 10000"/>
              <a:gd name="connsiteY292" fmla="*/ 7132 h 10000"/>
              <a:gd name="connsiteX293" fmla="*/ 8295 w 10000"/>
              <a:gd name="connsiteY293" fmla="*/ 7132 h 10000"/>
              <a:gd name="connsiteX294" fmla="*/ 8333 w 10000"/>
              <a:gd name="connsiteY294" fmla="*/ 6900 h 10000"/>
              <a:gd name="connsiteX295" fmla="*/ 8295 w 10000"/>
              <a:gd name="connsiteY295" fmla="*/ 6900 h 10000"/>
              <a:gd name="connsiteX296" fmla="*/ 8256 w 10000"/>
              <a:gd name="connsiteY296" fmla="*/ 6900 h 10000"/>
              <a:gd name="connsiteX297" fmla="*/ 8256 w 10000"/>
              <a:gd name="connsiteY297" fmla="*/ 6822 h 10000"/>
              <a:gd name="connsiteX298" fmla="*/ 8333 w 10000"/>
              <a:gd name="connsiteY298" fmla="*/ 6590 h 10000"/>
              <a:gd name="connsiteX299" fmla="*/ 8333 w 10000"/>
              <a:gd name="connsiteY299" fmla="*/ 6434 h 10000"/>
              <a:gd name="connsiteX300" fmla="*/ 8411 w 10000"/>
              <a:gd name="connsiteY300" fmla="*/ 6434 h 10000"/>
              <a:gd name="connsiteX301" fmla="*/ 8527 w 10000"/>
              <a:gd name="connsiteY301" fmla="*/ 6279 h 10000"/>
              <a:gd name="connsiteX302" fmla="*/ 8527 w 10000"/>
              <a:gd name="connsiteY302" fmla="*/ 6434 h 10000"/>
              <a:gd name="connsiteX303" fmla="*/ 8566 w 10000"/>
              <a:gd name="connsiteY303" fmla="*/ 6356 h 10000"/>
              <a:gd name="connsiteX304" fmla="*/ 8682 w 10000"/>
              <a:gd name="connsiteY304" fmla="*/ 6279 h 10000"/>
              <a:gd name="connsiteX305" fmla="*/ 8759 w 10000"/>
              <a:gd name="connsiteY305" fmla="*/ 6434 h 10000"/>
              <a:gd name="connsiteX306" fmla="*/ 8798 w 10000"/>
              <a:gd name="connsiteY306" fmla="*/ 6279 h 10000"/>
              <a:gd name="connsiteX307" fmla="*/ 9187 w 10000"/>
              <a:gd name="connsiteY307" fmla="*/ 5737 h 10000"/>
              <a:gd name="connsiteX308" fmla="*/ 9303 w 10000"/>
              <a:gd name="connsiteY308" fmla="*/ 5814 h 10000"/>
              <a:gd name="connsiteX309" fmla="*/ 9342 w 10000"/>
              <a:gd name="connsiteY309" fmla="*/ 5737 h 10000"/>
              <a:gd name="connsiteX310" fmla="*/ 9264 w 10000"/>
              <a:gd name="connsiteY310" fmla="*/ 5271 h 10000"/>
              <a:gd name="connsiteX311" fmla="*/ 9225 w 10000"/>
              <a:gd name="connsiteY311" fmla="*/ 5271 h 10000"/>
              <a:gd name="connsiteX312" fmla="*/ 9225 w 10000"/>
              <a:gd name="connsiteY312" fmla="*/ 5116 h 10000"/>
              <a:gd name="connsiteX313" fmla="*/ 9264 w 10000"/>
              <a:gd name="connsiteY313" fmla="*/ 5116 h 10000"/>
              <a:gd name="connsiteX314" fmla="*/ 9342 w 10000"/>
              <a:gd name="connsiteY314" fmla="*/ 5039 h 10000"/>
              <a:gd name="connsiteX315" fmla="*/ 9419 w 10000"/>
              <a:gd name="connsiteY315" fmla="*/ 4884 h 10000"/>
              <a:gd name="connsiteX316" fmla="*/ 9380 w 10000"/>
              <a:gd name="connsiteY316" fmla="*/ 4729 h 10000"/>
              <a:gd name="connsiteX317" fmla="*/ 9419 w 10000"/>
              <a:gd name="connsiteY317" fmla="*/ 4652 h 10000"/>
              <a:gd name="connsiteX318" fmla="*/ 9458 w 10000"/>
              <a:gd name="connsiteY318" fmla="*/ 4884 h 10000"/>
              <a:gd name="connsiteX319" fmla="*/ 9535 w 10000"/>
              <a:gd name="connsiteY319" fmla="*/ 4884 h 10000"/>
              <a:gd name="connsiteX320" fmla="*/ 9613 w 10000"/>
              <a:gd name="connsiteY320" fmla="*/ 5039 h 10000"/>
              <a:gd name="connsiteX321" fmla="*/ 9806 w 10000"/>
              <a:gd name="connsiteY321" fmla="*/ 5271 h 10000"/>
              <a:gd name="connsiteX322" fmla="*/ 9845 w 10000"/>
              <a:gd name="connsiteY322" fmla="*/ 5039 h 10000"/>
              <a:gd name="connsiteX323" fmla="*/ 9845 w 10000"/>
              <a:gd name="connsiteY323" fmla="*/ 4884 h 10000"/>
              <a:gd name="connsiteX324" fmla="*/ 9923 w 10000"/>
              <a:gd name="connsiteY324" fmla="*/ 4884 h 10000"/>
              <a:gd name="connsiteX325" fmla="*/ 10000 w 10000"/>
              <a:gd name="connsiteY325" fmla="*/ 4729 h 10000"/>
              <a:gd name="connsiteX326" fmla="*/ 9884 w 10000"/>
              <a:gd name="connsiteY326" fmla="*/ 4496 h 10000"/>
              <a:gd name="connsiteX327" fmla="*/ 9690 w 10000"/>
              <a:gd name="connsiteY327" fmla="*/ 4418 h 10000"/>
              <a:gd name="connsiteX328" fmla="*/ 9342 w 10000"/>
              <a:gd name="connsiteY328" fmla="*/ 3799 h 10000"/>
              <a:gd name="connsiteX329" fmla="*/ 9109 w 10000"/>
              <a:gd name="connsiteY329" fmla="*/ 3488 h 10000"/>
              <a:gd name="connsiteX330" fmla="*/ 8798 w 10000"/>
              <a:gd name="connsiteY330" fmla="*/ 3411 h 10000"/>
              <a:gd name="connsiteX331" fmla="*/ 8798 w 10000"/>
              <a:gd name="connsiteY331" fmla="*/ 3799 h 10000"/>
              <a:gd name="connsiteX332" fmla="*/ 8721 w 10000"/>
              <a:gd name="connsiteY332" fmla="*/ 3876 h 10000"/>
              <a:gd name="connsiteX333" fmla="*/ 8643 w 10000"/>
              <a:gd name="connsiteY333" fmla="*/ 3721 h 10000"/>
              <a:gd name="connsiteX334" fmla="*/ 8643 w 10000"/>
              <a:gd name="connsiteY334" fmla="*/ 3566 h 10000"/>
              <a:gd name="connsiteX335" fmla="*/ 8682 w 10000"/>
              <a:gd name="connsiteY335" fmla="*/ 3566 h 10000"/>
              <a:gd name="connsiteX336" fmla="*/ 8721 w 10000"/>
              <a:gd name="connsiteY336" fmla="*/ 3488 h 10000"/>
              <a:gd name="connsiteX337" fmla="*/ 8643 w 10000"/>
              <a:gd name="connsiteY337" fmla="*/ 3488 h 10000"/>
              <a:gd name="connsiteX338" fmla="*/ 8566 w 10000"/>
              <a:gd name="connsiteY338" fmla="*/ 3644 h 10000"/>
              <a:gd name="connsiteX339" fmla="*/ 8372 w 10000"/>
              <a:gd name="connsiteY339" fmla="*/ 3566 h 10000"/>
              <a:gd name="connsiteX340" fmla="*/ 8178 w 10000"/>
              <a:gd name="connsiteY340" fmla="*/ 3566 h 10000"/>
              <a:gd name="connsiteX341" fmla="*/ 8101 w 10000"/>
              <a:gd name="connsiteY341" fmla="*/ 3488 h 10000"/>
              <a:gd name="connsiteX342" fmla="*/ 8140 w 10000"/>
              <a:gd name="connsiteY342" fmla="*/ 3333 h 10000"/>
              <a:gd name="connsiteX343" fmla="*/ 8062 w 10000"/>
              <a:gd name="connsiteY343" fmla="*/ 3101 h 10000"/>
              <a:gd name="connsiteX344" fmla="*/ 7907 w 10000"/>
              <a:gd name="connsiteY344" fmla="*/ 3023 h 10000"/>
              <a:gd name="connsiteX345" fmla="*/ 7675 w 10000"/>
              <a:gd name="connsiteY345" fmla="*/ 3178 h 10000"/>
              <a:gd name="connsiteX346" fmla="*/ 7636 w 10000"/>
              <a:gd name="connsiteY346" fmla="*/ 2946 h 10000"/>
              <a:gd name="connsiteX347" fmla="*/ 7558 w 10000"/>
              <a:gd name="connsiteY347" fmla="*/ 2946 h 10000"/>
              <a:gd name="connsiteX348" fmla="*/ 7520 w 10000"/>
              <a:gd name="connsiteY348" fmla="*/ 2868 h 10000"/>
              <a:gd name="connsiteX349" fmla="*/ 7520 w 10000"/>
              <a:gd name="connsiteY349" fmla="*/ 2636 h 10000"/>
              <a:gd name="connsiteX350" fmla="*/ 7249 w 10000"/>
              <a:gd name="connsiteY350" fmla="*/ 2480 h 10000"/>
              <a:gd name="connsiteX351" fmla="*/ 6938 w 10000"/>
              <a:gd name="connsiteY351" fmla="*/ 2325 h 10000"/>
              <a:gd name="connsiteX352" fmla="*/ 6860 w 10000"/>
              <a:gd name="connsiteY352" fmla="*/ 2636 h 10000"/>
              <a:gd name="connsiteX353" fmla="*/ 6938 w 10000"/>
              <a:gd name="connsiteY353" fmla="*/ 2868 h 10000"/>
              <a:gd name="connsiteX354" fmla="*/ 6705 w 10000"/>
              <a:gd name="connsiteY354" fmla="*/ 2868 h 10000"/>
              <a:gd name="connsiteX355" fmla="*/ 6666 w 10000"/>
              <a:gd name="connsiteY355" fmla="*/ 2868 h 10000"/>
              <a:gd name="connsiteX356" fmla="*/ 6589 w 10000"/>
              <a:gd name="connsiteY356" fmla="*/ 2946 h 10000"/>
              <a:gd name="connsiteX357" fmla="*/ 6473 w 10000"/>
              <a:gd name="connsiteY357" fmla="*/ 2714 h 10000"/>
              <a:gd name="connsiteX358" fmla="*/ 6395 w 10000"/>
              <a:gd name="connsiteY358" fmla="*/ 3178 h 10000"/>
              <a:gd name="connsiteX359" fmla="*/ 6318 w 10000"/>
              <a:gd name="connsiteY359" fmla="*/ 3101 h 10000"/>
              <a:gd name="connsiteX360" fmla="*/ 6240 w 10000"/>
              <a:gd name="connsiteY360" fmla="*/ 2791 h 10000"/>
              <a:gd name="connsiteX361" fmla="*/ 6279 w 10000"/>
              <a:gd name="connsiteY361" fmla="*/ 2403 h 10000"/>
              <a:gd name="connsiteX362" fmla="*/ 6202 w 10000"/>
              <a:gd name="connsiteY362" fmla="*/ 2170 h 10000"/>
              <a:gd name="connsiteX363" fmla="*/ 5969 w 10000"/>
              <a:gd name="connsiteY363" fmla="*/ 2016 h 10000"/>
              <a:gd name="connsiteX364" fmla="*/ 5892 w 10000"/>
              <a:gd name="connsiteY364" fmla="*/ 2016 h 10000"/>
              <a:gd name="connsiteX365" fmla="*/ 5853 w 10000"/>
              <a:gd name="connsiteY365" fmla="*/ 2170 h 10000"/>
              <a:gd name="connsiteX366" fmla="*/ 5892 w 10000"/>
              <a:gd name="connsiteY366" fmla="*/ 2325 h 10000"/>
              <a:gd name="connsiteX367" fmla="*/ 5582 w 10000"/>
              <a:gd name="connsiteY367" fmla="*/ 2248 h 10000"/>
              <a:gd name="connsiteX368" fmla="*/ 5620 w 10000"/>
              <a:gd name="connsiteY368" fmla="*/ 2016 h 10000"/>
              <a:gd name="connsiteX369" fmla="*/ 5427 w 10000"/>
              <a:gd name="connsiteY369" fmla="*/ 1938 h 10000"/>
              <a:gd name="connsiteX370" fmla="*/ 5311 w 10000"/>
              <a:gd name="connsiteY370" fmla="*/ 2093 h 10000"/>
              <a:gd name="connsiteX371" fmla="*/ 5078 w 10000"/>
              <a:gd name="connsiteY371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085 w 10000"/>
              <a:gd name="connsiteY241" fmla="*/ 8062 h 10000"/>
              <a:gd name="connsiteX242" fmla="*/ 6938 w 10000"/>
              <a:gd name="connsiteY242" fmla="*/ 8838 h 10000"/>
              <a:gd name="connsiteX243" fmla="*/ 6938 w 10000"/>
              <a:gd name="connsiteY243" fmla="*/ 8295 h 10000"/>
              <a:gd name="connsiteX244" fmla="*/ 6976 w 10000"/>
              <a:gd name="connsiteY244" fmla="*/ 8140 h 10000"/>
              <a:gd name="connsiteX245" fmla="*/ 6976 w 10000"/>
              <a:gd name="connsiteY245" fmla="*/ 7907 h 10000"/>
              <a:gd name="connsiteX246" fmla="*/ 6899 w 10000"/>
              <a:gd name="connsiteY246" fmla="*/ 7675 h 10000"/>
              <a:gd name="connsiteX247" fmla="*/ 6860 w 10000"/>
              <a:gd name="connsiteY247" fmla="*/ 7675 h 10000"/>
              <a:gd name="connsiteX248" fmla="*/ 6821 w 10000"/>
              <a:gd name="connsiteY248" fmla="*/ 7830 h 10000"/>
              <a:gd name="connsiteX249" fmla="*/ 6744 w 10000"/>
              <a:gd name="connsiteY249" fmla="*/ 7830 h 10000"/>
              <a:gd name="connsiteX250" fmla="*/ 6783 w 10000"/>
              <a:gd name="connsiteY250" fmla="*/ 7675 h 10000"/>
              <a:gd name="connsiteX251" fmla="*/ 6744 w 10000"/>
              <a:gd name="connsiteY251" fmla="*/ 7675 h 10000"/>
              <a:gd name="connsiteX252" fmla="*/ 6705 w 10000"/>
              <a:gd name="connsiteY252" fmla="*/ 7598 h 10000"/>
              <a:gd name="connsiteX253" fmla="*/ 6628 w 10000"/>
              <a:gd name="connsiteY253" fmla="*/ 7598 h 10000"/>
              <a:gd name="connsiteX254" fmla="*/ 6628 w 10000"/>
              <a:gd name="connsiteY254" fmla="*/ 7520 h 10000"/>
              <a:gd name="connsiteX255" fmla="*/ 6744 w 10000"/>
              <a:gd name="connsiteY255" fmla="*/ 7287 h 10000"/>
              <a:gd name="connsiteX256" fmla="*/ 7094 w 10000"/>
              <a:gd name="connsiteY256" fmla="*/ 6590 h 10000"/>
              <a:gd name="connsiteX257" fmla="*/ 7249 w 10000"/>
              <a:gd name="connsiteY257" fmla="*/ 6512 h 10000"/>
              <a:gd name="connsiteX258" fmla="*/ 7287 w 10000"/>
              <a:gd name="connsiteY258" fmla="*/ 6590 h 10000"/>
              <a:gd name="connsiteX259" fmla="*/ 7326 w 10000"/>
              <a:gd name="connsiteY259" fmla="*/ 6512 h 10000"/>
              <a:gd name="connsiteX260" fmla="*/ 7442 w 10000"/>
              <a:gd name="connsiteY260" fmla="*/ 6590 h 10000"/>
              <a:gd name="connsiteX261" fmla="*/ 7481 w 10000"/>
              <a:gd name="connsiteY261" fmla="*/ 6434 h 10000"/>
              <a:gd name="connsiteX262" fmla="*/ 7597 w 10000"/>
              <a:gd name="connsiteY262" fmla="*/ 6512 h 10000"/>
              <a:gd name="connsiteX263" fmla="*/ 7636 w 10000"/>
              <a:gd name="connsiteY263" fmla="*/ 6512 h 10000"/>
              <a:gd name="connsiteX264" fmla="*/ 7597 w 10000"/>
              <a:gd name="connsiteY264" fmla="*/ 6590 h 10000"/>
              <a:gd name="connsiteX265" fmla="*/ 7597 w 10000"/>
              <a:gd name="connsiteY265" fmla="*/ 6667 h 10000"/>
              <a:gd name="connsiteX266" fmla="*/ 7830 w 10000"/>
              <a:gd name="connsiteY266" fmla="*/ 6590 h 10000"/>
              <a:gd name="connsiteX267" fmla="*/ 7791 w 10000"/>
              <a:gd name="connsiteY267" fmla="*/ 6512 h 10000"/>
              <a:gd name="connsiteX268" fmla="*/ 7946 w 10000"/>
              <a:gd name="connsiteY268" fmla="*/ 5969 h 10000"/>
              <a:gd name="connsiteX269" fmla="*/ 8140 w 10000"/>
              <a:gd name="connsiteY269" fmla="*/ 5892 h 10000"/>
              <a:gd name="connsiteX270" fmla="*/ 8140 w 10000"/>
              <a:gd name="connsiteY270" fmla="*/ 6047 h 10000"/>
              <a:gd name="connsiteX271" fmla="*/ 8140 w 10000"/>
              <a:gd name="connsiteY271" fmla="*/ 6202 h 10000"/>
              <a:gd name="connsiteX272" fmla="*/ 8333 w 10000"/>
              <a:gd name="connsiteY272" fmla="*/ 5969 h 10000"/>
              <a:gd name="connsiteX273" fmla="*/ 8333 w 10000"/>
              <a:gd name="connsiteY273" fmla="*/ 5737 h 10000"/>
              <a:gd name="connsiteX274" fmla="*/ 8411 w 10000"/>
              <a:gd name="connsiteY274" fmla="*/ 5737 h 10000"/>
              <a:gd name="connsiteX275" fmla="*/ 8372 w 10000"/>
              <a:gd name="connsiteY275" fmla="*/ 5814 h 10000"/>
              <a:gd name="connsiteX276" fmla="*/ 8333 w 10000"/>
              <a:gd name="connsiteY276" fmla="*/ 6202 h 10000"/>
              <a:gd name="connsiteX277" fmla="*/ 8256 w 10000"/>
              <a:gd name="connsiteY277" fmla="*/ 6279 h 10000"/>
              <a:gd name="connsiteX278" fmla="*/ 8023 w 10000"/>
              <a:gd name="connsiteY278" fmla="*/ 6822 h 10000"/>
              <a:gd name="connsiteX279" fmla="*/ 7946 w 10000"/>
              <a:gd name="connsiteY279" fmla="*/ 6900 h 10000"/>
              <a:gd name="connsiteX280" fmla="*/ 7868 w 10000"/>
              <a:gd name="connsiteY280" fmla="*/ 7442 h 10000"/>
              <a:gd name="connsiteX281" fmla="*/ 7946 w 10000"/>
              <a:gd name="connsiteY281" fmla="*/ 8372 h 10000"/>
              <a:gd name="connsiteX282" fmla="*/ 8023 w 10000"/>
              <a:gd name="connsiteY282" fmla="*/ 8217 h 10000"/>
              <a:gd name="connsiteX283" fmla="*/ 8101 w 10000"/>
              <a:gd name="connsiteY283" fmla="*/ 7907 h 10000"/>
              <a:gd name="connsiteX284" fmla="*/ 8140 w 10000"/>
              <a:gd name="connsiteY284" fmla="*/ 7907 h 10000"/>
              <a:gd name="connsiteX285" fmla="*/ 8140 w 10000"/>
              <a:gd name="connsiteY285" fmla="*/ 7675 h 10000"/>
              <a:gd name="connsiteX286" fmla="*/ 8178 w 10000"/>
              <a:gd name="connsiteY286" fmla="*/ 7675 h 10000"/>
              <a:gd name="connsiteX287" fmla="*/ 8256 w 10000"/>
              <a:gd name="connsiteY287" fmla="*/ 7598 h 10000"/>
              <a:gd name="connsiteX288" fmla="*/ 8217 w 10000"/>
              <a:gd name="connsiteY288" fmla="*/ 7364 h 10000"/>
              <a:gd name="connsiteX289" fmla="*/ 8295 w 10000"/>
              <a:gd name="connsiteY289" fmla="*/ 7287 h 10000"/>
              <a:gd name="connsiteX290" fmla="*/ 8333 w 10000"/>
              <a:gd name="connsiteY290" fmla="*/ 7287 h 10000"/>
              <a:gd name="connsiteX291" fmla="*/ 8333 w 10000"/>
              <a:gd name="connsiteY291" fmla="*/ 7132 h 10000"/>
              <a:gd name="connsiteX292" fmla="*/ 8295 w 10000"/>
              <a:gd name="connsiteY292" fmla="*/ 7132 h 10000"/>
              <a:gd name="connsiteX293" fmla="*/ 8333 w 10000"/>
              <a:gd name="connsiteY293" fmla="*/ 6900 h 10000"/>
              <a:gd name="connsiteX294" fmla="*/ 8295 w 10000"/>
              <a:gd name="connsiteY294" fmla="*/ 6900 h 10000"/>
              <a:gd name="connsiteX295" fmla="*/ 8256 w 10000"/>
              <a:gd name="connsiteY295" fmla="*/ 6900 h 10000"/>
              <a:gd name="connsiteX296" fmla="*/ 8256 w 10000"/>
              <a:gd name="connsiteY296" fmla="*/ 6822 h 10000"/>
              <a:gd name="connsiteX297" fmla="*/ 8333 w 10000"/>
              <a:gd name="connsiteY297" fmla="*/ 6590 h 10000"/>
              <a:gd name="connsiteX298" fmla="*/ 8333 w 10000"/>
              <a:gd name="connsiteY298" fmla="*/ 6434 h 10000"/>
              <a:gd name="connsiteX299" fmla="*/ 8411 w 10000"/>
              <a:gd name="connsiteY299" fmla="*/ 6434 h 10000"/>
              <a:gd name="connsiteX300" fmla="*/ 8527 w 10000"/>
              <a:gd name="connsiteY300" fmla="*/ 6279 h 10000"/>
              <a:gd name="connsiteX301" fmla="*/ 8527 w 10000"/>
              <a:gd name="connsiteY301" fmla="*/ 6434 h 10000"/>
              <a:gd name="connsiteX302" fmla="*/ 8566 w 10000"/>
              <a:gd name="connsiteY302" fmla="*/ 6356 h 10000"/>
              <a:gd name="connsiteX303" fmla="*/ 8682 w 10000"/>
              <a:gd name="connsiteY303" fmla="*/ 6279 h 10000"/>
              <a:gd name="connsiteX304" fmla="*/ 8759 w 10000"/>
              <a:gd name="connsiteY304" fmla="*/ 6434 h 10000"/>
              <a:gd name="connsiteX305" fmla="*/ 8798 w 10000"/>
              <a:gd name="connsiteY305" fmla="*/ 6279 h 10000"/>
              <a:gd name="connsiteX306" fmla="*/ 9187 w 10000"/>
              <a:gd name="connsiteY306" fmla="*/ 5737 h 10000"/>
              <a:gd name="connsiteX307" fmla="*/ 9303 w 10000"/>
              <a:gd name="connsiteY307" fmla="*/ 5814 h 10000"/>
              <a:gd name="connsiteX308" fmla="*/ 9342 w 10000"/>
              <a:gd name="connsiteY308" fmla="*/ 5737 h 10000"/>
              <a:gd name="connsiteX309" fmla="*/ 9264 w 10000"/>
              <a:gd name="connsiteY309" fmla="*/ 5271 h 10000"/>
              <a:gd name="connsiteX310" fmla="*/ 9225 w 10000"/>
              <a:gd name="connsiteY310" fmla="*/ 5271 h 10000"/>
              <a:gd name="connsiteX311" fmla="*/ 9225 w 10000"/>
              <a:gd name="connsiteY311" fmla="*/ 5116 h 10000"/>
              <a:gd name="connsiteX312" fmla="*/ 9264 w 10000"/>
              <a:gd name="connsiteY312" fmla="*/ 5116 h 10000"/>
              <a:gd name="connsiteX313" fmla="*/ 9342 w 10000"/>
              <a:gd name="connsiteY313" fmla="*/ 5039 h 10000"/>
              <a:gd name="connsiteX314" fmla="*/ 9419 w 10000"/>
              <a:gd name="connsiteY314" fmla="*/ 4884 h 10000"/>
              <a:gd name="connsiteX315" fmla="*/ 9380 w 10000"/>
              <a:gd name="connsiteY315" fmla="*/ 4729 h 10000"/>
              <a:gd name="connsiteX316" fmla="*/ 9419 w 10000"/>
              <a:gd name="connsiteY316" fmla="*/ 4652 h 10000"/>
              <a:gd name="connsiteX317" fmla="*/ 9458 w 10000"/>
              <a:gd name="connsiteY317" fmla="*/ 4884 h 10000"/>
              <a:gd name="connsiteX318" fmla="*/ 9535 w 10000"/>
              <a:gd name="connsiteY318" fmla="*/ 4884 h 10000"/>
              <a:gd name="connsiteX319" fmla="*/ 9613 w 10000"/>
              <a:gd name="connsiteY319" fmla="*/ 5039 h 10000"/>
              <a:gd name="connsiteX320" fmla="*/ 9806 w 10000"/>
              <a:gd name="connsiteY320" fmla="*/ 5271 h 10000"/>
              <a:gd name="connsiteX321" fmla="*/ 9845 w 10000"/>
              <a:gd name="connsiteY321" fmla="*/ 5039 h 10000"/>
              <a:gd name="connsiteX322" fmla="*/ 9845 w 10000"/>
              <a:gd name="connsiteY322" fmla="*/ 4884 h 10000"/>
              <a:gd name="connsiteX323" fmla="*/ 9923 w 10000"/>
              <a:gd name="connsiteY323" fmla="*/ 4884 h 10000"/>
              <a:gd name="connsiteX324" fmla="*/ 10000 w 10000"/>
              <a:gd name="connsiteY324" fmla="*/ 4729 h 10000"/>
              <a:gd name="connsiteX325" fmla="*/ 9884 w 10000"/>
              <a:gd name="connsiteY325" fmla="*/ 4496 h 10000"/>
              <a:gd name="connsiteX326" fmla="*/ 9690 w 10000"/>
              <a:gd name="connsiteY326" fmla="*/ 4418 h 10000"/>
              <a:gd name="connsiteX327" fmla="*/ 9342 w 10000"/>
              <a:gd name="connsiteY327" fmla="*/ 3799 h 10000"/>
              <a:gd name="connsiteX328" fmla="*/ 9109 w 10000"/>
              <a:gd name="connsiteY328" fmla="*/ 3488 h 10000"/>
              <a:gd name="connsiteX329" fmla="*/ 8798 w 10000"/>
              <a:gd name="connsiteY329" fmla="*/ 3411 h 10000"/>
              <a:gd name="connsiteX330" fmla="*/ 8798 w 10000"/>
              <a:gd name="connsiteY330" fmla="*/ 3799 h 10000"/>
              <a:gd name="connsiteX331" fmla="*/ 8721 w 10000"/>
              <a:gd name="connsiteY331" fmla="*/ 3876 h 10000"/>
              <a:gd name="connsiteX332" fmla="*/ 8643 w 10000"/>
              <a:gd name="connsiteY332" fmla="*/ 3721 h 10000"/>
              <a:gd name="connsiteX333" fmla="*/ 8643 w 10000"/>
              <a:gd name="connsiteY333" fmla="*/ 3566 h 10000"/>
              <a:gd name="connsiteX334" fmla="*/ 8682 w 10000"/>
              <a:gd name="connsiteY334" fmla="*/ 3566 h 10000"/>
              <a:gd name="connsiteX335" fmla="*/ 8721 w 10000"/>
              <a:gd name="connsiteY335" fmla="*/ 3488 h 10000"/>
              <a:gd name="connsiteX336" fmla="*/ 8643 w 10000"/>
              <a:gd name="connsiteY336" fmla="*/ 3488 h 10000"/>
              <a:gd name="connsiteX337" fmla="*/ 8566 w 10000"/>
              <a:gd name="connsiteY337" fmla="*/ 3644 h 10000"/>
              <a:gd name="connsiteX338" fmla="*/ 8372 w 10000"/>
              <a:gd name="connsiteY338" fmla="*/ 3566 h 10000"/>
              <a:gd name="connsiteX339" fmla="*/ 8178 w 10000"/>
              <a:gd name="connsiteY339" fmla="*/ 3566 h 10000"/>
              <a:gd name="connsiteX340" fmla="*/ 8101 w 10000"/>
              <a:gd name="connsiteY340" fmla="*/ 3488 h 10000"/>
              <a:gd name="connsiteX341" fmla="*/ 8140 w 10000"/>
              <a:gd name="connsiteY341" fmla="*/ 3333 h 10000"/>
              <a:gd name="connsiteX342" fmla="*/ 8062 w 10000"/>
              <a:gd name="connsiteY342" fmla="*/ 3101 h 10000"/>
              <a:gd name="connsiteX343" fmla="*/ 7907 w 10000"/>
              <a:gd name="connsiteY343" fmla="*/ 3023 h 10000"/>
              <a:gd name="connsiteX344" fmla="*/ 7675 w 10000"/>
              <a:gd name="connsiteY344" fmla="*/ 3178 h 10000"/>
              <a:gd name="connsiteX345" fmla="*/ 7636 w 10000"/>
              <a:gd name="connsiteY345" fmla="*/ 2946 h 10000"/>
              <a:gd name="connsiteX346" fmla="*/ 7558 w 10000"/>
              <a:gd name="connsiteY346" fmla="*/ 2946 h 10000"/>
              <a:gd name="connsiteX347" fmla="*/ 7520 w 10000"/>
              <a:gd name="connsiteY347" fmla="*/ 2868 h 10000"/>
              <a:gd name="connsiteX348" fmla="*/ 7520 w 10000"/>
              <a:gd name="connsiteY348" fmla="*/ 2636 h 10000"/>
              <a:gd name="connsiteX349" fmla="*/ 7249 w 10000"/>
              <a:gd name="connsiteY349" fmla="*/ 2480 h 10000"/>
              <a:gd name="connsiteX350" fmla="*/ 6938 w 10000"/>
              <a:gd name="connsiteY350" fmla="*/ 2325 h 10000"/>
              <a:gd name="connsiteX351" fmla="*/ 6860 w 10000"/>
              <a:gd name="connsiteY351" fmla="*/ 2636 h 10000"/>
              <a:gd name="connsiteX352" fmla="*/ 6938 w 10000"/>
              <a:gd name="connsiteY352" fmla="*/ 2868 h 10000"/>
              <a:gd name="connsiteX353" fmla="*/ 6705 w 10000"/>
              <a:gd name="connsiteY353" fmla="*/ 2868 h 10000"/>
              <a:gd name="connsiteX354" fmla="*/ 6666 w 10000"/>
              <a:gd name="connsiteY354" fmla="*/ 2868 h 10000"/>
              <a:gd name="connsiteX355" fmla="*/ 6589 w 10000"/>
              <a:gd name="connsiteY355" fmla="*/ 2946 h 10000"/>
              <a:gd name="connsiteX356" fmla="*/ 6473 w 10000"/>
              <a:gd name="connsiteY356" fmla="*/ 2714 h 10000"/>
              <a:gd name="connsiteX357" fmla="*/ 6395 w 10000"/>
              <a:gd name="connsiteY357" fmla="*/ 3178 h 10000"/>
              <a:gd name="connsiteX358" fmla="*/ 6318 w 10000"/>
              <a:gd name="connsiteY358" fmla="*/ 3101 h 10000"/>
              <a:gd name="connsiteX359" fmla="*/ 6240 w 10000"/>
              <a:gd name="connsiteY359" fmla="*/ 2791 h 10000"/>
              <a:gd name="connsiteX360" fmla="*/ 6279 w 10000"/>
              <a:gd name="connsiteY360" fmla="*/ 2403 h 10000"/>
              <a:gd name="connsiteX361" fmla="*/ 6202 w 10000"/>
              <a:gd name="connsiteY361" fmla="*/ 2170 h 10000"/>
              <a:gd name="connsiteX362" fmla="*/ 5969 w 10000"/>
              <a:gd name="connsiteY362" fmla="*/ 2016 h 10000"/>
              <a:gd name="connsiteX363" fmla="*/ 5892 w 10000"/>
              <a:gd name="connsiteY363" fmla="*/ 2016 h 10000"/>
              <a:gd name="connsiteX364" fmla="*/ 5853 w 10000"/>
              <a:gd name="connsiteY364" fmla="*/ 2170 h 10000"/>
              <a:gd name="connsiteX365" fmla="*/ 5892 w 10000"/>
              <a:gd name="connsiteY365" fmla="*/ 2325 h 10000"/>
              <a:gd name="connsiteX366" fmla="*/ 5582 w 10000"/>
              <a:gd name="connsiteY366" fmla="*/ 2248 h 10000"/>
              <a:gd name="connsiteX367" fmla="*/ 5620 w 10000"/>
              <a:gd name="connsiteY367" fmla="*/ 2016 h 10000"/>
              <a:gd name="connsiteX368" fmla="*/ 5427 w 10000"/>
              <a:gd name="connsiteY368" fmla="*/ 1938 h 10000"/>
              <a:gd name="connsiteX369" fmla="*/ 5311 w 10000"/>
              <a:gd name="connsiteY369" fmla="*/ 2093 h 10000"/>
              <a:gd name="connsiteX370" fmla="*/ 5078 w 10000"/>
              <a:gd name="connsiteY370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008 w 10000"/>
              <a:gd name="connsiteY240" fmla="*/ 7907 h 10000"/>
              <a:gd name="connsiteX241" fmla="*/ 6938 w 10000"/>
              <a:gd name="connsiteY241" fmla="*/ 8838 h 10000"/>
              <a:gd name="connsiteX242" fmla="*/ 6938 w 10000"/>
              <a:gd name="connsiteY242" fmla="*/ 8295 h 10000"/>
              <a:gd name="connsiteX243" fmla="*/ 6976 w 10000"/>
              <a:gd name="connsiteY243" fmla="*/ 8140 h 10000"/>
              <a:gd name="connsiteX244" fmla="*/ 6976 w 10000"/>
              <a:gd name="connsiteY244" fmla="*/ 7907 h 10000"/>
              <a:gd name="connsiteX245" fmla="*/ 6899 w 10000"/>
              <a:gd name="connsiteY245" fmla="*/ 7675 h 10000"/>
              <a:gd name="connsiteX246" fmla="*/ 6860 w 10000"/>
              <a:gd name="connsiteY246" fmla="*/ 7675 h 10000"/>
              <a:gd name="connsiteX247" fmla="*/ 6821 w 10000"/>
              <a:gd name="connsiteY247" fmla="*/ 7830 h 10000"/>
              <a:gd name="connsiteX248" fmla="*/ 6744 w 10000"/>
              <a:gd name="connsiteY248" fmla="*/ 7830 h 10000"/>
              <a:gd name="connsiteX249" fmla="*/ 6783 w 10000"/>
              <a:gd name="connsiteY249" fmla="*/ 7675 h 10000"/>
              <a:gd name="connsiteX250" fmla="*/ 6744 w 10000"/>
              <a:gd name="connsiteY250" fmla="*/ 7675 h 10000"/>
              <a:gd name="connsiteX251" fmla="*/ 6705 w 10000"/>
              <a:gd name="connsiteY251" fmla="*/ 7598 h 10000"/>
              <a:gd name="connsiteX252" fmla="*/ 6628 w 10000"/>
              <a:gd name="connsiteY252" fmla="*/ 7598 h 10000"/>
              <a:gd name="connsiteX253" fmla="*/ 6628 w 10000"/>
              <a:gd name="connsiteY253" fmla="*/ 7520 h 10000"/>
              <a:gd name="connsiteX254" fmla="*/ 6744 w 10000"/>
              <a:gd name="connsiteY254" fmla="*/ 7287 h 10000"/>
              <a:gd name="connsiteX255" fmla="*/ 7094 w 10000"/>
              <a:gd name="connsiteY255" fmla="*/ 6590 h 10000"/>
              <a:gd name="connsiteX256" fmla="*/ 7249 w 10000"/>
              <a:gd name="connsiteY256" fmla="*/ 6512 h 10000"/>
              <a:gd name="connsiteX257" fmla="*/ 7287 w 10000"/>
              <a:gd name="connsiteY257" fmla="*/ 6590 h 10000"/>
              <a:gd name="connsiteX258" fmla="*/ 7326 w 10000"/>
              <a:gd name="connsiteY258" fmla="*/ 6512 h 10000"/>
              <a:gd name="connsiteX259" fmla="*/ 7442 w 10000"/>
              <a:gd name="connsiteY259" fmla="*/ 6590 h 10000"/>
              <a:gd name="connsiteX260" fmla="*/ 7481 w 10000"/>
              <a:gd name="connsiteY260" fmla="*/ 6434 h 10000"/>
              <a:gd name="connsiteX261" fmla="*/ 7597 w 10000"/>
              <a:gd name="connsiteY261" fmla="*/ 6512 h 10000"/>
              <a:gd name="connsiteX262" fmla="*/ 7636 w 10000"/>
              <a:gd name="connsiteY262" fmla="*/ 6512 h 10000"/>
              <a:gd name="connsiteX263" fmla="*/ 7597 w 10000"/>
              <a:gd name="connsiteY263" fmla="*/ 6590 h 10000"/>
              <a:gd name="connsiteX264" fmla="*/ 7597 w 10000"/>
              <a:gd name="connsiteY264" fmla="*/ 6667 h 10000"/>
              <a:gd name="connsiteX265" fmla="*/ 7830 w 10000"/>
              <a:gd name="connsiteY265" fmla="*/ 6590 h 10000"/>
              <a:gd name="connsiteX266" fmla="*/ 7791 w 10000"/>
              <a:gd name="connsiteY266" fmla="*/ 6512 h 10000"/>
              <a:gd name="connsiteX267" fmla="*/ 7946 w 10000"/>
              <a:gd name="connsiteY267" fmla="*/ 5969 h 10000"/>
              <a:gd name="connsiteX268" fmla="*/ 8140 w 10000"/>
              <a:gd name="connsiteY268" fmla="*/ 5892 h 10000"/>
              <a:gd name="connsiteX269" fmla="*/ 8140 w 10000"/>
              <a:gd name="connsiteY269" fmla="*/ 6047 h 10000"/>
              <a:gd name="connsiteX270" fmla="*/ 8140 w 10000"/>
              <a:gd name="connsiteY270" fmla="*/ 6202 h 10000"/>
              <a:gd name="connsiteX271" fmla="*/ 8333 w 10000"/>
              <a:gd name="connsiteY271" fmla="*/ 5969 h 10000"/>
              <a:gd name="connsiteX272" fmla="*/ 8333 w 10000"/>
              <a:gd name="connsiteY272" fmla="*/ 5737 h 10000"/>
              <a:gd name="connsiteX273" fmla="*/ 8411 w 10000"/>
              <a:gd name="connsiteY273" fmla="*/ 5737 h 10000"/>
              <a:gd name="connsiteX274" fmla="*/ 8372 w 10000"/>
              <a:gd name="connsiteY274" fmla="*/ 5814 h 10000"/>
              <a:gd name="connsiteX275" fmla="*/ 8333 w 10000"/>
              <a:gd name="connsiteY275" fmla="*/ 6202 h 10000"/>
              <a:gd name="connsiteX276" fmla="*/ 8256 w 10000"/>
              <a:gd name="connsiteY276" fmla="*/ 6279 h 10000"/>
              <a:gd name="connsiteX277" fmla="*/ 8023 w 10000"/>
              <a:gd name="connsiteY277" fmla="*/ 6822 h 10000"/>
              <a:gd name="connsiteX278" fmla="*/ 7946 w 10000"/>
              <a:gd name="connsiteY278" fmla="*/ 6900 h 10000"/>
              <a:gd name="connsiteX279" fmla="*/ 7868 w 10000"/>
              <a:gd name="connsiteY279" fmla="*/ 7442 h 10000"/>
              <a:gd name="connsiteX280" fmla="*/ 7946 w 10000"/>
              <a:gd name="connsiteY280" fmla="*/ 8372 h 10000"/>
              <a:gd name="connsiteX281" fmla="*/ 8023 w 10000"/>
              <a:gd name="connsiteY281" fmla="*/ 8217 h 10000"/>
              <a:gd name="connsiteX282" fmla="*/ 8101 w 10000"/>
              <a:gd name="connsiteY282" fmla="*/ 7907 h 10000"/>
              <a:gd name="connsiteX283" fmla="*/ 8140 w 10000"/>
              <a:gd name="connsiteY283" fmla="*/ 7907 h 10000"/>
              <a:gd name="connsiteX284" fmla="*/ 8140 w 10000"/>
              <a:gd name="connsiteY284" fmla="*/ 7675 h 10000"/>
              <a:gd name="connsiteX285" fmla="*/ 8178 w 10000"/>
              <a:gd name="connsiteY285" fmla="*/ 7675 h 10000"/>
              <a:gd name="connsiteX286" fmla="*/ 8256 w 10000"/>
              <a:gd name="connsiteY286" fmla="*/ 7598 h 10000"/>
              <a:gd name="connsiteX287" fmla="*/ 8217 w 10000"/>
              <a:gd name="connsiteY287" fmla="*/ 7364 h 10000"/>
              <a:gd name="connsiteX288" fmla="*/ 8295 w 10000"/>
              <a:gd name="connsiteY288" fmla="*/ 7287 h 10000"/>
              <a:gd name="connsiteX289" fmla="*/ 8333 w 10000"/>
              <a:gd name="connsiteY289" fmla="*/ 7287 h 10000"/>
              <a:gd name="connsiteX290" fmla="*/ 8333 w 10000"/>
              <a:gd name="connsiteY290" fmla="*/ 7132 h 10000"/>
              <a:gd name="connsiteX291" fmla="*/ 8295 w 10000"/>
              <a:gd name="connsiteY291" fmla="*/ 7132 h 10000"/>
              <a:gd name="connsiteX292" fmla="*/ 8333 w 10000"/>
              <a:gd name="connsiteY292" fmla="*/ 6900 h 10000"/>
              <a:gd name="connsiteX293" fmla="*/ 8295 w 10000"/>
              <a:gd name="connsiteY293" fmla="*/ 6900 h 10000"/>
              <a:gd name="connsiteX294" fmla="*/ 8256 w 10000"/>
              <a:gd name="connsiteY294" fmla="*/ 6900 h 10000"/>
              <a:gd name="connsiteX295" fmla="*/ 8256 w 10000"/>
              <a:gd name="connsiteY295" fmla="*/ 6822 h 10000"/>
              <a:gd name="connsiteX296" fmla="*/ 8333 w 10000"/>
              <a:gd name="connsiteY296" fmla="*/ 6590 h 10000"/>
              <a:gd name="connsiteX297" fmla="*/ 8333 w 10000"/>
              <a:gd name="connsiteY297" fmla="*/ 6434 h 10000"/>
              <a:gd name="connsiteX298" fmla="*/ 8411 w 10000"/>
              <a:gd name="connsiteY298" fmla="*/ 6434 h 10000"/>
              <a:gd name="connsiteX299" fmla="*/ 8527 w 10000"/>
              <a:gd name="connsiteY299" fmla="*/ 6279 h 10000"/>
              <a:gd name="connsiteX300" fmla="*/ 8527 w 10000"/>
              <a:gd name="connsiteY300" fmla="*/ 6434 h 10000"/>
              <a:gd name="connsiteX301" fmla="*/ 8566 w 10000"/>
              <a:gd name="connsiteY301" fmla="*/ 6356 h 10000"/>
              <a:gd name="connsiteX302" fmla="*/ 8682 w 10000"/>
              <a:gd name="connsiteY302" fmla="*/ 6279 h 10000"/>
              <a:gd name="connsiteX303" fmla="*/ 8759 w 10000"/>
              <a:gd name="connsiteY303" fmla="*/ 6434 h 10000"/>
              <a:gd name="connsiteX304" fmla="*/ 8798 w 10000"/>
              <a:gd name="connsiteY304" fmla="*/ 6279 h 10000"/>
              <a:gd name="connsiteX305" fmla="*/ 9187 w 10000"/>
              <a:gd name="connsiteY305" fmla="*/ 5737 h 10000"/>
              <a:gd name="connsiteX306" fmla="*/ 9303 w 10000"/>
              <a:gd name="connsiteY306" fmla="*/ 5814 h 10000"/>
              <a:gd name="connsiteX307" fmla="*/ 9342 w 10000"/>
              <a:gd name="connsiteY307" fmla="*/ 5737 h 10000"/>
              <a:gd name="connsiteX308" fmla="*/ 9264 w 10000"/>
              <a:gd name="connsiteY308" fmla="*/ 5271 h 10000"/>
              <a:gd name="connsiteX309" fmla="*/ 9225 w 10000"/>
              <a:gd name="connsiteY309" fmla="*/ 5271 h 10000"/>
              <a:gd name="connsiteX310" fmla="*/ 9225 w 10000"/>
              <a:gd name="connsiteY310" fmla="*/ 5116 h 10000"/>
              <a:gd name="connsiteX311" fmla="*/ 9264 w 10000"/>
              <a:gd name="connsiteY311" fmla="*/ 5116 h 10000"/>
              <a:gd name="connsiteX312" fmla="*/ 9342 w 10000"/>
              <a:gd name="connsiteY312" fmla="*/ 5039 h 10000"/>
              <a:gd name="connsiteX313" fmla="*/ 9419 w 10000"/>
              <a:gd name="connsiteY313" fmla="*/ 4884 h 10000"/>
              <a:gd name="connsiteX314" fmla="*/ 9380 w 10000"/>
              <a:gd name="connsiteY314" fmla="*/ 4729 h 10000"/>
              <a:gd name="connsiteX315" fmla="*/ 9419 w 10000"/>
              <a:gd name="connsiteY315" fmla="*/ 4652 h 10000"/>
              <a:gd name="connsiteX316" fmla="*/ 9458 w 10000"/>
              <a:gd name="connsiteY316" fmla="*/ 4884 h 10000"/>
              <a:gd name="connsiteX317" fmla="*/ 9535 w 10000"/>
              <a:gd name="connsiteY317" fmla="*/ 4884 h 10000"/>
              <a:gd name="connsiteX318" fmla="*/ 9613 w 10000"/>
              <a:gd name="connsiteY318" fmla="*/ 5039 h 10000"/>
              <a:gd name="connsiteX319" fmla="*/ 9806 w 10000"/>
              <a:gd name="connsiteY319" fmla="*/ 5271 h 10000"/>
              <a:gd name="connsiteX320" fmla="*/ 9845 w 10000"/>
              <a:gd name="connsiteY320" fmla="*/ 5039 h 10000"/>
              <a:gd name="connsiteX321" fmla="*/ 9845 w 10000"/>
              <a:gd name="connsiteY321" fmla="*/ 4884 h 10000"/>
              <a:gd name="connsiteX322" fmla="*/ 9923 w 10000"/>
              <a:gd name="connsiteY322" fmla="*/ 4884 h 10000"/>
              <a:gd name="connsiteX323" fmla="*/ 10000 w 10000"/>
              <a:gd name="connsiteY323" fmla="*/ 4729 h 10000"/>
              <a:gd name="connsiteX324" fmla="*/ 9884 w 10000"/>
              <a:gd name="connsiteY324" fmla="*/ 4496 h 10000"/>
              <a:gd name="connsiteX325" fmla="*/ 9690 w 10000"/>
              <a:gd name="connsiteY325" fmla="*/ 4418 h 10000"/>
              <a:gd name="connsiteX326" fmla="*/ 9342 w 10000"/>
              <a:gd name="connsiteY326" fmla="*/ 3799 h 10000"/>
              <a:gd name="connsiteX327" fmla="*/ 9109 w 10000"/>
              <a:gd name="connsiteY327" fmla="*/ 3488 h 10000"/>
              <a:gd name="connsiteX328" fmla="*/ 8798 w 10000"/>
              <a:gd name="connsiteY328" fmla="*/ 3411 h 10000"/>
              <a:gd name="connsiteX329" fmla="*/ 8798 w 10000"/>
              <a:gd name="connsiteY329" fmla="*/ 3799 h 10000"/>
              <a:gd name="connsiteX330" fmla="*/ 8721 w 10000"/>
              <a:gd name="connsiteY330" fmla="*/ 3876 h 10000"/>
              <a:gd name="connsiteX331" fmla="*/ 8643 w 10000"/>
              <a:gd name="connsiteY331" fmla="*/ 3721 h 10000"/>
              <a:gd name="connsiteX332" fmla="*/ 8643 w 10000"/>
              <a:gd name="connsiteY332" fmla="*/ 3566 h 10000"/>
              <a:gd name="connsiteX333" fmla="*/ 8682 w 10000"/>
              <a:gd name="connsiteY333" fmla="*/ 3566 h 10000"/>
              <a:gd name="connsiteX334" fmla="*/ 8721 w 10000"/>
              <a:gd name="connsiteY334" fmla="*/ 3488 h 10000"/>
              <a:gd name="connsiteX335" fmla="*/ 8643 w 10000"/>
              <a:gd name="connsiteY335" fmla="*/ 3488 h 10000"/>
              <a:gd name="connsiteX336" fmla="*/ 8566 w 10000"/>
              <a:gd name="connsiteY336" fmla="*/ 3644 h 10000"/>
              <a:gd name="connsiteX337" fmla="*/ 8372 w 10000"/>
              <a:gd name="connsiteY337" fmla="*/ 3566 h 10000"/>
              <a:gd name="connsiteX338" fmla="*/ 8178 w 10000"/>
              <a:gd name="connsiteY338" fmla="*/ 3566 h 10000"/>
              <a:gd name="connsiteX339" fmla="*/ 8101 w 10000"/>
              <a:gd name="connsiteY339" fmla="*/ 3488 h 10000"/>
              <a:gd name="connsiteX340" fmla="*/ 8140 w 10000"/>
              <a:gd name="connsiteY340" fmla="*/ 3333 h 10000"/>
              <a:gd name="connsiteX341" fmla="*/ 8062 w 10000"/>
              <a:gd name="connsiteY341" fmla="*/ 3101 h 10000"/>
              <a:gd name="connsiteX342" fmla="*/ 7907 w 10000"/>
              <a:gd name="connsiteY342" fmla="*/ 3023 h 10000"/>
              <a:gd name="connsiteX343" fmla="*/ 7675 w 10000"/>
              <a:gd name="connsiteY343" fmla="*/ 3178 h 10000"/>
              <a:gd name="connsiteX344" fmla="*/ 7636 w 10000"/>
              <a:gd name="connsiteY344" fmla="*/ 2946 h 10000"/>
              <a:gd name="connsiteX345" fmla="*/ 7558 w 10000"/>
              <a:gd name="connsiteY345" fmla="*/ 2946 h 10000"/>
              <a:gd name="connsiteX346" fmla="*/ 7520 w 10000"/>
              <a:gd name="connsiteY346" fmla="*/ 2868 h 10000"/>
              <a:gd name="connsiteX347" fmla="*/ 7520 w 10000"/>
              <a:gd name="connsiteY347" fmla="*/ 2636 h 10000"/>
              <a:gd name="connsiteX348" fmla="*/ 7249 w 10000"/>
              <a:gd name="connsiteY348" fmla="*/ 2480 h 10000"/>
              <a:gd name="connsiteX349" fmla="*/ 6938 w 10000"/>
              <a:gd name="connsiteY349" fmla="*/ 2325 h 10000"/>
              <a:gd name="connsiteX350" fmla="*/ 6860 w 10000"/>
              <a:gd name="connsiteY350" fmla="*/ 2636 h 10000"/>
              <a:gd name="connsiteX351" fmla="*/ 6938 w 10000"/>
              <a:gd name="connsiteY351" fmla="*/ 2868 h 10000"/>
              <a:gd name="connsiteX352" fmla="*/ 6705 w 10000"/>
              <a:gd name="connsiteY352" fmla="*/ 2868 h 10000"/>
              <a:gd name="connsiteX353" fmla="*/ 6666 w 10000"/>
              <a:gd name="connsiteY353" fmla="*/ 2868 h 10000"/>
              <a:gd name="connsiteX354" fmla="*/ 6589 w 10000"/>
              <a:gd name="connsiteY354" fmla="*/ 2946 h 10000"/>
              <a:gd name="connsiteX355" fmla="*/ 6473 w 10000"/>
              <a:gd name="connsiteY355" fmla="*/ 2714 h 10000"/>
              <a:gd name="connsiteX356" fmla="*/ 6395 w 10000"/>
              <a:gd name="connsiteY356" fmla="*/ 3178 h 10000"/>
              <a:gd name="connsiteX357" fmla="*/ 6318 w 10000"/>
              <a:gd name="connsiteY357" fmla="*/ 3101 h 10000"/>
              <a:gd name="connsiteX358" fmla="*/ 6240 w 10000"/>
              <a:gd name="connsiteY358" fmla="*/ 2791 h 10000"/>
              <a:gd name="connsiteX359" fmla="*/ 6279 w 10000"/>
              <a:gd name="connsiteY359" fmla="*/ 2403 h 10000"/>
              <a:gd name="connsiteX360" fmla="*/ 6202 w 10000"/>
              <a:gd name="connsiteY360" fmla="*/ 2170 h 10000"/>
              <a:gd name="connsiteX361" fmla="*/ 5969 w 10000"/>
              <a:gd name="connsiteY361" fmla="*/ 2016 h 10000"/>
              <a:gd name="connsiteX362" fmla="*/ 5892 w 10000"/>
              <a:gd name="connsiteY362" fmla="*/ 2016 h 10000"/>
              <a:gd name="connsiteX363" fmla="*/ 5853 w 10000"/>
              <a:gd name="connsiteY363" fmla="*/ 2170 h 10000"/>
              <a:gd name="connsiteX364" fmla="*/ 5892 w 10000"/>
              <a:gd name="connsiteY364" fmla="*/ 2325 h 10000"/>
              <a:gd name="connsiteX365" fmla="*/ 5582 w 10000"/>
              <a:gd name="connsiteY365" fmla="*/ 2248 h 10000"/>
              <a:gd name="connsiteX366" fmla="*/ 5620 w 10000"/>
              <a:gd name="connsiteY366" fmla="*/ 2016 h 10000"/>
              <a:gd name="connsiteX367" fmla="*/ 5427 w 10000"/>
              <a:gd name="connsiteY367" fmla="*/ 1938 h 10000"/>
              <a:gd name="connsiteX368" fmla="*/ 5311 w 10000"/>
              <a:gd name="connsiteY368" fmla="*/ 2093 h 10000"/>
              <a:gd name="connsiteX369" fmla="*/ 5078 w 10000"/>
              <a:gd name="connsiteY369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5892 w 10000"/>
              <a:gd name="connsiteY239" fmla="*/ 7830 h 10000"/>
              <a:gd name="connsiteX240" fmla="*/ 6938 w 10000"/>
              <a:gd name="connsiteY240" fmla="*/ 8838 h 10000"/>
              <a:gd name="connsiteX241" fmla="*/ 6938 w 10000"/>
              <a:gd name="connsiteY241" fmla="*/ 8295 h 10000"/>
              <a:gd name="connsiteX242" fmla="*/ 6976 w 10000"/>
              <a:gd name="connsiteY242" fmla="*/ 8140 h 10000"/>
              <a:gd name="connsiteX243" fmla="*/ 6976 w 10000"/>
              <a:gd name="connsiteY243" fmla="*/ 7907 h 10000"/>
              <a:gd name="connsiteX244" fmla="*/ 6899 w 10000"/>
              <a:gd name="connsiteY244" fmla="*/ 7675 h 10000"/>
              <a:gd name="connsiteX245" fmla="*/ 6860 w 10000"/>
              <a:gd name="connsiteY245" fmla="*/ 7675 h 10000"/>
              <a:gd name="connsiteX246" fmla="*/ 6821 w 10000"/>
              <a:gd name="connsiteY246" fmla="*/ 7830 h 10000"/>
              <a:gd name="connsiteX247" fmla="*/ 6744 w 10000"/>
              <a:gd name="connsiteY247" fmla="*/ 7830 h 10000"/>
              <a:gd name="connsiteX248" fmla="*/ 6783 w 10000"/>
              <a:gd name="connsiteY248" fmla="*/ 7675 h 10000"/>
              <a:gd name="connsiteX249" fmla="*/ 6744 w 10000"/>
              <a:gd name="connsiteY249" fmla="*/ 7675 h 10000"/>
              <a:gd name="connsiteX250" fmla="*/ 6705 w 10000"/>
              <a:gd name="connsiteY250" fmla="*/ 7598 h 10000"/>
              <a:gd name="connsiteX251" fmla="*/ 6628 w 10000"/>
              <a:gd name="connsiteY251" fmla="*/ 7598 h 10000"/>
              <a:gd name="connsiteX252" fmla="*/ 6628 w 10000"/>
              <a:gd name="connsiteY252" fmla="*/ 7520 h 10000"/>
              <a:gd name="connsiteX253" fmla="*/ 6744 w 10000"/>
              <a:gd name="connsiteY253" fmla="*/ 7287 h 10000"/>
              <a:gd name="connsiteX254" fmla="*/ 7094 w 10000"/>
              <a:gd name="connsiteY254" fmla="*/ 6590 h 10000"/>
              <a:gd name="connsiteX255" fmla="*/ 7249 w 10000"/>
              <a:gd name="connsiteY255" fmla="*/ 6512 h 10000"/>
              <a:gd name="connsiteX256" fmla="*/ 7287 w 10000"/>
              <a:gd name="connsiteY256" fmla="*/ 6590 h 10000"/>
              <a:gd name="connsiteX257" fmla="*/ 7326 w 10000"/>
              <a:gd name="connsiteY257" fmla="*/ 6512 h 10000"/>
              <a:gd name="connsiteX258" fmla="*/ 7442 w 10000"/>
              <a:gd name="connsiteY258" fmla="*/ 6590 h 10000"/>
              <a:gd name="connsiteX259" fmla="*/ 7481 w 10000"/>
              <a:gd name="connsiteY259" fmla="*/ 6434 h 10000"/>
              <a:gd name="connsiteX260" fmla="*/ 7597 w 10000"/>
              <a:gd name="connsiteY260" fmla="*/ 6512 h 10000"/>
              <a:gd name="connsiteX261" fmla="*/ 7636 w 10000"/>
              <a:gd name="connsiteY261" fmla="*/ 6512 h 10000"/>
              <a:gd name="connsiteX262" fmla="*/ 7597 w 10000"/>
              <a:gd name="connsiteY262" fmla="*/ 6590 h 10000"/>
              <a:gd name="connsiteX263" fmla="*/ 7597 w 10000"/>
              <a:gd name="connsiteY263" fmla="*/ 6667 h 10000"/>
              <a:gd name="connsiteX264" fmla="*/ 7830 w 10000"/>
              <a:gd name="connsiteY264" fmla="*/ 6590 h 10000"/>
              <a:gd name="connsiteX265" fmla="*/ 7791 w 10000"/>
              <a:gd name="connsiteY265" fmla="*/ 6512 h 10000"/>
              <a:gd name="connsiteX266" fmla="*/ 7946 w 10000"/>
              <a:gd name="connsiteY266" fmla="*/ 5969 h 10000"/>
              <a:gd name="connsiteX267" fmla="*/ 8140 w 10000"/>
              <a:gd name="connsiteY267" fmla="*/ 5892 h 10000"/>
              <a:gd name="connsiteX268" fmla="*/ 8140 w 10000"/>
              <a:gd name="connsiteY268" fmla="*/ 6047 h 10000"/>
              <a:gd name="connsiteX269" fmla="*/ 8140 w 10000"/>
              <a:gd name="connsiteY269" fmla="*/ 6202 h 10000"/>
              <a:gd name="connsiteX270" fmla="*/ 8333 w 10000"/>
              <a:gd name="connsiteY270" fmla="*/ 5969 h 10000"/>
              <a:gd name="connsiteX271" fmla="*/ 8333 w 10000"/>
              <a:gd name="connsiteY271" fmla="*/ 5737 h 10000"/>
              <a:gd name="connsiteX272" fmla="*/ 8411 w 10000"/>
              <a:gd name="connsiteY272" fmla="*/ 5737 h 10000"/>
              <a:gd name="connsiteX273" fmla="*/ 8372 w 10000"/>
              <a:gd name="connsiteY273" fmla="*/ 5814 h 10000"/>
              <a:gd name="connsiteX274" fmla="*/ 8333 w 10000"/>
              <a:gd name="connsiteY274" fmla="*/ 6202 h 10000"/>
              <a:gd name="connsiteX275" fmla="*/ 8256 w 10000"/>
              <a:gd name="connsiteY275" fmla="*/ 6279 h 10000"/>
              <a:gd name="connsiteX276" fmla="*/ 8023 w 10000"/>
              <a:gd name="connsiteY276" fmla="*/ 6822 h 10000"/>
              <a:gd name="connsiteX277" fmla="*/ 7946 w 10000"/>
              <a:gd name="connsiteY277" fmla="*/ 6900 h 10000"/>
              <a:gd name="connsiteX278" fmla="*/ 7868 w 10000"/>
              <a:gd name="connsiteY278" fmla="*/ 7442 h 10000"/>
              <a:gd name="connsiteX279" fmla="*/ 7946 w 10000"/>
              <a:gd name="connsiteY279" fmla="*/ 8372 h 10000"/>
              <a:gd name="connsiteX280" fmla="*/ 8023 w 10000"/>
              <a:gd name="connsiteY280" fmla="*/ 8217 h 10000"/>
              <a:gd name="connsiteX281" fmla="*/ 8101 w 10000"/>
              <a:gd name="connsiteY281" fmla="*/ 7907 h 10000"/>
              <a:gd name="connsiteX282" fmla="*/ 8140 w 10000"/>
              <a:gd name="connsiteY282" fmla="*/ 7907 h 10000"/>
              <a:gd name="connsiteX283" fmla="*/ 8140 w 10000"/>
              <a:gd name="connsiteY283" fmla="*/ 7675 h 10000"/>
              <a:gd name="connsiteX284" fmla="*/ 8178 w 10000"/>
              <a:gd name="connsiteY284" fmla="*/ 7675 h 10000"/>
              <a:gd name="connsiteX285" fmla="*/ 8256 w 10000"/>
              <a:gd name="connsiteY285" fmla="*/ 7598 h 10000"/>
              <a:gd name="connsiteX286" fmla="*/ 8217 w 10000"/>
              <a:gd name="connsiteY286" fmla="*/ 7364 h 10000"/>
              <a:gd name="connsiteX287" fmla="*/ 8295 w 10000"/>
              <a:gd name="connsiteY287" fmla="*/ 7287 h 10000"/>
              <a:gd name="connsiteX288" fmla="*/ 8333 w 10000"/>
              <a:gd name="connsiteY288" fmla="*/ 7287 h 10000"/>
              <a:gd name="connsiteX289" fmla="*/ 8333 w 10000"/>
              <a:gd name="connsiteY289" fmla="*/ 7132 h 10000"/>
              <a:gd name="connsiteX290" fmla="*/ 8295 w 10000"/>
              <a:gd name="connsiteY290" fmla="*/ 7132 h 10000"/>
              <a:gd name="connsiteX291" fmla="*/ 8333 w 10000"/>
              <a:gd name="connsiteY291" fmla="*/ 6900 h 10000"/>
              <a:gd name="connsiteX292" fmla="*/ 8295 w 10000"/>
              <a:gd name="connsiteY292" fmla="*/ 6900 h 10000"/>
              <a:gd name="connsiteX293" fmla="*/ 8256 w 10000"/>
              <a:gd name="connsiteY293" fmla="*/ 6900 h 10000"/>
              <a:gd name="connsiteX294" fmla="*/ 8256 w 10000"/>
              <a:gd name="connsiteY294" fmla="*/ 6822 h 10000"/>
              <a:gd name="connsiteX295" fmla="*/ 8333 w 10000"/>
              <a:gd name="connsiteY295" fmla="*/ 6590 h 10000"/>
              <a:gd name="connsiteX296" fmla="*/ 8333 w 10000"/>
              <a:gd name="connsiteY296" fmla="*/ 6434 h 10000"/>
              <a:gd name="connsiteX297" fmla="*/ 8411 w 10000"/>
              <a:gd name="connsiteY297" fmla="*/ 6434 h 10000"/>
              <a:gd name="connsiteX298" fmla="*/ 8527 w 10000"/>
              <a:gd name="connsiteY298" fmla="*/ 6279 h 10000"/>
              <a:gd name="connsiteX299" fmla="*/ 8527 w 10000"/>
              <a:gd name="connsiteY299" fmla="*/ 6434 h 10000"/>
              <a:gd name="connsiteX300" fmla="*/ 8566 w 10000"/>
              <a:gd name="connsiteY300" fmla="*/ 6356 h 10000"/>
              <a:gd name="connsiteX301" fmla="*/ 8682 w 10000"/>
              <a:gd name="connsiteY301" fmla="*/ 6279 h 10000"/>
              <a:gd name="connsiteX302" fmla="*/ 8759 w 10000"/>
              <a:gd name="connsiteY302" fmla="*/ 6434 h 10000"/>
              <a:gd name="connsiteX303" fmla="*/ 8798 w 10000"/>
              <a:gd name="connsiteY303" fmla="*/ 6279 h 10000"/>
              <a:gd name="connsiteX304" fmla="*/ 9187 w 10000"/>
              <a:gd name="connsiteY304" fmla="*/ 5737 h 10000"/>
              <a:gd name="connsiteX305" fmla="*/ 9303 w 10000"/>
              <a:gd name="connsiteY305" fmla="*/ 5814 h 10000"/>
              <a:gd name="connsiteX306" fmla="*/ 9342 w 10000"/>
              <a:gd name="connsiteY306" fmla="*/ 5737 h 10000"/>
              <a:gd name="connsiteX307" fmla="*/ 9264 w 10000"/>
              <a:gd name="connsiteY307" fmla="*/ 5271 h 10000"/>
              <a:gd name="connsiteX308" fmla="*/ 9225 w 10000"/>
              <a:gd name="connsiteY308" fmla="*/ 5271 h 10000"/>
              <a:gd name="connsiteX309" fmla="*/ 9225 w 10000"/>
              <a:gd name="connsiteY309" fmla="*/ 5116 h 10000"/>
              <a:gd name="connsiteX310" fmla="*/ 9264 w 10000"/>
              <a:gd name="connsiteY310" fmla="*/ 5116 h 10000"/>
              <a:gd name="connsiteX311" fmla="*/ 9342 w 10000"/>
              <a:gd name="connsiteY311" fmla="*/ 5039 h 10000"/>
              <a:gd name="connsiteX312" fmla="*/ 9419 w 10000"/>
              <a:gd name="connsiteY312" fmla="*/ 4884 h 10000"/>
              <a:gd name="connsiteX313" fmla="*/ 9380 w 10000"/>
              <a:gd name="connsiteY313" fmla="*/ 4729 h 10000"/>
              <a:gd name="connsiteX314" fmla="*/ 9419 w 10000"/>
              <a:gd name="connsiteY314" fmla="*/ 4652 h 10000"/>
              <a:gd name="connsiteX315" fmla="*/ 9458 w 10000"/>
              <a:gd name="connsiteY315" fmla="*/ 4884 h 10000"/>
              <a:gd name="connsiteX316" fmla="*/ 9535 w 10000"/>
              <a:gd name="connsiteY316" fmla="*/ 4884 h 10000"/>
              <a:gd name="connsiteX317" fmla="*/ 9613 w 10000"/>
              <a:gd name="connsiteY317" fmla="*/ 5039 h 10000"/>
              <a:gd name="connsiteX318" fmla="*/ 9806 w 10000"/>
              <a:gd name="connsiteY318" fmla="*/ 5271 h 10000"/>
              <a:gd name="connsiteX319" fmla="*/ 9845 w 10000"/>
              <a:gd name="connsiteY319" fmla="*/ 5039 h 10000"/>
              <a:gd name="connsiteX320" fmla="*/ 9845 w 10000"/>
              <a:gd name="connsiteY320" fmla="*/ 4884 h 10000"/>
              <a:gd name="connsiteX321" fmla="*/ 9923 w 10000"/>
              <a:gd name="connsiteY321" fmla="*/ 4884 h 10000"/>
              <a:gd name="connsiteX322" fmla="*/ 10000 w 10000"/>
              <a:gd name="connsiteY322" fmla="*/ 4729 h 10000"/>
              <a:gd name="connsiteX323" fmla="*/ 9884 w 10000"/>
              <a:gd name="connsiteY323" fmla="*/ 4496 h 10000"/>
              <a:gd name="connsiteX324" fmla="*/ 9690 w 10000"/>
              <a:gd name="connsiteY324" fmla="*/ 4418 h 10000"/>
              <a:gd name="connsiteX325" fmla="*/ 9342 w 10000"/>
              <a:gd name="connsiteY325" fmla="*/ 3799 h 10000"/>
              <a:gd name="connsiteX326" fmla="*/ 9109 w 10000"/>
              <a:gd name="connsiteY326" fmla="*/ 3488 h 10000"/>
              <a:gd name="connsiteX327" fmla="*/ 8798 w 10000"/>
              <a:gd name="connsiteY327" fmla="*/ 3411 h 10000"/>
              <a:gd name="connsiteX328" fmla="*/ 8798 w 10000"/>
              <a:gd name="connsiteY328" fmla="*/ 3799 h 10000"/>
              <a:gd name="connsiteX329" fmla="*/ 8721 w 10000"/>
              <a:gd name="connsiteY329" fmla="*/ 3876 h 10000"/>
              <a:gd name="connsiteX330" fmla="*/ 8643 w 10000"/>
              <a:gd name="connsiteY330" fmla="*/ 3721 h 10000"/>
              <a:gd name="connsiteX331" fmla="*/ 8643 w 10000"/>
              <a:gd name="connsiteY331" fmla="*/ 3566 h 10000"/>
              <a:gd name="connsiteX332" fmla="*/ 8682 w 10000"/>
              <a:gd name="connsiteY332" fmla="*/ 3566 h 10000"/>
              <a:gd name="connsiteX333" fmla="*/ 8721 w 10000"/>
              <a:gd name="connsiteY333" fmla="*/ 3488 h 10000"/>
              <a:gd name="connsiteX334" fmla="*/ 8643 w 10000"/>
              <a:gd name="connsiteY334" fmla="*/ 3488 h 10000"/>
              <a:gd name="connsiteX335" fmla="*/ 8566 w 10000"/>
              <a:gd name="connsiteY335" fmla="*/ 3644 h 10000"/>
              <a:gd name="connsiteX336" fmla="*/ 8372 w 10000"/>
              <a:gd name="connsiteY336" fmla="*/ 3566 h 10000"/>
              <a:gd name="connsiteX337" fmla="*/ 8178 w 10000"/>
              <a:gd name="connsiteY337" fmla="*/ 3566 h 10000"/>
              <a:gd name="connsiteX338" fmla="*/ 8101 w 10000"/>
              <a:gd name="connsiteY338" fmla="*/ 3488 h 10000"/>
              <a:gd name="connsiteX339" fmla="*/ 8140 w 10000"/>
              <a:gd name="connsiteY339" fmla="*/ 3333 h 10000"/>
              <a:gd name="connsiteX340" fmla="*/ 8062 w 10000"/>
              <a:gd name="connsiteY340" fmla="*/ 3101 h 10000"/>
              <a:gd name="connsiteX341" fmla="*/ 7907 w 10000"/>
              <a:gd name="connsiteY341" fmla="*/ 3023 h 10000"/>
              <a:gd name="connsiteX342" fmla="*/ 7675 w 10000"/>
              <a:gd name="connsiteY342" fmla="*/ 3178 h 10000"/>
              <a:gd name="connsiteX343" fmla="*/ 7636 w 10000"/>
              <a:gd name="connsiteY343" fmla="*/ 2946 h 10000"/>
              <a:gd name="connsiteX344" fmla="*/ 7558 w 10000"/>
              <a:gd name="connsiteY344" fmla="*/ 2946 h 10000"/>
              <a:gd name="connsiteX345" fmla="*/ 7520 w 10000"/>
              <a:gd name="connsiteY345" fmla="*/ 2868 h 10000"/>
              <a:gd name="connsiteX346" fmla="*/ 7520 w 10000"/>
              <a:gd name="connsiteY346" fmla="*/ 2636 h 10000"/>
              <a:gd name="connsiteX347" fmla="*/ 7249 w 10000"/>
              <a:gd name="connsiteY347" fmla="*/ 2480 h 10000"/>
              <a:gd name="connsiteX348" fmla="*/ 6938 w 10000"/>
              <a:gd name="connsiteY348" fmla="*/ 2325 h 10000"/>
              <a:gd name="connsiteX349" fmla="*/ 6860 w 10000"/>
              <a:gd name="connsiteY349" fmla="*/ 2636 h 10000"/>
              <a:gd name="connsiteX350" fmla="*/ 6938 w 10000"/>
              <a:gd name="connsiteY350" fmla="*/ 2868 h 10000"/>
              <a:gd name="connsiteX351" fmla="*/ 6705 w 10000"/>
              <a:gd name="connsiteY351" fmla="*/ 2868 h 10000"/>
              <a:gd name="connsiteX352" fmla="*/ 6666 w 10000"/>
              <a:gd name="connsiteY352" fmla="*/ 2868 h 10000"/>
              <a:gd name="connsiteX353" fmla="*/ 6589 w 10000"/>
              <a:gd name="connsiteY353" fmla="*/ 2946 h 10000"/>
              <a:gd name="connsiteX354" fmla="*/ 6473 w 10000"/>
              <a:gd name="connsiteY354" fmla="*/ 2714 h 10000"/>
              <a:gd name="connsiteX355" fmla="*/ 6395 w 10000"/>
              <a:gd name="connsiteY355" fmla="*/ 3178 h 10000"/>
              <a:gd name="connsiteX356" fmla="*/ 6318 w 10000"/>
              <a:gd name="connsiteY356" fmla="*/ 3101 h 10000"/>
              <a:gd name="connsiteX357" fmla="*/ 6240 w 10000"/>
              <a:gd name="connsiteY357" fmla="*/ 2791 h 10000"/>
              <a:gd name="connsiteX358" fmla="*/ 6279 w 10000"/>
              <a:gd name="connsiteY358" fmla="*/ 2403 h 10000"/>
              <a:gd name="connsiteX359" fmla="*/ 6202 w 10000"/>
              <a:gd name="connsiteY359" fmla="*/ 2170 h 10000"/>
              <a:gd name="connsiteX360" fmla="*/ 5969 w 10000"/>
              <a:gd name="connsiteY360" fmla="*/ 2016 h 10000"/>
              <a:gd name="connsiteX361" fmla="*/ 5892 w 10000"/>
              <a:gd name="connsiteY361" fmla="*/ 2016 h 10000"/>
              <a:gd name="connsiteX362" fmla="*/ 5853 w 10000"/>
              <a:gd name="connsiteY362" fmla="*/ 2170 h 10000"/>
              <a:gd name="connsiteX363" fmla="*/ 5892 w 10000"/>
              <a:gd name="connsiteY363" fmla="*/ 2325 h 10000"/>
              <a:gd name="connsiteX364" fmla="*/ 5582 w 10000"/>
              <a:gd name="connsiteY364" fmla="*/ 2248 h 10000"/>
              <a:gd name="connsiteX365" fmla="*/ 5620 w 10000"/>
              <a:gd name="connsiteY365" fmla="*/ 2016 h 10000"/>
              <a:gd name="connsiteX366" fmla="*/ 5427 w 10000"/>
              <a:gd name="connsiteY366" fmla="*/ 1938 h 10000"/>
              <a:gd name="connsiteX367" fmla="*/ 5311 w 10000"/>
              <a:gd name="connsiteY367" fmla="*/ 2093 h 10000"/>
              <a:gd name="connsiteX368" fmla="*/ 5078 w 10000"/>
              <a:gd name="connsiteY368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5737 w 10000"/>
              <a:gd name="connsiteY238" fmla="*/ 7907 h 10000"/>
              <a:gd name="connsiteX239" fmla="*/ 6938 w 10000"/>
              <a:gd name="connsiteY239" fmla="*/ 8838 h 10000"/>
              <a:gd name="connsiteX240" fmla="*/ 6938 w 10000"/>
              <a:gd name="connsiteY240" fmla="*/ 8295 h 10000"/>
              <a:gd name="connsiteX241" fmla="*/ 6976 w 10000"/>
              <a:gd name="connsiteY241" fmla="*/ 8140 h 10000"/>
              <a:gd name="connsiteX242" fmla="*/ 6976 w 10000"/>
              <a:gd name="connsiteY242" fmla="*/ 7907 h 10000"/>
              <a:gd name="connsiteX243" fmla="*/ 6899 w 10000"/>
              <a:gd name="connsiteY243" fmla="*/ 7675 h 10000"/>
              <a:gd name="connsiteX244" fmla="*/ 6860 w 10000"/>
              <a:gd name="connsiteY244" fmla="*/ 7675 h 10000"/>
              <a:gd name="connsiteX245" fmla="*/ 6821 w 10000"/>
              <a:gd name="connsiteY245" fmla="*/ 7830 h 10000"/>
              <a:gd name="connsiteX246" fmla="*/ 6744 w 10000"/>
              <a:gd name="connsiteY246" fmla="*/ 7830 h 10000"/>
              <a:gd name="connsiteX247" fmla="*/ 6783 w 10000"/>
              <a:gd name="connsiteY247" fmla="*/ 7675 h 10000"/>
              <a:gd name="connsiteX248" fmla="*/ 6744 w 10000"/>
              <a:gd name="connsiteY248" fmla="*/ 7675 h 10000"/>
              <a:gd name="connsiteX249" fmla="*/ 6705 w 10000"/>
              <a:gd name="connsiteY249" fmla="*/ 7598 h 10000"/>
              <a:gd name="connsiteX250" fmla="*/ 6628 w 10000"/>
              <a:gd name="connsiteY250" fmla="*/ 7598 h 10000"/>
              <a:gd name="connsiteX251" fmla="*/ 6628 w 10000"/>
              <a:gd name="connsiteY251" fmla="*/ 7520 h 10000"/>
              <a:gd name="connsiteX252" fmla="*/ 6744 w 10000"/>
              <a:gd name="connsiteY252" fmla="*/ 7287 h 10000"/>
              <a:gd name="connsiteX253" fmla="*/ 7094 w 10000"/>
              <a:gd name="connsiteY253" fmla="*/ 6590 h 10000"/>
              <a:gd name="connsiteX254" fmla="*/ 7249 w 10000"/>
              <a:gd name="connsiteY254" fmla="*/ 6512 h 10000"/>
              <a:gd name="connsiteX255" fmla="*/ 7287 w 10000"/>
              <a:gd name="connsiteY255" fmla="*/ 6590 h 10000"/>
              <a:gd name="connsiteX256" fmla="*/ 7326 w 10000"/>
              <a:gd name="connsiteY256" fmla="*/ 6512 h 10000"/>
              <a:gd name="connsiteX257" fmla="*/ 7442 w 10000"/>
              <a:gd name="connsiteY257" fmla="*/ 6590 h 10000"/>
              <a:gd name="connsiteX258" fmla="*/ 7481 w 10000"/>
              <a:gd name="connsiteY258" fmla="*/ 6434 h 10000"/>
              <a:gd name="connsiteX259" fmla="*/ 7597 w 10000"/>
              <a:gd name="connsiteY259" fmla="*/ 6512 h 10000"/>
              <a:gd name="connsiteX260" fmla="*/ 7636 w 10000"/>
              <a:gd name="connsiteY260" fmla="*/ 6512 h 10000"/>
              <a:gd name="connsiteX261" fmla="*/ 7597 w 10000"/>
              <a:gd name="connsiteY261" fmla="*/ 6590 h 10000"/>
              <a:gd name="connsiteX262" fmla="*/ 7597 w 10000"/>
              <a:gd name="connsiteY262" fmla="*/ 6667 h 10000"/>
              <a:gd name="connsiteX263" fmla="*/ 7830 w 10000"/>
              <a:gd name="connsiteY263" fmla="*/ 6590 h 10000"/>
              <a:gd name="connsiteX264" fmla="*/ 7791 w 10000"/>
              <a:gd name="connsiteY264" fmla="*/ 6512 h 10000"/>
              <a:gd name="connsiteX265" fmla="*/ 7946 w 10000"/>
              <a:gd name="connsiteY265" fmla="*/ 5969 h 10000"/>
              <a:gd name="connsiteX266" fmla="*/ 8140 w 10000"/>
              <a:gd name="connsiteY266" fmla="*/ 5892 h 10000"/>
              <a:gd name="connsiteX267" fmla="*/ 8140 w 10000"/>
              <a:gd name="connsiteY267" fmla="*/ 6047 h 10000"/>
              <a:gd name="connsiteX268" fmla="*/ 8140 w 10000"/>
              <a:gd name="connsiteY268" fmla="*/ 6202 h 10000"/>
              <a:gd name="connsiteX269" fmla="*/ 8333 w 10000"/>
              <a:gd name="connsiteY269" fmla="*/ 5969 h 10000"/>
              <a:gd name="connsiteX270" fmla="*/ 8333 w 10000"/>
              <a:gd name="connsiteY270" fmla="*/ 5737 h 10000"/>
              <a:gd name="connsiteX271" fmla="*/ 8411 w 10000"/>
              <a:gd name="connsiteY271" fmla="*/ 5737 h 10000"/>
              <a:gd name="connsiteX272" fmla="*/ 8372 w 10000"/>
              <a:gd name="connsiteY272" fmla="*/ 5814 h 10000"/>
              <a:gd name="connsiteX273" fmla="*/ 8333 w 10000"/>
              <a:gd name="connsiteY273" fmla="*/ 6202 h 10000"/>
              <a:gd name="connsiteX274" fmla="*/ 8256 w 10000"/>
              <a:gd name="connsiteY274" fmla="*/ 6279 h 10000"/>
              <a:gd name="connsiteX275" fmla="*/ 8023 w 10000"/>
              <a:gd name="connsiteY275" fmla="*/ 6822 h 10000"/>
              <a:gd name="connsiteX276" fmla="*/ 7946 w 10000"/>
              <a:gd name="connsiteY276" fmla="*/ 6900 h 10000"/>
              <a:gd name="connsiteX277" fmla="*/ 7868 w 10000"/>
              <a:gd name="connsiteY277" fmla="*/ 7442 h 10000"/>
              <a:gd name="connsiteX278" fmla="*/ 7946 w 10000"/>
              <a:gd name="connsiteY278" fmla="*/ 8372 h 10000"/>
              <a:gd name="connsiteX279" fmla="*/ 8023 w 10000"/>
              <a:gd name="connsiteY279" fmla="*/ 8217 h 10000"/>
              <a:gd name="connsiteX280" fmla="*/ 8101 w 10000"/>
              <a:gd name="connsiteY280" fmla="*/ 7907 h 10000"/>
              <a:gd name="connsiteX281" fmla="*/ 8140 w 10000"/>
              <a:gd name="connsiteY281" fmla="*/ 7907 h 10000"/>
              <a:gd name="connsiteX282" fmla="*/ 8140 w 10000"/>
              <a:gd name="connsiteY282" fmla="*/ 7675 h 10000"/>
              <a:gd name="connsiteX283" fmla="*/ 8178 w 10000"/>
              <a:gd name="connsiteY283" fmla="*/ 7675 h 10000"/>
              <a:gd name="connsiteX284" fmla="*/ 8256 w 10000"/>
              <a:gd name="connsiteY284" fmla="*/ 7598 h 10000"/>
              <a:gd name="connsiteX285" fmla="*/ 8217 w 10000"/>
              <a:gd name="connsiteY285" fmla="*/ 7364 h 10000"/>
              <a:gd name="connsiteX286" fmla="*/ 8295 w 10000"/>
              <a:gd name="connsiteY286" fmla="*/ 7287 h 10000"/>
              <a:gd name="connsiteX287" fmla="*/ 8333 w 10000"/>
              <a:gd name="connsiteY287" fmla="*/ 7287 h 10000"/>
              <a:gd name="connsiteX288" fmla="*/ 8333 w 10000"/>
              <a:gd name="connsiteY288" fmla="*/ 7132 h 10000"/>
              <a:gd name="connsiteX289" fmla="*/ 8295 w 10000"/>
              <a:gd name="connsiteY289" fmla="*/ 7132 h 10000"/>
              <a:gd name="connsiteX290" fmla="*/ 8333 w 10000"/>
              <a:gd name="connsiteY290" fmla="*/ 6900 h 10000"/>
              <a:gd name="connsiteX291" fmla="*/ 8295 w 10000"/>
              <a:gd name="connsiteY291" fmla="*/ 6900 h 10000"/>
              <a:gd name="connsiteX292" fmla="*/ 8256 w 10000"/>
              <a:gd name="connsiteY292" fmla="*/ 6900 h 10000"/>
              <a:gd name="connsiteX293" fmla="*/ 8256 w 10000"/>
              <a:gd name="connsiteY293" fmla="*/ 6822 h 10000"/>
              <a:gd name="connsiteX294" fmla="*/ 8333 w 10000"/>
              <a:gd name="connsiteY294" fmla="*/ 6590 h 10000"/>
              <a:gd name="connsiteX295" fmla="*/ 8333 w 10000"/>
              <a:gd name="connsiteY295" fmla="*/ 6434 h 10000"/>
              <a:gd name="connsiteX296" fmla="*/ 8411 w 10000"/>
              <a:gd name="connsiteY296" fmla="*/ 6434 h 10000"/>
              <a:gd name="connsiteX297" fmla="*/ 8527 w 10000"/>
              <a:gd name="connsiteY297" fmla="*/ 6279 h 10000"/>
              <a:gd name="connsiteX298" fmla="*/ 8527 w 10000"/>
              <a:gd name="connsiteY298" fmla="*/ 6434 h 10000"/>
              <a:gd name="connsiteX299" fmla="*/ 8566 w 10000"/>
              <a:gd name="connsiteY299" fmla="*/ 6356 h 10000"/>
              <a:gd name="connsiteX300" fmla="*/ 8682 w 10000"/>
              <a:gd name="connsiteY300" fmla="*/ 6279 h 10000"/>
              <a:gd name="connsiteX301" fmla="*/ 8759 w 10000"/>
              <a:gd name="connsiteY301" fmla="*/ 6434 h 10000"/>
              <a:gd name="connsiteX302" fmla="*/ 8798 w 10000"/>
              <a:gd name="connsiteY302" fmla="*/ 6279 h 10000"/>
              <a:gd name="connsiteX303" fmla="*/ 9187 w 10000"/>
              <a:gd name="connsiteY303" fmla="*/ 5737 h 10000"/>
              <a:gd name="connsiteX304" fmla="*/ 9303 w 10000"/>
              <a:gd name="connsiteY304" fmla="*/ 5814 h 10000"/>
              <a:gd name="connsiteX305" fmla="*/ 9342 w 10000"/>
              <a:gd name="connsiteY305" fmla="*/ 5737 h 10000"/>
              <a:gd name="connsiteX306" fmla="*/ 9264 w 10000"/>
              <a:gd name="connsiteY306" fmla="*/ 5271 h 10000"/>
              <a:gd name="connsiteX307" fmla="*/ 9225 w 10000"/>
              <a:gd name="connsiteY307" fmla="*/ 5271 h 10000"/>
              <a:gd name="connsiteX308" fmla="*/ 9225 w 10000"/>
              <a:gd name="connsiteY308" fmla="*/ 5116 h 10000"/>
              <a:gd name="connsiteX309" fmla="*/ 9264 w 10000"/>
              <a:gd name="connsiteY309" fmla="*/ 5116 h 10000"/>
              <a:gd name="connsiteX310" fmla="*/ 9342 w 10000"/>
              <a:gd name="connsiteY310" fmla="*/ 5039 h 10000"/>
              <a:gd name="connsiteX311" fmla="*/ 9419 w 10000"/>
              <a:gd name="connsiteY311" fmla="*/ 4884 h 10000"/>
              <a:gd name="connsiteX312" fmla="*/ 9380 w 10000"/>
              <a:gd name="connsiteY312" fmla="*/ 4729 h 10000"/>
              <a:gd name="connsiteX313" fmla="*/ 9419 w 10000"/>
              <a:gd name="connsiteY313" fmla="*/ 4652 h 10000"/>
              <a:gd name="connsiteX314" fmla="*/ 9458 w 10000"/>
              <a:gd name="connsiteY314" fmla="*/ 4884 h 10000"/>
              <a:gd name="connsiteX315" fmla="*/ 9535 w 10000"/>
              <a:gd name="connsiteY315" fmla="*/ 4884 h 10000"/>
              <a:gd name="connsiteX316" fmla="*/ 9613 w 10000"/>
              <a:gd name="connsiteY316" fmla="*/ 5039 h 10000"/>
              <a:gd name="connsiteX317" fmla="*/ 9806 w 10000"/>
              <a:gd name="connsiteY317" fmla="*/ 5271 h 10000"/>
              <a:gd name="connsiteX318" fmla="*/ 9845 w 10000"/>
              <a:gd name="connsiteY318" fmla="*/ 5039 h 10000"/>
              <a:gd name="connsiteX319" fmla="*/ 9845 w 10000"/>
              <a:gd name="connsiteY319" fmla="*/ 4884 h 10000"/>
              <a:gd name="connsiteX320" fmla="*/ 9923 w 10000"/>
              <a:gd name="connsiteY320" fmla="*/ 4884 h 10000"/>
              <a:gd name="connsiteX321" fmla="*/ 10000 w 10000"/>
              <a:gd name="connsiteY321" fmla="*/ 4729 h 10000"/>
              <a:gd name="connsiteX322" fmla="*/ 9884 w 10000"/>
              <a:gd name="connsiteY322" fmla="*/ 4496 h 10000"/>
              <a:gd name="connsiteX323" fmla="*/ 9690 w 10000"/>
              <a:gd name="connsiteY323" fmla="*/ 4418 h 10000"/>
              <a:gd name="connsiteX324" fmla="*/ 9342 w 10000"/>
              <a:gd name="connsiteY324" fmla="*/ 3799 h 10000"/>
              <a:gd name="connsiteX325" fmla="*/ 9109 w 10000"/>
              <a:gd name="connsiteY325" fmla="*/ 3488 h 10000"/>
              <a:gd name="connsiteX326" fmla="*/ 8798 w 10000"/>
              <a:gd name="connsiteY326" fmla="*/ 3411 h 10000"/>
              <a:gd name="connsiteX327" fmla="*/ 8798 w 10000"/>
              <a:gd name="connsiteY327" fmla="*/ 3799 h 10000"/>
              <a:gd name="connsiteX328" fmla="*/ 8721 w 10000"/>
              <a:gd name="connsiteY328" fmla="*/ 3876 h 10000"/>
              <a:gd name="connsiteX329" fmla="*/ 8643 w 10000"/>
              <a:gd name="connsiteY329" fmla="*/ 3721 h 10000"/>
              <a:gd name="connsiteX330" fmla="*/ 8643 w 10000"/>
              <a:gd name="connsiteY330" fmla="*/ 3566 h 10000"/>
              <a:gd name="connsiteX331" fmla="*/ 8682 w 10000"/>
              <a:gd name="connsiteY331" fmla="*/ 3566 h 10000"/>
              <a:gd name="connsiteX332" fmla="*/ 8721 w 10000"/>
              <a:gd name="connsiteY332" fmla="*/ 3488 h 10000"/>
              <a:gd name="connsiteX333" fmla="*/ 8643 w 10000"/>
              <a:gd name="connsiteY333" fmla="*/ 3488 h 10000"/>
              <a:gd name="connsiteX334" fmla="*/ 8566 w 10000"/>
              <a:gd name="connsiteY334" fmla="*/ 3644 h 10000"/>
              <a:gd name="connsiteX335" fmla="*/ 8372 w 10000"/>
              <a:gd name="connsiteY335" fmla="*/ 3566 h 10000"/>
              <a:gd name="connsiteX336" fmla="*/ 8178 w 10000"/>
              <a:gd name="connsiteY336" fmla="*/ 3566 h 10000"/>
              <a:gd name="connsiteX337" fmla="*/ 8101 w 10000"/>
              <a:gd name="connsiteY337" fmla="*/ 3488 h 10000"/>
              <a:gd name="connsiteX338" fmla="*/ 8140 w 10000"/>
              <a:gd name="connsiteY338" fmla="*/ 3333 h 10000"/>
              <a:gd name="connsiteX339" fmla="*/ 8062 w 10000"/>
              <a:gd name="connsiteY339" fmla="*/ 3101 h 10000"/>
              <a:gd name="connsiteX340" fmla="*/ 7907 w 10000"/>
              <a:gd name="connsiteY340" fmla="*/ 3023 h 10000"/>
              <a:gd name="connsiteX341" fmla="*/ 7675 w 10000"/>
              <a:gd name="connsiteY341" fmla="*/ 3178 h 10000"/>
              <a:gd name="connsiteX342" fmla="*/ 7636 w 10000"/>
              <a:gd name="connsiteY342" fmla="*/ 2946 h 10000"/>
              <a:gd name="connsiteX343" fmla="*/ 7558 w 10000"/>
              <a:gd name="connsiteY343" fmla="*/ 2946 h 10000"/>
              <a:gd name="connsiteX344" fmla="*/ 7520 w 10000"/>
              <a:gd name="connsiteY344" fmla="*/ 2868 h 10000"/>
              <a:gd name="connsiteX345" fmla="*/ 7520 w 10000"/>
              <a:gd name="connsiteY345" fmla="*/ 2636 h 10000"/>
              <a:gd name="connsiteX346" fmla="*/ 7249 w 10000"/>
              <a:gd name="connsiteY346" fmla="*/ 2480 h 10000"/>
              <a:gd name="connsiteX347" fmla="*/ 6938 w 10000"/>
              <a:gd name="connsiteY347" fmla="*/ 2325 h 10000"/>
              <a:gd name="connsiteX348" fmla="*/ 6860 w 10000"/>
              <a:gd name="connsiteY348" fmla="*/ 2636 h 10000"/>
              <a:gd name="connsiteX349" fmla="*/ 6938 w 10000"/>
              <a:gd name="connsiteY349" fmla="*/ 2868 h 10000"/>
              <a:gd name="connsiteX350" fmla="*/ 6705 w 10000"/>
              <a:gd name="connsiteY350" fmla="*/ 2868 h 10000"/>
              <a:gd name="connsiteX351" fmla="*/ 6666 w 10000"/>
              <a:gd name="connsiteY351" fmla="*/ 2868 h 10000"/>
              <a:gd name="connsiteX352" fmla="*/ 6589 w 10000"/>
              <a:gd name="connsiteY352" fmla="*/ 2946 h 10000"/>
              <a:gd name="connsiteX353" fmla="*/ 6473 w 10000"/>
              <a:gd name="connsiteY353" fmla="*/ 2714 h 10000"/>
              <a:gd name="connsiteX354" fmla="*/ 6395 w 10000"/>
              <a:gd name="connsiteY354" fmla="*/ 3178 h 10000"/>
              <a:gd name="connsiteX355" fmla="*/ 6318 w 10000"/>
              <a:gd name="connsiteY355" fmla="*/ 3101 h 10000"/>
              <a:gd name="connsiteX356" fmla="*/ 6240 w 10000"/>
              <a:gd name="connsiteY356" fmla="*/ 2791 h 10000"/>
              <a:gd name="connsiteX357" fmla="*/ 6279 w 10000"/>
              <a:gd name="connsiteY357" fmla="*/ 2403 h 10000"/>
              <a:gd name="connsiteX358" fmla="*/ 6202 w 10000"/>
              <a:gd name="connsiteY358" fmla="*/ 2170 h 10000"/>
              <a:gd name="connsiteX359" fmla="*/ 5969 w 10000"/>
              <a:gd name="connsiteY359" fmla="*/ 2016 h 10000"/>
              <a:gd name="connsiteX360" fmla="*/ 5892 w 10000"/>
              <a:gd name="connsiteY360" fmla="*/ 2016 h 10000"/>
              <a:gd name="connsiteX361" fmla="*/ 5853 w 10000"/>
              <a:gd name="connsiteY361" fmla="*/ 2170 h 10000"/>
              <a:gd name="connsiteX362" fmla="*/ 5892 w 10000"/>
              <a:gd name="connsiteY362" fmla="*/ 2325 h 10000"/>
              <a:gd name="connsiteX363" fmla="*/ 5582 w 10000"/>
              <a:gd name="connsiteY363" fmla="*/ 2248 h 10000"/>
              <a:gd name="connsiteX364" fmla="*/ 5620 w 10000"/>
              <a:gd name="connsiteY364" fmla="*/ 2016 h 10000"/>
              <a:gd name="connsiteX365" fmla="*/ 5427 w 10000"/>
              <a:gd name="connsiteY365" fmla="*/ 1938 h 10000"/>
              <a:gd name="connsiteX366" fmla="*/ 5311 w 10000"/>
              <a:gd name="connsiteY366" fmla="*/ 2093 h 10000"/>
              <a:gd name="connsiteX367" fmla="*/ 5078 w 10000"/>
              <a:gd name="connsiteY367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5698 w 10000"/>
              <a:gd name="connsiteY237" fmla="*/ 8062 h 10000"/>
              <a:gd name="connsiteX238" fmla="*/ 6938 w 10000"/>
              <a:gd name="connsiteY238" fmla="*/ 8838 h 10000"/>
              <a:gd name="connsiteX239" fmla="*/ 6938 w 10000"/>
              <a:gd name="connsiteY239" fmla="*/ 8295 h 10000"/>
              <a:gd name="connsiteX240" fmla="*/ 6976 w 10000"/>
              <a:gd name="connsiteY240" fmla="*/ 8140 h 10000"/>
              <a:gd name="connsiteX241" fmla="*/ 6976 w 10000"/>
              <a:gd name="connsiteY241" fmla="*/ 7907 h 10000"/>
              <a:gd name="connsiteX242" fmla="*/ 6899 w 10000"/>
              <a:gd name="connsiteY242" fmla="*/ 7675 h 10000"/>
              <a:gd name="connsiteX243" fmla="*/ 6860 w 10000"/>
              <a:gd name="connsiteY243" fmla="*/ 7675 h 10000"/>
              <a:gd name="connsiteX244" fmla="*/ 6821 w 10000"/>
              <a:gd name="connsiteY244" fmla="*/ 7830 h 10000"/>
              <a:gd name="connsiteX245" fmla="*/ 6744 w 10000"/>
              <a:gd name="connsiteY245" fmla="*/ 7830 h 10000"/>
              <a:gd name="connsiteX246" fmla="*/ 6783 w 10000"/>
              <a:gd name="connsiteY246" fmla="*/ 7675 h 10000"/>
              <a:gd name="connsiteX247" fmla="*/ 6744 w 10000"/>
              <a:gd name="connsiteY247" fmla="*/ 7675 h 10000"/>
              <a:gd name="connsiteX248" fmla="*/ 6705 w 10000"/>
              <a:gd name="connsiteY248" fmla="*/ 7598 h 10000"/>
              <a:gd name="connsiteX249" fmla="*/ 6628 w 10000"/>
              <a:gd name="connsiteY249" fmla="*/ 7598 h 10000"/>
              <a:gd name="connsiteX250" fmla="*/ 6628 w 10000"/>
              <a:gd name="connsiteY250" fmla="*/ 7520 h 10000"/>
              <a:gd name="connsiteX251" fmla="*/ 6744 w 10000"/>
              <a:gd name="connsiteY251" fmla="*/ 7287 h 10000"/>
              <a:gd name="connsiteX252" fmla="*/ 7094 w 10000"/>
              <a:gd name="connsiteY252" fmla="*/ 6590 h 10000"/>
              <a:gd name="connsiteX253" fmla="*/ 7249 w 10000"/>
              <a:gd name="connsiteY253" fmla="*/ 6512 h 10000"/>
              <a:gd name="connsiteX254" fmla="*/ 7287 w 10000"/>
              <a:gd name="connsiteY254" fmla="*/ 6590 h 10000"/>
              <a:gd name="connsiteX255" fmla="*/ 7326 w 10000"/>
              <a:gd name="connsiteY255" fmla="*/ 6512 h 10000"/>
              <a:gd name="connsiteX256" fmla="*/ 7442 w 10000"/>
              <a:gd name="connsiteY256" fmla="*/ 6590 h 10000"/>
              <a:gd name="connsiteX257" fmla="*/ 7481 w 10000"/>
              <a:gd name="connsiteY257" fmla="*/ 6434 h 10000"/>
              <a:gd name="connsiteX258" fmla="*/ 7597 w 10000"/>
              <a:gd name="connsiteY258" fmla="*/ 6512 h 10000"/>
              <a:gd name="connsiteX259" fmla="*/ 7636 w 10000"/>
              <a:gd name="connsiteY259" fmla="*/ 6512 h 10000"/>
              <a:gd name="connsiteX260" fmla="*/ 7597 w 10000"/>
              <a:gd name="connsiteY260" fmla="*/ 6590 h 10000"/>
              <a:gd name="connsiteX261" fmla="*/ 7597 w 10000"/>
              <a:gd name="connsiteY261" fmla="*/ 6667 h 10000"/>
              <a:gd name="connsiteX262" fmla="*/ 7830 w 10000"/>
              <a:gd name="connsiteY262" fmla="*/ 6590 h 10000"/>
              <a:gd name="connsiteX263" fmla="*/ 7791 w 10000"/>
              <a:gd name="connsiteY263" fmla="*/ 6512 h 10000"/>
              <a:gd name="connsiteX264" fmla="*/ 7946 w 10000"/>
              <a:gd name="connsiteY264" fmla="*/ 5969 h 10000"/>
              <a:gd name="connsiteX265" fmla="*/ 8140 w 10000"/>
              <a:gd name="connsiteY265" fmla="*/ 5892 h 10000"/>
              <a:gd name="connsiteX266" fmla="*/ 8140 w 10000"/>
              <a:gd name="connsiteY266" fmla="*/ 6047 h 10000"/>
              <a:gd name="connsiteX267" fmla="*/ 8140 w 10000"/>
              <a:gd name="connsiteY267" fmla="*/ 6202 h 10000"/>
              <a:gd name="connsiteX268" fmla="*/ 8333 w 10000"/>
              <a:gd name="connsiteY268" fmla="*/ 5969 h 10000"/>
              <a:gd name="connsiteX269" fmla="*/ 8333 w 10000"/>
              <a:gd name="connsiteY269" fmla="*/ 5737 h 10000"/>
              <a:gd name="connsiteX270" fmla="*/ 8411 w 10000"/>
              <a:gd name="connsiteY270" fmla="*/ 5737 h 10000"/>
              <a:gd name="connsiteX271" fmla="*/ 8372 w 10000"/>
              <a:gd name="connsiteY271" fmla="*/ 5814 h 10000"/>
              <a:gd name="connsiteX272" fmla="*/ 8333 w 10000"/>
              <a:gd name="connsiteY272" fmla="*/ 6202 h 10000"/>
              <a:gd name="connsiteX273" fmla="*/ 8256 w 10000"/>
              <a:gd name="connsiteY273" fmla="*/ 6279 h 10000"/>
              <a:gd name="connsiteX274" fmla="*/ 8023 w 10000"/>
              <a:gd name="connsiteY274" fmla="*/ 6822 h 10000"/>
              <a:gd name="connsiteX275" fmla="*/ 7946 w 10000"/>
              <a:gd name="connsiteY275" fmla="*/ 6900 h 10000"/>
              <a:gd name="connsiteX276" fmla="*/ 7868 w 10000"/>
              <a:gd name="connsiteY276" fmla="*/ 7442 h 10000"/>
              <a:gd name="connsiteX277" fmla="*/ 7946 w 10000"/>
              <a:gd name="connsiteY277" fmla="*/ 8372 h 10000"/>
              <a:gd name="connsiteX278" fmla="*/ 8023 w 10000"/>
              <a:gd name="connsiteY278" fmla="*/ 8217 h 10000"/>
              <a:gd name="connsiteX279" fmla="*/ 8101 w 10000"/>
              <a:gd name="connsiteY279" fmla="*/ 7907 h 10000"/>
              <a:gd name="connsiteX280" fmla="*/ 8140 w 10000"/>
              <a:gd name="connsiteY280" fmla="*/ 7907 h 10000"/>
              <a:gd name="connsiteX281" fmla="*/ 8140 w 10000"/>
              <a:gd name="connsiteY281" fmla="*/ 7675 h 10000"/>
              <a:gd name="connsiteX282" fmla="*/ 8178 w 10000"/>
              <a:gd name="connsiteY282" fmla="*/ 7675 h 10000"/>
              <a:gd name="connsiteX283" fmla="*/ 8256 w 10000"/>
              <a:gd name="connsiteY283" fmla="*/ 7598 h 10000"/>
              <a:gd name="connsiteX284" fmla="*/ 8217 w 10000"/>
              <a:gd name="connsiteY284" fmla="*/ 7364 h 10000"/>
              <a:gd name="connsiteX285" fmla="*/ 8295 w 10000"/>
              <a:gd name="connsiteY285" fmla="*/ 7287 h 10000"/>
              <a:gd name="connsiteX286" fmla="*/ 8333 w 10000"/>
              <a:gd name="connsiteY286" fmla="*/ 7287 h 10000"/>
              <a:gd name="connsiteX287" fmla="*/ 8333 w 10000"/>
              <a:gd name="connsiteY287" fmla="*/ 7132 h 10000"/>
              <a:gd name="connsiteX288" fmla="*/ 8295 w 10000"/>
              <a:gd name="connsiteY288" fmla="*/ 7132 h 10000"/>
              <a:gd name="connsiteX289" fmla="*/ 8333 w 10000"/>
              <a:gd name="connsiteY289" fmla="*/ 6900 h 10000"/>
              <a:gd name="connsiteX290" fmla="*/ 8295 w 10000"/>
              <a:gd name="connsiteY290" fmla="*/ 6900 h 10000"/>
              <a:gd name="connsiteX291" fmla="*/ 8256 w 10000"/>
              <a:gd name="connsiteY291" fmla="*/ 6900 h 10000"/>
              <a:gd name="connsiteX292" fmla="*/ 8256 w 10000"/>
              <a:gd name="connsiteY292" fmla="*/ 6822 h 10000"/>
              <a:gd name="connsiteX293" fmla="*/ 8333 w 10000"/>
              <a:gd name="connsiteY293" fmla="*/ 6590 h 10000"/>
              <a:gd name="connsiteX294" fmla="*/ 8333 w 10000"/>
              <a:gd name="connsiteY294" fmla="*/ 6434 h 10000"/>
              <a:gd name="connsiteX295" fmla="*/ 8411 w 10000"/>
              <a:gd name="connsiteY295" fmla="*/ 6434 h 10000"/>
              <a:gd name="connsiteX296" fmla="*/ 8527 w 10000"/>
              <a:gd name="connsiteY296" fmla="*/ 6279 h 10000"/>
              <a:gd name="connsiteX297" fmla="*/ 8527 w 10000"/>
              <a:gd name="connsiteY297" fmla="*/ 6434 h 10000"/>
              <a:gd name="connsiteX298" fmla="*/ 8566 w 10000"/>
              <a:gd name="connsiteY298" fmla="*/ 6356 h 10000"/>
              <a:gd name="connsiteX299" fmla="*/ 8682 w 10000"/>
              <a:gd name="connsiteY299" fmla="*/ 6279 h 10000"/>
              <a:gd name="connsiteX300" fmla="*/ 8759 w 10000"/>
              <a:gd name="connsiteY300" fmla="*/ 6434 h 10000"/>
              <a:gd name="connsiteX301" fmla="*/ 8798 w 10000"/>
              <a:gd name="connsiteY301" fmla="*/ 6279 h 10000"/>
              <a:gd name="connsiteX302" fmla="*/ 9187 w 10000"/>
              <a:gd name="connsiteY302" fmla="*/ 5737 h 10000"/>
              <a:gd name="connsiteX303" fmla="*/ 9303 w 10000"/>
              <a:gd name="connsiteY303" fmla="*/ 5814 h 10000"/>
              <a:gd name="connsiteX304" fmla="*/ 9342 w 10000"/>
              <a:gd name="connsiteY304" fmla="*/ 5737 h 10000"/>
              <a:gd name="connsiteX305" fmla="*/ 9264 w 10000"/>
              <a:gd name="connsiteY305" fmla="*/ 5271 h 10000"/>
              <a:gd name="connsiteX306" fmla="*/ 9225 w 10000"/>
              <a:gd name="connsiteY306" fmla="*/ 5271 h 10000"/>
              <a:gd name="connsiteX307" fmla="*/ 9225 w 10000"/>
              <a:gd name="connsiteY307" fmla="*/ 5116 h 10000"/>
              <a:gd name="connsiteX308" fmla="*/ 9264 w 10000"/>
              <a:gd name="connsiteY308" fmla="*/ 5116 h 10000"/>
              <a:gd name="connsiteX309" fmla="*/ 9342 w 10000"/>
              <a:gd name="connsiteY309" fmla="*/ 5039 h 10000"/>
              <a:gd name="connsiteX310" fmla="*/ 9419 w 10000"/>
              <a:gd name="connsiteY310" fmla="*/ 4884 h 10000"/>
              <a:gd name="connsiteX311" fmla="*/ 9380 w 10000"/>
              <a:gd name="connsiteY311" fmla="*/ 4729 h 10000"/>
              <a:gd name="connsiteX312" fmla="*/ 9419 w 10000"/>
              <a:gd name="connsiteY312" fmla="*/ 4652 h 10000"/>
              <a:gd name="connsiteX313" fmla="*/ 9458 w 10000"/>
              <a:gd name="connsiteY313" fmla="*/ 4884 h 10000"/>
              <a:gd name="connsiteX314" fmla="*/ 9535 w 10000"/>
              <a:gd name="connsiteY314" fmla="*/ 4884 h 10000"/>
              <a:gd name="connsiteX315" fmla="*/ 9613 w 10000"/>
              <a:gd name="connsiteY315" fmla="*/ 5039 h 10000"/>
              <a:gd name="connsiteX316" fmla="*/ 9806 w 10000"/>
              <a:gd name="connsiteY316" fmla="*/ 5271 h 10000"/>
              <a:gd name="connsiteX317" fmla="*/ 9845 w 10000"/>
              <a:gd name="connsiteY317" fmla="*/ 5039 h 10000"/>
              <a:gd name="connsiteX318" fmla="*/ 9845 w 10000"/>
              <a:gd name="connsiteY318" fmla="*/ 4884 h 10000"/>
              <a:gd name="connsiteX319" fmla="*/ 9923 w 10000"/>
              <a:gd name="connsiteY319" fmla="*/ 4884 h 10000"/>
              <a:gd name="connsiteX320" fmla="*/ 10000 w 10000"/>
              <a:gd name="connsiteY320" fmla="*/ 4729 h 10000"/>
              <a:gd name="connsiteX321" fmla="*/ 9884 w 10000"/>
              <a:gd name="connsiteY321" fmla="*/ 4496 h 10000"/>
              <a:gd name="connsiteX322" fmla="*/ 9690 w 10000"/>
              <a:gd name="connsiteY322" fmla="*/ 4418 h 10000"/>
              <a:gd name="connsiteX323" fmla="*/ 9342 w 10000"/>
              <a:gd name="connsiteY323" fmla="*/ 3799 h 10000"/>
              <a:gd name="connsiteX324" fmla="*/ 9109 w 10000"/>
              <a:gd name="connsiteY324" fmla="*/ 3488 h 10000"/>
              <a:gd name="connsiteX325" fmla="*/ 8798 w 10000"/>
              <a:gd name="connsiteY325" fmla="*/ 3411 h 10000"/>
              <a:gd name="connsiteX326" fmla="*/ 8798 w 10000"/>
              <a:gd name="connsiteY326" fmla="*/ 3799 h 10000"/>
              <a:gd name="connsiteX327" fmla="*/ 8721 w 10000"/>
              <a:gd name="connsiteY327" fmla="*/ 3876 h 10000"/>
              <a:gd name="connsiteX328" fmla="*/ 8643 w 10000"/>
              <a:gd name="connsiteY328" fmla="*/ 3721 h 10000"/>
              <a:gd name="connsiteX329" fmla="*/ 8643 w 10000"/>
              <a:gd name="connsiteY329" fmla="*/ 3566 h 10000"/>
              <a:gd name="connsiteX330" fmla="*/ 8682 w 10000"/>
              <a:gd name="connsiteY330" fmla="*/ 3566 h 10000"/>
              <a:gd name="connsiteX331" fmla="*/ 8721 w 10000"/>
              <a:gd name="connsiteY331" fmla="*/ 3488 h 10000"/>
              <a:gd name="connsiteX332" fmla="*/ 8643 w 10000"/>
              <a:gd name="connsiteY332" fmla="*/ 3488 h 10000"/>
              <a:gd name="connsiteX333" fmla="*/ 8566 w 10000"/>
              <a:gd name="connsiteY333" fmla="*/ 3644 h 10000"/>
              <a:gd name="connsiteX334" fmla="*/ 8372 w 10000"/>
              <a:gd name="connsiteY334" fmla="*/ 3566 h 10000"/>
              <a:gd name="connsiteX335" fmla="*/ 8178 w 10000"/>
              <a:gd name="connsiteY335" fmla="*/ 3566 h 10000"/>
              <a:gd name="connsiteX336" fmla="*/ 8101 w 10000"/>
              <a:gd name="connsiteY336" fmla="*/ 3488 h 10000"/>
              <a:gd name="connsiteX337" fmla="*/ 8140 w 10000"/>
              <a:gd name="connsiteY337" fmla="*/ 3333 h 10000"/>
              <a:gd name="connsiteX338" fmla="*/ 8062 w 10000"/>
              <a:gd name="connsiteY338" fmla="*/ 3101 h 10000"/>
              <a:gd name="connsiteX339" fmla="*/ 7907 w 10000"/>
              <a:gd name="connsiteY339" fmla="*/ 3023 h 10000"/>
              <a:gd name="connsiteX340" fmla="*/ 7675 w 10000"/>
              <a:gd name="connsiteY340" fmla="*/ 3178 h 10000"/>
              <a:gd name="connsiteX341" fmla="*/ 7636 w 10000"/>
              <a:gd name="connsiteY341" fmla="*/ 2946 h 10000"/>
              <a:gd name="connsiteX342" fmla="*/ 7558 w 10000"/>
              <a:gd name="connsiteY342" fmla="*/ 2946 h 10000"/>
              <a:gd name="connsiteX343" fmla="*/ 7520 w 10000"/>
              <a:gd name="connsiteY343" fmla="*/ 2868 h 10000"/>
              <a:gd name="connsiteX344" fmla="*/ 7520 w 10000"/>
              <a:gd name="connsiteY344" fmla="*/ 2636 h 10000"/>
              <a:gd name="connsiteX345" fmla="*/ 7249 w 10000"/>
              <a:gd name="connsiteY345" fmla="*/ 2480 h 10000"/>
              <a:gd name="connsiteX346" fmla="*/ 6938 w 10000"/>
              <a:gd name="connsiteY346" fmla="*/ 2325 h 10000"/>
              <a:gd name="connsiteX347" fmla="*/ 6860 w 10000"/>
              <a:gd name="connsiteY347" fmla="*/ 2636 h 10000"/>
              <a:gd name="connsiteX348" fmla="*/ 6938 w 10000"/>
              <a:gd name="connsiteY348" fmla="*/ 2868 h 10000"/>
              <a:gd name="connsiteX349" fmla="*/ 6705 w 10000"/>
              <a:gd name="connsiteY349" fmla="*/ 2868 h 10000"/>
              <a:gd name="connsiteX350" fmla="*/ 6666 w 10000"/>
              <a:gd name="connsiteY350" fmla="*/ 2868 h 10000"/>
              <a:gd name="connsiteX351" fmla="*/ 6589 w 10000"/>
              <a:gd name="connsiteY351" fmla="*/ 2946 h 10000"/>
              <a:gd name="connsiteX352" fmla="*/ 6473 w 10000"/>
              <a:gd name="connsiteY352" fmla="*/ 2714 h 10000"/>
              <a:gd name="connsiteX353" fmla="*/ 6395 w 10000"/>
              <a:gd name="connsiteY353" fmla="*/ 3178 h 10000"/>
              <a:gd name="connsiteX354" fmla="*/ 6318 w 10000"/>
              <a:gd name="connsiteY354" fmla="*/ 3101 h 10000"/>
              <a:gd name="connsiteX355" fmla="*/ 6240 w 10000"/>
              <a:gd name="connsiteY355" fmla="*/ 2791 h 10000"/>
              <a:gd name="connsiteX356" fmla="*/ 6279 w 10000"/>
              <a:gd name="connsiteY356" fmla="*/ 2403 h 10000"/>
              <a:gd name="connsiteX357" fmla="*/ 6202 w 10000"/>
              <a:gd name="connsiteY357" fmla="*/ 2170 h 10000"/>
              <a:gd name="connsiteX358" fmla="*/ 5969 w 10000"/>
              <a:gd name="connsiteY358" fmla="*/ 2016 h 10000"/>
              <a:gd name="connsiteX359" fmla="*/ 5892 w 10000"/>
              <a:gd name="connsiteY359" fmla="*/ 2016 h 10000"/>
              <a:gd name="connsiteX360" fmla="*/ 5853 w 10000"/>
              <a:gd name="connsiteY360" fmla="*/ 2170 h 10000"/>
              <a:gd name="connsiteX361" fmla="*/ 5892 w 10000"/>
              <a:gd name="connsiteY361" fmla="*/ 2325 h 10000"/>
              <a:gd name="connsiteX362" fmla="*/ 5582 w 10000"/>
              <a:gd name="connsiteY362" fmla="*/ 2248 h 10000"/>
              <a:gd name="connsiteX363" fmla="*/ 5620 w 10000"/>
              <a:gd name="connsiteY363" fmla="*/ 2016 h 10000"/>
              <a:gd name="connsiteX364" fmla="*/ 5427 w 10000"/>
              <a:gd name="connsiteY364" fmla="*/ 1938 h 10000"/>
              <a:gd name="connsiteX365" fmla="*/ 5311 w 10000"/>
              <a:gd name="connsiteY365" fmla="*/ 2093 h 10000"/>
              <a:gd name="connsiteX366" fmla="*/ 5078 w 10000"/>
              <a:gd name="connsiteY366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5737 w 10000"/>
              <a:gd name="connsiteY236" fmla="*/ 8062 h 10000"/>
              <a:gd name="connsiteX237" fmla="*/ 6938 w 10000"/>
              <a:gd name="connsiteY237" fmla="*/ 8838 h 10000"/>
              <a:gd name="connsiteX238" fmla="*/ 6938 w 10000"/>
              <a:gd name="connsiteY238" fmla="*/ 8295 h 10000"/>
              <a:gd name="connsiteX239" fmla="*/ 6976 w 10000"/>
              <a:gd name="connsiteY239" fmla="*/ 8140 h 10000"/>
              <a:gd name="connsiteX240" fmla="*/ 6976 w 10000"/>
              <a:gd name="connsiteY240" fmla="*/ 7907 h 10000"/>
              <a:gd name="connsiteX241" fmla="*/ 6899 w 10000"/>
              <a:gd name="connsiteY241" fmla="*/ 7675 h 10000"/>
              <a:gd name="connsiteX242" fmla="*/ 6860 w 10000"/>
              <a:gd name="connsiteY242" fmla="*/ 7675 h 10000"/>
              <a:gd name="connsiteX243" fmla="*/ 6821 w 10000"/>
              <a:gd name="connsiteY243" fmla="*/ 7830 h 10000"/>
              <a:gd name="connsiteX244" fmla="*/ 6744 w 10000"/>
              <a:gd name="connsiteY244" fmla="*/ 7830 h 10000"/>
              <a:gd name="connsiteX245" fmla="*/ 6783 w 10000"/>
              <a:gd name="connsiteY245" fmla="*/ 7675 h 10000"/>
              <a:gd name="connsiteX246" fmla="*/ 6744 w 10000"/>
              <a:gd name="connsiteY246" fmla="*/ 7675 h 10000"/>
              <a:gd name="connsiteX247" fmla="*/ 6705 w 10000"/>
              <a:gd name="connsiteY247" fmla="*/ 7598 h 10000"/>
              <a:gd name="connsiteX248" fmla="*/ 6628 w 10000"/>
              <a:gd name="connsiteY248" fmla="*/ 7598 h 10000"/>
              <a:gd name="connsiteX249" fmla="*/ 6628 w 10000"/>
              <a:gd name="connsiteY249" fmla="*/ 7520 h 10000"/>
              <a:gd name="connsiteX250" fmla="*/ 6744 w 10000"/>
              <a:gd name="connsiteY250" fmla="*/ 7287 h 10000"/>
              <a:gd name="connsiteX251" fmla="*/ 7094 w 10000"/>
              <a:gd name="connsiteY251" fmla="*/ 6590 h 10000"/>
              <a:gd name="connsiteX252" fmla="*/ 7249 w 10000"/>
              <a:gd name="connsiteY252" fmla="*/ 6512 h 10000"/>
              <a:gd name="connsiteX253" fmla="*/ 7287 w 10000"/>
              <a:gd name="connsiteY253" fmla="*/ 6590 h 10000"/>
              <a:gd name="connsiteX254" fmla="*/ 7326 w 10000"/>
              <a:gd name="connsiteY254" fmla="*/ 6512 h 10000"/>
              <a:gd name="connsiteX255" fmla="*/ 7442 w 10000"/>
              <a:gd name="connsiteY255" fmla="*/ 6590 h 10000"/>
              <a:gd name="connsiteX256" fmla="*/ 7481 w 10000"/>
              <a:gd name="connsiteY256" fmla="*/ 6434 h 10000"/>
              <a:gd name="connsiteX257" fmla="*/ 7597 w 10000"/>
              <a:gd name="connsiteY257" fmla="*/ 6512 h 10000"/>
              <a:gd name="connsiteX258" fmla="*/ 7636 w 10000"/>
              <a:gd name="connsiteY258" fmla="*/ 6512 h 10000"/>
              <a:gd name="connsiteX259" fmla="*/ 7597 w 10000"/>
              <a:gd name="connsiteY259" fmla="*/ 6590 h 10000"/>
              <a:gd name="connsiteX260" fmla="*/ 7597 w 10000"/>
              <a:gd name="connsiteY260" fmla="*/ 6667 h 10000"/>
              <a:gd name="connsiteX261" fmla="*/ 7830 w 10000"/>
              <a:gd name="connsiteY261" fmla="*/ 6590 h 10000"/>
              <a:gd name="connsiteX262" fmla="*/ 7791 w 10000"/>
              <a:gd name="connsiteY262" fmla="*/ 6512 h 10000"/>
              <a:gd name="connsiteX263" fmla="*/ 7946 w 10000"/>
              <a:gd name="connsiteY263" fmla="*/ 5969 h 10000"/>
              <a:gd name="connsiteX264" fmla="*/ 8140 w 10000"/>
              <a:gd name="connsiteY264" fmla="*/ 5892 h 10000"/>
              <a:gd name="connsiteX265" fmla="*/ 8140 w 10000"/>
              <a:gd name="connsiteY265" fmla="*/ 6047 h 10000"/>
              <a:gd name="connsiteX266" fmla="*/ 8140 w 10000"/>
              <a:gd name="connsiteY266" fmla="*/ 6202 h 10000"/>
              <a:gd name="connsiteX267" fmla="*/ 8333 w 10000"/>
              <a:gd name="connsiteY267" fmla="*/ 5969 h 10000"/>
              <a:gd name="connsiteX268" fmla="*/ 8333 w 10000"/>
              <a:gd name="connsiteY268" fmla="*/ 5737 h 10000"/>
              <a:gd name="connsiteX269" fmla="*/ 8411 w 10000"/>
              <a:gd name="connsiteY269" fmla="*/ 5737 h 10000"/>
              <a:gd name="connsiteX270" fmla="*/ 8372 w 10000"/>
              <a:gd name="connsiteY270" fmla="*/ 5814 h 10000"/>
              <a:gd name="connsiteX271" fmla="*/ 8333 w 10000"/>
              <a:gd name="connsiteY271" fmla="*/ 6202 h 10000"/>
              <a:gd name="connsiteX272" fmla="*/ 8256 w 10000"/>
              <a:gd name="connsiteY272" fmla="*/ 6279 h 10000"/>
              <a:gd name="connsiteX273" fmla="*/ 8023 w 10000"/>
              <a:gd name="connsiteY273" fmla="*/ 6822 h 10000"/>
              <a:gd name="connsiteX274" fmla="*/ 7946 w 10000"/>
              <a:gd name="connsiteY274" fmla="*/ 6900 h 10000"/>
              <a:gd name="connsiteX275" fmla="*/ 7868 w 10000"/>
              <a:gd name="connsiteY275" fmla="*/ 7442 h 10000"/>
              <a:gd name="connsiteX276" fmla="*/ 7946 w 10000"/>
              <a:gd name="connsiteY276" fmla="*/ 8372 h 10000"/>
              <a:gd name="connsiteX277" fmla="*/ 8023 w 10000"/>
              <a:gd name="connsiteY277" fmla="*/ 8217 h 10000"/>
              <a:gd name="connsiteX278" fmla="*/ 8101 w 10000"/>
              <a:gd name="connsiteY278" fmla="*/ 7907 h 10000"/>
              <a:gd name="connsiteX279" fmla="*/ 8140 w 10000"/>
              <a:gd name="connsiteY279" fmla="*/ 7907 h 10000"/>
              <a:gd name="connsiteX280" fmla="*/ 8140 w 10000"/>
              <a:gd name="connsiteY280" fmla="*/ 7675 h 10000"/>
              <a:gd name="connsiteX281" fmla="*/ 8178 w 10000"/>
              <a:gd name="connsiteY281" fmla="*/ 7675 h 10000"/>
              <a:gd name="connsiteX282" fmla="*/ 8256 w 10000"/>
              <a:gd name="connsiteY282" fmla="*/ 7598 h 10000"/>
              <a:gd name="connsiteX283" fmla="*/ 8217 w 10000"/>
              <a:gd name="connsiteY283" fmla="*/ 7364 h 10000"/>
              <a:gd name="connsiteX284" fmla="*/ 8295 w 10000"/>
              <a:gd name="connsiteY284" fmla="*/ 7287 h 10000"/>
              <a:gd name="connsiteX285" fmla="*/ 8333 w 10000"/>
              <a:gd name="connsiteY285" fmla="*/ 7287 h 10000"/>
              <a:gd name="connsiteX286" fmla="*/ 8333 w 10000"/>
              <a:gd name="connsiteY286" fmla="*/ 7132 h 10000"/>
              <a:gd name="connsiteX287" fmla="*/ 8295 w 10000"/>
              <a:gd name="connsiteY287" fmla="*/ 7132 h 10000"/>
              <a:gd name="connsiteX288" fmla="*/ 8333 w 10000"/>
              <a:gd name="connsiteY288" fmla="*/ 6900 h 10000"/>
              <a:gd name="connsiteX289" fmla="*/ 8295 w 10000"/>
              <a:gd name="connsiteY289" fmla="*/ 6900 h 10000"/>
              <a:gd name="connsiteX290" fmla="*/ 8256 w 10000"/>
              <a:gd name="connsiteY290" fmla="*/ 6900 h 10000"/>
              <a:gd name="connsiteX291" fmla="*/ 8256 w 10000"/>
              <a:gd name="connsiteY291" fmla="*/ 6822 h 10000"/>
              <a:gd name="connsiteX292" fmla="*/ 8333 w 10000"/>
              <a:gd name="connsiteY292" fmla="*/ 6590 h 10000"/>
              <a:gd name="connsiteX293" fmla="*/ 8333 w 10000"/>
              <a:gd name="connsiteY293" fmla="*/ 6434 h 10000"/>
              <a:gd name="connsiteX294" fmla="*/ 8411 w 10000"/>
              <a:gd name="connsiteY294" fmla="*/ 6434 h 10000"/>
              <a:gd name="connsiteX295" fmla="*/ 8527 w 10000"/>
              <a:gd name="connsiteY295" fmla="*/ 6279 h 10000"/>
              <a:gd name="connsiteX296" fmla="*/ 8527 w 10000"/>
              <a:gd name="connsiteY296" fmla="*/ 6434 h 10000"/>
              <a:gd name="connsiteX297" fmla="*/ 8566 w 10000"/>
              <a:gd name="connsiteY297" fmla="*/ 6356 h 10000"/>
              <a:gd name="connsiteX298" fmla="*/ 8682 w 10000"/>
              <a:gd name="connsiteY298" fmla="*/ 6279 h 10000"/>
              <a:gd name="connsiteX299" fmla="*/ 8759 w 10000"/>
              <a:gd name="connsiteY299" fmla="*/ 6434 h 10000"/>
              <a:gd name="connsiteX300" fmla="*/ 8798 w 10000"/>
              <a:gd name="connsiteY300" fmla="*/ 6279 h 10000"/>
              <a:gd name="connsiteX301" fmla="*/ 9187 w 10000"/>
              <a:gd name="connsiteY301" fmla="*/ 5737 h 10000"/>
              <a:gd name="connsiteX302" fmla="*/ 9303 w 10000"/>
              <a:gd name="connsiteY302" fmla="*/ 5814 h 10000"/>
              <a:gd name="connsiteX303" fmla="*/ 9342 w 10000"/>
              <a:gd name="connsiteY303" fmla="*/ 5737 h 10000"/>
              <a:gd name="connsiteX304" fmla="*/ 9264 w 10000"/>
              <a:gd name="connsiteY304" fmla="*/ 5271 h 10000"/>
              <a:gd name="connsiteX305" fmla="*/ 9225 w 10000"/>
              <a:gd name="connsiteY305" fmla="*/ 5271 h 10000"/>
              <a:gd name="connsiteX306" fmla="*/ 9225 w 10000"/>
              <a:gd name="connsiteY306" fmla="*/ 5116 h 10000"/>
              <a:gd name="connsiteX307" fmla="*/ 9264 w 10000"/>
              <a:gd name="connsiteY307" fmla="*/ 5116 h 10000"/>
              <a:gd name="connsiteX308" fmla="*/ 9342 w 10000"/>
              <a:gd name="connsiteY308" fmla="*/ 5039 h 10000"/>
              <a:gd name="connsiteX309" fmla="*/ 9419 w 10000"/>
              <a:gd name="connsiteY309" fmla="*/ 4884 h 10000"/>
              <a:gd name="connsiteX310" fmla="*/ 9380 w 10000"/>
              <a:gd name="connsiteY310" fmla="*/ 4729 h 10000"/>
              <a:gd name="connsiteX311" fmla="*/ 9419 w 10000"/>
              <a:gd name="connsiteY311" fmla="*/ 4652 h 10000"/>
              <a:gd name="connsiteX312" fmla="*/ 9458 w 10000"/>
              <a:gd name="connsiteY312" fmla="*/ 4884 h 10000"/>
              <a:gd name="connsiteX313" fmla="*/ 9535 w 10000"/>
              <a:gd name="connsiteY313" fmla="*/ 4884 h 10000"/>
              <a:gd name="connsiteX314" fmla="*/ 9613 w 10000"/>
              <a:gd name="connsiteY314" fmla="*/ 5039 h 10000"/>
              <a:gd name="connsiteX315" fmla="*/ 9806 w 10000"/>
              <a:gd name="connsiteY315" fmla="*/ 5271 h 10000"/>
              <a:gd name="connsiteX316" fmla="*/ 9845 w 10000"/>
              <a:gd name="connsiteY316" fmla="*/ 5039 h 10000"/>
              <a:gd name="connsiteX317" fmla="*/ 9845 w 10000"/>
              <a:gd name="connsiteY317" fmla="*/ 4884 h 10000"/>
              <a:gd name="connsiteX318" fmla="*/ 9923 w 10000"/>
              <a:gd name="connsiteY318" fmla="*/ 4884 h 10000"/>
              <a:gd name="connsiteX319" fmla="*/ 10000 w 10000"/>
              <a:gd name="connsiteY319" fmla="*/ 4729 h 10000"/>
              <a:gd name="connsiteX320" fmla="*/ 9884 w 10000"/>
              <a:gd name="connsiteY320" fmla="*/ 4496 h 10000"/>
              <a:gd name="connsiteX321" fmla="*/ 9690 w 10000"/>
              <a:gd name="connsiteY321" fmla="*/ 4418 h 10000"/>
              <a:gd name="connsiteX322" fmla="*/ 9342 w 10000"/>
              <a:gd name="connsiteY322" fmla="*/ 3799 h 10000"/>
              <a:gd name="connsiteX323" fmla="*/ 9109 w 10000"/>
              <a:gd name="connsiteY323" fmla="*/ 3488 h 10000"/>
              <a:gd name="connsiteX324" fmla="*/ 8798 w 10000"/>
              <a:gd name="connsiteY324" fmla="*/ 3411 h 10000"/>
              <a:gd name="connsiteX325" fmla="*/ 8798 w 10000"/>
              <a:gd name="connsiteY325" fmla="*/ 3799 h 10000"/>
              <a:gd name="connsiteX326" fmla="*/ 8721 w 10000"/>
              <a:gd name="connsiteY326" fmla="*/ 3876 h 10000"/>
              <a:gd name="connsiteX327" fmla="*/ 8643 w 10000"/>
              <a:gd name="connsiteY327" fmla="*/ 3721 h 10000"/>
              <a:gd name="connsiteX328" fmla="*/ 8643 w 10000"/>
              <a:gd name="connsiteY328" fmla="*/ 3566 h 10000"/>
              <a:gd name="connsiteX329" fmla="*/ 8682 w 10000"/>
              <a:gd name="connsiteY329" fmla="*/ 3566 h 10000"/>
              <a:gd name="connsiteX330" fmla="*/ 8721 w 10000"/>
              <a:gd name="connsiteY330" fmla="*/ 3488 h 10000"/>
              <a:gd name="connsiteX331" fmla="*/ 8643 w 10000"/>
              <a:gd name="connsiteY331" fmla="*/ 3488 h 10000"/>
              <a:gd name="connsiteX332" fmla="*/ 8566 w 10000"/>
              <a:gd name="connsiteY332" fmla="*/ 3644 h 10000"/>
              <a:gd name="connsiteX333" fmla="*/ 8372 w 10000"/>
              <a:gd name="connsiteY333" fmla="*/ 3566 h 10000"/>
              <a:gd name="connsiteX334" fmla="*/ 8178 w 10000"/>
              <a:gd name="connsiteY334" fmla="*/ 3566 h 10000"/>
              <a:gd name="connsiteX335" fmla="*/ 8101 w 10000"/>
              <a:gd name="connsiteY335" fmla="*/ 3488 h 10000"/>
              <a:gd name="connsiteX336" fmla="*/ 8140 w 10000"/>
              <a:gd name="connsiteY336" fmla="*/ 3333 h 10000"/>
              <a:gd name="connsiteX337" fmla="*/ 8062 w 10000"/>
              <a:gd name="connsiteY337" fmla="*/ 3101 h 10000"/>
              <a:gd name="connsiteX338" fmla="*/ 7907 w 10000"/>
              <a:gd name="connsiteY338" fmla="*/ 3023 h 10000"/>
              <a:gd name="connsiteX339" fmla="*/ 7675 w 10000"/>
              <a:gd name="connsiteY339" fmla="*/ 3178 h 10000"/>
              <a:gd name="connsiteX340" fmla="*/ 7636 w 10000"/>
              <a:gd name="connsiteY340" fmla="*/ 2946 h 10000"/>
              <a:gd name="connsiteX341" fmla="*/ 7558 w 10000"/>
              <a:gd name="connsiteY341" fmla="*/ 2946 h 10000"/>
              <a:gd name="connsiteX342" fmla="*/ 7520 w 10000"/>
              <a:gd name="connsiteY342" fmla="*/ 2868 h 10000"/>
              <a:gd name="connsiteX343" fmla="*/ 7520 w 10000"/>
              <a:gd name="connsiteY343" fmla="*/ 2636 h 10000"/>
              <a:gd name="connsiteX344" fmla="*/ 7249 w 10000"/>
              <a:gd name="connsiteY344" fmla="*/ 2480 h 10000"/>
              <a:gd name="connsiteX345" fmla="*/ 6938 w 10000"/>
              <a:gd name="connsiteY345" fmla="*/ 2325 h 10000"/>
              <a:gd name="connsiteX346" fmla="*/ 6860 w 10000"/>
              <a:gd name="connsiteY346" fmla="*/ 2636 h 10000"/>
              <a:gd name="connsiteX347" fmla="*/ 6938 w 10000"/>
              <a:gd name="connsiteY347" fmla="*/ 2868 h 10000"/>
              <a:gd name="connsiteX348" fmla="*/ 6705 w 10000"/>
              <a:gd name="connsiteY348" fmla="*/ 2868 h 10000"/>
              <a:gd name="connsiteX349" fmla="*/ 6666 w 10000"/>
              <a:gd name="connsiteY349" fmla="*/ 2868 h 10000"/>
              <a:gd name="connsiteX350" fmla="*/ 6589 w 10000"/>
              <a:gd name="connsiteY350" fmla="*/ 2946 h 10000"/>
              <a:gd name="connsiteX351" fmla="*/ 6473 w 10000"/>
              <a:gd name="connsiteY351" fmla="*/ 2714 h 10000"/>
              <a:gd name="connsiteX352" fmla="*/ 6395 w 10000"/>
              <a:gd name="connsiteY352" fmla="*/ 3178 h 10000"/>
              <a:gd name="connsiteX353" fmla="*/ 6318 w 10000"/>
              <a:gd name="connsiteY353" fmla="*/ 3101 h 10000"/>
              <a:gd name="connsiteX354" fmla="*/ 6240 w 10000"/>
              <a:gd name="connsiteY354" fmla="*/ 2791 h 10000"/>
              <a:gd name="connsiteX355" fmla="*/ 6279 w 10000"/>
              <a:gd name="connsiteY355" fmla="*/ 2403 h 10000"/>
              <a:gd name="connsiteX356" fmla="*/ 6202 w 10000"/>
              <a:gd name="connsiteY356" fmla="*/ 2170 h 10000"/>
              <a:gd name="connsiteX357" fmla="*/ 5969 w 10000"/>
              <a:gd name="connsiteY357" fmla="*/ 2016 h 10000"/>
              <a:gd name="connsiteX358" fmla="*/ 5892 w 10000"/>
              <a:gd name="connsiteY358" fmla="*/ 2016 h 10000"/>
              <a:gd name="connsiteX359" fmla="*/ 5853 w 10000"/>
              <a:gd name="connsiteY359" fmla="*/ 2170 h 10000"/>
              <a:gd name="connsiteX360" fmla="*/ 5892 w 10000"/>
              <a:gd name="connsiteY360" fmla="*/ 2325 h 10000"/>
              <a:gd name="connsiteX361" fmla="*/ 5582 w 10000"/>
              <a:gd name="connsiteY361" fmla="*/ 2248 h 10000"/>
              <a:gd name="connsiteX362" fmla="*/ 5620 w 10000"/>
              <a:gd name="connsiteY362" fmla="*/ 2016 h 10000"/>
              <a:gd name="connsiteX363" fmla="*/ 5427 w 10000"/>
              <a:gd name="connsiteY363" fmla="*/ 1938 h 10000"/>
              <a:gd name="connsiteX364" fmla="*/ 5311 w 10000"/>
              <a:gd name="connsiteY364" fmla="*/ 2093 h 10000"/>
              <a:gd name="connsiteX365" fmla="*/ 5078 w 10000"/>
              <a:gd name="connsiteY365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5737 w 10000"/>
              <a:gd name="connsiteY235" fmla="*/ 8140 h 10000"/>
              <a:gd name="connsiteX236" fmla="*/ 6938 w 10000"/>
              <a:gd name="connsiteY236" fmla="*/ 8838 h 10000"/>
              <a:gd name="connsiteX237" fmla="*/ 6938 w 10000"/>
              <a:gd name="connsiteY237" fmla="*/ 8295 h 10000"/>
              <a:gd name="connsiteX238" fmla="*/ 6976 w 10000"/>
              <a:gd name="connsiteY238" fmla="*/ 8140 h 10000"/>
              <a:gd name="connsiteX239" fmla="*/ 6976 w 10000"/>
              <a:gd name="connsiteY239" fmla="*/ 7907 h 10000"/>
              <a:gd name="connsiteX240" fmla="*/ 6899 w 10000"/>
              <a:gd name="connsiteY240" fmla="*/ 7675 h 10000"/>
              <a:gd name="connsiteX241" fmla="*/ 6860 w 10000"/>
              <a:gd name="connsiteY241" fmla="*/ 7675 h 10000"/>
              <a:gd name="connsiteX242" fmla="*/ 6821 w 10000"/>
              <a:gd name="connsiteY242" fmla="*/ 7830 h 10000"/>
              <a:gd name="connsiteX243" fmla="*/ 6744 w 10000"/>
              <a:gd name="connsiteY243" fmla="*/ 7830 h 10000"/>
              <a:gd name="connsiteX244" fmla="*/ 6783 w 10000"/>
              <a:gd name="connsiteY244" fmla="*/ 7675 h 10000"/>
              <a:gd name="connsiteX245" fmla="*/ 6744 w 10000"/>
              <a:gd name="connsiteY245" fmla="*/ 7675 h 10000"/>
              <a:gd name="connsiteX246" fmla="*/ 6705 w 10000"/>
              <a:gd name="connsiteY246" fmla="*/ 7598 h 10000"/>
              <a:gd name="connsiteX247" fmla="*/ 6628 w 10000"/>
              <a:gd name="connsiteY247" fmla="*/ 7598 h 10000"/>
              <a:gd name="connsiteX248" fmla="*/ 6628 w 10000"/>
              <a:gd name="connsiteY248" fmla="*/ 7520 h 10000"/>
              <a:gd name="connsiteX249" fmla="*/ 6744 w 10000"/>
              <a:gd name="connsiteY249" fmla="*/ 7287 h 10000"/>
              <a:gd name="connsiteX250" fmla="*/ 7094 w 10000"/>
              <a:gd name="connsiteY250" fmla="*/ 6590 h 10000"/>
              <a:gd name="connsiteX251" fmla="*/ 7249 w 10000"/>
              <a:gd name="connsiteY251" fmla="*/ 6512 h 10000"/>
              <a:gd name="connsiteX252" fmla="*/ 7287 w 10000"/>
              <a:gd name="connsiteY252" fmla="*/ 6590 h 10000"/>
              <a:gd name="connsiteX253" fmla="*/ 7326 w 10000"/>
              <a:gd name="connsiteY253" fmla="*/ 6512 h 10000"/>
              <a:gd name="connsiteX254" fmla="*/ 7442 w 10000"/>
              <a:gd name="connsiteY254" fmla="*/ 6590 h 10000"/>
              <a:gd name="connsiteX255" fmla="*/ 7481 w 10000"/>
              <a:gd name="connsiteY255" fmla="*/ 6434 h 10000"/>
              <a:gd name="connsiteX256" fmla="*/ 7597 w 10000"/>
              <a:gd name="connsiteY256" fmla="*/ 6512 h 10000"/>
              <a:gd name="connsiteX257" fmla="*/ 7636 w 10000"/>
              <a:gd name="connsiteY257" fmla="*/ 6512 h 10000"/>
              <a:gd name="connsiteX258" fmla="*/ 7597 w 10000"/>
              <a:gd name="connsiteY258" fmla="*/ 6590 h 10000"/>
              <a:gd name="connsiteX259" fmla="*/ 7597 w 10000"/>
              <a:gd name="connsiteY259" fmla="*/ 6667 h 10000"/>
              <a:gd name="connsiteX260" fmla="*/ 7830 w 10000"/>
              <a:gd name="connsiteY260" fmla="*/ 6590 h 10000"/>
              <a:gd name="connsiteX261" fmla="*/ 7791 w 10000"/>
              <a:gd name="connsiteY261" fmla="*/ 6512 h 10000"/>
              <a:gd name="connsiteX262" fmla="*/ 7946 w 10000"/>
              <a:gd name="connsiteY262" fmla="*/ 5969 h 10000"/>
              <a:gd name="connsiteX263" fmla="*/ 8140 w 10000"/>
              <a:gd name="connsiteY263" fmla="*/ 5892 h 10000"/>
              <a:gd name="connsiteX264" fmla="*/ 8140 w 10000"/>
              <a:gd name="connsiteY264" fmla="*/ 6047 h 10000"/>
              <a:gd name="connsiteX265" fmla="*/ 8140 w 10000"/>
              <a:gd name="connsiteY265" fmla="*/ 6202 h 10000"/>
              <a:gd name="connsiteX266" fmla="*/ 8333 w 10000"/>
              <a:gd name="connsiteY266" fmla="*/ 5969 h 10000"/>
              <a:gd name="connsiteX267" fmla="*/ 8333 w 10000"/>
              <a:gd name="connsiteY267" fmla="*/ 5737 h 10000"/>
              <a:gd name="connsiteX268" fmla="*/ 8411 w 10000"/>
              <a:gd name="connsiteY268" fmla="*/ 5737 h 10000"/>
              <a:gd name="connsiteX269" fmla="*/ 8372 w 10000"/>
              <a:gd name="connsiteY269" fmla="*/ 5814 h 10000"/>
              <a:gd name="connsiteX270" fmla="*/ 8333 w 10000"/>
              <a:gd name="connsiteY270" fmla="*/ 6202 h 10000"/>
              <a:gd name="connsiteX271" fmla="*/ 8256 w 10000"/>
              <a:gd name="connsiteY271" fmla="*/ 6279 h 10000"/>
              <a:gd name="connsiteX272" fmla="*/ 8023 w 10000"/>
              <a:gd name="connsiteY272" fmla="*/ 6822 h 10000"/>
              <a:gd name="connsiteX273" fmla="*/ 7946 w 10000"/>
              <a:gd name="connsiteY273" fmla="*/ 6900 h 10000"/>
              <a:gd name="connsiteX274" fmla="*/ 7868 w 10000"/>
              <a:gd name="connsiteY274" fmla="*/ 7442 h 10000"/>
              <a:gd name="connsiteX275" fmla="*/ 7946 w 10000"/>
              <a:gd name="connsiteY275" fmla="*/ 8372 h 10000"/>
              <a:gd name="connsiteX276" fmla="*/ 8023 w 10000"/>
              <a:gd name="connsiteY276" fmla="*/ 8217 h 10000"/>
              <a:gd name="connsiteX277" fmla="*/ 8101 w 10000"/>
              <a:gd name="connsiteY277" fmla="*/ 7907 h 10000"/>
              <a:gd name="connsiteX278" fmla="*/ 8140 w 10000"/>
              <a:gd name="connsiteY278" fmla="*/ 7907 h 10000"/>
              <a:gd name="connsiteX279" fmla="*/ 8140 w 10000"/>
              <a:gd name="connsiteY279" fmla="*/ 7675 h 10000"/>
              <a:gd name="connsiteX280" fmla="*/ 8178 w 10000"/>
              <a:gd name="connsiteY280" fmla="*/ 7675 h 10000"/>
              <a:gd name="connsiteX281" fmla="*/ 8256 w 10000"/>
              <a:gd name="connsiteY281" fmla="*/ 7598 h 10000"/>
              <a:gd name="connsiteX282" fmla="*/ 8217 w 10000"/>
              <a:gd name="connsiteY282" fmla="*/ 7364 h 10000"/>
              <a:gd name="connsiteX283" fmla="*/ 8295 w 10000"/>
              <a:gd name="connsiteY283" fmla="*/ 7287 h 10000"/>
              <a:gd name="connsiteX284" fmla="*/ 8333 w 10000"/>
              <a:gd name="connsiteY284" fmla="*/ 7287 h 10000"/>
              <a:gd name="connsiteX285" fmla="*/ 8333 w 10000"/>
              <a:gd name="connsiteY285" fmla="*/ 7132 h 10000"/>
              <a:gd name="connsiteX286" fmla="*/ 8295 w 10000"/>
              <a:gd name="connsiteY286" fmla="*/ 7132 h 10000"/>
              <a:gd name="connsiteX287" fmla="*/ 8333 w 10000"/>
              <a:gd name="connsiteY287" fmla="*/ 6900 h 10000"/>
              <a:gd name="connsiteX288" fmla="*/ 8295 w 10000"/>
              <a:gd name="connsiteY288" fmla="*/ 6900 h 10000"/>
              <a:gd name="connsiteX289" fmla="*/ 8256 w 10000"/>
              <a:gd name="connsiteY289" fmla="*/ 6900 h 10000"/>
              <a:gd name="connsiteX290" fmla="*/ 8256 w 10000"/>
              <a:gd name="connsiteY290" fmla="*/ 6822 h 10000"/>
              <a:gd name="connsiteX291" fmla="*/ 8333 w 10000"/>
              <a:gd name="connsiteY291" fmla="*/ 6590 h 10000"/>
              <a:gd name="connsiteX292" fmla="*/ 8333 w 10000"/>
              <a:gd name="connsiteY292" fmla="*/ 6434 h 10000"/>
              <a:gd name="connsiteX293" fmla="*/ 8411 w 10000"/>
              <a:gd name="connsiteY293" fmla="*/ 6434 h 10000"/>
              <a:gd name="connsiteX294" fmla="*/ 8527 w 10000"/>
              <a:gd name="connsiteY294" fmla="*/ 6279 h 10000"/>
              <a:gd name="connsiteX295" fmla="*/ 8527 w 10000"/>
              <a:gd name="connsiteY295" fmla="*/ 6434 h 10000"/>
              <a:gd name="connsiteX296" fmla="*/ 8566 w 10000"/>
              <a:gd name="connsiteY296" fmla="*/ 6356 h 10000"/>
              <a:gd name="connsiteX297" fmla="*/ 8682 w 10000"/>
              <a:gd name="connsiteY297" fmla="*/ 6279 h 10000"/>
              <a:gd name="connsiteX298" fmla="*/ 8759 w 10000"/>
              <a:gd name="connsiteY298" fmla="*/ 6434 h 10000"/>
              <a:gd name="connsiteX299" fmla="*/ 8798 w 10000"/>
              <a:gd name="connsiteY299" fmla="*/ 6279 h 10000"/>
              <a:gd name="connsiteX300" fmla="*/ 9187 w 10000"/>
              <a:gd name="connsiteY300" fmla="*/ 5737 h 10000"/>
              <a:gd name="connsiteX301" fmla="*/ 9303 w 10000"/>
              <a:gd name="connsiteY301" fmla="*/ 5814 h 10000"/>
              <a:gd name="connsiteX302" fmla="*/ 9342 w 10000"/>
              <a:gd name="connsiteY302" fmla="*/ 5737 h 10000"/>
              <a:gd name="connsiteX303" fmla="*/ 9264 w 10000"/>
              <a:gd name="connsiteY303" fmla="*/ 5271 h 10000"/>
              <a:gd name="connsiteX304" fmla="*/ 9225 w 10000"/>
              <a:gd name="connsiteY304" fmla="*/ 5271 h 10000"/>
              <a:gd name="connsiteX305" fmla="*/ 9225 w 10000"/>
              <a:gd name="connsiteY305" fmla="*/ 5116 h 10000"/>
              <a:gd name="connsiteX306" fmla="*/ 9264 w 10000"/>
              <a:gd name="connsiteY306" fmla="*/ 5116 h 10000"/>
              <a:gd name="connsiteX307" fmla="*/ 9342 w 10000"/>
              <a:gd name="connsiteY307" fmla="*/ 5039 h 10000"/>
              <a:gd name="connsiteX308" fmla="*/ 9419 w 10000"/>
              <a:gd name="connsiteY308" fmla="*/ 4884 h 10000"/>
              <a:gd name="connsiteX309" fmla="*/ 9380 w 10000"/>
              <a:gd name="connsiteY309" fmla="*/ 4729 h 10000"/>
              <a:gd name="connsiteX310" fmla="*/ 9419 w 10000"/>
              <a:gd name="connsiteY310" fmla="*/ 4652 h 10000"/>
              <a:gd name="connsiteX311" fmla="*/ 9458 w 10000"/>
              <a:gd name="connsiteY311" fmla="*/ 4884 h 10000"/>
              <a:gd name="connsiteX312" fmla="*/ 9535 w 10000"/>
              <a:gd name="connsiteY312" fmla="*/ 4884 h 10000"/>
              <a:gd name="connsiteX313" fmla="*/ 9613 w 10000"/>
              <a:gd name="connsiteY313" fmla="*/ 5039 h 10000"/>
              <a:gd name="connsiteX314" fmla="*/ 9806 w 10000"/>
              <a:gd name="connsiteY314" fmla="*/ 5271 h 10000"/>
              <a:gd name="connsiteX315" fmla="*/ 9845 w 10000"/>
              <a:gd name="connsiteY315" fmla="*/ 5039 h 10000"/>
              <a:gd name="connsiteX316" fmla="*/ 9845 w 10000"/>
              <a:gd name="connsiteY316" fmla="*/ 4884 h 10000"/>
              <a:gd name="connsiteX317" fmla="*/ 9923 w 10000"/>
              <a:gd name="connsiteY317" fmla="*/ 4884 h 10000"/>
              <a:gd name="connsiteX318" fmla="*/ 10000 w 10000"/>
              <a:gd name="connsiteY318" fmla="*/ 4729 h 10000"/>
              <a:gd name="connsiteX319" fmla="*/ 9884 w 10000"/>
              <a:gd name="connsiteY319" fmla="*/ 4496 h 10000"/>
              <a:gd name="connsiteX320" fmla="*/ 9690 w 10000"/>
              <a:gd name="connsiteY320" fmla="*/ 4418 h 10000"/>
              <a:gd name="connsiteX321" fmla="*/ 9342 w 10000"/>
              <a:gd name="connsiteY321" fmla="*/ 3799 h 10000"/>
              <a:gd name="connsiteX322" fmla="*/ 9109 w 10000"/>
              <a:gd name="connsiteY322" fmla="*/ 3488 h 10000"/>
              <a:gd name="connsiteX323" fmla="*/ 8798 w 10000"/>
              <a:gd name="connsiteY323" fmla="*/ 3411 h 10000"/>
              <a:gd name="connsiteX324" fmla="*/ 8798 w 10000"/>
              <a:gd name="connsiteY324" fmla="*/ 3799 h 10000"/>
              <a:gd name="connsiteX325" fmla="*/ 8721 w 10000"/>
              <a:gd name="connsiteY325" fmla="*/ 3876 h 10000"/>
              <a:gd name="connsiteX326" fmla="*/ 8643 w 10000"/>
              <a:gd name="connsiteY326" fmla="*/ 3721 h 10000"/>
              <a:gd name="connsiteX327" fmla="*/ 8643 w 10000"/>
              <a:gd name="connsiteY327" fmla="*/ 3566 h 10000"/>
              <a:gd name="connsiteX328" fmla="*/ 8682 w 10000"/>
              <a:gd name="connsiteY328" fmla="*/ 3566 h 10000"/>
              <a:gd name="connsiteX329" fmla="*/ 8721 w 10000"/>
              <a:gd name="connsiteY329" fmla="*/ 3488 h 10000"/>
              <a:gd name="connsiteX330" fmla="*/ 8643 w 10000"/>
              <a:gd name="connsiteY330" fmla="*/ 3488 h 10000"/>
              <a:gd name="connsiteX331" fmla="*/ 8566 w 10000"/>
              <a:gd name="connsiteY331" fmla="*/ 3644 h 10000"/>
              <a:gd name="connsiteX332" fmla="*/ 8372 w 10000"/>
              <a:gd name="connsiteY332" fmla="*/ 3566 h 10000"/>
              <a:gd name="connsiteX333" fmla="*/ 8178 w 10000"/>
              <a:gd name="connsiteY333" fmla="*/ 3566 h 10000"/>
              <a:gd name="connsiteX334" fmla="*/ 8101 w 10000"/>
              <a:gd name="connsiteY334" fmla="*/ 3488 h 10000"/>
              <a:gd name="connsiteX335" fmla="*/ 8140 w 10000"/>
              <a:gd name="connsiteY335" fmla="*/ 3333 h 10000"/>
              <a:gd name="connsiteX336" fmla="*/ 8062 w 10000"/>
              <a:gd name="connsiteY336" fmla="*/ 3101 h 10000"/>
              <a:gd name="connsiteX337" fmla="*/ 7907 w 10000"/>
              <a:gd name="connsiteY337" fmla="*/ 3023 h 10000"/>
              <a:gd name="connsiteX338" fmla="*/ 7675 w 10000"/>
              <a:gd name="connsiteY338" fmla="*/ 3178 h 10000"/>
              <a:gd name="connsiteX339" fmla="*/ 7636 w 10000"/>
              <a:gd name="connsiteY339" fmla="*/ 2946 h 10000"/>
              <a:gd name="connsiteX340" fmla="*/ 7558 w 10000"/>
              <a:gd name="connsiteY340" fmla="*/ 2946 h 10000"/>
              <a:gd name="connsiteX341" fmla="*/ 7520 w 10000"/>
              <a:gd name="connsiteY341" fmla="*/ 2868 h 10000"/>
              <a:gd name="connsiteX342" fmla="*/ 7520 w 10000"/>
              <a:gd name="connsiteY342" fmla="*/ 2636 h 10000"/>
              <a:gd name="connsiteX343" fmla="*/ 7249 w 10000"/>
              <a:gd name="connsiteY343" fmla="*/ 2480 h 10000"/>
              <a:gd name="connsiteX344" fmla="*/ 6938 w 10000"/>
              <a:gd name="connsiteY344" fmla="*/ 2325 h 10000"/>
              <a:gd name="connsiteX345" fmla="*/ 6860 w 10000"/>
              <a:gd name="connsiteY345" fmla="*/ 2636 h 10000"/>
              <a:gd name="connsiteX346" fmla="*/ 6938 w 10000"/>
              <a:gd name="connsiteY346" fmla="*/ 2868 h 10000"/>
              <a:gd name="connsiteX347" fmla="*/ 6705 w 10000"/>
              <a:gd name="connsiteY347" fmla="*/ 2868 h 10000"/>
              <a:gd name="connsiteX348" fmla="*/ 6666 w 10000"/>
              <a:gd name="connsiteY348" fmla="*/ 2868 h 10000"/>
              <a:gd name="connsiteX349" fmla="*/ 6589 w 10000"/>
              <a:gd name="connsiteY349" fmla="*/ 2946 h 10000"/>
              <a:gd name="connsiteX350" fmla="*/ 6473 w 10000"/>
              <a:gd name="connsiteY350" fmla="*/ 2714 h 10000"/>
              <a:gd name="connsiteX351" fmla="*/ 6395 w 10000"/>
              <a:gd name="connsiteY351" fmla="*/ 3178 h 10000"/>
              <a:gd name="connsiteX352" fmla="*/ 6318 w 10000"/>
              <a:gd name="connsiteY352" fmla="*/ 3101 h 10000"/>
              <a:gd name="connsiteX353" fmla="*/ 6240 w 10000"/>
              <a:gd name="connsiteY353" fmla="*/ 2791 h 10000"/>
              <a:gd name="connsiteX354" fmla="*/ 6279 w 10000"/>
              <a:gd name="connsiteY354" fmla="*/ 2403 h 10000"/>
              <a:gd name="connsiteX355" fmla="*/ 6202 w 10000"/>
              <a:gd name="connsiteY355" fmla="*/ 2170 h 10000"/>
              <a:gd name="connsiteX356" fmla="*/ 5969 w 10000"/>
              <a:gd name="connsiteY356" fmla="*/ 2016 h 10000"/>
              <a:gd name="connsiteX357" fmla="*/ 5892 w 10000"/>
              <a:gd name="connsiteY357" fmla="*/ 2016 h 10000"/>
              <a:gd name="connsiteX358" fmla="*/ 5853 w 10000"/>
              <a:gd name="connsiteY358" fmla="*/ 2170 h 10000"/>
              <a:gd name="connsiteX359" fmla="*/ 5892 w 10000"/>
              <a:gd name="connsiteY359" fmla="*/ 2325 h 10000"/>
              <a:gd name="connsiteX360" fmla="*/ 5582 w 10000"/>
              <a:gd name="connsiteY360" fmla="*/ 2248 h 10000"/>
              <a:gd name="connsiteX361" fmla="*/ 5620 w 10000"/>
              <a:gd name="connsiteY361" fmla="*/ 2016 h 10000"/>
              <a:gd name="connsiteX362" fmla="*/ 5427 w 10000"/>
              <a:gd name="connsiteY362" fmla="*/ 1938 h 10000"/>
              <a:gd name="connsiteX363" fmla="*/ 5311 w 10000"/>
              <a:gd name="connsiteY363" fmla="*/ 2093 h 10000"/>
              <a:gd name="connsiteX364" fmla="*/ 5078 w 10000"/>
              <a:gd name="connsiteY364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5698 w 10000"/>
              <a:gd name="connsiteY234" fmla="*/ 8217 h 10000"/>
              <a:gd name="connsiteX235" fmla="*/ 6938 w 10000"/>
              <a:gd name="connsiteY235" fmla="*/ 8838 h 10000"/>
              <a:gd name="connsiteX236" fmla="*/ 6938 w 10000"/>
              <a:gd name="connsiteY236" fmla="*/ 8295 h 10000"/>
              <a:gd name="connsiteX237" fmla="*/ 6976 w 10000"/>
              <a:gd name="connsiteY237" fmla="*/ 8140 h 10000"/>
              <a:gd name="connsiteX238" fmla="*/ 6976 w 10000"/>
              <a:gd name="connsiteY238" fmla="*/ 7907 h 10000"/>
              <a:gd name="connsiteX239" fmla="*/ 6899 w 10000"/>
              <a:gd name="connsiteY239" fmla="*/ 7675 h 10000"/>
              <a:gd name="connsiteX240" fmla="*/ 6860 w 10000"/>
              <a:gd name="connsiteY240" fmla="*/ 7675 h 10000"/>
              <a:gd name="connsiteX241" fmla="*/ 6821 w 10000"/>
              <a:gd name="connsiteY241" fmla="*/ 7830 h 10000"/>
              <a:gd name="connsiteX242" fmla="*/ 6744 w 10000"/>
              <a:gd name="connsiteY242" fmla="*/ 7830 h 10000"/>
              <a:gd name="connsiteX243" fmla="*/ 6783 w 10000"/>
              <a:gd name="connsiteY243" fmla="*/ 7675 h 10000"/>
              <a:gd name="connsiteX244" fmla="*/ 6744 w 10000"/>
              <a:gd name="connsiteY244" fmla="*/ 7675 h 10000"/>
              <a:gd name="connsiteX245" fmla="*/ 6705 w 10000"/>
              <a:gd name="connsiteY245" fmla="*/ 7598 h 10000"/>
              <a:gd name="connsiteX246" fmla="*/ 6628 w 10000"/>
              <a:gd name="connsiteY246" fmla="*/ 7598 h 10000"/>
              <a:gd name="connsiteX247" fmla="*/ 6628 w 10000"/>
              <a:gd name="connsiteY247" fmla="*/ 7520 h 10000"/>
              <a:gd name="connsiteX248" fmla="*/ 6744 w 10000"/>
              <a:gd name="connsiteY248" fmla="*/ 7287 h 10000"/>
              <a:gd name="connsiteX249" fmla="*/ 7094 w 10000"/>
              <a:gd name="connsiteY249" fmla="*/ 6590 h 10000"/>
              <a:gd name="connsiteX250" fmla="*/ 7249 w 10000"/>
              <a:gd name="connsiteY250" fmla="*/ 6512 h 10000"/>
              <a:gd name="connsiteX251" fmla="*/ 7287 w 10000"/>
              <a:gd name="connsiteY251" fmla="*/ 6590 h 10000"/>
              <a:gd name="connsiteX252" fmla="*/ 7326 w 10000"/>
              <a:gd name="connsiteY252" fmla="*/ 6512 h 10000"/>
              <a:gd name="connsiteX253" fmla="*/ 7442 w 10000"/>
              <a:gd name="connsiteY253" fmla="*/ 6590 h 10000"/>
              <a:gd name="connsiteX254" fmla="*/ 7481 w 10000"/>
              <a:gd name="connsiteY254" fmla="*/ 6434 h 10000"/>
              <a:gd name="connsiteX255" fmla="*/ 7597 w 10000"/>
              <a:gd name="connsiteY255" fmla="*/ 6512 h 10000"/>
              <a:gd name="connsiteX256" fmla="*/ 7636 w 10000"/>
              <a:gd name="connsiteY256" fmla="*/ 6512 h 10000"/>
              <a:gd name="connsiteX257" fmla="*/ 7597 w 10000"/>
              <a:gd name="connsiteY257" fmla="*/ 6590 h 10000"/>
              <a:gd name="connsiteX258" fmla="*/ 7597 w 10000"/>
              <a:gd name="connsiteY258" fmla="*/ 6667 h 10000"/>
              <a:gd name="connsiteX259" fmla="*/ 7830 w 10000"/>
              <a:gd name="connsiteY259" fmla="*/ 6590 h 10000"/>
              <a:gd name="connsiteX260" fmla="*/ 7791 w 10000"/>
              <a:gd name="connsiteY260" fmla="*/ 6512 h 10000"/>
              <a:gd name="connsiteX261" fmla="*/ 7946 w 10000"/>
              <a:gd name="connsiteY261" fmla="*/ 5969 h 10000"/>
              <a:gd name="connsiteX262" fmla="*/ 8140 w 10000"/>
              <a:gd name="connsiteY262" fmla="*/ 5892 h 10000"/>
              <a:gd name="connsiteX263" fmla="*/ 8140 w 10000"/>
              <a:gd name="connsiteY263" fmla="*/ 6047 h 10000"/>
              <a:gd name="connsiteX264" fmla="*/ 8140 w 10000"/>
              <a:gd name="connsiteY264" fmla="*/ 6202 h 10000"/>
              <a:gd name="connsiteX265" fmla="*/ 8333 w 10000"/>
              <a:gd name="connsiteY265" fmla="*/ 5969 h 10000"/>
              <a:gd name="connsiteX266" fmla="*/ 8333 w 10000"/>
              <a:gd name="connsiteY266" fmla="*/ 5737 h 10000"/>
              <a:gd name="connsiteX267" fmla="*/ 8411 w 10000"/>
              <a:gd name="connsiteY267" fmla="*/ 5737 h 10000"/>
              <a:gd name="connsiteX268" fmla="*/ 8372 w 10000"/>
              <a:gd name="connsiteY268" fmla="*/ 5814 h 10000"/>
              <a:gd name="connsiteX269" fmla="*/ 8333 w 10000"/>
              <a:gd name="connsiteY269" fmla="*/ 6202 h 10000"/>
              <a:gd name="connsiteX270" fmla="*/ 8256 w 10000"/>
              <a:gd name="connsiteY270" fmla="*/ 6279 h 10000"/>
              <a:gd name="connsiteX271" fmla="*/ 8023 w 10000"/>
              <a:gd name="connsiteY271" fmla="*/ 6822 h 10000"/>
              <a:gd name="connsiteX272" fmla="*/ 7946 w 10000"/>
              <a:gd name="connsiteY272" fmla="*/ 6900 h 10000"/>
              <a:gd name="connsiteX273" fmla="*/ 7868 w 10000"/>
              <a:gd name="connsiteY273" fmla="*/ 7442 h 10000"/>
              <a:gd name="connsiteX274" fmla="*/ 7946 w 10000"/>
              <a:gd name="connsiteY274" fmla="*/ 8372 h 10000"/>
              <a:gd name="connsiteX275" fmla="*/ 8023 w 10000"/>
              <a:gd name="connsiteY275" fmla="*/ 8217 h 10000"/>
              <a:gd name="connsiteX276" fmla="*/ 8101 w 10000"/>
              <a:gd name="connsiteY276" fmla="*/ 7907 h 10000"/>
              <a:gd name="connsiteX277" fmla="*/ 8140 w 10000"/>
              <a:gd name="connsiteY277" fmla="*/ 7907 h 10000"/>
              <a:gd name="connsiteX278" fmla="*/ 8140 w 10000"/>
              <a:gd name="connsiteY278" fmla="*/ 7675 h 10000"/>
              <a:gd name="connsiteX279" fmla="*/ 8178 w 10000"/>
              <a:gd name="connsiteY279" fmla="*/ 7675 h 10000"/>
              <a:gd name="connsiteX280" fmla="*/ 8256 w 10000"/>
              <a:gd name="connsiteY280" fmla="*/ 7598 h 10000"/>
              <a:gd name="connsiteX281" fmla="*/ 8217 w 10000"/>
              <a:gd name="connsiteY281" fmla="*/ 7364 h 10000"/>
              <a:gd name="connsiteX282" fmla="*/ 8295 w 10000"/>
              <a:gd name="connsiteY282" fmla="*/ 7287 h 10000"/>
              <a:gd name="connsiteX283" fmla="*/ 8333 w 10000"/>
              <a:gd name="connsiteY283" fmla="*/ 7287 h 10000"/>
              <a:gd name="connsiteX284" fmla="*/ 8333 w 10000"/>
              <a:gd name="connsiteY284" fmla="*/ 7132 h 10000"/>
              <a:gd name="connsiteX285" fmla="*/ 8295 w 10000"/>
              <a:gd name="connsiteY285" fmla="*/ 7132 h 10000"/>
              <a:gd name="connsiteX286" fmla="*/ 8333 w 10000"/>
              <a:gd name="connsiteY286" fmla="*/ 6900 h 10000"/>
              <a:gd name="connsiteX287" fmla="*/ 8295 w 10000"/>
              <a:gd name="connsiteY287" fmla="*/ 6900 h 10000"/>
              <a:gd name="connsiteX288" fmla="*/ 8256 w 10000"/>
              <a:gd name="connsiteY288" fmla="*/ 6900 h 10000"/>
              <a:gd name="connsiteX289" fmla="*/ 8256 w 10000"/>
              <a:gd name="connsiteY289" fmla="*/ 6822 h 10000"/>
              <a:gd name="connsiteX290" fmla="*/ 8333 w 10000"/>
              <a:gd name="connsiteY290" fmla="*/ 6590 h 10000"/>
              <a:gd name="connsiteX291" fmla="*/ 8333 w 10000"/>
              <a:gd name="connsiteY291" fmla="*/ 6434 h 10000"/>
              <a:gd name="connsiteX292" fmla="*/ 8411 w 10000"/>
              <a:gd name="connsiteY292" fmla="*/ 6434 h 10000"/>
              <a:gd name="connsiteX293" fmla="*/ 8527 w 10000"/>
              <a:gd name="connsiteY293" fmla="*/ 6279 h 10000"/>
              <a:gd name="connsiteX294" fmla="*/ 8527 w 10000"/>
              <a:gd name="connsiteY294" fmla="*/ 6434 h 10000"/>
              <a:gd name="connsiteX295" fmla="*/ 8566 w 10000"/>
              <a:gd name="connsiteY295" fmla="*/ 6356 h 10000"/>
              <a:gd name="connsiteX296" fmla="*/ 8682 w 10000"/>
              <a:gd name="connsiteY296" fmla="*/ 6279 h 10000"/>
              <a:gd name="connsiteX297" fmla="*/ 8759 w 10000"/>
              <a:gd name="connsiteY297" fmla="*/ 6434 h 10000"/>
              <a:gd name="connsiteX298" fmla="*/ 8798 w 10000"/>
              <a:gd name="connsiteY298" fmla="*/ 6279 h 10000"/>
              <a:gd name="connsiteX299" fmla="*/ 9187 w 10000"/>
              <a:gd name="connsiteY299" fmla="*/ 5737 h 10000"/>
              <a:gd name="connsiteX300" fmla="*/ 9303 w 10000"/>
              <a:gd name="connsiteY300" fmla="*/ 5814 h 10000"/>
              <a:gd name="connsiteX301" fmla="*/ 9342 w 10000"/>
              <a:gd name="connsiteY301" fmla="*/ 5737 h 10000"/>
              <a:gd name="connsiteX302" fmla="*/ 9264 w 10000"/>
              <a:gd name="connsiteY302" fmla="*/ 5271 h 10000"/>
              <a:gd name="connsiteX303" fmla="*/ 9225 w 10000"/>
              <a:gd name="connsiteY303" fmla="*/ 5271 h 10000"/>
              <a:gd name="connsiteX304" fmla="*/ 9225 w 10000"/>
              <a:gd name="connsiteY304" fmla="*/ 5116 h 10000"/>
              <a:gd name="connsiteX305" fmla="*/ 9264 w 10000"/>
              <a:gd name="connsiteY305" fmla="*/ 5116 h 10000"/>
              <a:gd name="connsiteX306" fmla="*/ 9342 w 10000"/>
              <a:gd name="connsiteY306" fmla="*/ 5039 h 10000"/>
              <a:gd name="connsiteX307" fmla="*/ 9419 w 10000"/>
              <a:gd name="connsiteY307" fmla="*/ 4884 h 10000"/>
              <a:gd name="connsiteX308" fmla="*/ 9380 w 10000"/>
              <a:gd name="connsiteY308" fmla="*/ 4729 h 10000"/>
              <a:gd name="connsiteX309" fmla="*/ 9419 w 10000"/>
              <a:gd name="connsiteY309" fmla="*/ 4652 h 10000"/>
              <a:gd name="connsiteX310" fmla="*/ 9458 w 10000"/>
              <a:gd name="connsiteY310" fmla="*/ 4884 h 10000"/>
              <a:gd name="connsiteX311" fmla="*/ 9535 w 10000"/>
              <a:gd name="connsiteY311" fmla="*/ 4884 h 10000"/>
              <a:gd name="connsiteX312" fmla="*/ 9613 w 10000"/>
              <a:gd name="connsiteY312" fmla="*/ 5039 h 10000"/>
              <a:gd name="connsiteX313" fmla="*/ 9806 w 10000"/>
              <a:gd name="connsiteY313" fmla="*/ 5271 h 10000"/>
              <a:gd name="connsiteX314" fmla="*/ 9845 w 10000"/>
              <a:gd name="connsiteY314" fmla="*/ 5039 h 10000"/>
              <a:gd name="connsiteX315" fmla="*/ 9845 w 10000"/>
              <a:gd name="connsiteY315" fmla="*/ 4884 h 10000"/>
              <a:gd name="connsiteX316" fmla="*/ 9923 w 10000"/>
              <a:gd name="connsiteY316" fmla="*/ 4884 h 10000"/>
              <a:gd name="connsiteX317" fmla="*/ 10000 w 10000"/>
              <a:gd name="connsiteY317" fmla="*/ 4729 h 10000"/>
              <a:gd name="connsiteX318" fmla="*/ 9884 w 10000"/>
              <a:gd name="connsiteY318" fmla="*/ 4496 h 10000"/>
              <a:gd name="connsiteX319" fmla="*/ 9690 w 10000"/>
              <a:gd name="connsiteY319" fmla="*/ 4418 h 10000"/>
              <a:gd name="connsiteX320" fmla="*/ 9342 w 10000"/>
              <a:gd name="connsiteY320" fmla="*/ 3799 h 10000"/>
              <a:gd name="connsiteX321" fmla="*/ 9109 w 10000"/>
              <a:gd name="connsiteY321" fmla="*/ 3488 h 10000"/>
              <a:gd name="connsiteX322" fmla="*/ 8798 w 10000"/>
              <a:gd name="connsiteY322" fmla="*/ 3411 h 10000"/>
              <a:gd name="connsiteX323" fmla="*/ 8798 w 10000"/>
              <a:gd name="connsiteY323" fmla="*/ 3799 h 10000"/>
              <a:gd name="connsiteX324" fmla="*/ 8721 w 10000"/>
              <a:gd name="connsiteY324" fmla="*/ 3876 h 10000"/>
              <a:gd name="connsiteX325" fmla="*/ 8643 w 10000"/>
              <a:gd name="connsiteY325" fmla="*/ 3721 h 10000"/>
              <a:gd name="connsiteX326" fmla="*/ 8643 w 10000"/>
              <a:gd name="connsiteY326" fmla="*/ 3566 h 10000"/>
              <a:gd name="connsiteX327" fmla="*/ 8682 w 10000"/>
              <a:gd name="connsiteY327" fmla="*/ 3566 h 10000"/>
              <a:gd name="connsiteX328" fmla="*/ 8721 w 10000"/>
              <a:gd name="connsiteY328" fmla="*/ 3488 h 10000"/>
              <a:gd name="connsiteX329" fmla="*/ 8643 w 10000"/>
              <a:gd name="connsiteY329" fmla="*/ 3488 h 10000"/>
              <a:gd name="connsiteX330" fmla="*/ 8566 w 10000"/>
              <a:gd name="connsiteY330" fmla="*/ 3644 h 10000"/>
              <a:gd name="connsiteX331" fmla="*/ 8372 w 10000"/>
              <a:gd name="connsiteY331" fmla="*/ 3566 h 10000"/>
              <a:gd name="connsiteX332" fmla="*/ 8178 w 10000"/>
              <a:gd name="connsiteY332" fmla="*/ 3566 h 10000"/>
              <a:gd name="connsiteX333" fmla="*/ 8101 w 10000"/>
              <a:gd name="connsiteY333" fmla="*/ 3488 h 10000"/>
              <a:gd name="connsiteX334" fmla="*/ 8140 w 10000"/>
              <a:gd name="connsiteY334" fmla="*/ 3333 h 10000"/>
              <a:gd name="connsiteX335" fmla="*/ 8062 w 10000"/>
              <a:gd name="connsiteY335" fmla="*/ 3101 h 10000"/>
              <a:gd name="connsiteX336" fmla="*/ 7907 w 10000"/>
              <a:gd name="connsiteY336" fmla="*/ 3023 h 10000"/>
              <a:gd name="connsiteX337" fmla="*/ 7675 w 10000"/>
              <a:gd name="connsiteY337" fmla="*/ 3178 h 10000"/>
              <a:gd name="connsiteX338" fmla="*/ 7636 w 10000"/>
              <a:gd name="connsiteY338" fmla="*/ 2946 h 10000"/>
              <a:gd name="connsiteX339" fmla="*/ 7558 w 10000"/>
              <a:gd name="connsiteY339" fmla="*/ 2946 h 10000"/>
              <a:gd name="connsiteX340" fmla="*/ 7520 w 10000"/>
              <a:gd name="connsiteY340" fmla="*/ 2868 h 10000"/>
              <a:gd name="connsiteX341" fmla="*/ 7520 w 10000"/>
              <a:gd name="connsiteY341" fmla="*/ 2636 h 10000"/>
              <a:gd name="connsiteX342" fmla="*/ 7249 w 10000"/>
              <a:gd name="connsiteY342" fmla="*/ 2480 h 10000"/>
              <a:gd name="connsiteX343" fmla="*/ 6938 w 10000"/>
              <a:gd name="connsiteY343" fmla="*/ 2325 h 10000"/>
              <a:gd name="connsiteX344" fmla="*/ 6860 w 10000"/>
              <a:gd name="connsiteY344" fmla="*/ 2636 h 10000"/>
              <a:gd name="connsiteX345" fmla="*/ 6938 w 10000"/>
              <a:gd name="connsiteY345" fmla="*/ 2868 h 10000"/>
              <a:gd name="connsiteX346" fmla="*/ 6705 w 10000"/>
              <a:gd name="connsiteY346" fmla="*/ 2868 h 10000"/>
              <a:gd name="connsiteX347" fmla="*/ 6666 w 10000"/>
              <a:gd name="connsiteY347" fmla="*/ 2868 h 10000"/>
              <a:gd name="connsiteX348" fmla="*/ 6589 w 10000"/>
              <a:gd name="connsiteY348" fmla="*/ 2946 h 10000"/>
              <a:gd name="connsiteX349" fmla="*/ 6473 w 10000"/>
              <a:gd name="connsiteY349" fmla="*/ 2714 h 10000"/>
              <a:gd name="connsiteX350" fmla="*/ 6395 w 10000"/>
              <a:gd name="connsiteY350" fmla="*/ 3178 h 10000"/>
              <a:gd name="connsiteX351" fmla="*/ 6318 w 10000"/>
              <a:gd name="connsiteY351" fmla="*/ 3101 h 10000"/>
              <a:gd name="connsiteX352" fmla="*/ 6240 w 10000"/>
              <a:gd name="connsiteY352" fmla="*/ 2791 h 10000"/>
              <a:gd name="connsiteX353" fmla="*/ 6279 w 10000"/>
              <a:gd name="connsiteY353" fmla="*/ 2403 h 10000"/>
              <a:gd name="connsiteX354" fmla="*/ 6202 w 10000"/>
              <a:gd name="connsiteY354" fmla="*/ 2170 h 10000"/>
              <a:gd name="connsiteX355" fmla="*/ 5969 w 10000"/>
              <a:gd name="connsiteY355" fmla="*/ 2016 h 10000"/>
              <a:gd name="connsiteX356" fmla="*/ 5892 w 10000"/>
              <a:gd name="connsiteY356" fmla="*/ 2016 h 10000"/>
              <a:gd name="connsiteX357" fmla="*/ 5853 w 10000"/>
              <a:gd name="connsiteY357" fmla="*/ 2170 h 10000"/>
              <a:gd name="connsiteX358" fmla="*/ 5892 w 10000"/>
              <a:gd name="connsiteY358" fmla="*/ 2325 h 10000"/>
              <a:gd name="connsiteX359" fmla="*/ 5582 w 10000"/>
              <a:gd name="connsiteY359" fmla="*/ 2248 h 10000"/>
              <a:gd name="connsiteX360" fmla="*/ 5620 w 10000"/>
              <a:gd name="connsiteY360" fmla="*/ 2016 h 10000"/>
              <a:gd name="connsiteX361" fmla="*/ 5427 w 10000"/>
              <a:gd name="connsiteY361" fmla="*/ 1938 h 10000"/>
              <a:gd name="connsiteX362" fmla="*/ 5311 w 10000"/>
              <a:gd name="connsiteY362" fmla="*/ 2093 h 10000"/>
              <a:gd name="connsiteX363" fmla="*/ 5078 w 10000"/>
              <a:gd name="connsiteY363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5659 w 10000"/>
              <a:gd name="connsiteY233" fmla="*/ 8528 h 10000"/>
              <a:gd name="connsiteX234" fmla="*/ 6938 w 10000"/>
              <a:gd name="connsiteY234" fmla="*/ 8838 h 10000"/>
              <a:gd name="connsiteX235" fmla="*/ 6938 w 10000"/>
              <a:gd name="connsiteY235" fmla="*/ 8295 h 10000"/>
              <a:gd name="connsiteX236" fmla="*/ 6976 w 10000"/>
              <a:gd name="connsiteY236" fmla="*/ 8140 h 10000"/>
              <a:gd name="connsiteX237" fmla="*/ 6976 w 10000"/>
              <a:gd name="connsiteY237" fmla="*/ 7907 h 10000"/>
              <a:gd name="connsiteX238" fmla="*/ 6899 w 10000"/>
              <a:gd name="connsiteY238" fmla="*/ 7675 h 10000"/>
              <a:gd name="connsiteX239" fmla="*/ 6860 w 10000"/>
              <a:gd name="connsiteY239" fmla="*/ 7675 h 10000"/>
              <a:gd name="connsiteX240" fmla="*/ 6821 w 10000"/>
              <a:gd name="connsiteY240" fmla="*/ 7830 h 10000"/>
              <a:gd name="connsiteX241" fmla="*/ 6744 w 10000"/>
              <a:gd name="connsiteY241" fmla="*/ 7830 h 10000"/>
              <a:gd name="connsiteX242" fmla="*/ 6783 w 10000"/>
              <a:gd name="connsiteY242" fmla="*/ 7675 h 10000"/>
              <a:gd name="connsiteX243" fmla="*/ 6744 w 10000"/>
              <a:gd name="connsiteY243" fmla="*/ 7675 h 10000"/>
              <a:gd name="connsiteX244" fmla="*/ 6705 w 10000"/>
              <a:gd name="connsiteY244" fmla="*/ 7598 h 10000"/>
              <a:gd name="connsiteX245" fmla="*/ 6628 w 10000"/>
              <a:gd name="connsiteY245" fmla="*/ 7598 h 10000"/>
              <a:gd name="connsiteX246" fmla="*/ 6628 w 10000"/>
              <a:gd name="connsiteY246" fmla="*/ 7520 h 10000"/>
              <a:gd name="connsiteX247" fmla="*/ 6744 w 10000"/>
              <a:gd name="connsiteY247" fmla="*/ 7287 h 10000"/>
              <a:gd name="connsiteX248" fmla="*/ 7094 w 10000"/>
              <a:gd name="connsiteY248" fmla="*/ 6590 h 10000"/>
              <a:gd name="connsiteX249" fmla="*/ 7249 w 10000"/>
              <a:gd name="connsiteY249" fmla="*/ 6512 h 10000"/>
              <a:gd name="connsiteX250" fmla="*/ 7287 w 10000"/>
              <a:gd name="connsiteY250" fmla="*/ 6590 h 10000"/>
              <a:gd name="connsiteX251" fmla="*/ 7326 w 10000"/>
              <a:gd name="connsiteY251" fmla="*/ 6512 h 10000"/>
              <a:gd name="connsiteX252" fmla="*/ 7442 w 10000"/>
              <a:gd name="connsiteY252" fmla="*/ 6590 h 10000"/>
              <a:gd name="connsiteX253" fmla="*/ 7481 w 10000"/>
              <a:gd name="connsiteY253" fmla="*/ 6434 h 10000"/>
              <a:gd name="connsiteX254" fmla="*/ 7597 w 10000"/>
              <a:gd name="connsiteY254" fmla="*/ 6512 h 10000"/>
              <a:gd name="connsiteX255" fmla="*/ 7636 w 10000"/>
              <a:gd name="connsiteY255" fmla="*/ 6512 h 10000"/>
              <a:gd name="connsiteX256" fmla="*/ 7597 w 10000"/>
              <a:gd name="connsiteY256" fmla="*/ 6590 h 10000"/>
              <a:gd name="connsiteX257" fmla="*/ 7597 w 10000"/>
              <a:gd name="connsiteY257" fmla="*/ 6667 h 10000"/>
              <a:gd name="connsiteX258" fmla="*/ 7830 w 10000"/>
              <a:gd name="connsiteY258" fmla="*/ 6590 h 10000"/>
              <a:gd name="connsiteX259" fmla="*/ 7791 w 10000"/>
              <a:gd name="connsiteY259" fmla="*/ 6512 h 10000"/>
              <a:gd name="connsiteX260" fmla="*/ 7946 w 10000"/>
              <a:gd name="connsiteY260" fmla="*/ 5969 h 10000"/>
              <a:gd name="connsiteX261" fmla="*/ 8140 w 10000"/>
              <a:gd name="connsiteY261" fmla="*/ 5892 h 10000"/>
              <a:gd name="connsiteX262" fmla="*/ 8140 w 10000"/>
              <a:gd name="connsiteY262" fmla="*/ 6047 h 10000"/>
              <a:gd name="connsiteX263" fmla="*/ 8140 w 10000"/>
              <a:gd name="connsiteY263" fmla="*/ 6202 h 10000"/>
              <a:gd name="connsiteX264" fmla="*/ 8333 w 10000"/>
              <a:gd name="connsiteY264" fmla="*/ 5969 h 10000"/>
              <a:gd name="connsiteX265" fmla="*/ 8333 w 10000"/>
              <a:gd name="connsiteY265" fmla="*/ 5737 h 10000"/>
              <a:gd name="connsiteX266" fmla="*/ 8411 w 10000"/>
              <a:gd name="connsiteY266" fmla="*/ 5737 h 10000"/>
              <a:gd name="connsiteX267" fmla="*/ 8372 w 10000"/>
              <a:gd name="connsiteY267" fmla="*/ 5814 h 10000"/>
              <a:gd name="connsiteX268" fmla="*/ 8333 w 10000"/>
              <a:gd name="connsiteY268" fmla="*/ 6202 h 10000"/>
              <a:gd name="connsiteX269" fmla="*/ 8256 w 10000"/>
              <a:gd name="connsiteY269" fmla="*/ 6279 h 10000"/>
              <a:gd name="connsiteX270" fmla="*/ 8023 w 10000"/>
              <a:gd name="connsiteY270" fmla="*/ 6822 h 10000"/>
              <a:gd name="connsiteX271" fmla="*/ 7946 w 10000"/>
              <a:gd name="connsiteY271" fmla="*/ 6900 h 10000"/>
              <a:gd name="connsiteX272" fmla="*/ 7868 w 10000"/>
              <a:gd name="connsiteY272" fmla="*/ 7442 h 10000"/>
              <a:gd name="connsiteX273" fmla="*/ 7946 w 10000"/>
              <a:gd name="connsiteY273" fmla="*/ 8372 h 10000"/>
              <a:gd name="connsiteX274" fmla="*/ 8023 w 10000"/>
              <a:gd name="connsiteY274" fmla="*/ 8217 h 10000"/>
              <a:gd name="connsiteX275" fmla="*/ 8101 w 10000"/>
              <a:gd name="connsiteY275" fmla="*/ 7907 h 10000"/>
              <a:gd name="connsiteX276" fmla="*/ 8140 w 10000"/>
              <a:gd name="connsiteY276" fmla="*/ 7907 h 10000"/>
              <a:gd name="connsiteX277" fmla="*/ 8140 w 10000"/>
              <a:gd name="connsiteY277" fmla="*/ 7675 h 10000"/>
              <a:gd name="connsiteX278" fmla="*/ 8178 w 10000"/>
              <a:gd name="connsiteY278" fmla="*/ 7675 h 10000"/>
              <a:gd name="connsiteX279" fmla="*/ 8256 w 10000"/>
              <a:gd name="connsiteY279" fmla="*/ 7598 h 10000"/>
              <a:gd name="connsiteX280" fmla="*/ 8217 w 10000"/>
              <a:gd name="connsiteY280" fmla="*/ 7364 h 10000"/>
              <a:gd name="connsiteX281" fmla="*/ 8295 w 10000"/>
              <a:gd name="connsiteY281" fmla="*/ 7287 h 10000"/>
              <a:gd name="connsiteX282" fmla="*/ 8333 w 10000"/>
              <a:gd name="connsiteY282" fmla="*/ 7287 h 10000"/>
              <a:gd name="connsiteX283" fmla="*/ 8333 w 10000"/>
              <a:gd name="connsiteY283" fmla="*/ 7132 h 10000"/>
              <a:gd name="connsiteX284" fmla="*/ 8295 w 10000"/>
              <a:gd name="connsiteY284" fmla="*/ 7132 h 10000"/>
              <a:gd name="connsiteX285" fmla="*/ 8333 w 10000"/>
              <a:gd name="connsiteY285" fmla="*/ 6900 h 10000"/>
              <a:gd name="connsiteX286" fmla="*/ 8295 w 10000"/>
              <a:gd name="connsiteY286" fmla="*/ 6900 h 10000"/>
              <a:gd name="connsiteX287" fmla="*/ 8256 w 10000"/>
              <a:gd name="connsiteY287" fmla="*/ 6900 h 10000"/>
              <a:gd name="connsiteX288" fmla="*/ 8256 w 10000"/>
              <a:gd name="connsiteY288" fmla="*/ 6822 h 10000"/>
              <a:gd name="connsiteX289" fmla="*/ 8333 w 10000"/>
              <a:gd name="connsiteY289" fmla="*/ 6590 h 10000"/>
              <a:gd name="connsiteX290" fmla="*/ 8333 w 10000"/>
              <a:gd name="connsiteY290" fmla="*/ 6434 h 10000"/>
              <a:gd name="connsiteX291" fmla="*/ 8411 w 10000"/>
              <a:gd name="connsiteY291" fmla="*/ 6434 h 10000"/>
              <a:gd name="connsiteX292" fmla="*/ 8527 w 10000"/>
              <a:gd name="connsiteY292" fmla="*/ 6279 h 10000"/>
              <a:gd name="connsiteX293" fmla="*/ 8527 w 10000"/>
              <a:gd name="connsiteY293" fmla="*/ 6434 h 10000"/>
              <a:gd name="connsiteX294" fmla="*/ 8566 w 10000"/>
              <a:gd name="connsiteY294" fmla="*/ 6356 h 10000"/>
              <a:gd name="connsiteX295" fmla="*/ 8682 w 10000"/>
              <a:gd name="connsiteY295" fmla="*/ 6279 h 10000"/>
              <a:gd name="connsiteX296" fmla="*/ 8759 w 10000"/>
              <a:gd name="connsiteY296" fmla="*/ 6434 h 10000"/>
              <a:gd name="connsiteX297" fmla="*/ 8798 w 10000"/>
              <a:gd name="connsiteY297" fmla="*/ 6279 h 10000"/>
              <a:gd name="connsiteX298" fmla="*/ 9187 w 10000"/>
              <a:gd name="connsiteY298" fmla="*/ 5737 h 10000"/>
              <a:gd name="connsiteX299" fmla="*/ 9303 w 10000"/>
              <a:gd name="connsiteY299" fmla="*/ 5814 h 10000"/>
              <a:gd name="connsiteX300" fmla="*/ 9342 w 10000"/>
              <a:gd name="connsiteY300" fmla="*/ 5737 h 10000"/>
              <a:gd name="connsiteX301" fmla="*/ 9264 w 10000"/>
              <a:gd name="connsiteY301" fmla="*/ 5271 h 10000"/>
              <a:gd name="connsiteX302" fmla="*/ 9225 w 10000"/>
              <a:gd name="connsiteY302" fmla="*/ 5271 h 10000"/>
              <a:gd name="connsiteX303" fmla="*/ 9225 w 10000"/>
              <a:gd name="connsiteY303" fmla="*/ 5116 h 10000"/>
              <a:gd name="connsiteX304" fmla="*/ 9264 w 10000"/>
              <a:gd name="connsiteY304" fmla="*/ 5116 h 10000"/>
              <a:gd name="connsiteX305" fmla="*/ 9342 w 10000"/>
              <a:gd name="connsiteY305" fmla="*/ 5039 h 10000"/>
              <a:gd name="connsiteX306" fmla="*/ 9419 w 10000"/>
              <a:gd name="connsiteY306" fmla="*/ 4884 h 10000"/>
              <a:gd name="connsiteX307" fmla="*/ 9380 w 10000"/>
              <a:gd name="connsiteY307" fmla="*/ 4729 h 10000"/>
              <a:gd name="connsiteX308" fmla="*/ 9419 w 10000"/>
              <a:gd name="connsiteY308" fmla="*/ 4652 h 10000"/>
              <a:gd name="connsiteX309" fmla="*/ 9458 w 10000"/>
              <a:gd name="connsiteY309" fmla="*/ 4884 h 10000"/>
              <a:gd name="connsiteX310" fmla="*/ 9535 w 10000"/>
              <a:gd name="connsiteY310" fmla="*/ 4884 h 10000"/>
              <a:gd name="connsiteX311" fmla="*/ 9613 w 10000"/>
              <a:gd name="connsiteY311" fmla="*/ 5039 h 10000"/>
              <a:gd name="connsiteX312" fmla="*/ 9806 w 10000"/>
              <a:gd name="connsiteY312" fmla="*/ 5271 h 10000"/>
              <a:gd name="connsiteX313" fmla="*/ 9845 w 10000"/>
              <a:gd name="connsiteY313" fmla="*/ 5039 h 10000"/>
              <a:gd name="connsiteX314" fmla="*/ 9845 w 10000"/>
              <a:gd name="connsiteY314" fmla="*/ 4884 h 10000"/>
              <a:gd name="connsiteX315" fmla="*/ 9923 w 10000"/>
              <a:gd name="connsiteY315" fmla="*/ 4884 h 10000"/>
              <a:gd name="connsiteX316" fmla="*/ 10000 w 10000"/>
              <a:gd name="connsiteY316" fmla="*/ 4729 h 10000"/>
              <a:gd name="connsiteX317" fmla="*/ 9884 w 10000"/>
              <a:gd name="connsiteY317" fmla="*/ 4496 h 10000"/>
              <a:gd name="connsiteX318" fmla="*/ 9690 w 10000"/>
              <a:gd name="connsiteY318" fmla="*/ 4418 h 10000"/>
              <a:gd name="connsiteX319" fmla="*/ 9342 w 10000"/>
              <a:gd name="connsiteY319" fmla="*/ 3799 h 10000"/>
              <a:gd name="connsiteX320" fmla="*/ 9109 w 10000"/>
              <a:gd name="connsiteY320" fmla="*/ 3488 h 10000"/>
              <a:gd name="connsiteX321" fmla="*/ 8798 w 10000"/>
              <a:gd name="connsiteY321" fmla="*/ 3411 h 10000"/>
              <a:gd name="connsiteX322" fmla="*/ 8798 w 10000"/>
              <a:gd name="connsiteY322" fmla="*/ 3799 h 10000"/>
              <a:gd name="connsiteX323" fmla="*/ 8721 w 10000"/>
              <a:gd name="connsiteY323" fmla="*/ 3876 h 10000"/>
              <a:gd name="connsiteX324" fmla="*/ 8643 w 10000"/>
              <a:gd name="connsiteY324" fmla="*/ 3721 h 10000"/>
              <a:gd name="connsiteX325" fmla="*/ 8643 w 10000"/>
              <a:gd name="connsiteY325" fmla="*/ 3566 h 10000"/>
              <a:gd name="connsiteX326" fmla="*/ 8682 w 10000"/>
              <a:gd name="connsiteY326" fmla="*/ 3566 h 10000"/>
              <a:gd name="connsiteX327" fmla="*/ 8721 w 10000"/>
              <a:gd name="connsiteY327" fmla="*/ 3488 h 10000"/>
              <a:gd name="connsiteX328" fmla="*/ 8643 w 10000"/>
              <a:gd name="connsiteY328" fmla="*/ 3488 h 10000"/>
              <a:gd name="connsiteX329" fmla="*/ 8566 w 10000"/>
              <a:gd name="connsiteY329" fmla="*/ 3644 h 10000"/>
              <a:gd name="connsiteX330" fmla="*/ 8372 w 10000"/>
              <a:gd name="connsiteY330" fmla="*/ 3566 h 10000"/>
              <a:gd name="connsiteX331" fmla="*/ 8178 w 10000"/>
              <a:gd name="connsiteY331" fmla="*/ 3566 h 10000"/>
              <a:gd name="connsiteX332" fmla="*/ 8101 w 10000"/>
              <a:gd name="connsiteY332" fmla="*/ 3488 h 10000"/>
              <a:gd name="connsiteX333" fmla="*/ 8140 w 10000"/>
              <a:gd name="connsiteY333" fmla="*/ 3333 h 10000"/>
              <a:gd name="connsiteX334" fmla="*/ 8062 w 10000"/>
              <a:gd name="connsiteY334" fmla="*/ 3101 h 10000"/>
              <a:gd name="connsiteX335" fmla="*/ 7907 w 10000"/>
              <a:gd name="connsiteY335" fmla="*/ 3023 h 10000"/>
              <a:gd name="connsiteX336" fmla="*/ 7675 w 10000"/>
              <a:gd name="connsiteY336" fmla="*/ 3178 h 10000"/>
              <a:gd name="connsiteX337" fmla="*/ 7636 w 10000"/>
              <a:gd name="connsiteY337" fmla="*/ 2946 h 10000"/>
              <a:gd name="connsiteX338" fmla="*/ 7558 w 10000"/>
              <a:gd name="connsiteY338" fmla="*/ 2946 h 10000"/>
              <a:gd name="connsiteX339" fmla="*/ 7520 w 10000"/>
              <a:gd name="connsiteY339" fmla="*/ 2868 h 10000"/>
              <a:gd name="connsiteX340" fmla="*/ 7520 w 10000"/>
              <a:gd name="connsiteY340" fmla="*/ 2636 h 10000"/>
              <a:gd name="connsiteX341" fmla="*/ 7249 w 10000"/>
              <a:gd name="connsiteY341" fmla="*/ 2480 h 10000"/>
              <a:gd name="connsiteX342" fmla="*/ 6938 w 10000"/>
              <a:gd name="connsiteY342" fmla="*/ 2325 h 10000"/>
              <a:gd name="connsiteX343" fmla="*/ 6860 w 10000"/>
              <a:gd name="connsiteY343" fmla="*/ 2636 h 10000"/>
              <a:gd name="connsiteX344" fmla="*/ 6938 w 10000"/>
              <a:gd name="connsiteY344" fmla="*/ 2868 h 10000"/>
              <a:gd name="connsiteX345" fmla="*/ 6705 w 10000"/>
              <a:gd name="connsiteY345" fmla="*/ 2868 h 10000"/>
              <a:gd name="connsiteX346" fmla="*/ 6666 w 10000"/>
              <a:gd name="connsiteY346" fmla="*/ 2868 h 10000"/>
              <a:gd name="connsiteX347" fmla="*/ 6589 w 10000"/>
              <a:gd name="connsiteY347" fmla="*/ 2946 h 10000"/>
              <a:gd name="connsiteX348" fmla="*/ 6473 w 10000"/>
              <a:gd name="connsiteY348" fmla="*/ 2714 h 10000"/>
              <a:gd name="connsiteX349" fmla="*/ 6395 w 10000"/>
              <a:gd name="connsiteY349" fmla="*/ 3178 h 10000"/>
              <a:gd name="connsiteX350" fmla="*/ 6318 w 10000"/>
              <a:gd name="connsiteY350" fmla="*/ 3101 h 10000"/>
              <a:gd name="connsiteX351" fmla="*/ 6240 w 10000"/>
              <a:gd name="connsiteY351" fmla="*/ 2791 h 10000"/>
              <a:gd name="connsiteX352" fmla="*/ 6279 w 10000"/>
              <a:gd name="connsiteY352" fmla="*/ 2403 h 10000"/>
              <a:gd name="connsiteX353" fmla="*/ 6202 w 10000"/>
              <a:gd name="connsiteY353" fmla="*/ 2170 h 10000"/>
              <a:gd name="connsiteX354" fmla="*/ 5969 w 10000"/>
              <a:gd name="connsiteY354" fmla="*/ 2016 h 10000"/>
              <a:gd name="connsiteX355" fmla="*/ 5892 w 10000"/>
              <a:gd name="connsiteY355" fmla="*/ 2016 h 10000"/>
              <a:gd name="connsiteX356" fmla="*/ 5853 w 10000"/>
              <a:gd name="connsiteY356" fmla="*/ 2170 h 10000"/>
              <a:gd name="connsiteX357" fmla="*/ 5892 w 10000"/>
              <a:gd name="connsiteY357" fmla="*/ 2325 h 10000"/>
              <a:gd name="connsiteX358" fmla="*/ 5582 w 10000"/>
              <a:gd name="connsiteY358" fmla="*/ 2248 h 10000"/>
              <a:gd name="connsiteX359" fmla="*/ 5620 w 10000"/>
              <a:gd name="connsiteY359" fmla="*/ 2016 h 10000"/>
              <a:gd name="connsiteX360" fmla="*/ 5427 w 10000"/>
              <a:gd name="connsiteY360" fmla="*/ 1938 h 10000"/>
              <a:gd name="connsiteX361" fmla="*/ 5311 w 10000"/>
              <a:gd name="connsiteY361" fmla="*/ 2093 h 10000"/>
              <a:gd name="connsiteX362" fmla="*/ 5078 w 10000"/>
              <a:gd name="connsiteY362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938 w 10000"/>
              <a:gd name="connsiteY233" fmla="*/ 8838 h 10000"/>
              <a:gd name="connsiteX234" fmla="*/ 6938 w 10000"/>
              <a:gd name="connsiteY234" fmla="*/ 8295 h 10000"/>
              <a:gd name="connsiteX235" fmla="*/ 6976 w 10000"/>
              <a:gd name="connsiteY235" fmla="*/ 8140 h 10000"/>
              <a:gd name="connsiteX236" fmla="*/ 6976 w 10000"/>
              <a:gd name="connsiteY236" fmla="*/ 7907 h 10000"/>
              <a:gd name="connsiteX237" fmla="*/ 6899 w 10000"/>
              <a:gd name="connsiteY237" fmla="*/ 7675 h 10000"/>
              <a:gd name="connsiteX238" fmla="*/ 6860 w 10000"/>
              <a:gd name="connsiteY238" fmla="*/ 7675 h 10000"/>
              <a:gd name="connsiteX239" fmla="*/ 6821 w 10000"/>
              <a:gd name="connsiteY239" fmla="*/ 7830 h 10000"/>
              <a:gd name="connsiteX240" fmla="*/ 6744 w 10000"/>
              <a:gd name="connsiteY240" fmla="*/ 7830 h 10000"/>
              <a:gd name="connsiteX241" fmla="*/ 6783 w 10000"/>
              <a:gd name="connsiteY241" fmla="*/ 7675 h 10000"/>
              <a:gd name="connsiteX242" fmla="*/ 6744 w 10000"/>
              <a:gd name="connsiteY242" fmla="*/ 7675 h 10000"/>
              <a:gd name="connsiteX243" fmla="*/ 6705 w 10000"/>
              <a:gd name="connsiteY243" fmla="*/ 7598 h 10000"/>
              <a:gd name="connsiteX244" fmla="*/ 6628 w 10000"/>
              <a:gd name="connsiteY244" fmla="*/ 7598 h 10000"/>
              <a:gd name="connsiteX245" fmla="*/ 6628 w 10000"/>
              <a:gd name="connsiteY245" fmla="*/ 7520 h 10000"/>
              <a:gd name="connsiteX246" fmla="*/ 6744 w 10000"/>
              <a:gd name="connsiteY246" fmla="*/ 7287 h 10000"/>
              <a:gd name="connsiteX247" fmla="*/ 7094 w 10000"/>
              <a:gd name="connsiteY247" fmla="*/ 6590 h 10000"/>
              <a:gd name="connsiteX248" fmla="*/ 7249 w 10000"/>
              <a:gd name="connsiteY248" fmla="*/ 6512 h 10000"/>
              <a:gd name="connsiteX249" fmla="*/ 7287 w 10000"/>
              <a:gd name="connsiteY249" fmla="*/ 6590 h 10000"/>
              <a:gd name="connsiteX250" fmla="*/ 7326 w 10000"/>
              <a:gd name="connsiteY250" fmla="*/ 6512 h 10000"/>
              <a:gd name="connsiteX251" fmla="*/ 7442 w 10000"/>
              <a:gd name="connsiteY251" fmla="*/ 6590 h 10000"/>
              <a:gd name="connsiteX252" fmla="*/ 7481 w 10000"/>
              <a:gd name="connsiteY252" fmla="*/ 6434 h 10000"/>
              <a:gd name="connsiteX253" fmla="*/ 7597 w 10000"/>
              <a:gd name="connsiteY253" fmla="*/ 6512 h 10000"/>
              <a:gd name="connsiteX254" fmla="*/ 7636 w 10000"/>
              <a:gd name="connsiteY254" fmla="*/ 6512 h 10000"/>
              <a:gd name="connsiteX255" fmla="*/ 7597 w 10000"/>
              <a:gd name="connsiteY255" fmla="*/ 6590 h 10000"/>
              <a:gd name="connsiteX256" fmla="*/ 7597 w 10000"/>
              <a:gd name="connsiteY256" fmla="*/ 6667 h 10000"/>
              <a:gd name="connsiteX257" fmla="*/ 7830 w 10000"/>
              <a:gd name="connsiteY257" fmla="*/ 6590 h 10000"/>
              <a:gd name="connsiteX258" fmla="*/ 7791 w 10000"/>
              <a:gd name="connsiteY258" fmla="*/ 6512 h 10000"/>
              <a:gd name="connsiteX259" fmla="*/ 7946 w 10000"/>
              <a:gd name="connsiteY259" fmla="*/ 5969 h 10000"/>
              <a:gd name="connsiteX260" fmla="*/ 8140 w 10000"/>
              <a:gd name="connsiteY260" fmla="*/ 5892 h 10000"/>
              <a:gd name="connsiteX261" fmla="*/ 8140 w 10000"/>
              <a:gd name="connsiteY261" fmla="*/ 6047 h 10000"/>
              <a:gd name="connsiteX262" fmla="*/ 8140 w 10000"/>
              <a:gd name="connsiteY262" fmla="*/ 6202 h 10000"/>
              <a:gd name="connsiteX263" fmla="*/ 8333 w 10000"/>
              <a:gd name="connsiteY263" fmla="*/ 5969 h 10000"/>
              <a:gd name="connsiteX264" fmla="*/ 8333 w 10000"/>
              <a:gd name="connsiteY264" fmla="*/ 5737 h 10000"/>
              <a:gd name="connsiteX265" fmla="*/ 8411 w 10000"/>
              <a:gd name="connsiteY265" fmla="*/ 5737 h 10000"/>
              <a:gd name="connsiteX266" fmla="*/ 8372 w 10000"/>
              <a:gd name="connsiteY266" fmla="*/ 5814 h 10000"/>
              <a:gd name="connsiteX267" fmla="*/ 8333 w 10000"/>
              <a:gd name="connsiteY267" fmla="*/ 6202 h 10000"/>
              <a:gd name="connsiteX268" fmla="*/ 8256 w 10000"/>
              <a:gd name="connsiteY268" fmla="*/ 6279 h 10000"/>
              <a:gd name="connsiteX269" fmla="*/ 8023 w 10000"/>
              <a:gd name="connsiteY269" fmla="*/ 6822 h 10000"/>
              <a:gd name="connsiteX270" fmla="*/ 7946 w 10000"/>
              <a:gd name="connsiteY270" fmla="*/ 6900 h 10000"/>
              <a:gd name="connsiteX271" fmla="*/ 7868 w 10000"/>
              <a:gd name="connsiteY271" fmla="*/ 7442 h 10000"/>
              <a:gd name="connsiteX272" fmla="*/ 7946 w 10000"/>
              <a:gd name="connsiteY272" fmla="*/ 8372 h 10000"/>
              <a:gd name="connsiteX273" fmla="*/ 8023 w 10000"/>
              <a:gd name="connsiteY273" fmla="*/ 8217 h 10000"/>
              <a:gd name="connsiteX274" fmla="*/ 8101 w 10000"/>
              <a:gd name="connsiteY274" fmla="*/ 7907 h 10000"/>
              <a:gd name="connsiteX275" fmla="*/ 8140 w 10000"/>
              <a:gd name="connsiteY275" fmla="*/ 7907 h 10000"/>
              <a:gd name="connsiteX276" fmla="*/ 8140 w 10000"/>
              <a:gd name="connsiteY276" fmla="*/ 7675 h 10000"/>
              <a:gd name="connsiteX277" fmla="*/ 8178 w 10000"/>
              <a:gd name="connsiteY277" fmla="*/ 7675 h 10000"/>
              <a:gd name="connsiteX278" fmla="*/ 8256 w 10000"/>
              <a:gd name="connsiteY278" fmla="*/ 7598 h 10000"/>
              <a:gd name="connsiteX279" fmla="*/ 8217 w 10000"/>
              <a:gd name="connsiteY279" fmla="*/ 7364 h 10000"/>
              <a:gd name="connsiteX280" fmla="*/ 8295 w 10000"/>
              <a:gd name="connsiteY280" fmla="*/ 7287 h 10000"/>
              <a:gd name="connsiteX281" fmla="*/ 8333 w 10000"/>
              <a:gd name="connsiteY281" fmla="*/ 7287 h 10000"/>
              <a:gd name="connsiteX282" fmla="*/ 8333 w 10000"/>
              <a:gd name="connsiteY282" fmla="*/ 7132 h 10000"/>
              <a:gd name="connsiteX283" fmla="*/ 8295 w 10000"/>
              <a:gd name="connsiteY283" fmla="*/ 7132 h 10000"/>
              <a:gd name="connsiteX284" fmla="*/ 8333 w 10000"/>
              <a:gd name="connsiteY284" fmla="*/ 6900 h 10000"/>
              <a:gd name="connsiteX285" fmla="*/ 8295 w 10000"/>
              <a:gd name="connsiteY285" fmla="*/ 6900 h 10000"/>
              <a:gd name="connsiteX286" fmla="*/ 8256 w 10000"/>
              <a:gd name="connsiteY286" fmla="*/ 6900 h 10000"/>
              <a:gd name="connsiteX287" fmla="*/ 8256 w 10000"/>
              <a:gd name="connsiteY287" fmla="*/ 6822 h 10000"/>
              <a:gd name="connsiteX288" fmla="*/ 8333 w 10000"/>
              <a:gd name="connsiteY288" fmla="*/ 6590 h 10000"/>
              <a:gd name="connsiteX289" fmla="*/ 8333 w 10000"/>
              <a:gd name="connsiteY289" fmla="*/ 6434 h 10000"/>
              <a:gd name="connsiteX290" fmla="*/ 8411 w 10000"/>
              <a:gd name="connsiteY290" fmla="*/ 6434 h 10000"/>
              <a:gd name="connsiteX291" fmla="*/ 8527 w 10000"/>
              <a:gd name="connsiteY291" fmla="*/ 6279 h 10000"/>
              <a:gd name="connsiteX292" fmla="*/ 8527 w 10000"/>
              <a:gd name="connsiteY292" fmla="*/ 6434 h 10000"/>
              <a:gd name="connsiteX293" fmla="*/ 8566 w 10000"/>
              <a:gd name="connsiteY293" fmla="*/ 6356 h 10000"/>
              <a:gd name="connsiteX294" fmla="*/ 8682 w 10000"/>
              <a:gd name="connsiteY294" fmla="*/ 6279 h 10000"/>
              <a:gd name="connsiteX295" fmla="*/ 8759 w 10000"/>
              <a:gd name="connsiteY295" fmla="*/ 6434 h 10000"/>
              <a:gd name="connsiteX296" fmla="*/ 8798 w 10000"/>
              <a:gd name="connsiteY296" fmla="*/ 6279 h 10000"/>
              <a:gd name="connsiteX297" fmla="*/ 9187 w 10000"/>
              <a:gd name="connsiteY297" fmla="*/ 5737 h 10000"/>
              <a:gd name="connsiteX298" fmla="*/ 9303 w 10000"/>
              <a:gd name="connsiteY298" fmla="*/ 5814 h 10000"/>
              <a:gd name="connsiteX299" fmla="*/ 9342 w 10000"/>
              <a:gd name="connsiteY299" fmla="*/ 5737 h 10000"/>
              <a:gd name="connsiteX300" fmla="*/ 9264 w 10000"/>
              <a:gd name="connsiteY300" fmla="*/ 5271 h 10000"/>
              <a:gd name="connsiteX301" fmla="*/ 9225 w 10000"/>
              <a:gd name="connsiteY301" fmla="*/ 5271 h 10000"/>
              <a:gd name="connsiteX302" fmla="*/ 9225 w 10000"/>
              <a:gd name="connsiteY302" fmla="*/ 5116 h 10000"/>
              <a:gd name="connsiteX303" fmla="*/ 9264 w 10000"/>
              <a:gd name="connsiteY303" fmla="*/ 5116 h 10000"/>
              <a:gd name="connsiteX304" fmla="*/ 9342 w 10000"/>
              <a:gd name="connsiteY304" fmla="*/ 5039 h 10000"/>
              <a:gd name="connsiteX305" fmla="*/ 9419 w 10000"/>
              <a:gd name="connsiteY305" fmla="*/ 4884 h 10000"/>
              <a:gd name="connsiteX306" fmla="*/ 9380 w 10000"/>
              <a:gd name="connsiteY306" fmla="*/ 4729 h 10000"/>
              <a:gd name="connsiteX307" fmla="*/ 9419 w 10000"/>
              <a:gd name="connsiteY307" fmla="*/ 4652 h 10000"/>
              <a:gd name="connsiteX308" fmla="*/ 9458 w 10000"/>
              <a:gd name="connsiteY308" fmla="*/ 4884 h 10000"/>
              <a:gd name="connsiteX309" fmla="*/ 9535 w 10000"/>
              <a:gd name="connsiteY309" fmla="*/ 4884 h 10000"/>
              <a:gd name="connsiteX310" fmla="*/ 9613 w 10000"/>
              <a:gd name="connsiteY310" fmla="*/ 5039 h 10000"/>
              <a:gd name="connsiteX311" fmla="*/ 9806 w 10000"/>
              <a:gd name="connsiteY311" fmla="*/ 5271 h 10000"/>
              <a:gd name="connsiteX312" fmla="*/ 9845 w 10000"/>
              <a:gd name="connsiteY312" fmla="*/ 5039 h 10000"/>
              <a:gd name="connsiteX313" fmla="*/ 9845 w 10000"/>
              <a:gd name="connsiteY313" fmla="*/ 4884 h 10000"/>
              <a:gd name="connsiteX314" fmla="*/ 9923 w 10000"/>
              <a:gd name="connsiteY314" fmla="*/ 4884 h 10000"/>
              <a:gd name="connsiteX315" fmla="*/ 10000 w 10000"/>
              <a:gd name="connsiteY315" fmla="*/ 4729 h 10000"/>
              <a:gd name="connsiteX316" fmla="*/ 9884 w 10000"/>
              <a:gd name="connsiteY316" fmla="*/ 4496 h 10000"/>
              <a:gd name="connsiteX317" fmla="*/ 9690 w 10000"/>
              <a:gd name="connsiteY317" fmla="*/ 4418 h 10000"/>
              <a:gd name="connsiteX318" fmla="*/ 9342 w 10000"/>
              <a:gd name="connsiteY318" fmla="*/ 3799 h 10000"/>
              <a:gd name="connsiteX319" fmla="*/ 9109 w 10000"/>
              <a:gd name="connsiteY319" fmla="*/ 3488 h 10000"/>
              <a:gd name="connsiteX320" fmla="*/ 8798 w 10000"/>
              <a:gd name="connsiteY320" fmla="*/ 3411 h 10000"/>
              <a:gd name="connsiteX321" fmla="*/ 8798 w 10000"/>
              <a:gd name="connsiteY321" fmla="*/ 3799 h 10000"/>
              <a:gd name="connsiteX322" fmla="*/ 8721 w 10000"/>
              <a:gd name="connsiteY322" fmla="*/ 3876 h 10000"/>
              <a:gd name="connsiteX323" fmla="*/ 8643 w 10000"/>
              <a:gd name="connsiteY323" fmla="*/ 3721 h 10000"/>
              <a:gd name="connsiteX324" fmla="*/ 8643 w 10000"/>
              <a:gd name="connsiteY324" fmla="*/ 3566 h 10000"/>
              <a:gd name="connsiteX325" fmla="*/ 8682 w 10000"/>
              <a:gd name="connsiteY325" fmla="*/ 3566 h 10000"/>
              <a:gd name="connsiteX326" fmla="*/ 8721 w 10000"/>
              <a:gd name="connsiteY326" fmla="*/ 3488 h 10000"/>
              <a:gd name="connsiteX327" fmla="*/ 8643 w 10000"/>
              <a:gd name="connsiteY327" fmla="*/ 3488 h 10000"/>
              <a:gd name="connsiteX328" fmla="*/ 8566 w 10000"/>
              <a:gd name="connsiteY328" fmla="*/ 3644 h 10000"/>
              <a:gd name="connsiteX329" fmla="*/ 8372 w 10000"/>
              <a:gd name="connsiteY329" fmla="*/ 3566 h 10000"/>
              <a:gd name="connsiteX330" fmla="*/ 8178 w 10000"/>
              <a:gd name="connsiteY330" fmla="*/ 3566 h 10000"/>
              <a:gd name="connsiteX331" fmla="*/ 8101 w 10000"/>
              <a:gd name="connsiteY331" fmla="*/ 3488 h 10000"/>
              <a:gd name="connsiteX332" fmla="*/ 8140 w 10000"/>
              <a:gd name="connsiteY332" fmla="*/ 3333 h 10000"/>
              <a:gd name="connsiteX333" fmla="*/ 8062 w 10000"/>
              <a:gd name="connsiteY333" fmla="*/ 3101 h 10000"/>
              <a:gd name="connsiteX334" fmla="*/ 7907 w 10000"/>
              <a:gd name="connsiteY334" fmla="*/ 3023 h 10000"/>
              <a:gd name="connsiteX335" fmla="*/ 7675 w 10000"/>
              <a:gd name="connsiteY335" fmla="*/ 3178 h 10000"/>
              <a:gd name="connsiteX336" fmla="*/ 7636 w 10000"/>
              <a:gd name="connsiteY336" fmla="*/ 2946 h 10000"/>
              <a:gd name="connsiteX337" fmla="*/ 7558 w 10000"/>
              <a:gd name="connsiteY337" fmla="*/ 2946 h 10000"/>
              <a:gd name="connsiteX338" fmla="*/ 7520 w 10000"/>
              <a:gd name="connsiteY338" fmla="*/ 2868 h 10000"/>
              <a:gd name="connsiteX339" fmla="*/ 7520 w 10000"/>
              <a:gd name="connsiteY339" fmla="*/ 2636 h 10000"/>
              <a:gd name="connsiteX340" fmla="*/ 7249 w 10000"/>
              <a:gd name="connsiteY340" fmla="*/ 2480 h 10000"/>
              <a:gd name="connsiteX341" fmla="*/ 6938 w 10000"/>
              <a:gd name="connsiteY341" fmla="*/ 2325 h 10000"/>
              <a:gd name="connsiteX342" fmla="*/ 6860 w 10000"/>
              <a:gd name="connsiteY342" fmla="*/ 2636 h 10000"/>
              <a:gd name="connsiteX343" fmla="*/ 6938 w 10000"/>
              <a:gd name="connsiteY343" fmla="*/ 2868 h 10000"/>
              <a:gd name="connsiteX344" fmla="*/ 6705 w 10000"/>
              <a:gd name="connsiteY344" fmla="*/ 2868 h 10000"/>
              <a:gd name="connsiteX345" fmla="*/ 6666 w 10000"/>
              <a:gd name="connsiteY345" fmla="*/ 2868 h 10000"/>
              <a:gd name="connsiteX346" fmla="*/ 6589 w 10000"/>
              <a:gd name="connsiteY346" fmla="*/ 2946 h 10000"/>
              <a:gd name="connsiteX347" fmla="*/ 6473 w 10000"/>
              <a:gd name="connsiteY347" fmla="*/ 2714 h 10000"/>
              <a:gd name="connsiteX348" fmla="*/ 6395 w 10000"/>
              <a:gd name="connsiteY348" fmla="*/ 3178 h 10000"/>
              <a:gd name="connsiteX349" fmla="*/ 6318 w 10000"/>
              <a:gd name="connsiteY349" fmla="*/ 3101 h 10000"/>
              <a:gd name="connsiteX350" fmla="*/ 6240 w 10000"/>
              <a:gd name="connsiteY350" fmla="*/ 2791 h 10000"/>
              <a:gd name="connsiteX351" fmla="*/ 6279 w 10000"/>
              <a:gd name="connsiteY351" fmla="*/ 2403 h 10000"/>
              <a:gd name="connsiteX352" fmla="*/ 6202 w 10000"/>
              <a:gd name="connsiteY352" fmla="*/ 2170 h 10000"/>
              <a:gd name="connsiteX353" fmla="*/ 5969 w 10000"/>
              <a:gd name="connsiteY353" fmla="*/ 2016 h 10000"/>
              <a:gd name="connsiteX354" fmla="*/ 5892 w 10000"/>
              <a:gd name="connsiteY354" fmla="*/ 2016 h 10000"/>
              <a:gd name="connsiteX355" fmla="*/ 5853 w 10000"/>
              <a:gd name="connsiteY355" fmla="*/ 2170 h 10000"/>
              <a:gd name="connsiteX356" fmla="*/ 5892 w 10000"/>
              <a:gd name="connsiteY356" fmla="*/ 2325 h 10000"/>
              <a:gd name="connsiteX357" fmla="*/ 5582 w 10000"/>
              <a:gd name="connsiteY357" fmla="*/ 2248 h 10000"/>
              <a:gd name="connsiteX358" fmla="*/ 5620 w 10000"/>
              <a:gd name="connsiteY358" fmla="*/ 2016 h 10000"/>
              <a:gd name="connsiteX359" fmla="*/ 5427 w 10000"/>
              <a:gd name="connsiteY359" fmla="*/ 1938 h 10000"/>
              <a:gd name="connsiteX360" fmla="*/ 5311 w 10000"/>
              <a:gd name="connsiteY360" fmla="*/ 2093 h 10000"/>
              <a:gd name="connsiteX361" fmla="*/ 5078 w 10000"/>
              <a:gd name="connsiteY361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938 w 10000"/>
              <a:gd name="connsiteY233" fmla="*/ 8295 h 10000"/>
              <a:gd name="connsiteX234" fmla="*/ 6976 w 10000"/>
              <a:gd name="connsiteY234" fmla="*/ 8140 h 10000"/>
              <a:gd name="connsiteX235" fmla="*/ 6976 w 10000"/>
              <a:gd name="connsiteY235" fmla="*/ 7907 h 10000"/>
              <a:gd name="connsiteX236" fmla="*/ 6899 w 10000"/>
              <a:gd name="connsiteY236" fmla="*/ 7675 h 10000"/>
              <a:gd name="connsiteX237" fmla="*/ 6860 w 10000"/>
              <a:gd name="connsiteY237" fmla="*/ 7675 h 10000"/>
              <a:gd name="connsiteX238" fmla="*/ 6821 w 10000"/>
              <a:gd name="connsiteY238" fmla="*/ 7830 h 10000"/>
              <a:gd name="connsiteX239" fmla="*/ 6744 w 10000"/>
              <a:gd name="connsiteY239" fmla="*/ 7830 h 10000"/>
              <a:gd name="connsiteX240" fmla="*/ 6783 w 10000"/>
              <a:gd name="connsiteY240" fmla="*/ 7675 h 10000"/>
              <a:gd name="connsiteX241" fmla="*/ 6744 w 10000"/>
              <a:gd name="connsiteY241" fmla="*/ 7675 h 10000"/>
              <a:gd name="connsiteX242" fmla="*/ 6705 w 10000"/>
              <a:gd name="connsiteY242" fmla="*/ 7598 h 10000"/>
              <a:gd name="connsiteX243" fmla="*/ 6628 w 10000"/>
              <a:gd name="connsiteY243" fmla="*/ 7598 h 10000"/>
              <a:gd name="connsiteX244" fmla="*/ 6628 w 10000"/>
              <a:gd name="connsiteY244" fmla="*/ 7520 h 10000"/>
              <a:gd name="connsiteX245" fmla="*/ 6744 w 10000"/>
              <a:gd name="connsiteY245" fmla="*/ 7287 h 10000"/>
              <a:gd name="connsiteX246" fmla="*/ 7094 w 10000"/>
              <a:gd name="connsiteY246" fmla="*/ 6590 h 10000"/>
              <a:gd name="connsiteX247" fmla="*/ 7249 w 10000"/>
              <a:gd name="connsiteY247" fmla="*/ 6512 h 10000"/>
              <a:gd name="connsiteX248" fmla="*/ 7287 w 10000"/>
              <a:gd name="connsiteY248" fmla="*/ 6590 h 10000"/>
              <a:gd name="connsiteX249" fmla="*/ 7326 w 10000"/>
              <a:gd name="connsiteY249" fmla="*/ 6512 h 10000"/>
              <a:gd name="connsiteX250" fmla="*/ 7442 w 10000"/>
              <a:gd name="connsiteY250" fmla="*/ 6590 h 10000"/>
              <a:gd name="connsiteX251" fmla="*/ 7481 w 10000"/>
              <a:gd name="connsiteY251" fmla="*/ 6434 h 10000"/>
              <a:gd name="connsiteX252" fmla="*/ 7597 w 10000"/>
              <a:gd name="connsiteY252" fmla="*/ 6512 h 10000"/>
              <a:gd name="connsiteX253" fmla="*/ 7636 w 10000"/>
              <a:gd name="connsiteY253" fmla="*/ 6512 h 10000"/>
              <a:gd name="connsiteX254" fmla="*/ 7597 w 10000"/>
              <a:gd name="connsiteY254" fmla="*/ 6590 h 10000"/>
              <a:gd name="connsiteX255" fmla="*/ 7597 w 10000"/>
              <a:gd name="connsiteY255" fmla="*/ 6667 h 10000"/>
              <a:gd name="connsiteX256" fmla="*/ 7830 w 10000"/>
              <a:gd name="connsiteY256" fmla="*/ 6590 h 10000"/>
              <a:gd name="connsiteX257" fmla="*/ 7791 w 10000"/>
              <a:gd name="connsiteY257" fmla="*/ 6512 h 10000"/>
              <a:gd name="connsiteX258" fmla="*/ 7946 w 10000"/>
              <a:gd name="connsiteY258" fmla="*/ 5969 h 10000"/>
              <a:gd name="connsiteX259" fmla="*/ 8140 w 10000"/>
              <a:gd name="connsiteY259" fmla="*/ 5892 h 10000"/>
              <a:gd name="connsiteX260" fmla="*/ 8140 w 10000"/>
              <a:gd name="connsiteY260" fmla="*/ 6047 h 10000"/>
              <a:gd name="connsiteX261" fmla="*/ 8140 w 10000"/>
              <a:gd name="connsiteY261" fmla="*/ 6202 h 10000"/>
              <a:gd name="connsiteX262" fmla="*/ 8333 w 10000"/>
              <a:gd name="connsiteY262" fmla="*/ 5969 h 10000"/>
              <a:gd name="connsiteX263" fmla="*/ 8333 w 10000"/>
              <a:gd name="connsiteY263" fmla="*/ 5737 h 10000"/>
              <a:gd name="connsiteX264" fmla="*/ 8411 w 10000"/>
              <a:gd name="connsiteY264" fmla="*/ 5737 h 10000"/>
              <a:gd name="connsiteX265" fmla="*/ 8372 w 10000"/>
              <a:gd name="connsiteY265" fmla="*/ 5814 h 10000"/>
              <a:gd name="connsiteX266" fmla="*/ 8333 w 10000"/>
              <a:gd name="connsiteY266" fmla="*/ 6202 h 10000"/>
              <a:gd name="connsiteX267" fmla="*/ 8256 w 10000"/>
              <a:gd name="connsiteY267" fmla="*/ 6279 h 10000"/>
              <a:gd name="connsiteX268" fmla="*/ 8023 w 10000"/>
              <a:gd name="connsiteY268" fmla="*/ 6822 h 10000"/>
              <a:gd name="connsiteX269" fmla="*/ 7946 w 10000"/>
              <a:gd name="connsiteY269" fmla="*/ 6900 h 10000"/>
              <a:gd name="connsiteX270" fmla="*/ 7868 w 10000"/>
              <a:gd name="connsiteY270" fmla="*/ 7442 h 10000"/>
              <a:gd name="connsiteX271" fmla="*/ 7946 w 10000"/>
              <a:gd name="connsiteY271" fmla="*/ 8372 h 10000"/>
              <a:gd name="connsiteX272" fmla="*/ 8023 w 10000"/>
              <a:gd name="connsiteY272" fmla="*/ 8217 h 10000"/>
              <a:gd name="connsiteX273" fmla="*/ 8101 w 10000"/>
              <a:gd name="connsiteY273" fmla="*/ 7907 h 10000"/>
              <a:gd name="connsiteX274" fmla="*/ 8140 w 10000"/>
              <a:gd name="connsiteY274" fmla="*/ 7907 h 10000"/>
              <a:gd name="connsiteX275" fmla="*/ 8140 w 10000"/>
              <a:gd name="connsiteY275" fmla="*/ 7675 h 10000"/>
              <a:gd name="connsiteX276" fmla="*/ 8178 w 10000"/>
              <a:gd name="connsiteY276" fmla="*/ 7675 h 10000"/>
              <a:gd name="connsiteX277" fmla="*/ 8256 w 10000"/>
              <a:gd name="connsiteY277" fmla="*/ 7598 h 10000"/>
              <a:gd name="connsiteX278" fmla="*/ 8217 w 10000"/>
              <a:gd name="connsiteY278" fmla="*/ 7364 h 10000"/>
              <a:gd name="connsiteX279" fmla="*/ 8295 w 10000"/>
              <a:gd name="connsiteY279" fmla="*/ 7287 h 10000"/>
              <a:gd name="connsiteX280" fmla="*/ 8333 w 10000"/>
              <a:gd name="connsiteY280" fmla="*/ 7287 h 10000"/>
              <a:gd name="connsiteX281" fmla="*/ 8333 w 10000"/>
              <a:gd name="connsiteY281" fmla="*/ 7132 h 10000"/>
              <a:gd name="connsiteX282" fmla="*/ 8295 w 10000"/>
              <a:gd name="connsiteY282" fmla="*/ 7132 h 10000"/>
              <a:gd name="connsiteX283" fmla="*/ 8333 w 10000"/>
              <a:gd name="connsiteY283" fmla="*/ 6900 h 10000"/>
              <a:gd name="connsiteX284" fmla="*/ 8295 w 10000"/>
              <a:gd name="connsiteY284" fmla="*/ 6900 h 10000"/>
              <a:gd name="connsiteX285" fmla="*/ 8256 w 10000"/>
              <a:gd name="connsiteY285" fmla="*/ 6900 h 10000"/>
              <a:gd name="connsiteX286" fmla="*/ 8256 w 10000"/>
              <a:gd name="connsiteY286" fmla="*/ 6822 h 10000"/>
              <a:gd name="connsiteX287" fmla="*/ 8333 w 10000"/>
              <a:gd name="connsiteY287" fmla="*/ 6590 h 10000"/>
              <a:gd name="connsiteX288" fmla="*/ 8333 w 10000"/>
              <a:gd name="connsiteY288" fmla="*/ 6434 h 10000"/>
              <a:gd name="connsiteX289" fmla="*/ 8411 w 10000"/>
              <a:gd name="connsiteY289" fmla="*/ 6434 h 10000"/>
              <a:gd name="connsiteX290" fmla="*/ 8527 w 10000"/>
              <a:gd name="connsiteY290" fmla="*/ 6279 h 10000"/>
              <a:gd name="connsiteX291" fmla="*/ 8527 w 10000"/>
              <a:gd name="connsiteY291" fmla="*/ 6434 h 10000"/>
              <a:gd name="connsiteX292" fmla="*/ 8566 w 10000"/>
              <a:gd name="connsiteY292" fmla="*/ 6356 h 10000"/>
              <a:gd name="connsiteX293" fmla="*/ 8682 w 10000"/>
              <a:gd name="connsiteY293" fmla="*/ 6279 h 10000"/>
              <a:gd name="connsiteX294" fmla="*/ 8759 w 10000"/>
              <a:gd name="connsiteY294" fmla="*/ 6434 h 10000"/>
              <a:gd name="connsiteX295" fmla="*/ 8798 w 10000"/>
              <a:gd name="connsiteY295" fmla="*/ 6279 h 10000"/>
              <a:gd name="connsiteX296" fmla="*/ 9187 w 10000"/>
              <a:gd name="connsiteY296" fmla="*/ 5737 h 10000"/>
              <a:gd name="connsiteX297" fmla="*/ 9303 w 10000"/>
              <a:gd name="connsiteY297" fmla="*/ 5814 h 10000"/>
              <a:gd name="connsiteX298" fmla="*/ 9342 w 10000"/>
              <a:gd name="connsiteY298" fmla="*/ 5737 h 10000"/>
              <a:gd name="connsiteX299" fmla="*/ 9264 w 10000"/>
              <a:gd name="connsiteY299" fmla="*/ 5271 h 10000"/>
              <a:gd name="connsiteX300" fmla="*/ 9225 w 10000"/>
              <a:gd name="connsiteY300" fmla="*/ 5271 h 10000"/>
              <a:gd name="connsiteX301" fmla="*/ 9225 w 10000"/>
              <a:gd name="connsiteY301" fmla="*/ 5116 h 10000"/>
              <a:gd name="connsiteX302" fmla="*/ 9264 w 10000"/>
              <a:gd name="connsiteY302" fmla="*/ 5116 h 10000"/>
              <a:gd name="connsiteX303" fmla="*/ 9342 w 10000"/>
              <a:gd name="connsiteY303" fmla="*/ 5039 h 10000"/>
              <a:gd name="connsiteX304" fmla="*/ 9419 w 10000"/>
              <a:gd name="connsiteY304" fmla="*/ 4884 h 10000"/>
              <a:gd name="connsiteX305" fmla="*/ 9380 w 10000"/>
              <a:gd name="connsiteY305" fmla="*/ 4729 h 10000"/>
              <a:gd name="connsiteX306" fmla="*/ 9419 w 10000"/>
              <a:gd name="connsiteY306" fmla="*/ 4652 h 10000"/>
              <a:gd name="connsiteX307" fmla="*/ 9458 w 10000"/>
              <a:gd name="connsiteY307" fmla="*/ 4884 h 10000"/>
              <a:gd name="connsiteX308" fmla="*/ 9535 w 10000"/>
              <a:gd name="connsiteY308" fmla="*/ 4884 h 10000"/>
              <a:gd name="connsiteX309" fmla="*/ 9613 w 10000"/>
              <a:gd name="connsiteY309" fmla="*/ 5039 h 10000"/>
              <a:gd name="connsiteX310" fmla="*/ 9806 w 10000"/>
              <a:gd name="connsiteY310" fmla="*/ 5271 h 10000"/>
              <a:gd name="connsiteX311" fmla="*/ 9845 w 10000"/>
              <a:gd name="connsiteY311" fmla="*/ 5039 h 10000"/>
              <a:gd name="connsiteX312" fmla="*/ 9845 w 10000"/>
              <a:gd name="connsiteY312" fmla="*/ 4884 h 10000"/>
              <a:gd name="connsiteX313" fmla="*/ 9923 w 10000"/>
              <a:gd name="connsiteY313" fmla="*/ 4884 h 10000"/>
              <a:gd name="connsiteX314" fmla="*/ 10000 w 10000"/>
              <a:gd name="connsiteY314" fmla="*/ 4729 h 10000"/>
              <a:gd name="connsiteX315" fmla="*/ 9884 w 10000"/>
              <a:gd name="connsiteY315" fmla="*/ 4496 h 10000"/>
              <a:gd name="connsiteX316" fmla="*/ 9690 w 10000"/>
              <a:gd name="connsiteY316" fmla="*/ 4418 h 10000"/>
              <a:gd name="connsiteX317" fmla="*/ 9342 w 10000"/>
              <a:gd name="connsiteY317" fmla="*/ 3799 h 10000"/>
              <a:gd name="connsiteX318" fmla="*/ 9109 w 10000"/>
              <a:gd name="connsiteY318" fmla="*/ 3488 h 10000"/>
              <a:gd name="connsiteX319" fmla="*/ 8798 w 10000"/>
              <a:gd name="connsiteY319" fmla="*/ 3411 h 10000"/>
              <a:gd name="connsiteX320" fmla="*/ 8798 w 10000"/>
              <a:gd name="connsiteY320" fmla="*/ 3799 h 10000"/>
              <a:gd name="connsiteX321" fmla="*/ 8721 w 10000"/>
              <a:gd name="connsiteY321" fmla="*/ 3876 h 10000"/>
              <a:gd name="connsiteX322" fmla="*/ 8643 w 10000"/>
              <a:gd name="connsiteY322" fmla="*/ 3721 h 10000"/>
              <a:gd name="connsiteX323" fmla="*/ 8643 w 10000"/>
              <a:gd name="connsiteY323" fmla="*/ 3566 h 10000"/>
              <a:gd name="connsiteX324" fmla="*/ 8682 w 10000"/>
              <a:gd name="connsiteY324" fmla="*/ 3566 h 10000"/>
              <a:gd name="connsiteX325" fmla="*/ 8721 w 10000"/>
              <a:gd name="connsiteY325" fmla="*/ 3488 h 10000"/>
              <a:gd name="connsiteX326" fmla="*/ 8643 w 10000"/>
              <a:gd name="connsiteY326" fmla="*/ 3488 h 10000"/>
              <a:gd name="connsiteX327" fmla="*/ 8566 w 10000"/>
              <a:gd name="connsiteY327" fmla="*/ 3644 h 10000"/>
              <a:gd name="connsiteX328" fmla="*/ 8372 w 10000"/>
              <a:gd name="connsiteY328" fmla="*/ 3566 h 10000"/>
              <a:gd name="connsiteX329" fmla="*/ 8178 w 10000"/>
              <a:gd name="connsiteY329" fmla="*/ 3566 h 10000"/>
              <a:gd name="connsiteX330" fmla="*/ 8101 w 10000"/>
              <a:gd name="connsiteY330" fmla="*/ 3488 h 10000"/>
              <a:gd name="connsiteX331" fmla="*/ 8140 w 10000"/>
              <a:gd name="connsiteY331" fmla="*/ 3333 h 10000"/>
              <a:gd name="connsiteX332" fmla="*/ 8062 w 10000"/>
              <a:gd name="connsiteY332" fmla="*/ 3101 h 10000"/>
              <a:gd name="connsiteX333" fmla="*/ 7907 w 10000"/>
              <a:gd name="connsiteY333" fmla="*/ 3023 h 10000"/>
              <a:gd name="connsiteX334" fmla="*/ 7675 w 10000"/>
              <a:gd name="connsiteY334" fmla="*/ 3178 h 10000"/>
              <a:gd name="connsiteX335" fmla="*/ 7636 w 10000"/>
              <a:gd name="connsiteY335" fmla="*/ 2946 h 10000"/>
              <a:gd name="connsiteX336" fmla="*/ 7558 w 10000"/>
              <a:gd name="connsiteY336" fmla="*/ 2946 h 10000"/>
              <a:gd name="connsiteX337" fmla="*/ 7520 w 10000"/>
              <a:gd name="connsiteY337" fmla="*/ 2868 h 10000"/>
              <a:gd name="connsiteX338" fmla="*/ 7520 w 10000"/>
              <a:gd name="connsiteY338" fmla="*/ 2636 h 10000"/>
              <a:gd name="connsiteX339" fmla="*/ 7249 w 10000"/>
              <a:gd name="connsiteY339" fmla="*/ 2480 h 10000"/>
              <a:gd name="connsiteX340" fmla="*/ 6938 w 10000"/>
              <a:gd name="connsiteY340" fmla="*/ 2325 h 10000"/>
              <a:gd name="connsiteX341" fmla="*/ 6860 w 10000"/>
              <a:gd name="connsiteY341" fmla="*/ 2636 h 10000"/>
              <a:gd name="connsiteX342" fmla="*/ 6938 w 10000"/>
              <a:gd name="connsiteY342" fmla="*/ 2868 h 10000"/>
              <a:gd name="connsiteX343" fmla="*/ 6705 w 10000"/>
              <a:gd name="connsiteY343" fmla="*/ 2868 h 10000"/>
              <a:gd name="connsiteX344" fmla="*/ 6666 w 10000"/>
              <a:gd name="connsiteY344" fmla="*/ 2868 h 10000"/>
              <a:gd name="connsiteX345" fmla="*/ 6589 w 10000"/>
              <a:gd name="connsiteY345" fmla="*/ 2946 h 10000"/>
              <a:gd name="connsiteX346" fmla="*/ 6473 w 10000"/>
              <a:gd name="connsiteY346" fmla="*/ 2714 h 10000"/>
              <a:gd name="connsiteX347" fmla="*/ 6395 w 10000"/>
              <a:gd name="connsiteY347" fmla="*/ 3178 h 10000"/>
              <a:gd name="connsiteX348" fmla="*/ 6318 w 10000"/>
              <a:gd name="connsiteY348" fmla="*/ 3101 h 10000"/>
              <a:gd name="connsiteX349" fmla="*/ 6240 w 10000"/>
              <a:gd name="connsiteY349" fmla="*/ 2791 h 10000"/>
              <a:gd name="connsiteX350" fmla="*/ 6279 w 10000"/>
              <a:gd name="connsiteY350" fmla="*/ 2403 h 10000"/>
              <a:gd name="connsiteX351" fmla="*/ 6202 w 10000"/>
              <a:gd name="connsiteY351" fmla="*/ 2170 h 10000"/>
              <a:gd name="connsiteX352" fmla="*/ 5969 w 10000"/>
              <a:gd name="connsiteY352" fmla="*/ 2016 h 10000"/>
              <a:gd name="connsiteX353" fmla="*/ 5892 w 10000"/>
              <a:gd name="connsiteY353" fmla="*/ 2016 h 10000"/>
              <a:gd name="connsiteX354" fmla="*/ 5853 w 10000"/>
              <a:gd name="connsiteY354" fmla="*/ 2170 h 10000"/>
              <a:gd name="connsiteX355" fmla="*/ 5892 w 10000"/>
              <a:gd name="connsiteY355" fmla="*/ 2325 h 10000"/>
              <a:gd name="connsiteX356" fmla="*/ 5582 w 10000"/>
              <a:gd name="connsiteY356" fmla="*/ 2248 h 10000"/>
              <a:gd name="connsiteX357" fmla="*/ 5620 w 10000"/>
              <a:gd name="connsiteY357" fmla="*/ 2016 h 10000"/>
              <a:gd name="connsiteX358" fmla="*/ 5427 w 10000"/>
              <a:gd name="connsiteY358" fmla="*/ 1938 h 10000"/>
              <a:gd name="connsiteX359" fmla="*/ 5311 w 10000"/>
              <a:gd name="connsiteY359" fmla="*/ 2093 h 10000"/>
              <a:gd name="connsiteX360" fmla="*/ 5078 w 10000"/>
              <a:gd name="connsiteY360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976 w 10000"/>
              <a:gd name="connsiteY233" fmla="*/ 8140 h 10000"/>
              <a:gd name="connsiteX234" fmla="*/ 6976 w 10000"/>
              <a:gd name="connsiteY234" fmla="*/ 7907 h 10000"/>
              <a:gd name="connsiteX235" fmla="*/ 6899 w 10000"/>
              <a:gd name="connsiteY235" fmla="*/ 7675 h 10000"/>
              <a:gd name="connsiteX236" fmla="*/ 6860 w 10000"/>
              <a:gd name="connsiteY236" fmla="*/ 7675 h 10000"/>
              <a:gd name="connsiteX237" fmla="*/ 6821 w 10000"/>
              <a:gd name="connsiteY237" fmla="*/ 7830 h 10000"/>
              <a:gd name="connsiteX238" fmla="*/ 6744 w 10000"/>
              <a:gd name="connsiteY238" fmla="*/ 7830 h 10000"/>
              <a:gd name="connsiteX239" fmla="*/ 6783 w 10000"/>
              <a:gd name="connsiteY239" fmla="*/ 7675 h 10000"/>
              <a:gd name="connsiteX240" fmla="*/ 6744 w 10000"/>
              <a:gd name="connsiteY240" fmla="*/ 7675 h 10000"/>
              <a:gd name="connsiteX241" fmla="*/ 6705 w 10000"/>
              <a:gd name="connsiteY241" fmla="*/ 7598 h 10000"/>
              <a:gd name="connsiteX242" fmla="*/ 6628 w 10000"/>
              <a:gd name="connsiteY242" fmla="*/ 7598 h 10000"/>
              <a:gd name="connsiteX243" fmla="*/ 6628 w 10000"/>
              <a:gd name="connsiteY243" fmla="*/ 7520 h 10000"/>
              <a:gd name="connsiteX244" fmla="*/ 6744 w 10000"/>
              <a:gd name="connsiteY244" fmla="*/ 7287 h 10000"/>
              <a:gd name="connsiteX245" fmla="*/ 7094 w 10000"/>
              <a:gd name="connsiteY245" fmla="*/ 6590 h 10000"/>
              <a:gd name="connsiteX246" fmla="*/ 7249 w 10000"/>
              <a:gd name="connsiteY246" fmla="*/ 6512 h 10000"/>
              <a:gd name="connsiteX247" fmla="*/ 7287 w 10000"/>
              <a:gd name="connsiteY247" fmla="*/ 6590 h 10000"/>
              <a:gd name="connsiteX248" fmla="*/ 7326 w 10000"/>
              <a:gd name="connsiteY248" fmla="*/ 6512 h 10000"/>
              <a:gd name="connsiteX249" fmla="*/ 7442 w 10000"/>
              <a:gd name="connsiteY249" fmla="*/ 6590 h 10000"/>
              <a:gd name="connsiteX250" fmla="*/ 7481 w 10000"/>
              <a:gd name="connsiteY250" fmla="*/ 6434 h 10000"/>
              <a:gd name="connsiteX251" fmla="*/ 7597 w 10000"/>
              <a:gd name="connsiteY251" fmla="*/ 6512 h 10000"/>
              <a:gd name="connsiteX252" fmla="*/ 7636 w 10000"/>
              <a:gd name="connsiteY252" fmla="*/ 6512 h 10000"/>
              <a:gd name="connsiteX253" fmla="*/ 7597 w 10000"/>
              <a:gd name="connsiteY253" fmla="*/ 6590 h 10000"/>
              <a:gd name="connsiteX254" fmla="*/ 7597 w 10000"/>
              <a:gd name="connsiteY254" fmla="*/ 6667 h 10000"/>
              <a:gd name="connsiteX255" fmla="*/ 7830 w 10000"/>
              <a:gd name="connsiteY255" fmla="*/ 6590 h 10000"/>
              <a:gd name="connsiteX256" fmla="*/ 7791 w 10000"/>
              <a:gd name="connsiteY256" fmla="*/ 6512 h 10000"/>
              <a:gd name="connsiteX257" fmla="*/ 7946 w 10000"/>
              <a:gd name="connsiteY257" fmla="*/ 5969 h 10000"/>
              <a:gd name="connsiteX258" fmla="*/ 8140 w 10000"/>
              <a:gd name="connsiteY258" fmla="*/ 5892 h 10000"/>
              <a:gd name="connsiteX259" fmla="*/ 8140 w 10000"/>
              <a:gd name="connsiteY259" fmla="*/ 6047 h 10000"/>
              <a:gd name="connsiteX260" fmla="*/ 8140 w 10000"/>
              <a:gd name="connsiteY260" fmla="*/ 6202 h 10000"/>
              <a:gd name="connsiteX261" fmla="*/ 8333 w 10000"/>
              <a:gd name="connsiteY261" fmla="*/ 5969 h 10000"/>
              <a:gd name="connsiteX262" fmla="*/ 8333 w 10000"/>
              <a:gd name="connsiteY262" fmla="*/ 5737 h 10000"/>
              <a:gd name="connsiteX263" fmla="*/ 8411 w 10000"/>
              <a:gd name="connsiteY263" fmla="*/ 5737 h 10000"/>
              <a:gd name="connsiteX264" fmla="*/ 8372 w 10000"/>
              <a:gd name="connsiteY264" fmla="*/ 5814 h 10000"/>
              <a:gd name="connsiteX265" fmla="*/ 8333 w 10000"/>
              <a:gd name="connsiteY265" fmla="*/ 6202 h 10000"/>
              <a:gd name="connsiteX266" fmla="*/ 8256 w 10000"/>
              <a:gd name="connsiteY266" fmla="*/ 6279 h 10000"/>
              <a:gd name="connsiteX267" fmla="*/ 8023 w 10000"/>
              <a:gd name="connsiteY267" fmla="*/ 6822 h 10000"/>
              <a:gd name="connsiteX268" fmla="*/ 7946 w 10000"/>
              <a:gd name="connsiteY268" fmla="*/ 6900 h 10000"/>
              <a:gd name="connsiteX269" fmla="*/ 7868 w 10000"/>
              <a:gd name="connsiteY269" fmla="*/ 7442 h 10000"/>
              <a:gd name="connsiteX270" fmla="*/ 7946 w 10000"/>
              <a:gd name="connsiteY270" fmla="*/ 8372 h 10000"/>
              <a:gd name="connsiteX271" fmla="*/ 8023 w 10000"/>
              <a:gd name="connsiteY271" fmla="*/ 8217 h 10000"/>
              <a:gd name="connsiteX272" fmla="*/ 8101 w 10000"/>
              <a:gd name="connsiteY272" fmla="*/ 7907 h 10000"/>
              <a:gd name="connsiteX273" fmla="*/ 8140 w 10000"/>
              <a:gd name="connsiteY273" fmla="*/ 7907 h 10000"/>
              <a:gd name="connsiteX274" fmla="*/ 8140 w 10000"/>
              <a:gd name="connsiteY274" fmla="*/ 7675 h 10000"/>
              <a:gd name="connsiteX275" fmla="*/ 8178 w 10000"/>
              <a:gd name="connsiteY275" fmla="*/ 7675 h 10000"/>
              <a:gd name="connsiteX276" fmla="*/ 8256 w 10000"/>
              <a:gd name="connsiteY276" fmla="*/ 7598 h 10000"/>
              <a:gd name="connsiteX277" fmla="*/ 8217 w 10000"/>
              <a:gd name="connsiteY277" fmla="*/ 7364 h 10000"/>
              <a:gd name="connsiteX278" fmla="*/ 8295 w 10000"/>
              <a:gd name="connsiteY278" fmla="*/ 7287 h 10000"/>
              <a:gd name="connsiteX279" fmla="*/ 8333 w 10000"/>
              <a:gd name="connsiteY279" fmla="*/ 7287 h 10000"/>
              <a:gd name="connsiteX280" fmla="*/ 8333 w 10000"/>
              <a:gd name="connsiteY280" fmla="*/ 7132 h 10000"/>
              <a:gd name="connsiteX281" fmla="*/ 8295 w 10000"/>
              <a:gd name="connsiteY281" fmla="*/ 7132 h 10000"/>
              <a:gd name="connsiteX282" fmla="*/ 8333 w 10000"/>
              <a:gd name="connsiteY282" fmla="*/ 6900 h 10000"/>
              <a:gd name="connsiteX283" fmla="*/ 8295 w 10000"/>
              <a:gd name="connsiteY283" fmla="*/ 6900 h 10000"/>
              <a:gd name="connsiteX284" fmla="*/ 8256 w 10000"/>
              <a:gd name="connsiteY284" fmla="*/ 6900 h 10000"/>
              <a:gd name="connsiteX285" fmla="*/ 8256 w 10000"/>
              <a:gd name="connsiteY285" fmla="*/ 6822 h 10000"/>
              <a:gd name="connsiteX286" fmla="*/ 8333 w 10000"/>
              <a:gd name="connsiteY286" fmla="*/ 6590 h 10000"/>
              <a:gd name="connsiteX287" fmla="*/ 8333 w 10000"/>
              <a:gd name="connsiteY287" fmla="*/ 6434 h 10000"/>
              <a:gd name="connsiteX288" fmla="*/ 8411 w 10000"/>
              <a:gd name="connsiteY288" fmla="*/ 6434 h 10000"/>
              <a:gd name="connsiteX289" fmla="*/ 8527 w 10000"/>
              <a:gd name="connsiteY289" fmla="*/ 6279 h 10000"/>
              <a:gd name="connsiteX290" fmla="*/ 8527 w 10000"/>
              <a:gd name="connsiteY290" fmla="*/ 6434 h 10000"/>
              <a:gd name="connsiteX291" fmla="*/ 8566 w 10000"/>
              <a:gd name="connsiteY291" fmla="*/ 6356 h 10000"/>
              <a:gd name="connsiteX292" fmla="*/ 8682 w 10000"/>
              <a:gd name="connsiteY292" fmla="*/ 6279 h 10000"/>
              <a:gd name="connsiteX293" fmla="*/ 8759 w 10000"/>
              <a:gd name="connsiteY293" fmla="*/ 6434 h 10000"/>
              <a:gd name="connsiteX294" fmla="*/ 8798 w 10000"/>
              <a:gd name="connsiteY294" fmla="*/ 6279 h 10000"/>
              <a:gd name="connsiteX295" fmla="*/ 9187 w 10000"/>
              <a:gd name="connsiteY295" fmla="*/ 5737 h 10000"/>
              <a:gd name="connsiteX296" fmla="*/ 9303 w 10000"/>
              <a:gd name="connsiteY296" fmla="*/ 5814 h 10000"/>
              <a:gd name="connsiteX297" fmla="*/ 9342 w 10000"/>
              <a:gd name="connsiteY297" fmla="*/ 5737 h 10000"/>
              <a:gd name="connsiteX298" fmla="*/ 9264 w 10000"/>
              <a:gd name="connsiteY298" fmla="*/ 5271 h 10000"/>
              <a:gd name="connsiteX299" fmla="*/ 9225 w 10000"/>
              <a:gd name="connsiteY299" fmla="*/ 5271 h 10000"/>
              <a:gd name="connsiteX300" fmla="*/ 9225 w 10000"/>
              <a:gd name="connsiteY300" fmla="*/ 5116 h 10000"/>
              <a:gd name="connsiteX301" fmla="*/ 9264 w 10000"/>
              <a:gd name="connsiteY301" fmla="*/ 5116 h 10000"/>
              <a:gd name="connsiteX302" fmla="*/ 9342 w 10000"/>
              <a:gd name="connsiteY302" fmla="*/ 5039 h 10000"/>
              <a:gd name="connsiteX303" fmla="*/ 9419 w 10000"/>
              <a:gd name="connsiteY303" fmla="*/ 4884 h 10000"/>
              <a:gd name="connsiteX304" fmla="*/ 9380 w 10000"/>
              <a:gd name="connsiteY304" fmla="*/ 4729 h 10000"/>
              <a:gd name="connsiteX305" fmla="*/ 9419 w 10000"/>
              <a:gd name="connsiteY305" fmla="*/ 4652 h 10000"/>
              <a:gd name="connsiteX306" fmla="*/ 9458 w 10000"/>
              <a:gd name="connsiteY306" fmla="*/ 4884 h 10000"/>
              <a:gd name="connsiteX307" fmla="*/ 9535 w 10000"/>
              <a:gd name="connsiteY307" fmla="*/ 4884 h 10000"/>
              <a:gd name="connsiteX308" fmla="*/ 9613 w 10000"/>
              <a:gd name="connsiteY308" fmla="*/ 5039 h 10000"/>
              <a:gd name="connsiteX309" fmla="*/ 9806 w 10000"/>
              <a:gd name="connsiteY309" fmla="*/ 5271 h 10000"/>
              <a:gd name="connsiteX310" fmla="*/ 9845 w 10000"/>
              <a:gd name="connsiteY310" fmla="*/ 5039 h 10000"/>
              <a:gd name="connsiteX311" fmla="*/ 9845 w 10000"/>
              <a:gd name="connsiteY311" fmla="*/ 4884 h 10000"/>
              <a:gd name="connsiteX312" fmla="*/ 9923 w 10000"/>
              <a:gd name="connsiteY312" fmla="*/ 4884 h 10000"/>
              <a:gd name="connsiteX313" fmla="*/ 10000 w 10000"/>
              <a:gd name="connsiteY313" fmla="*/ 4729 h 10000"/>
              <a:gd name="connsiteX314" fmla="*/ 9884 w 10000"/>
              <a:gd name="connsiteY314" fmla="*/ 4496 h 10000"/>
              <a:gd name="connsiteX315" fmla="*/ 9690 w 10000"/>
              <a:gd name="connsiteY315" fmla="*/ 4418 h 10000"/>
              <a:gd name="connsiteX316" fmla="*/ 9342 w 10000"/>
              <a:gd name="connsiteY316" fmla="*/ 3799 h 10000"/>
              <a:gd name="connsiteX317" fmla="*/ 9109 w 10000"/>
              <a:gd name="connsiteY317" fmla="*/ 3488 h 10000"/>
              <a:gd name="connsiteX318" fmla="*/ 8798 w 10000"/>
              <a:gd name="connsiteY318" fmla="*/ 3411 h 10000"/>
              <a:gd name="connsiteX319" fmla="*/ 8798 w 10000"/>
              <a:gd name="connsiteY319" fmla="*/ 3799 h 10000"/>
              <a:gd name="connsiteX320" fmla="*/ 8721 w 10000"/>
              <a:gd name="connsiteY320" fmla="*/ 3876 h 10000"/>
              <a:gd name="connsiteX321" fmla="*/ 8643 w 10000"/>
              <a:gd name="connsiteY321" fmla="*/ 3721 h 10000"/>
              <a:gd name="connsiteX322" fmla="*/ 8643 w 10000"/>
              <a:gd name="connsiteY322" fmla="*/ 3566 h 10000"/>
              <a:gd name="connsiteX323" fmla="*/ 8682 w 10000"/>
              <a:gd name="connsiteY323" fmla="*/ 3566 h 10000"/>
              <a:gd name="connsiteX324" fmla="*/ 8721 w 10000"/>
              <a:gd name="connsiteY324" fmla="*/ 3488 h 10000"/>
              <a:gd name="connsiteX325" fmla="*/ 8643 w 10000"/>
              <a:gd name="connsiteY325" fmla="*/ 3488 h 10000"/>
              <a:gd name="connsiteX326" fmla="*/ 8566 w 10000"/>
              <a:gd name="connsiteY326" fmla="*/ 3644 h 10000"/>
              <a:gd name="connsiteX327" fmla="*/ 8372 w 10000"/>
              <a:gd name="connsiteY327" fmla="*/ 3566 h 10000"/>
              <a:gd name="connsiteX328" fmla="*/ 8178 w 10000"/>
              <a:gd name="connsiteY328" fmla="*/ 3566 h 10000"/>
              <a:gd name="connsiteX329" fmla="*/ 8101 w 10000"/>
              <a:gd name="connsiteY329" fmla="*/ 3488 h 10000"/>
              <a:gd name="connsiteX330" fmla="*/ 8140 w 10000"/>
              <a:gd name="connsiteY330" fmla="*/ 3333 h 10000"/>
              <a:gd name="connsiteX331" fmla="*/ 8062 w 10000"/>
              <a:gd name="connsiteY331" fmla="*/ 3101 h 10000"/>
              <a:gd name="connsiteX332" fmla="*/ 7907 w 10000"/>
              <a:gd name="connsiteY332" fmla="*/ 3023 h 10000"/>
              <a:gd name="connsiteX333" fmla="*/ 7675 w 10000"/>
              <a:gd name="connsiteY333" fmla="*/ 3178 h 10000"/>
              <a:gd name="connsiteX334" fmla="*/ 7636 w 10000"/>
              <a:gd name="connsiteY334" fmla="*/ 2946 h 10000"/>
              <a:gd name="connsiteX335" fmla="*/ 7558 w 10000"/>
              <a:gd name="connsiteY335" fmla="*/ 2946 h 10000"/>
              <a:gd name="connsiteX336" fmla="*/ 7520 w 10000"/>
              <a:gd name="connsiteY336" fmla="*/ 2868 h 10000"/>
              <a:gd name="connsiteX337" fmla="*/ 7520 w 10000"/>
              <a:gd name="connsiteY337" fmla="*/ 2636 h 10000"/>
              <a:gd name="connsiteX338" fmla="*/ 7249 w 10000"/>
              <a:gd name="connsiteY338" fmla="*/ 2480 h 10000"/>
              <a:gd name="connsiteX339" fmla="*/ 6938 w 10000"/>
              <a:gd name="connsiteY339" fmla="*/ 2325 h 10000"/>
              <a:gd name="connsiteX340" fmla="*/ 6860 w 10000"/>
              <a:gd name="connsiteY340" fmla="*/ 2636 h 10000"/>
              <a:gd name="connsiteX341" fmla="*/ 6938 w 10000"/>
              <a:gd name="connsiteY341" fmla="*/ 2868 h 10000"/>
              <a:gd name="connsiteX342" fmla="*/ 6705 w 10000"/>
              <a:gd name="connsiteY342" fmla="*/ 2868 h 10000"/>
              <a:gd name="connsiteX343" fmla="*/ 6666 w 10000"/>
              <a:gd name="connsiteY343" fmla="*/ 2868 h 10000"/>
              <a:gd name="connsiteX344" fmla="*/ 6589 w 10000"/>
              <a:gd name="connsiteY344" fmla="*/ 2946 h 10000"/>
              <a:gd name="connsiteX345" fmla="*/ 6473 w 10000"/>
              <a:gd name="connsiteY345" fmla="*/ 2714 h 10000"/>
              <a:gd name="connsiteX346" fmla="*/ 6395 w 10000"/>
              <a:gd name="connsiteY346" fmla="*/ 3178 h 10000"/>
              <a:gd name="connsiteX347" fmla="*/ 6318 w 10000"/>
              <a:gd name="connsiteY347" fmla="*/ 3101 h 10000"/>
              <a:gd name="connsiteX348" fmla="*/ 6240 w 10000"/>
              <a:gd name="connsiteY348" fmla="*/ 2791 h 10000"/>
              <a:gd name="connsiteX349" fmla="*/ 6279 w 10000"/>
              <a:gd name="connsiteY349" fmla="*/ 2403 h 10000"/>
              <a:gd name="connsiteX350" fmla="*/ 6202 w 10000"/>
              <a:gd name="connsiteY350" fmla="*/ 2170 h 10000"/>
              <a:gd name="connsiteX351" fmla="*/ 5969 w 10000"/>
              <a:gd name="connsiteY351" fmla="*/ 2016 h 10000"/>
              <a:gd name="connsiteX352" fmla="*/ 5892 w 10000"/>
              <a:gd name="connsiteY352" fmla="*/ 2016 h 10000"/>
              <a:gd name="connsiteX353" fmla="*/ 5853 w 10000"/>
              <a:gd name="connsiteY353" fmla="*/ 2170 h 10000"/>
              <a:gd name="connsiteX354" fmla="*/ 5892 w 10000"/>
              <a:gd name="connsiteY354" fmla="*/ 2325 h 10000"/>
              <a:gd name="connsiteX355" fmla="*/ 5582 w 10000"/>
              <a:gd name="connsiteY355" fmla="*/ 2248 h 10000"/>
              <a:gd name="connsiteX356" fmla="*/ 5620 w 10000"/>
              <a:gd name="connsiteY356" fmla="*/ 2016 h 10000"/>
              <a:gd name="connsiteX357" fmla="*/ 5427 w 10000"/>
              <a:gd name="connsiteY357" fmla="*/ 1938 h 10000"/>
              <a:gd name="connsiteX358" fmla="*/ 5311 w 10000"/>
              <a:gd name="connsiteY358" fmla="*/ 2093 h 10000"/>
              <a:gd name="connsiteX359" fmla="*/ 5078 w 10000"/>
              <a:gd name="connsiteY359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976 w 10000"/>
              <a:gd name="connsiteY233" fmla="*/ 7907 h 10000"/>
              <a:gd name="connsiteX234" fmla="*/ 6899 w 10000"/>
              <a:gd name="connsiteY234" fmla="*/ 7675 h 10000"/>
              <a:gd name="connsiteX235" fmla="*/ 6860 w 10000"/>
              <a:gd name="connsiteY235" fmla="*/ 7675 h 10000"/>
              <a:gd name="connsiteX236" fmla="*/ 6821 w 10000"/>
              <a:gd name="connsiteY236" fmla="*/ 7830 h 10000"/>
              <a:gd name="connsiteX237" fmla="*/ 6744 w 10000"/>
              <a:gd name="connsiteY237" fmla="*/ 7830 h 10000"/>
              <a:gd name="connsiteX238" fmla="*/ 6783 w 10000"/>
              <a:gd name="connsiteY238" fmla="*/ 7675 h 10000"/>
              <a:gd name="connsiteX239" fmla="*/ 6744 w 10000"/>
              <a:gd name="connsiteY239" fmla="*/ 7675 h 10000"/>
              <a:gd name="connsiteX240" fmla="*/ 6705 w 10000"/>
              <a:gd name="connsiteY240" fmla="*/ 7598 h 10000"/>
              <a:gd name="connsiteX241" fmla="*/ 6628 w 10000"/>
              <a:gd name="connsiteY241" fmla="*/ 7598 h 10000"/>
              <a:gd name="connsiteX242" fmla="*/ 6628 w 10000"/>
              <a:gd name="connsiteY242" fmla="*/ 7520 h 10000"/>
              <a:gd name="connsiteX243" fmla="*/ 6744 w 10000"/>
              <a:gd name="connsiteY243" fmla="*/ 7287 h 10000"/>
              <a:gd name="connsiteX244" fmla="*/ 7094 w 10000"/>
              <a:gd name="connsiteY244" fmla="*/ 6590 h 10000"/>
              <a:gd name="connsiteX245" fmla="*/ 7249 w 10000"/>
              <a:gd name="connsiteY245" fmla="*/ 6512 h 10000"/>
              <a:gd name="connsiteX246" fmla="*/ 7287 w 10000"/>
              <a:gd name="connsiteY246" fmla="*/ 6590 h 10000"/>
              <a:gd name="connsiteX247" fmla="*/ 7326 w 10000"/>
              <a:gd name="connsiteY247" fmla="*/ 6512 h 10000"/>
              <a:gd name="connsiteX248" fmla="*/ 7442 w 10000"/>
              <a:gd name="connsiteY248" fmla="*/ 6590 h 10000"/>
              <a:gd name="connsiteX249" fmla="*/ 7481 w 10000"/>
              <a:gd name="connsiteY249" fmla="*/ 6434 h 10000"/>
              <a:gd name="connsiteX250" fmla="*/ 7597 w 10000"/>
              <a:gd name="connsiteY250" fmla="*/ 6512 h 10000"/>
              <a:gd name="connsiteX251" fmla="*/ 7636 w 10000"/>
              <a:gd name="connsiteY251" fmla="*/ 6512 h 10000"/>
              <a:gd name="connsiteX252" fmla="*/ 7597 w 10000"/>
              <a:gd name="connsiteY252" fmla="*/ 6590 h 10000"/>
              <a:gd name="connsiteX253" fmla="*/ 7597 w 10000"/>
              <a:gd name="connsiteY253" fmla="*/ 6667 h 10000"/>
              <a:gd name="connsiteX254" fmla="*/ 7830 w 10000"/>
              <a:gd name="connsiteY254" fmla="*/ 6590 h 10000"/>
              <a:gd name="connsiteX255" fmla="*/ 7791 w 10000"/>
              <a:gd name="connsiteY255" fmla="*/ 6512 h 10000"/>
              <a:gd name="connsiteX256" fmla="*/ 7946 w 10000"/>
              <a:gd name="connsiteY256" fmla="*/ 5969 h 10000"/>
              <a:gd name="connsiteX257" fmla="*/ 8140 w 10000"/>
              <a:gd name="connsiteY257" fmla="*/ 5892 h 10000"/>
              <a:gd name="connsiteX258" fmla="*/ 8140 w 10000"/>
              <a:gd name="connsiteY258" fmla="*/ 6047 h 10000"/>
              <a:gd name="connsiteX259" fmla="*/ 8140 w 10000"/>
              <a:gd name="connsiteY259" fmla="*/ 6202 h 10000"/>
              <a:gd name="connsiteX260" fmla="*/ 8333 w 10000"/>
              <a:gd name="connsiteY260" fmla="*/ 5969 h 10000"/>
              <a:gd name="connsiteX261" fmla="*/ 8333 w 10000"/>
              <a:gd name="connsiteY261" fmla="*/ 5737 h 10000"/>
              <a:gd name="connsiteX262" fmla="*/ 8411 w 10000"/>
              <a:gd name="connsiteY262" fmla="*/ 5737 h 10000"/>
              <a:gd name="connsiteX263" fmla="*/ 8372 w 10000"/>
              <a:gd name="connsiteY263" fmla="*/ 5814 h 10000"/>
              <a:gd name="connsiteX264" fmla="*/ 8333 w 10000"/>
              <a:gd name="connsiteY264" fmla="*/ 6202 h 10000"/>
              <a:gd name="connsiteX265" fmla="*/ 8256 w 10000"/>
              <a:gd name="connsiteY265" fmla="*/ 6279 h 10000"/>
              <a:gd name="connsiteX266" fmla="*/ 8023 w 10000"/>
              <a:gd name="connsiteY266" fmla="*/ 6822 h 10000"/>
              <a:gd name="connsiteX267" fmla="*/ 7946 w 10000"/>
              <a:gd name="connsiteY267" fmla="*/ 6900 h 10000"/>
              <a:gd name="connsiteX268" fmla="*/ 7868 w 10000"/>
              <a:gd name="connsiteY268" fmla="*/ 7442 h 10000"/>
              <a:gd name="connsiteX269" fmla="*/ 7946 w 10000"/>
              <a:gd name="connsiteY269" fmla="*/ 8372 h 10000"/>
              <a:gd name="connsiteX270" fmla="*/ 8023 w 10000"/>
              <a:gd name="connsiteY270" fmla="*/ 8217 h 10000"/>
              <a:gd name="connsiteX271" fmla="*/ 8101 w 10000"/>
              <a:gd name="connsiteY271" fmla="*/ 7907 h 10000"/>
              <a:gd name="connsiteX272" fmla="*/ 8140 w 10000"/>
              <a:gd name="connsiteY272" fmla="*/ 7907 h 10000"/>
              <a:gd name="connsiteX273" fmla="*/ 8140 w 10000"/>
              <a:gd name="connsiteY273" fmla="*/ 7675 h 10000"/>
              <a:gd name="connsiteX274" fmla="*/ 8178 w 10000"/>
              <a:gd name="connsiteY274" fmla="*/ 7675 h 10000"/>
              <a:gd name="connsiteX275" fmla="*/ 8256 w 10000"/>
              <a:gd name="connsiteY275" fmla="*/ 7598 h 10000"/>
              <a:gd name="connsiteX276" fmla="*/ 8217 w 10000"/>
              <a:gd name="connsiteY276" fmla="*/ 7364 h 10000"/>
              <a:gd name="connsiteX277" fmla="*/ 8295 w 10000"/>
              <a:gd name="connsiteY277" fmla="*/ 7287 h 10000"/>
              <a:gd name="connsiteX278" fmla="*/ 8333 w 10000"/>
              <a:gd name="connsiteY278" fmla="*/ 7287 h 10000"/>
              <a:gd name="connsiteX279" fmla="*/ 8333 w 10000"/>
              <a:gd name="connsiteY279" fmla="*/ 7132 h 10000"/>
              <a:gd name="connsiteX280" fmla="*/ 8295 w 10000"/>
              <a:gd name="connsiteY280" fmla="*/ 7132 h 10000"/>
              <a:gd name="connsiteX281" fmla="*/ 8333 w 10000"/>
              <a:gd name="connsiteY281" fmla="*/ 6900 h 10000"/>
              <a:gd name="connsiteX282" fmla="*/ 8295 w 10000"/>
              <a:gd name="connsiteY282" fmla="*/ 6900 h 10000"/>
              <a:gd name="connsiteX283" fmla="*/ 8256 w 10000"/>
              <a:gd name="connsiteY283" fmla="*/ 6900 h 10000"/>
              <a:gd name="connsiteX284" fmla="*/ 8256 w 10000"/>
              <a:gd name="connsiteY284" fmla="*/ 6822 h 10000"/>
              <a:gd name="connsiteX285" fmla="*/ 8333 w 10000"/>
              <a:gd name="connsiteY285" fmla="*/ 6590 h 10000"/>
              <a:gd name="connsiteX286" fmla="*/ 8333 w 10000"/>
              <a:gd name="connsiteY286" fmla="*/ 6434 h 10000"/>
              <a:gd name="connsiteX287" fmla="*/ 8411 w 10000"/>
              <a:gd name="connsiteY287" fmla="*/ 6434 h 10000"/>
              <a:gd name="connsiteX288" fmla="*/ 8527 w 10000"/>
              <a:gd name="connsiteY288" fmla="*/ 6279 h 10000"/>
              <a:gd name="connsiteX289" fmla="*/ 8527 w 10000"/>
              <a:gd name="connsiteY289" fmla="*/ 6434 h 10000"/>
              <a:gd name="connsiteX290" fmla="*/ 8566 w 10000"/>
              <a:gd name="connsiteY290" fmla="*/ 6356 h 10000"/>
              <a:gd name="connsiteX291" fmla="*/ 8682 w 10000"/>
              <a:gd name="connsiteY291" fmla="*/ 6279 h 10000"/>
              <a:gd name="connsiteX292" fmla="*/ 8759 w 10000"/>
              <a:gd name="connsiteY292" fmla="*/ 6434 h 10000"/>
              <a:gd name="connsiteX293" fmla="*/ 8798 w 10000"/>
              <a:gd name="connsiteY293" fmla="*/ 6279 h 10000"/>
              <a:gd name="connsiteX294" fmla="*/ 9187 w 10000"/>
              <a:gd name="connsiteY294" fmla="*/ 5737 h 10000"/>
              <a:gd name="connsiteX295" fmla="*/ 9303 w 10000"/>
              <a:gd name="connsiteY295" fmla="*/ 5814 h 10000"/>
              <a:gd name="connsiteX296" fmla="*/ 9342 w 10000"/>
              <a:gd name="connsiteY296" fmla="*/ 5737 h 10000"/>
              <a:gd name="connsiteX297" fmla="*/ 9264 w 10000"/>
              <a:gd name="connsiteY297" fmla="*/ 5271 h 10000"/>
              <a:gd name="connsiteX298" fmla="*/ 9225 w 10000"/>
              <a:gd name="connsiteY298" fmla="*/ 5271 h 10000"/>
              <a:gd name="connsiteX299" fmla="*/ 9225 w 10000"/>
              <a:gd name="connsiteY299" fmla="*/ 5116 h 10000"/>
              <a:gd name="connsiteX300" fmla="*/ 9264 w 10000"/>
              <a:gd name="connsiteY300" fmla="*/ 5116 h 10000"/>
              <a:gd name="connsiteX301" fmla="*/ 9342 w 10000"/>
              <a:gd name="connsiteY301" fmla="*/ 5039 h 10000"/>
              <a:gd name="connsiteX302" fmla="*/ 9419 w 10000"/>
              <a:gd name="connsiteY302" fmla="*/ 4884 h 10000"/>
              <a:gd name="connsiteX303" fmla="*/ 9380 w 10000"/>
              <a:gd name="connsiteY303" fmla="*/ 4729 h 10000"/>
              <a:gd name="connsiteX304" fmla="*/ 9419 w 10000"/>
              <a:gd name="connsiteY304" fmla="*/ 4652 h 10000"/>
              <a:gd name="connsiteX305" fmla="*/ 9458 w 10000"/>
              <a:gd name="connsiteY305" fmla="*/ 4884 h 10000"/>
              <a:gd name="connsiteX306" fmla="*/ 9535 w 10000"/>
              <a:gd name="connsiteY306" fmla="*/ 4884 h 10000"/>
              <a:gd name="connsiteX307" fmla="*/ 9613 w 10000"/>
              <a:gd name="connsiteY307" fmla="*/ 5039 h 10000"/>
              <a:gd name="connsiteX308" fmla="*/ 9806 w 10000"/>
              <a:gd name="connsiteY308" fmla="*/ 5271 h 10000"/>
              <a:gd name="connsiteX309" fmla="*/ 9845 w 10000"/>
              <a:gd name="connsiteY309" fmla="*/ 5039 h 10000"/>
              <a:gd name="connsiteX310" fmla="*/ 9845 w 10000"/>
              <a:gd name="connsiteY310" fmla="*/ 4884 h 10000"/>
              <a:gd name="connsiteX311" fmla="*/ 9923 w 10000"/>
              <a:gd name="connsiteY311" fmla="*/ 4884 h 10000"/>
              <a:gd name="connsiteX312" fmla="*/ 10000 w 10000"/>
              <a:gd name="connsiteY312" fmla="*/ 4729 h 10000"/>
              <a:gd name="connsiteX313" fmla="*/ 9884 w 10000"/>
              <a:gd name="connsiteY313" fmla="*/ 4496 h 10000"/>
              <a:gd name="connsiteX314" fmla="*/ 9690 w 10000"/>
              <a:gd name="connsiteY314" fmla="*/ 4418 h 10000"/>
              <a:gd name="connsiteX315" fmla="*/ 9342 w 10000"/>
              <a:gd name="connsiteY315" fmla="*/ 3799 h 10000"/>
              <a:gd name="connsiteX316" fmla="*/ 9109 w 10000"/>
              <a:gd name="connsiteY316" fmla="*/ 3488 h 10000"/>
              <a:gd name="connsiteX317" fmla="*/ 8798 w 10000"/>
              <a:gd name="connsiteY317" fmla="*/ 3411 h 10000"/>
              <a:gd name="connsiteX318" fmla="*/ 8798 w 10000"/>
              <a:gd name="connsiteY318" fmla="*/ 3799 h 10000"/>
              <a:gd name="connsiteX319" fmla="*/ 8721 w 10000"/>
              <a:gd name="connsiteY319" fmla="*/ 3876 h 10000"/>
              <a:gd name="connsiteX320" fmla="*/ 8643 w 10000"/>
              <a:gd name="connsiteY320" fmla="*/ 3721 h 10000"/>
              <a:gd name="connsiteX321" fmla="*/ 8643 w 10000"/>
              <a:gd name="connsiteY321" fmla="*/ 3566 h 10000"/>
              <a:gd name="connsiteX322" fmla="*/ 8682 w 10000"/>
              <a:gd name="connsiteY322" fmla="*/ 3566 h 10000"/>
              <a:gd name="connsiteX323" fmla="*/ 8721 w 10000"/>
              <a:gd name="connsiteY323" fmla="*/ 3488 h 10000"/>
              <a:gd name="connsiteX324" fmla="*/ 8643 w 10000"/>
              <a:gd name="connsiteY324" fmla="*/ 3488 h 10000"/>
              <a:gd name="connsiteX325" fmla="*/ 8566 w 10000"/>
              <a:gd name="connsiteY325" fmla="*/ 3644 h 10000"/>
              <a:gd name="connsiteX326" fmla="*/ 8372 w 10000"/>
              <a:gd name="connsiteY326" fmla="*/ 3566 h 10000"/>
              <a:gd name="connsiteX327" fmla="*/ 8178 w 10000"/>
              <a:gd name="connsiteY327" fmla="*/ 3566 h 10000"/>
              <a:gd name="connsiteX328" fmla="*/ 8101 w 10000"/>
              <a:gd name="connsiteY328" fmla="*/ 3488 h 10000"/>
              <a:gd name="connsiteX329" fmla="*/ 8140 w 10000"/>
              <a:gd name="connsiteY329" fmla="*/ 3333 h 10000"/>
              <a:gd name="connsiteX330" fmla="*/ 8062 w 10000"/>
              <a:gd name="connsiteY330" fmla="*/ 3101 h 10000"/>
              <a:gd name="connsiteX331" fmla="*/ 7907 w 10000"/>
              <a:gd name="connsiteY331" fmla="*/ 3023 h 10000"/>
              <a:gd name="connsiteX332" fmla="*/ 7675 w 10000"/>
              <a:gd name="connsiteY332" fmla="*/ 3178 h 10000"/>
              <a:gd name="connsiteX333" fmla="*/ 7636 w 10000"/>
              <a:gd name="connsiteY333" fmla="*/ 2946 h 10000"/>
              <a:gd name="connsiteX334" fmla="*/ 7558 w 10000"/>
              <a:gd name="connsiteY334" fmla="*/ 2946 h 10000"/>
              <a:gd name="connsiteX335" fmla="*/ 7520 w 10000"/>
              <a:gd name="connsiteY335" fmla="*/ 2868 h 10000"/>
              <a:gd name="connsiteX336" fmla="*/ 7520 w 10000"/>
              <a:gd name="connsiteY336" fmla="*/ 2636 h 10000"/>
              <a:gd name="connsiteX337" fmla="*/ 7249 w 10000"/>
              <a:gd name="connsiteY337" fmla="*/ 2480 h 10000"/>
              <a:gd name="connsiteX338" fmla="*/ 6938 w 10000"/>
              <a:gd name="connsiteY338" fmla="*/ 2325 h 10000"/>
              <a:gd name="connsiteX339" fmla="*/ 6860 w 10000"/>
              <a:gd name="connsiteY339" fmla="*/ 2636 h 10000"/>
              <a:gd name="connsiteX340" fmla="*/ 6938 w 10000"/>
              <a:gd name="connsiteY340" fmla="*/ 2868 h 10000"/>
              <a:gd name="connsiteX341" fmla="*/ 6705 w 10000"/>
              <a:gd name="connsiteY341" fmla="*/ 2868 h 10000"/>
              <a:gd name="connsiteX342" fmla="*/ 6666 w 10000"/>
              <a:gd name="connsiteY342" fmla="*/ 2868 h 10000"/>
              <a:gd name="connsiteX343" fmla="*/ 6589 w 10000"/>
              <a:gd name="connsiteY343" fmla="*/ 2946 h 10000"/>
              <a:gd name="connsiteX344" fmla="*/ 6473 w 10000"/>
              <a:gd name="connsiteY344" fmla="*/ 2714 h 10000"/>
              <a:gd name="connsiteX345" fmla="*/ 6395 w 10000"/>
              <a:gd name="connsiteY345" fmla="*/ 3178 h 10000"/>
              <a:gd name="connsiteX346" fmla="*/ 6318 w 10000"/>
              <a:gd name="connsiteY346" fmla="*/ 3101 h 10000"/>
              <a:gd name="connsiteX347" fmla="*/ 6240 w 10000"/>
              <a:gd name="connsiteY347" fmla="*/ 2791 h 10000"/>
              <a:gd name="connsiteX348" fmla="*/ 6279 w 10000"/>
              <a:gd name="connsiteY348" fmla="*/ 2403 h 10000"/>
              <a:gd name="connsiteX349" fmla="*/ 6202 w 10000"/>
              <a:gd name="connsiteY349" fmla="*/ 2170 h 10000"/>
              <a:gd name="connsiteX350" fmla="*/ 5969 w 10000"/>
              <a:gd name="connsiteY350" fmla="*/ 2016 h 10000"/>
              <a:gd name="connsiteX351" fmla="*/ 5892 w 10000"/>
              <a:gd name="connsiteY351" fmla="*/ 2016 h 10000"/>
              <a:gd name="connsiteX352" fmla="*/ 5853 w 10000"/>
              <a:gd name="connsiteY352" fmla="*/ 2170 h 10000"/>
              <a:gd name="connsiteX353" fmla="*/ 5892 w 10000"/>
              <a:gd name="connsiteY353" fmla="*/ 2325 h 10000"/>
              <a:gd name="connsiteX354" fmla="*/ 5582 w 10000"/>
              <a:gd name="connsiteY354" fmla="*/ 2248 h 10000"/>
              <a:gd name="connsiteX355" fmla="*/ 5620 w 10000"/>
              <a:gd name="connsiteY355" fmla="*/ 2016 h 10000"/>
              <a:gd name="connsiteX356" fmla="*/ 5427 w 10000"/>
              <a:gd name="connsiteY356" fmla="*/ 1938 h 10000"/>
              <a:gd name="connsiteX357" fmla="*/ 5311 w 10000"/>
              <a:gd name="connsiteY357" fmla="*/ 2093 h 10000"/>
              <a:gd name="connsiteX358" fmla="*/ 5078 w 10000"/>
              <a:gd name="connsiteY358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99 w 10000"/>
              <a:gd name="connsiteY233" fmla="*/ 7675 h 10000"/>
              <a:gd name="connsiteX234" fmla="*/ 6860 w 10000"/>
              <a:gd name="connsiteY234" fmla="*/ 7675 h 10000"/>
              <a:gd name="connsiteX235" fmla="*/ 6821 w 10000"/>
              <a:gd name="connsiteY235" fmla="*/ 7830 h 10000"/>
              <a:gd name="connsiteX236" fmla="*/ 6744 w 10000"/>
              <a:gd name="connsiteY236" fmla="*/ 7830 h 10000"/>
              <a:gd name="connsiteX237" fmla="*/ 6783 w 10000"/>
              <a:gd name="connsiteY237" fmla="*/ 7675 h 10000"/>
              <a:gd name="connsiteX238" fmla="*/ 6744 w 10000"/>
              <a:gd name="connsiteY238" fmla="*/ 7675 h 10000"/>
              <a:gd name="connsiteX239" fmla="*/ 6705 w 10000"/>
              <a:gd name="connsiteY239" fmla="*/ 7598 h 10000"/>
              <a:gd name="connsiteX240" fmla="*/ 6628 w 10000"/>
              <a:gd name="connsiteY240" fmla="*/ 7598 h 10000"/>
              <a:gd name="connsiteX241" fmla="*/ 6628 w 10000"/>
              <a:gd name="connsiteY241" fmla="*/ 7520 h 10000"/>
              <a:gd name="connsiteX242" fmla="*/ 6744 w 10000"/>
              <a:gd name="connsiteY242" fmla="*/ 7287 h 10000"/>
              <a:gd name="connsiteX243" fmla="*/ 7094 w 10000"/>
              <a:gd name="connsiteY243" fmla="*/ 6590 h 10000"/>
              <a:gd name="connsiteX244" fmla="*/ 7249 w 10000"/>
              <a:gd name="connsiteY244" fmla="*/ 6512 h 10000"/>
              <a:gd name="connsiteX245" fmla="*/ 7287 w 10000"/>
              <a:gd name="connsiteY245" fmla="*/ 6590 h 10000"/>
              <a:gd name="connsiteX246" fmla="*/ 7326 w 10000"/>
              <a:gd name="connsiteY246" fmla="*/ 6512 h 10000"/>
              <a:gd name="connsiteX247" fmla="*/ 7442 w 10000"/>
              <a:gd name="connsiteY247" fmla="*/ 6590 h 10000"/>
              <a:gd name="connsiteX248" fmla="*/ 7481 w 10000"/>
              <a:gd name="connsiteY248" fmla="*/ 6434 h 10000"/>
              <a:gd name="connsiteX249" fmla="*/ 7597 w 10000"/>
              <a:gd name="connsiteY249" fmla="*/ 6512 h 10000"/>
              <a:gd name="connsiteX250" fmla="*/ 7636 w 10000"/>
              <a:gd name="connsiteY250" fmla="*/ 6512 h 10000"/>
              <a:gd name="connsiteX251" fmla="*/ 7597 w 10000"/>
              <a:gd name="connsiteY251" fmla="*/ 6590 h 10000"/>
              <a:gd name="connsiteX252" fmla="*/ 7597 w 10000"/>
              <a:gd name="connsiteY252" fmla="*/ 6667 h 10000"/>
              <a:gd name="connsiteX253" fmla="*/ 7830 w 10000"/>
              <a:gd name="connsiteY253" fmla="*/ 6590 h 10000"/>
              <a:gd name="connsiteX254" fmla="*/ 7791 w 10000"/>
              <a:gd name="connsiteY254" fmla="*/ 6512 h 10000"/>
              <a:gd name="connsiteX255" fmla="*/ 7946 w 10000"/>
              <a:gd name="connsiteY255" fmla="*/ 5969 h 10000"/>
              <a:gd name="connsiteX256" fmla="*/ 8140 w 10000"/>
              <a:gd name="connsiteY256" fmla="*/ 5892 h 10000"/>
              <a:gd name="connsiteX257" fmla="*/ 8140 w 10000"/>
              <a:gd name="connsiteY257" fmla="*/ 6047 h 10000"/>
              <a:gd name="connsiteX258" fmla="*/ 8140 w 10000"/>
              <a:gd name="connsiteY258" fmla="*/ 6202 h 10000"/>
              <a:gd name="connsiteX259" fmla="*/ 8333 w 10000"/>
              <a:gd name="connsiteY259" fmla="*/ 5969 h 10000"/>
              <a:gd name="connsiteX260" fmla="*/ 8333 w 10000"/>
              <a:gd name="connsiteY260" fmla="*/ 5737 h 10000"/>
              <a:gd name="connsiteX261" fmla="*/ 8411 w 10000"/>
              <a:gd name="connsiteY261" fmla="*/ 5737 h 10000"/>
              <a:gd name="connsiteX262" fmla="*/ 8372 w 10000"/>
              <a:gd name="connsiteY262" fmla="*/ 5814 h 10000"/>
              <a:gd name="connsiteX263" fmla="*/ 8333 w 10000"/>
              <a:gd name="connsiteY263" fmla="*/ 6202 h 10000"/>
              <a:gd name="connsiteX264" fmla="*/ 8256 w 10000"/>
              <a:gd name="connsiteY264" fmla="*/ 6279 h 10000"/>
              <a:gd name="connsiteX265" fmla="*/ 8023 w 10000"/>
              <a:gd name="connsiteY265" fmla="*/ 6822 h 10000"/>
              <a:gd name="connsiteX266" fmla="*/ 7946 w 10000"/>
              <a:gd name="connsiteY266" fmla="*/ 6900 h 10000"/>
              <a:gd name="connsiteX267" fmla="*/ 7868 w 10000"/>
              <a:gd name="connsiteY267" fmla="*/ 7442 h 10000"/>
              <a:gd name="connsiteX268" fmla="*/ 7946 w 10000"/>
              <a:gd name="connsiteY268" fmla="*/ 8372 h 10000"/>
              <a:gd name="connsiteX269" fmla="*/ 8023 w 10000"/>
              <a:gd name="connsiteY269" fmla="*/ 8217 h 10000"/>
              <a:gd name="connsiteX270" fmla="*/ 8101 w 10000"/>
              <a:gd name="connsiteY270" fmla="*/ 7907 h 10000"/>
              <a:gd name="connsiteX271" fmla="*/ 8140 w 10000"/>
              <a:gd name="connsiteY271" fmla="*/ 7907 h 10000"/>
              <a:gd name="connsiteX272" fmla="*/ 8140 w 10000"/>
              <a:gd name="connsiteY272" fmla="*/ 7675 h 10000"/>
              <a:gd name="connsiteX273" fmla="*/ 8178 w 10000"/>
              <a:gd name="connsiteY273" fmla="*/ 7675 h 10000"/>
              <a:gd name="connsiteX274" fmla="*/ 8256 w 10000"/>
              <a:gd name="connsiteY274" fmla="*/ 7598 h 10000"/>
              <a:gd name="connsiteX275" fmla="*/ 8217 w 10000"/>
              <a:gd name="connsiteY275" fmla="*/ 7364 h 10000"/>
              <a:gd name="connsiteX276" fmla="*/ 8295 w 10000"/>
              <a:gd name="connsiteY276" fmla="*/ 7287 h 10000"/>
              <a:gd name="connsiteX277" fmla="*/ 8333 w 10000"/>
              <a:gd name="connsiteY277" fmla="*/ 7287 h 10000"/>
              <a:gd name="connsiteX278" fmla="*/ 8333 w 10000"/>
              <a:gd name="connsiteY278" fmla="*/ 7132 h 10000"/>
              <a:gd name="connsiteX279" fmla="*/ 8295 w 10000"/>
              <a:gd name="connsiteY279" fmla="*/ 7132 h 10000"/>
              <a:gd name="connsiteX280" fmla="*/ 8333 w 10000"/>
              <a:gd name="connsiteY280" fmla="*/ 6900 h 10000"/>
              <a:gd name="connsiteX281" fmla="*/ 8295 w 10000"/>
              <a:gd name="connsiteY281" fmla="*/ 6900 h 10000"/>
              <a:gd name="connsiteX282" fmla="*/ 8256 w 10000"/>
              <a:gd name="connsiteY282" fmla="*/ 6900 h 10000"/>
              <a:gd name="connsiteX283" fmla="*/ 8256 w 10000"/>
              <a:gd name="connsiteY283" fmla="*/ 6822 h 10000"/>
              <a:gd name="connsiteX284" fmla="*/ 8333 w 10000"/>
              <a:gd name="connsiteY284" fmla="*/ 6590 h 10000"/>
              <a:gd name="connsiteX285" fmla="*/ 8333 w 10000"/>
              <a:gd name="connsiteY285" fmla="*/ 6434 h 10000"/>
              <a:gd name="connsiteX286" fmla="*/ 8411 w 10000"/>
              <a:gd name="connsiteY286" fmla="*/ 6434 h 10000"/>
              <a:gd name="connsiteX287" fmla="*/ 8527 w 10000"/>
              <a:gd name="connsiteY287" fmla="*/ 6279 h 10000"/>
              <a:gd name="connsiteX288" fmla="*/ 8527 w 10000"/>
              <a:gd name="connsiteY288" fmla="*/ 6434 h 10000"/>
              <a:gd name="connsiteX289" fmla="*/ 8566 w 10000"/>
              <a:gd name="connsiteY289" fmla="*/ 6356 h 10000"/>
              <a:gd name="connsiteX290" fmla="*/ 8682 w 10000"/>
              <a:gd name="connsiteY290" fmla="*/ 6279 h 10000"/>
              <a:gd name="connsiteX291" fmla="*/ 8759 w 10000"/>
              <a:gd name="connsiteY291" fmla="*/ 6434 h 10000"/>
              <a:gd name="connsiteX292" fmla="*/ 8798 w 10000"/>
              <a:gd name="connsiteY292" fmla="*/ 6279 h 10000"/>
              <a:gd name="connsiteX293" fmla="*/ 9187 w 10000"/>
              <a:gd name="connsiteY293" fmla="*/ 5737 h 10000"/>
              <a:gd name="connsiteX294" fmla="*/ 9303 w 10000"/>
              <a:gd name="connsiteY294" fmla="*/ 5814 h 10000"/>
              <a:gd name="connsiteX295" fmla="*/ 9342 w 10000"/>
              <a:gd name="connsiteY295" fmla="*/ 5737 h 10000"/>
              <a:gd name="connsiteX296" fmla="*/ 9264 w 10000"/>
              <a:gd name="connsiteY296" fmla="*/ 5271 h 10000"/>
              <a:gd name="connsiteX297" fmla="*/ 9225 w 10000"/>
              <a:gd name="connsiteY297" fmla="*/ 5271 h 10000"/>
              <a:gd name="connsiteX298" fmla="*/ 9225 w 10000"/>
              <a:gd name="connsiteY298" fmla="*/ 5116 h 10000"/>
              <a:gd name="connsiteX299" fmla="*/ 9264 w 10000"/>
              <a:gd name="connsiteY299" fmla="*/ 5116 h 10000"/>
              <a:gd name="connsiteX300" fmla="*/ 9342 w 10000"/>
              <a:gd name="connsiteY300" fmla="*/ 5039 h 10000"/>
              <a:gd name="connsiteX301" fmla="*/ 9419 w 10000"/>
              <a:gd name="connsiteY301" fmla="*/ 4884 h 10000"/>
              <a:gd name="connsiteX302" fmla="*/ 9380 w 10000"/>
              <a:gd name="connsiteY302" fmla="*/ 4729 h 10000"/>
              <a:gd name="connsiteX303" fmla="*/ 9419 w 10000"/>
              <a:gd name="connsiteY303" fmla="*/ 4652 h 10000"/>
              <a:gd name="connsiteX304" fmla="*/ 9458 w 10000"/>
              <a:gd name="connsiteY304" fmla="*/ 4884 h 10000"/>
              <a:gd name="connsiteX305" fmla="*/ 9535 w 10000"/>
              <a:gd name="connsiteY305" fmla="*/ 4884 h 10000"/>
              <a:gd name="connsiteX306" fmla="*/ 9613 w 10000"/>
              <a:gd name="connsiteY306" fmla="*/ 5039 h 10000"/>
              <a:gd name="connsiteX307" fmla="*/ 9806 w 10000"/>
              <a:gd name="connsiteY307" fmla="*/ 5271 h 10000"/>
              <a:gd name="connsiteX308" fmla="*/ 9845 w 10000"/>
              <a:gd name="connsiteY308" fmla="*/ 5039 h 10000"/>
              <a:gd name="connsiteX309" fmla="*/ 9845 w 10000"/>
              <a:gd name="connsiteY309" fmla="*/ 4884 h 10000"/>
              <a:gd name="connsiteX310" fmla="*/ 9923 w 10000"/>
              <a:gd name="connsiteY310" fmla="*/ 4884 h 10000"/>
              <a:gd name="connsiteX311" fmla="*/ 10000 w 10000"/>
              <a:gd name="connsiteY311" fmla="*/ 4729 h 10000"/>
              <a:gd name="connsiteX312" fmla="*/ 9884 w 10000"/>
              <a:gd name="connsiteY312" fmla="*/ 4496 h 10000"/>
              <a:gd name="connsiteX313" fmla="*/ 9690 w 10000"/>
              <a:gd name="connsiteY313" fmla="*/ 4418 h 10000"/>
              <a:gd name="connsiteX314" fmla="*/ 9342 w 10000"/>
              <a:gd name="connsiteY314" fmla="*/ 3799 h 10000"/>
              <a:gd name="connsiteX315" fmla="*/ 9109 w 10000"/>
              <a:gd name="connsiteY315" fmla="*/ 3488 h 10000"/>
              <a:gd name="connsiteX316" fmla="*/ 8798 w 10000"/>
              <a:gd name="connsiteY316" fmla="*/ 3411 h 10000"/>
              <a:gd name="connsiteX317" fmla="*/ 8798 w 10000"/>
              <a:gd name="connsiteY317" fmla="*/ 3799 h 10000"/>
              <a:gd name="connsiteX318" fmla="*/ 8721 w 10000"/>
              <a:gd name="connsiteY318" fmla="*/ 3876 h 10000"/>
              <a:gd name="connsiteX319" fmla="*/ 8643 w 10000"/>
              <a:gd name="connsiteY319" fmla="*/ 3721 h 10000"/>
              <a:gd name="connsiteX320" fmla="*/ 8643 w 10000"/>
              <a:gd name="connsiteY320" fmla="*/ 3566 h 10000"/>
              <a:gd name="connsiteX321" fmla="*/ 8682 w 10000"/>
              <a:gd name="connsiteY321" fmla="*/ 3566 h 10000"/>
              <a:gd name="connsiteX322" fmla="*/ 8721 w 10000"/>
              <a:gd name="connsiteY322" fmla="*/ 3488 h 10000"/>
              <a:gd name="connsiteX323" fmla="*/ 8643 w 10000"/>
              <a:gd name="connsiteY323" fmla="*/ 3488 h 10000"/>
              <a:gd name="connsiteX324" fmla="*/ 8566 w 10000"/>
              <a:gd name="connsiteY324" fmla="*/ 3644 h 10000"/>
              <a:gd name="connsiteX325" fmla="*/ 8372 w 10000"/>
              <a:gd name="connsiteY325" fmla="*/ 3566 h 10000"/>
              <a:gd name="connsiteX326" fmla="*/ 8178 w 10000"/>
              <a:gd name="connsiteY326" fmla="*/ 3566 h 10000"/>
              <a:gd name="connsiteX327" fmla="*/ 8101 w 10000"/>
              <a:gd name="connsiteY327" fmla="*/ 3488 h 10000"/>
              <a:gd name="connsiteX328" fmla="*/ 8140 w 10000"/>
              <a:gd name="connsiteY328" fmla="*/ 3333 h 10000"/>
              <a:gd name="connsiteX329" fmla="*/ 8062 w 10000"/>
              <a:gd name="connsiteY329" fmla="*/ 3101 h 10000"/>
              <a:gd name="connsiteX330" fmla="*/ 7907 w 10000"/>
              <a:gd name="connsiteY330" fmla="*/ 3023 h 10000"/>
              <a:gd name="connsiteX331" fmla="*/ 7675 w 10000"/>
              <a:gd name="connsiteY331" fmla="*/ 3178 h 10000"/>
              <a:gd name="connsiteX332" fmla="*/ 7636 w 10000"/>
              <a:gd name="connsiteY332" fmla="*/ 2946 h 10000"/>
              <a:gd name="connsiteX333" fmla="*/ 7558 w 10000"/>
              <a:gd name="connsiteY333" fmla="*/ 2946 h 10000"/>
              <a:gd name="connsiteX334" fmla="*/ 7520 w 10000"/>
              <a:gd name="connsiteY334" fmla="*/ 2868 h 10000"/>
              <a:gd name="connsiteX335" fmla="*/ 7520 w 10000"/>
              <a:gd name="connsiteY335" fmla="*/ 2636 h 10000"/>
              <a:gd name="connsiteX336" fmla="*/ 7249 w 10000"/>
              <a:gd name="connsiteY336" fmla="*/ 2480 h 10000"/>
              <a:gd name="connsiteX337" fmla="*/ 6938 w 10000"/>
              <a:gd name="connsiteY337" fmla="*/ 2325 h 10000"/>
              <a:gd name="connsiteX338" fmla="*/ 6860 w 10000"/>
              <a:gd name="connsiteY338" fmla="*/ 2636 h 10000"/>
              <a:gd name="connsiteX339" fmla="*/ 6938 w 10000"/>
              <a:gd name="connsiteY339" fmla="*/ 2868 h 10000"/>
              <a:gd name="connsiteX340" fmla="*/ 6705 w 10000"/>
              <a:gd name="connsiteY340" fmla="*/ 2868 h 10000"/>
              <a:gd name="connsiteX341" fmla="*/ 6666 w 10000"/>
              <a:gd name="connsiteY341" fmla="*/ 2868 h 10000"/>
              <a:gd name="connsiteX342" fmla="*/ 6589 w 10000"/>
              <a:gd name="connsiteY342" fmla="*/ 2946 h 10000"/>
              <a:gd name="connsiteX343" fmla="*/ 6473 w 10000"/>
              <a:gd name="connsiteY343" fmla="*/ 2714 h 10000"/>
              <a:gd name="connsiteX344" fmla="*/ 6395 w 10000"/>
              <a:gd name="connsiteY344" fmla="*/ 3178 h 10000"/>
              <a:gd name="connsiteX345" fmla="*/ 6318 w 10000"/>
              <a:gd name="connsiteY345" fmla="*/ 3101 h 10000"/>
              <a:gd name="connsiteX346" fmla="*/ 6240 w 10000"/>
              <a:gd name="connsiteY346" fmla="*/ 2791 h 10000"/>
              <a:gd name="connsiteX347" fmla="*/ 6279 w 10000"/>
              <a:gd name="connsiteY347" fmla="*/ 2403 h 10000"/>
              <a:gd name="connsiteX348" fmla="*/ 6202 w 10000"/>
              <a:gd name="connsiteY348" fmla="*/ 2170 h 10000"/>
              <a:gd name="connsiteX349" fmla="*/ 5969 w 10000"/>
              <a:gd name="connsiteY349" fmla="*/ 2016 h 10000"/>
              <a:gd name="connsiteX350" fmla="*/ 5892 w 10000"/>
              <a:gd name="connsiteY350" fmla="*/ 2016 h 10000"/>
              <a:gd name="connsiteX351" fmla="*/ 5853 w 10000"/>
              <a:gd name="connsiteY351" fmla="*/ 2170 h 10000"/>
              <a:gd name="connsiteX352" fmla="*/ 5892 w 10000"/>
              <a:gd name="connsiteY352" fmla="*/ 2325 h 10000"/>
              <a:gd name="connsiteX353" fmla="*/ 5582 w 10000"/>
              <a:gd name="connsiteY353" fmla="*/ 2248 h 10000"/>
              <a:gd name="connsiteX354" fmla="*/ 5620 w 10000"/>
              <a:gd name="connsiteY354" fmla="*/ 2016 h 10000"/>
              <a:gd name="connsiteX355" fmla="*/ 5427 w 10000"/>
              <a:gd name="connsiteY355" fmla="*/ 1938 h 10000"/>
              <a:gd name="connsiteX356" fmla="*/ 5311 w 10000"/>
              <a:gd name="connsiteY356" fmla="*/ 2093 h 10000"/>
              <a:gd name="connsiteX357" fmla="*/ 5078 w 10000"/>
              <a:gd name="connsiteY357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99 w 10000"/>
              <a:gd name="connsiteY233" fmla="*/ 7675 h 10000"/>
              <a:gd name="connsiteX234" fmla="*/ 6860 w 10000"/>
              <a:gd name="connsiteY234" fmla="*/ 7675 h 10000"/>
              <a:gd name="connsiteX235" fmla="*/ 6744 w 10000"/>
              <a:gd name="connsiteY235" fmla="*/ 7830 h 10000"/>
              <a:gd name="connsiteX236" fmla="*/ 6783 w 10000"/>
              <a:gd name="connsiteY236" fmla="*/ 7675 h 10000"/>
              <a:gd name="connsiteX237" fmla="*/ 6744 w 10000"/>
              <a:gd name="connsiteY237" fmla="*/ 7675 h 10000"/>
              <a:gd name="connsiteX238" fmla="*/ 6705 w 10000"/>
              <a:gd name="connsiteY238" fmla="*/ 7598 h 10000"/>
              <a:gd name="connsiteX239" fmla="*/ 6628 w 10000"/>
              <a:gd name="connsiteY239" fmla="*/ 7598 h 10000"/>
              <a:gd name="connsiteX240" fmla="*/ 6628 w 10000"/>
              <a:gd name="connsiteY240" fmla="*/ 7520 h 10000"/>
              <a:gd name="connsiteX241" fmla="*/ 6744 w 10000"/>
              <a:gd name="connsiteY241" fmla="*/ 7287 h 10000"/>
              <a:gd name="connsiteX242" fmla="*/ 7094 w 10000"/>
              <a:gd name="connsiteY242" fmla="*/ 6590 h 10000"/>
              <a:gd name="connsiteX243" fmla="*/ 7249 w 10000"/>
              <a:gd name="connsiteY243" fmla="*/ 6512 h 10000"/>
              <a:gd name="connsiteX244" fmla="*/ 7287 w 10000"/>
              <a:gd name="connsiteY244" fmla="*/ 6590 h 10000"/>
              <a:gd name="connsiteX245" fmla="*/ 7326 w 10000"/>
              <a:gd name="connsiteY245" fmla="*/ 6512 h 10000"/>
              <a:gd name="connsiteX246" fmla="*/ 7442 w 10000"/>
              <a:gd name="connsiteY246" fmla="*/ 6590 h 10000"/>
              <a:gd name="connsiteX247" fmla="*/ 7481 w 10000"/>
              <a:gd name="connsiteY247" fmla="*/ 6434 h 10000"/>
              <a:gd name="connsiteX248" fmla="*/ 7597 w 10000"/>
              <a:gd name="connsiteY248" fmla="*/ 6512 h 10000"/>
              <a:gd name="connsiteX249" fmla="*/ 7636 w 10000"/>
              <a:gd name="connsiteY249" fmla="*/ 6512 h 10000"/>
              <a:gd name="connsiteX250" fmla="*/ 7597 w 10000"/>
              <a:gd name="connsiteY250" fmla="*/ 6590 h 10000"/>
              <a:gd name="connsiteX251" fmla="*/ 7597 w 10000"/>
              <a:gd name="connsiteY251" fmla="*/ 6667 h 10000"/>
              <a:gd name="connsiteX252" fmla="*/ 7830 w 10000"/>
              <a:gd name="connsiteY252" fmla="*/ 6590 h 10000"/>
              <a:gd name="connsiteX253" fmla="*/ 7791 w 10000"/>
              <a:gd name="connsiteY253" fmla="*/ 6512 h 10000"/>
              <a:gd name="connsiteX254" fmla="*/ 7946 w 10000"/>
              <a:gd name="connsiteY254" fmla="*/ 5969 h 10000"/>
              <a:gd name="connsiteX255" fmla="*/ 8140 w 10000"/>
              <a:gd name="connsiteY255" fmla="*/ 5892 h 10000"/>
              <a:gd name="connsiteX256" fmla="*/ 8140 w 10000"/>
              <a:gd name="connsiteY256" fmla="*/ 6047 h 10000"/>
              <a:gd name="connsiteX257" fmla="*/ 8140 w 10000"/>
              <a:gd name="connsiteY257" fmla="*/ 6202 h 10000"/>
              <a:gd name="connsiteX258" fmla="*/ 8333 w 10000"/>
              <a:gd name="connsiteY258" fmla="*/ 5969 h 10000"/>
              <a:gd name="connsiteX259" fmla="*/ 8333 w 10000"/>
              <a:gd name="connsiteY259" fmla="*/ 5737 h 10000"/>
              <a:gd name="connsiteX260" fmla="*/ 8411 w 10000"/>
              <a:gd name="connsiteY260" fmla="*/ 5737 h 10000"/>
              <a:gd name="connsiteX261" fmla="*/ 8372 w 10000"/>
              <a:gd name="connsiteY261" fmla="*/ 5814 h 10000"/>
              <a:gd name="connsiteX262" fmla="*/ 8333 w 10000"/>
              <a:gd name="connsiteY262" fmla="*/ 6202 h 10000"/>
              <a:gd name="connsiteX263" fmla="*/ 8256 w 10000"/>
              <a:gd name="connsiteY263" fmla="*/ 6279 h 10000"/>
              <a:gd name="connsiteX264" fmla="*/ 8023 w 10000"/>
              <a:gd name="connsiteY264" fmla="*/ 6822 h 10000"/>
              <a:gd name="connsiteX265" fmla="*/ 7946 w 10000"/>
              <a:gd name="connsiteY265" fmla="*/ 6900 h 10000"/>
              <a:gd name="connsiteX266" fmla="*/ 7868 w 10000"/>
              <a:gd name="connsiteY266" fmla="*/ 7442 h 10000"/>
              <a:gd name="connsiteX267" fmla="*/ 7946 w 10000"/>
              <a:gd name="connsiteY267" fmla="*/ 8372 h 10000"/>
              <a:gd name="connsiteX268" fmla="*/ 8023 w 10000"/>
              <a:gd name="connsiteY268" fmla="*/ 8217 h 10000"/>
              <a:gd name="connsiteX269" fmla="*/ 8101 w 10000"/>
              <a:gd name="connsiteY269" fmla="*/ 7907 h 10000"/>
              <a:gd name="connsiteX270" fmla="*/ 8140 w 10000"/>
              <a:gd name="connsiteY270" fmla="*/ 7907 h 10000"/>
              <a:gd name="connsiteX271" fmla="*/ 8140 w 10000"/>
              <a:gd name="connsiteY271" fmla="*/ 7675 h 10000"/>
              <a:gd name="connsiteX272" fmla="*/ 8178 w 10000"/>
              <a:gd name="connsiteY272" fmla="*/ 7675 h 10000"/>
              <a:gd name="connsiteX273" fmla="*/ 8256 w 10000"/>
              <a:gd name="connsiteY273" fmla="*/ 7598 h 10000"/>
              <a:gd name="connsiteX274" fmla="*/ 8217 w 10000"/>
              <a:gd name="connsiteY274" fmla="*/ 7364 h 10000"/>
              <a:gd name="connsiteX275" fmla="*/ 8295 w 10000"/>
              <a:gd name="connsiteY275" fmla="*/ 7287 h 10000"/>
              <a:gd name="connsiteX276" fmla="*/ 8333 w 10000"/>
              <a:gd name="connsiteY276" fmla="*/ 7287 h 10000"/>
              <a:gd name="connsiteX277" fmla="*/ 8333 w 10000"/>
              <a:gd name="connsiteY277" fmla="*/ 7132 h 10000"/>
              <a:gd name="connsiteX278" fmla="*/ 8295 w 10000"/>
              <a:gd name="connsiteY278" fmla="*/ 7132 h 10000"/>
              <a:gd name="connsiteX279" fmla="*/ 8333 w 10000"/>
              <a:gd name="connsiteY279" fmla="*/ 6900 h 10000"/>
              <a:gd name="connsiteX280" fmla="*/ 8295 w 10000"/>
              <a:gd name="connsiteY280" fmla="*/ 6900 h 10000"/>
              <a:gd name="connsiteX281" fmla="*/ 8256 w 10000"/>
              <a:gd name="connsiteY281" fmla="*/ 6900 h 10000"/>
              <a:gd name="connsiteX282" fmla="*/ 8256 w 10000"/>
              <a:gd name="connsiteY282" fmla="*/ 6822 h 10000"/>
              <a:gd name="connsiteX283" fmla="*/ 8333 w 10000"/>
              <a:gd name="connsiteY283" fmla="*/ 6590 h 10000"/>
              <a:gd name="connsiteX284" fmla="*/ 8333 w 10000"/>
              <a:gd name="connsiteY284" fmla="*/ 6434 h 10000"/>
              <a:gd name="connsiteX285" fmla="*/ 8411 w 10000"/>
              <a:gd name="connsiteY285" fmla="*/ 6434 h 10000"/>
              <a:gd name="connsiteX286" fmla="*/ 8527 w 10000"/>
              <a:gd name="connsiteY286" fmla="*/ 6279 h 10000"/>
              <a:gd name="connsiteX287" fmla="*/ 8527 w 10000"/>
              <a:gd name="connsiteY287" fmla="*/ 6434 h 10000"/>
              <a:gd name="connsiteX288" fmla="*/ 8566 w 10000"/>
              <a:gd name="connsiteY288" fmla="*/ 6356 h 10000"/>
              <a:gd name="connsiteX289" fmla="*/ 8682 w 10000"/>
              <a:gd name="connsiteY289" fmla="*/ 6279 h 10000"/>
              <a:gd name="connsiteX290" fmla="*/ 8759 w 10000"/>
              <a:gd name="connsiteY290" fmla="*/ 6434 h 10000"/>
              <a:gd name="connsiteX291" fmla="*/ 8798 w 10000"/>
              <a:gd name="connsiteY291" fmla="*/ 6279 h 10000"/>
              <a:gd name="connsiteX292" fmla="*/ 9187 w 10000"/>
              <a:gd name="connsiteY292" fmla="*/ 5737 h 10000"/>
              <a:gd name="connsiteX293" fmla="*/ 9303 w 10000"/>
              <a:gd name="connsiteY293" fmla="*/ 5814 h 10000"/>
              <a:gd name="connsiteX294" fmla="*/ 9342 w 10000"/>
              <a:gd name="connsiteY294" fmla="*/ 5737 h 10000"/>
              <a:gd name="connsiteX295" fmla="*/ 9264 w 10000"/>
              <a:gd name="connsiteY295" fmla="*/ 5271 h 10000"/>
              <a:gd name="connsiteX296" fmla="*/ 9225 w 10000"/>
              <a:gd name="connsiteY296" fmla="*/ 5271 h 10000"/>
              <a:gd name="connsiteX297" fmla="*/ 9225 w 10000"/>
              <a:gd name="connsiteY297" fmla="*/ 5116 h 10000"/>
              <a:gd name="connsiteX298" fmla="*/ 9264 w 10000"/>
              <a:gd name="connsiteY298" fmla="*/ 5116 h 10000"/>
              <a:gd name="connsiteX299" fmla="*/ 9342 w 10000"/>
              <a:gd name="connsiteY299" fmla="*/ 5039 h 10000"/>
              <a:gd name="connsiteX300" fmla="*/ 9419 w 10000"/>
              <a:gd name="connsiteY300" fmla="*/ 4884 h 10000"/>
              <a:gd name="connsiteX301" fmla="*/ 9380 w 10000"/>
              <a:gd name="connsiteY301" fmla="*/ 4729 h 10000"/>
              <a:gd name="connsiteX302" fmla="*/ 9419 w 10000"/>
              <a:gd name="connsiteY302" fmla="*/ 4652 h 10000"/>
              <a:gd name="connsiteX303" fmla="*/ 9458 w 10000"/>
              <a:gd name="connsiteY303" fmla="*/ 4884 h 10000"/>
              <a:gd name="connsiteX304" fmla="*/ 9535 w 10000"/>
              <a:gd name="connsiteY304" fmla="*/ 4884 h 10000"/>
              <a:gd name="connsiteX305" fmla="*/ 9613 w 10000"/>
              <a:gd name="connsiteY305" fmla="*/ 5039 h 10000"/>
              <a:gd name="connsiteX306" fmla="*/ 9806 w 10000"/>
              <a:gd name="connsiteY306" fmla="*/ 5271 h 10000"/>
              <a:gd name="connsiteX307" fmla="*/ 9845 w 10000"/>
              <a:gd name="connsiteY307" fmla="*/ 5039 h 10000"/>
              <a:gd name="connsiteX308" fmla="*/ 9845 w 10000"/>
              <a:gd name="connsiteY308" fmla="*/ 4884 h 10000"/>
              <a:gd name="connsiteX309" fmla="*/ 9923 w 10000"/>
              <a:gd name="connsiteY309" fmla="*/ 4884 h 10000"/>
              <a:gd name="connsiteX310" fmla="*/ 10000 w 10000"/>
              <a:gd name="connsiteY310" fmla="*/ 4729 h 10000"/>
              <a:gd name="connsiteX311" fmla="*/ 9884 w 10000"/>
              <a:gd name="connsiteY311" fmla="*/ 4496 h 10000"/>
              <a:gd name="connsiteX312" fmla="*/ 9690 w 10000"/>
              <a:gd name="connsiteY312" fmla="*/ 4418 h 10000"/>
              <a:gd name="connsiteX313" fmla="*/ 9342 w 10000"/>
              <a:gd name="connsiteY313" fmla="*/ 3799 h 10000"/>
              <a:gd name="connsiteX314" fmla="*/ 9109 w 10000"/>
              <a:gd name="connsiteY314" fmla="*/ 3488 h 10000"/>
              <a:gd name="connsiteX315" fmla="*/ 8798 w 10000"/>
              <a:gd name="connsiteY315" fmla="*/ 3411 h 10000"/>
              <a:gd name="connsiteX316" fmla="*/ 8798 w 10000"/>
              <a:gd name="connsiteY316" fmla="*/ 3799 h 10000"/>
              <a:gd name="connsiteX317" fmla="*/ 8721 w 10000"/>
              <a:gd name="connsiteY317" fmla="*/ 3876 h 10000"/>
              <a:gd name="connsiteX318" fmla="*/ 8643 w 10000"/>
              <a:gd name="connsiteY318" fmla="*/ 3721 h 10000"/>
              <a:gd name="connsiteX319" fmla="*/ 8643 w 10000"/>
              <a:gd name="connsiteY319" fmla="*/ 3566 h 10000"/>
              <a:gd name="connsiteX320" fmla="*/ 8682 w 10000"/>
              <a:gd name="connsiteY320" fmla="*/ 3566 h 10000"/>
              <a:gd name="connsiteX321" fmla="*/ 8721 w 10000"/>
              <a:gd name="connsiteY321" fmla="*/ 3488 h 10000"/>
              <a:gd name="connsiteX322" fmla="*/ 8643 w 10000"/>
              <a:gd name="connsiteY322" fmla="*/ 3488 h 10000"/>
              <a:gd name="connsiteX323" fmla="*/ 8566 w 10000"/>
              <a:gd name="connsiteY323" fmla="*/ 3644 h 10000"/>
              <a:gd name="connsiteX324" fmla="*/ 8372 w 10000"/>
              <a:gd name="connsiteY324" fmla="*/ 3566 h 10000"/>
              <a:gd name="connsiteX325" fmla="*/ 8178 w 10000"/>
              <a:gd name="connsiteY325" fmla="*/ 3566 h 10000"/>
              <a:gd name="connsiteX326" fmla="*/ 8101 w 10000"/>
              <a:gd name="connsiteY326" fmla="*/ 3488 h 10000"/>
              <a:gd name="connsiteX327" fmla="*/ 8140 w 10000"/>
              <a:gd name="connsiteY327" fmla="*/ 3333 h 10000"/>
              <a:gd name="connsiteX328" fmla="*/ 8062 w 10000"/>
              <a:gd name="connsiteY328" fmla="*/ 3101 h 10000"/>
              <a:gd name="connsiteX329" fmla="*/ 7907 w 10000"/>
              <a:gd name="connsiteY329" fmla="*/ 3023 h 10000"/>
              <a:gd name="connsiteX330" fmla="*/ 7675 w 10000"/>
              <a:gd name="connsiteY330" fmla="*/ 3178 h 10000"/>
              <a:gd name="connsiteX331" fmla="*/ 7636 w 10000"/>
              <a:gd name="connsiteY331" fmla="*/ 2946 h 10000"/>
              <a:gd name="connsiteX332" fmla="*/ 7558 w 10000"/>
              <a:gd name="connsiteY332" fmla="*/ 2946 h 10000"/>
              <a:gd name="connsiteX333" fmla="*/ 7520 w 10000"/>
              <a:gd name="connsiteY333" fmla="*/ 2868 h 10000"/>
              <a:gd name="connsiteX334" fmla="*/ 7520 w 10000"/>
              <a:gd name="connsiteY334" fmla="*/ 2636 h 10000"/>
              <a:gd name="connsiteX335" fmla="*/ 7249 w 10000"/>
              <a:gd name="connsiteY335" fmla="*/ 2480 h 10000"/>
              <a:gd name="connsiteX336" fmla="*/ 6938 w 10000"/>
              <a:gd name="connsiteY336" fmla="*/ 2325 h 10000"/>
              <a:gd name="connsiteX337" fmla="*/ 6860 w 10000"/>
              <a:gd name="connsiteY337" fmla="*/ 2636 h 10000"/>
              <a:gd name="connsiteX338" fmla="*/ 6938 w 10000"/>
              <a:gd name="connsiteY338" fmla="*/ 2868 h 10000"/>
              <a:gd name="connsiteX339" fmla="*/ 6705 w 10000"/>
              <a:gd name="connsiteY339" fmla="*/ 2868 h 10000"/>
              <a:gd name="connsiteX340" fmla="*/ 6666 w 10000"/>
              <a:gd name="connsiteY340" fmla="*/ 2868 h 10000"/>
              <a:gd name="connsiteX341" fmla="*/ 6589 w 10000"/>
              <a:gd name="connsiteY341" fmla="*/ 2946 h 10000"/>
              <a:gd name="connsiteX342" fmla="*/ 6473 w 10000"/>
              <a:gd name="connsiteY342" fmla="*/ 2714 h 10000"/>
              <a:gd name="connsiteX343" fmla="*/ 6395 w 10000"/>
              <a:gd name="connsiteY343" fmla="*/ 3178 h 10000"/>
              <a:gd name="connsiteX344" fmla="*/ 6318 w 10000"/>
              <a:gd name="connsiteY344" fmla="*/ 3101 h 10000"/>
              <a:gd name="connsiteX345" fmla="*/ 6240 w 10000"/>
              <a:gd name="connsiteY345" fmla="*/ 2791 h 10000"/>
              <a:gd name="connsiteX346" fmla="*/ 6279 w 10000"/>
              <a:gd name="connsiteY346" fmla="*/ 2403 h 10000"/>
              <a:gd name="connsiteX347" fmla="*/ 6202 w 10000"/>
              <a:gd name="connsiteY347" fmla="*/ 2170 h 10000"/>
              <a:gd name="connsiteX348" fmla="*/ 5969 w 10000"/>
              <a:gd name="connsiteY348" fmla="*/ 2016 h 10000"/>
              <a:gd name="connsiteX349" fmla="*/ 5892 w 10000"/>
              <a:gd name="connsiteY349" fmla="*/ 2016 h 10000"/>
              <a:gd name="connsiteX350" fmla="*/ 5853 w 10000"/>
              <a:gd name="connsiteY350" fmla="*/ 2170 h 10000"/>
              <a:gd name="connsiteX351" fmla="*/ 5892 w 10000"/>
              <a:gd name="connsiteY351" fmla="*/ 2325 h 10000"/>
              <a:gd name="connsiteX352" fmla="*/ 5582 w 10000"/>
              <a:gd name="connsiteY352" fmla="*/ 2248 h 10000"/>
              <a:gd name="connsiteX353" fmla="*/ 5620 w 10000"/>
              <a:gd name="connsiteY353" fmla="*/ 2016 h 10000"/>
              <a:gd name="connsiteX354" fmla="*/ 5427 w 10000"/>
              <a:gd name="connsiteY354" fmla="*/ 1938 h 10000"/>
              <a:gd name="connsiteX355" fmla="*/ 5311 w 10000"/>
              <a:gd name="connsiteY355" fmla="*/ 2093 h 10000"/>
              <a:gd name="connsiteX356" fmla="*/ 5078 w 10000"/>
              <a:gd name="connsiteY356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99 w 10000"/>
              <a:gd name="connsiteY233" fmla="*/ 7675 h 10000"/>
              <a:gd name="connsiteX234" fmla="*/ 6860 w 10000"/>
              <a:gd name="connsiteY234" fmla="*/ 7675 h 10000"/>
              <a:gd name="connsiteX235" fmla="*/ 6783 w 10000"/>
              <a:gd name="connsiteY235" fmla="*/ 7675 h 10000"/>
              <a:gd name="connsiteX236" fmla="*/ 6744 w 10000"/>
              <a:gd name="connsiteY236" fmla="*/ 7675 h 10000"/>
              <a:gd name="connsiteX237" fmla="*/ 6705 w 10000"/>
              <a:gd name="connsiteY237" fmla="*/ 7598 h 10000"/>
              <a:gd name="connsiteX238" fmla="*/ 6628 w 10000"/>
              <a:gd name="connsiteY238" fmla="*/ 7598 h 10000"/>
              <a:gd name="connsiteX239" fmla="*/ 6628 w 10000"/>
              <a:gd name="connsiteY239" fmla="*/ 7520 h 10000"/>
              <a:gd name="connsiteX240" fmla="*/ 6744 w 10000"/>
              <a:gd name="connsiteY240" fmla="*/ 7287 h 10000"/>
              <a:gd name="connsiteX241" fmla="*/ 7094 w 10000"/>
              <a:gd name="connsiteY241" fmla="*/ 6590 h 10000"/>
              <a:gd name="connsiteX242" fmla="*/ 7249 w 10000"/>
              <a:gd name="connsiteY242" fmla="*/ 6512 h 10000"/>
              <a:gd name="connsiteX243" fmla="*/ 7287 w 10000"/>
              <a:gd name="connsiteY243" fmla="*/ 6590 h 10000"/>
              <a:gd name="connsiteX244" fmla="*/ 7326 w 10000"/>
              <a:gd name="connsiteY244" fmla="*/ 6512 h 10000"/>
              <a:gd name="connsiteX245" fmla="*/ 7442 w 10000"/>
              <a:gd name="connsiteY245" fmla="*/ 6590 h 10000"/>
              <a:gd name="connsiteX246" fmla="*/ 7481 w 10000"/>
              <a:gd name="connsiteY246" fmla="*/ 6434 h 10000"/>
              <a:gd name="connsiteX247" fmla="*/ 7597 w 10000"/>
              <a:gd name="connsiteY247" fmla="*/ 6512 h 10000"/>
              <a:gd name="connsiteX248" fmla="*/ 7636 w 10000"/>
              <a:gd name="connsiteY248" fmla="*/ 6512 h 10000"/>
              <a:gd name="connsiteX249" fmla="*/ 7597 w 10000"/>
              <a:gd name="connsiteY249" fmla="*/ 6590 h 10000"/>
              <a:gd name="connsiteX250" fmla="*/ 7597 w 10000"/>
              <a:gd name="connsiteY250" fmla="*/ 6667 h 10000"/>
              <a:gd name="connsiteX251" fmla="*/ 7830 w 10000"/>
              <a:gd name="connsiteY251" fmla="*/ 6590 h 10000"/>
              <a:gd name="connsiteX252" fmla="*/ 7791 w 10000"/>
              <a:gd name="connsiteY252" fmla="*/ 6512 h 10000"/>
              <a:gd name="connsiteX253" fmla="*/ 7946 w 10000"/>
              <a:gd name="connsiteY253" fmla="*/ 5969 h 10000"/>
              <a:gd name="connsiteX254" fmla="*/ 8140 w 10000"/>
              <a:gd name="connsiteY254" fmla="*/ 5892 h 10000"/>
              <a:gd name="connsiteX255" fmla="*/ 8140 w 10000"/>
              <a:gd name="connsiteY255" fmla="*/ 6047 h 10000"/>
              <a:gd name="connsiteX256" fmla="*/ 8140 w 10000"/>
              <a:gd name="connsiteY256" fmla="*/ 6202 h 10000"/>
              <a:gd name="connsiteX257" fmla="*/ 8333 w 10000"/>
              <a:gd name="connsiteY257" fmla="*/ 5969 h 10000"/>
              <a:gd name="connsiteX258" fmla="*/ 8333 w 10000"/>
              <a:gd name="connsiteY258" fmla="*/ 5737 h 10000"/>
              <a:gd name="connsiteX259" fmla="*/ 8411 w 10000"/>
              <a:gd name="connsiteY259" fmla="*/ 5737 h 10000"/>
              <a:gd name="connsiteX260" fmla="*/ 8372 w 10000"/>
              <a:gd name="connsiteY260" fmla="*/ 5814 h 10000"/>
              <a:gd name="connsiteX261" fmla="*/ 8333 w 10000"/>
              <a:gd name="connsiteY261" fmla="*/ 6202 h 10000"/>
              <a:gd name="connsiteX262" fmla="*/ 8256 w 10000"/>
              <a:gd name="connsiteY262" fmla="*/ 6279 h 10000"/>
              <a:gd name="connsiteX263" fmla="*/ 8023 w 10000"/>
              <a:gd name="connsiteY263" fmla="*/ 6822 h 10000"/>
              <a:gd name="connsiteX264" fmla="*/ 7946 w 10000"/>
              <a:gd name="connsiteY264" fmla="*/ 6900 h 10000"/>
              <a:gd name="connsiteX265" fmla="*/ 7868 w 10000"/>
              <a:gd name="connsiteY265" fmla="*/ 7442 h 10000"/>
              <a:gd name="connsiteX266" fmla="*/ 7946 w 10000"/>
              <a:gd name="connsiteY266" fmla="*/ 8372 h 10000"/>
              <a:gd name="connsiteX267" fmla="*/ 8023 w 10000"/>
              <a:gd name="connsiteY267" fmla="*/ 8217 h 10000"/>
              <a:gd name="connsiteX268" fmla="*/ 8101 w 10000"/>
              <a:gd name="connsiteY268" fmla="*/ 7907 h 10000"/>
              <a:gd name="connsiteX269" fmla="*/ 8140 w 10000"/>
              <a:gd name="connsiteY269" fmla="*/ 7907 h 10000"/>
              <a:gd name="connsiteX270" fmla="*/ 8140 w 10000"/>
              <a:gd name="connsiteY270" fmla="*/ 7675 h 10000"/>
              <a:gd name="connsiteX271" fmla="*/ 8178 w 10000"/>
              <a:gd name="connsiteY271" fmla="*/ 7675 h 10000"/>
              <a:gd name="connsiteX272" fmla="*/ 8256 w 10000"/>
              <a:gd name="connsiteY272" fmla="*/ 7598 h 10000"/>
              <a:gd name="connsiteX273" fmla="*/ 8217 w 10000"/>
              <a:gd name="connsiteY273" fmla="*/ 7364 h 10000"/>
              <a:gd name="connsiteX274" fmla="*/ 8295 w 10000"/>
              <a:gd name="connsiteY274" fmla="*/ 7287 h 10000"/>
              <a:gd name="connsiteX275" fmla="*/ 8333 w 10000"/>
              <a:gd name="connsiteY275" fmla="*/ 7287 h 10000"/>
              <a:gd name="connsiteX276" fmla="*/ 8333 w 10000"/>
              <a:gd name="connsiteY276" fmla="*/ 7132 h 10000"/>
              <a:gd name="connsiteX277" fmla="*/ 8295 w 10000"/>
              <a:gd name="connsiteY277" fmla="*/ 7132 h 10000"/>
              <a:gd name="connsiteX278" fmla="*/ 8333 w 10000"/>
              <a:gd name="connsiteY278" fmla="*/ 6900 h 10000"/>
              <a:gd name="connsiteX279" fmla="*/ 8295 w 10000"/>
              <a:gd name="connsiteY279" fmla="*/ 6900 h 10000"/>
              <a:gd name="connsiteX280" fmla="*/ 8256 w 10000"/>
              <a:gd name="connsiteY280" fmla="*/ 6900 h 10000"/>
              <a:gd name="connsiteX281" fmla="*/ 8256 w 10000"/>
              <a:gd name="connsiteY281" fmla="*/ 6822 h 10000"/>
              <a:gd name="connsiteX282" fmla="*/ 8333 w 10000"/>
              <a:gd name="connsiteY282" fmla="*/ 6590 h 10000"/>
              <a:gd name="connsiteX283" fmla="*/ 8333 w 10000"/>
              <a:gd name="connsiteY283" fmla="*/ 6434 h 10000"/>
              <a:gd name="connsiteX284" fmla="*/ 8411 w 10000"/>
              <a:gd name="connsiteY284" fmla="*/ 6434 h 10000"/>
              <a:gd name="connsiteX285" fmla="*/ 8527 w 10000"/>
              <a:gd name="connsiteY285" fmla="*/ 6279 h 10000"/>
              <a:gd name="connsiteX286" fmla="*/ 8527 w 10000"/>
              <a:gd name="connsiteY286" fmla="*/ 6434 h 10000"/>
              <a:gd name="connsiteX287" fmla="*/ 8566 w 10000"/>
              <a:gd name="connsiteY287" fmla="*/ 6356 h 10000"/>
              <a:gd name="connsiteX288" fmla="*/ 8682 w 10000"/>
              <a:gd name="connsiteY288" fmla="*/ 6279 h 10000"/>
              <a:gd name="connsiteX289" fmla="*/ 8759 w 10000"/>
              <a:gd name="connsiteY289" fmla="*/ 6434 h 10000"/>
              <a:gd name="connsiteX290" fmla="*/ 8798 w 10000"/>
              <a:gd name="connsiteY290" fmla="*/ 6279 h 10000"/>
              <a:gd name="connsiteX291" fmla="*/ 9187 w 10000"/>
              <a:gd name="connsiteY291" fmla="*/ 5737 h 10000"/>
              <a:gd name="connsiteX292" fmla="*/ 9303 w 10000"/>
              <a:gd name="connsiteY292" fmla="*/ 5814 h 10000"/>
              <a:gd name="connsiteX293" fmla="*/ 9342 w 10000"/>
              <a:gd name="connsiteY293" fmla="*/ 5737 h 10000"/>
              <a:gd name="connsiteX294" fmla="*/ 9264 w 10000"/>
              <a:gd name="connsiteY294" fmla="*/ 5271 h 10000"/>
              <a:gd name="connsiteX295" fmla="*/ 9225 w 10000"/>
              <a:gd name="connsiteY295" fmla="*/ 5271 h 10000"/>
              <a:gd name="connsiteX296" fmla="*/ 9225 w 10000"/>
              <a:gd name="connsiteY296" fmla="*/ 5116 h 10000"/>
              <a:gd name="connsiteX297" fmla="*/ 9264 w 10000"/>
              <a:gd name="connsiteY297" fmla="*/ 5116 h 10000"/>
              <a:gd name="connsiteX298" fmla="*/ 9342 w 10000"/>
              <a:gd name="connsiteY298" fmla="*/ 5039 h 10000"/>
              <a:gd name="connsiteX299" fmla="*/ 9419 w 10000"/>
              <a:gd name="connsiteY299" fmla="*/ 4884 h 10000"/>
              <a:gd name="connsiteX300" fmla="*/ 9380 w 10000"/>
              <a:gd name="connsiteY300" fmla="*/ 4729 h 10000"/>
              <a:gd name="connsiteX301" fmla="*/ 9419 w 10000"/>
              <a:gd name="connsiteY301" fmla="*/ 4652 h 10000"/>
              <a:gd name="connsiteX302" fmla="*/ 9458 w 10000"/>
              <a:gd name="connsiteY302" fmla="*/ 4884 h 10000"/>
              <a:gd name="connsiteX303" fmla="*/ 9535 w 10000"/>
              <a:gd name="connsiteY303" fmla="*/ 4884 h 10000"/>
              <a:gd name="connsiteX304" fmla="*/ 9613 w 10000"/>
              <a:gd name="connsiteY304" fmla="*/ 5039 h 10000"/>
              <a:gd name="connsiteX305" fmla="*/ 9806 w 10000"/>
              <a:gd name="connsiteY305" fmla="*/ 5271 h 10000"/>
              <a:gd name="connsiteX306" fmla="*/ 9845 w 10000"/>
              <a:gd name="connsiteY306" fmla="*/ 5039 h 10000"/>
              <a:gd name="connsiteX307" fmla="*/ 9845 w 10000"/>
              <a:gd name="connsiteY307" fmla="*/ 4884 h 10000"/>
              <a:gd name="connsiteX308" fmla="*/ 9923 w 10000"/>
              <a:gd name="connsiteY308" fmla="*/ 4884 h 10000"/>
              <a:gd name="connsiteX309" fmla="*/ 10000 w 10000"/>
              <a:gd name="connsiteY309" fmla="*/ 4729 h 10000"/>
              <a:gd name="connsiteX310" fmla="*/ 9884 w 10000"/>
              <a:gd name="connsiteY310" fmla="*/ 4496 h 10000"/>
              <a:gd name="connsiteX311" fmla="*/ 9690 w 10000"/>
              <a:gd name="connsiteY311" fmla="*/ 4418 h 10000"/>
              <a:gd name="connsiteX312" fmla="*/ 9342 w 10000"/>
              <a:gd name="connsiteY312" fmla="*/ 3799 h 10000"/>
              <a:gd name="connsiteX313" fmla="*/ 9109 w 10000"/>
              <a:gd name="connsiteY313" fmla="*/ 3488 h 10000"/>
              <a:gd name="connsiteX314" fmla="*/ 8798 w 10000"/>
              <a:gd name="connsiteY314" fmla="*/ 3411 h 10000"/>
              <a:gd name="connsiteX315" fmla="*/ 8798 w 10000"/>
              <a:gd name="connsiteY315" fmla="*/ 3799 h 10000"/>
              <a:gd name="connsiteX316" fmla="*/ 8721 w 10000"/>
              <a:gd name="connsiteY316" fmla="*/ 3876 h 10000"/>
              <a:gd name="connsiteX317" fmla="*/ 8643 w 10000"/>
              <a:gd name="connsiteY317" fmla="*/ 3721 h 10000"/>
              <a:gd name="connsiteX318" fmla="*/ 8643 w 10000"/>
              <a:gd name="connsiteY318" fmla="*/ 3566 h 10000"/>
              <a:gd name="connsiteX319" fmla="*/ 8682 w 10000"/>
              <a:gd name="connsiteY319" fmla="*/ 3566 h 10000"/>
              <a:gd name="connsiteX320" fmla="*/ 8721 w 10000"/>
              <a:gd name="connsiteY320" fmla="*/ 3488 h 10000"/>
              <a:gd name="connsiteX321" fmla="*/ 8643 w 10000"/>
              <a:gd name="connsiteY321" fmla="*/ 3488 h 10000"/>
              <a:gd name="connsiteX322" fmla="*/ 8566 w 10000"/>
              <a:gd name="connsiteY322" fmla="*/ 3644 h 10000"/>
              <a:gd name="connsiteX323" fmla="*/ 8372 w 10000"/>
              <a:gd name="connsiteY323" fmla="*/ 3566 h 10000"/>
              <a:gd name="connsiteX324" fmla="*/ 8178 w 10000"/>
              <a:gd name="connsiteY324" fmla="*/ 3566 h 10000"/>
              <a:gd name="connsiteX325" fmla="*/ 8101 w 10000"/>
              <a:gd name="connsiteY325" fmla="*/ 3488 h 10000"/>
              <a:gd name="connsiteX326" fmla="*/ 8140 w 10000"/>
              <a:gd name="connsiteY326" fmla="*/ 3333 h 10000"/>
              <a:gd name="connsiteX327" fmla="*/ 8062 w 10000"/>
              <a:gd name="connsiteY327" fmla="*/ 3101 h 10000"/>
              <a:gd name="connsiteX328" fmla="*/ 7907 w 10000"/>
              <a:gd name="connsiteY328" fmla="*/ 3023 h 10000"/>
              <a:gd name="connsiteX329" fmla="*/ 7675 w 10000"/>
              <a:gd name="connsiteY329" fmla="*/ 3178 h 10000"/>
              <a:gd name="connsiteX330" fmla="*/ 7636 w 10000"/>
              <a:gd name="connsiteY330" fmla="*/ 2946 h 10000"/>
              <a:gd name="connsiteX331" fmla="*/ 7558 w 10000"/>
              <a:gd name="connsiteY331" fmla="*/ 2946 h 10000"/>
              <a:gd name="connsiteX332" fmla="*/ 7520 w 10000"/>
              <a:gd name="connsiteY332" fmla="*/ 2868 h 10000"/>
              <a:gd name="connsiteX333" fmla="*/ 7520 w 10000"/>
              <a:gd name="connsiteY333" fmla="*/ 2636 h 10000"/>
              <a:gd name="connsiteX334" fmla="*/ 7249 w 10000"/>
              <a:gd name="connsiteY334" fmla="*/ 2480 h 10000"/>
              <a:gd name="connsiteX335" fmla="*/ 6938 w 10000"/>
              <a:gd name="connsiteY335" fmla="*/ 2325 h 10000"/>
              <a:gd name="connsiteX336" fmla="*/ 6860 w 10000"/>
              <a:gd name="connsiteY336" fmla="*/ 2636 h 10000"/>
              <a:gd name="connsiteX337" fmla="*/ 6938 w 10000"/>
              <a:gd name="connsiteY337" fmla="*/ 2868 h 10000"/>
              <a:gd name="connsiteX338" fmla="*/ 6705 w 10000"/>
              <a:gd name="connsiteY338" fmla="*/ 2868 h 10000"/>
              <a:gd name="connsiteX339" fmla="*/ 6666 w 10000"/>
              <a:gd name="connsiteY339" fmla="*/ 2868 h 10000"/>
              <a:gd name="connsiteX340" fmla="*/ 6589 w 10000"/>
              <a:gd name="connsiteY340" fmla="*/ 2946 h 10000"/>
              <a:gd name="connsiteX341" fmla="*/ 6473 w 10000"/>
              <a:gd name="connsiteY341" fmla="*/ 2714 h 10000"/>
              <a:gd name="connsiteX342" fmla="*/ 6395 w 10000"/>
              <a:gd name="connsiteY342" fmla="*/ 3178 h 10000"/>
              <a:gd name="connsiteX343" fmla="*/ 6318 w 10000"/>
              <a:gd name="connsiteY343" fmla="*/ 3101 h 10000"/>
              <a:gd name="connsiteX344" fmla="*/ 6240 w 10000"/>
              <a:gd name="connsiteY344" fmla="*/ 2791 h 10000"/>
              <a:gd name="connsiteX345" fmla="*/ 6279 w 10000"/>
              <a:gd name="connsiteY345" fmla="*/ 2403 h 10000"/>
              <a:gd name="connsiteX346" fmla="*/ 6202 w 10000"/>
              <a:gd name="connsiteY346" fmla="*/ 2170 h 10000"/>
              <a:gd name="connsiteX347" fmla="*/ 5969 w 10000"/>
              <a:gd name="connsiteY347" fmla="*/ 2016 h 10000"/>
              <a:gd name="connsiteX348" fmla="*/ 5892 w 10000"/>
              <a:gd name="connsiteY348" fmla="*/ 2016 h 10000"/>
              <a:gd name="connsiteX349" fmla="*/ 5853 w 10000"/>
              <a:gd name="connsiteY349" fmla="*/ 2170 h 10000"/>
              <a:gd name="connsiteX350" fmla="*/ 5892 w 10000"/>
              <a:gd name="connsiteY350" fmla="*/ 2325 h 10000"/>
              <a:gd name="connsiteX351" fmla="*/ 5582 w 10000"/>
              <a:gd name="connsiteY351" fmla="*/ 2248 h 10000"/>
              <a:gd name="connsiteX352" fmla="*/ 5620 w 10000"/>
              <a:gd name="connsiteY352" fmla="*/ 2016 h 10000"/>
              <a:gd name="connsiteX353" fmla="*/ 5427 w 10000"/>
              <a:gd name="connsiteY353" fmla="*/ 1938 h 10000"/>
              <a:gd name="connsiteX354" fmla="*/ 5311 w 10000"/>
              <a:gd name="connsiteY354" fmla="*/ 2093 h 10000"/>
              <a:gd name="connsiteX355" fmla="*/ 5078 w 10000"/>
              <a:gd name="connsiteY355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7868 w 10000"/>
              <a:gd name="connsiteY264" fmla="*/ 7442 h 10000"/>
              <a:gd name="connsiteX265" fmla="*/ 7946 w 10000"/>
              <a:gd name="connsiteY265" fmla="*/ 8372 h 10000"/>
              <a:gd name="connsiteX266" fmla="*/ 8023 w 10000"/>
              <a:gd name="connsiteY266" fmla="*/ 8217 h 10000"/>
              <a:gd name="connsiteX267" fmla="*/ 8101 w 10000"/>
              <a:gd name="connsiteY267" fmla="*/ 7907 h 10000"/>
              <a:gd name="connsiteX268" fmla="*/ 8140 w 10000"/>
              <a:gd name="connsiteY268" fmla="*/ 7907 h 10000"/>
              <a:gd name="connsiteX269" fmla="*/ 8140 w 10000"/>
              <a:gd name="connsiteY269" fmla="*/ 7675 h 10000"/>
              <a:gd name="connsiteX270" fmla="*/ 8178 w 10000"/>
              <a:gd name="connsiteY270" fmla="*/ 7675 h 10000"/>
              <a:gd name="connsiteX271" fmla="*/ 8256 w 10000"/>
              <a:gd name="connsiteY271" fmla="*/ 7598 h 10000"/>
              <a:gd name="connsiteX272" fmla="*/ 8217 w 10000"/>
              <a:gd name="connsiteY272" fmla="*/ 7364 h 10000"/>
              <a:gd name="connsiteX273" fmla="*/ 8295 w 10000"/>
              <a:gd name="connsiteY273" fmla="*/ 7287 h 10000"/>
              <a:gd name="connsiteX274" fmla="*/ 8333 w 10000"/>
              <a:gd name="connsiteY274" fmla="*/ 7287 h 10000"/>
              <a:gd name="connsiteX275" fmla="*/ 8333 w 10000"/>
              <a:gd name="connsiteY275" fmla="*/ 7132 h 10000"/>
              <a:gd name="connsiteX276" fmla="*/ 8295 w 10000"/>
              <a:gd name="connsiteY276" fmla="*/ 7132 h 10000"/>
              <a:gd name="connsiteX277" fmla="*/ 8333 w 10000"/>
              <a:gd name="connsiteY277" fmla="*/ 6900 h 10000"/>
              <a:gd name="connsiteX278" fmla="*/ 8295 w 10000"/>
              <a:gd name="connsiteY278" fmla="*/ 6900 h 10000"/>
              <a:gd name="connsiteX279" fmla="*/ 8256 w 10000"/>
              <a:gd name="connsiteY279" fmla="*/ 6900 h 10000"/>
              <a:gd name="connsiteX280" fmla="*/ 8256 w 10000"/>
              <a:gd name="connsiteY280" fmla="*/ 6822 h 10000"/>
              <a:gd name="connsiteX281" fmla="*/ 8333 w 10000"/>
              <a:gd name="connsiteY281" fmla="*/ 6590 h 10000"/>
              <a:gd name="connsiteX282" fmla="*/ 8333 w 10000"/>
              <a:gd name="connsiteY282" fmla="*/ 6434 h 10000"/>
              <a:gd name="connsiteX283" fmla="*/ 8411 w 10000"/>
              <a:gd name="connsiteY283" fmla="*/ 6434 h 10000"/>
              <a:gd name="connsiteX284" fmla="*/ 8527 w 10000"/>
              <a:gd name="connsiteY284" fmla="*/ 6279 h 10000"/>
              <a:gd name="connsiteX285" fmla="*/ 8527 w 10000"/>
              <a:gd name="connsiteY285" fmla="*/ 6434 h 10000"/>
              <a:gd name="connsiteX286" fmla="*/ 8566 w 10000"/>
              <a:gd name="connsiteY286" fmla="*/ 6356 h 10000"/>
              <a:gd name="connsiteX287" fmla="*/ 8682 w 10000"/>
              <a:gd name="connsiteY287" fmla="*/ 6279 h 10000"/>
              <a:gd name="connsiteX288" fmla="*/ 8759 w 10000"/>
              <a:gd name="connsiteY288" fmla="*/ 6434 h 10000"/>
              <a:gd name="connsiteX289" fmla="*/ 8798 w 10000"/>
              <a:gd name="connsiteY289" fmla="*/ 6279 h 10000"/>
              <a:gd name="connsiteX290" fmla="*/ 9187 w 10000"/>
              <a:gd name="connsiteY290" fmla="*/ 5737 h 10000"/>
              <a:gd name="connsiteX291" fmla="*/ 9303 w 10000"/>
              <a:gd name="connsiteY291" fmla="*/ 5814 h 10000"/>
              <a:gd name="connsiteX292" fmla="*/ 9342 w 10000"/>
              <a:gd name="connsiteY292" fmla="*/ 5737 h 10000"/>
              <a:gd name="connsiteX293" fmla="*/ 9264 w 10000"/>
              <a:gd name="connsiteY293" fmla="*/ 5271 h 10000"/>
              <a:gd name="connsiteX294" fmla="*/ 9225 w 10000"/>
              <a:gd name="connsiteY294" fmla="*/ 5271 h 10000"/>
              <a:gd name="connsiteX295" fmla="*/ 9225 w 10000"/>
              <a:gd name="connsiteY295" fmla="*/ 5116 h 10000"/>
              <a:gd name="connsiteX296" fmla="*/ 9264 w 10000"/>
              <a:gd name="connsiteY296" fmla="*/ 5116 h 10000"/>
              <a:gd name="connsiteX297" fmla="*/ 9342 w 10000"/>
              <a:gd name="connsiteY297" fmla="*/ 5039 h 10000"/>
              <a:gd name="connsiteX298" fmla="*/ 9419 w 10000"/>
              <a:gd name="connsiteY298" fmla="*/ 4884 h 10000"/>
              <a:gd name="connsiteX299" fmla="*/ 9380 w 10000"/>
              <a:gd name="connsiteY299" fmla="*/ 4729 h 10000"/>
              <a:gd name="connsiteX300" fmla="*/ 9419 w 10000"/>
              <a:gd name="connsiteY300" fmla="*/ 4652 h 10000"/>
              <a:gd name="connsiteX301" fmla="*/ 9458 w 10000"/>
              <a:gd name="connsiteY301" fmla="*/ 4884 h 10000"/>
              <a:gd name="connsiteX302" fmla="*/ 9535 w 10000"/>
              <a:gd name="connsiteY302" fmla="*/ 4884 h 10000"/>
              <a:gd name="connsiteX303" fmla="*/ 9613 w 10000"/>
              <a:gd name="connsiteY303" fmla="*/ 5039 h 10000"/>
              <a:gd name="connsiteX304" fmla="*/ 9806 w 10000"/>
              <a:gd name="connsiteY304" fmla="*/ 5271 h 10000"/>
              <a:gd name="connsiteX305" fmla="*/ 9845 w 10000"/>
              <a:gd name="connsiteY305" fmla="*/ 5039 h 10000"/>
              <a:gd name="connsiteX306" fmla="*/ 9845 w 10000"/>
              <a:gd name="connsiteY306" fmla="*/ 4884 h 10000"/>
              <a:gd name="connsiteX307" fmla="*/ 9923 w 10000"/>
              <a:gd name="connsiteY307" fmla="*/ 4884 h 10000"/>
              <a:gd name="connsiteX308" fmla="*/ 10000 w 10000"/>
              <a:gd name="connsiteY308" fmla="*/ 4729 h 10000"/>
              <a:gd name="connsiteX309" fmla="*/ 9884 w 10000"/>
              <a:gd name="connsiteY309" fmla="*/ 4496 h 10000"/>
              <a:gd name="connsiteX310" fmla="*/ 9690 w 10000"/>
              <a:gd name="connsiteY310" fmla="*/ 4418 h 10000"/>
              <a:gd name="connsiteX311" fmla="*/ 9342 w 10000"/>
              <a:gd name="connsiteY311" fmla="*/ 3799 h 10000"/>
              <a:gd name="connsiteX312" fmla="*/ 9109 w 10000"/>
              <a:gd name="connsiteY312" fmla="*/ 3488 h 10000"/>
              <a:gd name="connsiteX313" fmla="*/ 8798 w 10000"/>
              <a:gd name="connsiteY313" fmla="*/ 3411 h 10000"/>
              <a:gd name="connsiteX314" fmla="*/ 8798 w 10000"/>
              <a:gd name="connsiteY314" fmla="*/ 3799 h 10000"/>
              <a:gd name="connsiteX315" fmla="*/ 8721 w 10000"/>
              <a:gd name="connsiteY315" fmla="*/ 3876 h 10000"/>
              <a:gd name="connsiteX316" fmla="*/ 8643 w 10000"/>
              <a:gd name="connsiteY316" fmla="*/ 3721 h 10000"/>
              <a:gd name="connsiteX317" fmla="*/ 8643 w 10000"/>
              <a:gd name="connsiteY317" fmla="*/ 3566 h 10000"/>
              <a:gd name="connsiteX318" fmla="*/ 8682 w 10000"/>
              <a:gd name="connsiteY318" fmla="*/ 3566 h 10000"/>
              <a:gd name="connsiteX319" fmla="*/ 8721 w 10000"/>
              <a:gd name="connsiteY319" fmla="*/ 3488 h 10000"/>
              <a:gd name="connsiteX320" fmla="*/ 8643 w 10000"/>
              <a:gd name="connsiteY320" fmla="*/ 3488 h 10000"/>
              <a:gd name="connsiteX321" fmla="*/ 8566 w 10000"/>
              <a:gd name="connsiteY321" fmla="*/ 3644 h 10000"/>
              <a:gd name="connsiteX322" fmla="*/ 8372 w 10000"/>
              <a:gd name="connsiteY322" fmla="*/ 3566 h 10000"/>
              <a:gd name="connsiteX323" fmla="*/ 8178 w 10000"/>
              <a:gd name="connsiteY323" fmla="*/ 3566 h 10000"/>
              <a:gd name="connsiteX324" fmla="*/ 8101 w 10000"/>
              <a:gd name="connsiteY324" fmla="*/ 3488 h 10000"/>
              <a:gd name="connsiteX325" fmla="*/ 8140 w 10000"/>
              <a:gd name="connsiteY325" fmla="*/ 3333 h 10000"/>
              <a:gd name="connsiteX326" fmla="*/ 8062 w 10000"/>
              <a:gd name="connsiteY326" fmla="*/ 3101 h 10000"/>
              <a:gd name="connsiteX327" fmla="*/ 7907 w 10000"/>
              <a:gd name="connsiteY327" fmla="*/ 3023 h 10000"/>
              <a:gd name="connsiteX328" fmla="*/ 7675 w 10000"/>
              <a:gd name="connsiteY328" fmla="*/ 3178 h 10000"/>
              <a:gd name="connsiteX329" fmla="*/ 7636 w 10000"/>
              <a:gd name="connsiteY329" fmla="*/ 2946 h 10000"/>
              <a:gd name="connsiteX330" fmla="*/ 7558 w 10000"/>
              <a:gd name="connsiteY330" fmla="*/ 2946 h 10000"/>
              <a:gd name="connsiteX331" fmla="*/ 7520 w 10000"/>
              <a:gd name="connsiteY331" fmla="*/ 2868 h 10000"/>
              <a:gd name="connsiteX332" fmla="*/ 7520 w 10000"/>
              <a:gd name="connsiteY332" fmla="*/ 2636 h 10000"/>
              <a:gd name="connsiteX333" fmla="*/ 7249 w 10000"/>
              <a:gd name="connsiteY333" fmla="*/ 2480 h 10000"/>
              <a:gd name="connsiteX334" fmla="*/ 6938 w 10000"/>
              <a:gd name="connsiteY334" fmla="*/ 2325 h 10000"/>
              <a:gd name="connsiteX335" fmla="*/ 6860 w 10000"/>
              <a:gd name="connsiteY335" fmla="*/ 2636 h 10000"/>
              <a:gd name="connsiteX336" fmla="*/ 6938 w 10000"/>
              <a:gd name="connsiteY336" fmla="*/ 2868 h 10000"/>
              <a:gd name="connsiteX337" fmla="*/ 6705 w 10000"/>
              <a:gd name="connsiteY337" fmla="*/ 2868 h 10000"/>
              <a:gd name="connsiteX338" fmla="*/ 6666 w 10000"/>
              <a:gd name="connsiteY338" fmla="*/ 2868 h 10000"/>
              <a:gd name="connsiteX339" fmla="*/ 6589 w 10000"/>
              <a:gd name="connsiteY339" fmla="*/ 2946 h 10000"/>
              <a:gd name="connsiteX340" fmla="*/ 6473 w 10000"/>
              <a:gd name="connsiteY340" fmla="*/ 2714 h 10000"/>
              <a:gd name="connsiteX341" fmla="*/ 6395 w 10000"/>
              <a:gd name="connsiteY341" fmla="*/ 3178 h 10000"/>
              <a:gd name="connsiteX342" fmla="*/ 6318 w 10000"/>
              <a:gd name="connsiteY342" fmla="*/ 3101 h 10000"/>
              <a:gd name="connsiteX343" fmla="*/ 6240 w 10000"/>
              <a:gd name="connsiteY343" fmla="*/ 2791 h 10000"/>
              <a:gd name="connsiteX344" fmla="*/ 6279 w 10000"/>
              <a:gd name="connsiteY344" fmla="*/ 2403 h 10000"/>
              <a:gd name="connsiteX345" fmla="*/ 6202 w 10000"/>
              <a:gd name="connsiteY345" fmla="*/ 2170 h 10000"/>
              <a:gd name="connsiteX346" fmla="*/ 5969 w 10000"/>
              <a:gd name="connsiteY346" fmla="*/ 2016 h 10000"/>
              <a:gd name="connsiteX347" fmla="*/ 5892 w 10000"/>
              <a:gd name="connsiteY347" fmla="*/ 2016 h 10000"/>
              <a:gd name="connsiteX348" fmla="*/ 5853 w 10000"/>
              <a:gd name="connsiteY348" fmla="*/ 2170 h 10000"/>
              <a:gd name="connsiteX349" fmla="*/ 5892 w 10000"/>
              <a:gd name="connsiteY349" fmla="*/ 2325 h 10000"/>
              <a:gd name="connsiteX350" fmla="*/ 5582 w 10000"/>
              <a:gd name="connsiteY350" fmla="*/ 2248 h 10000"/>
              <a:gd name="connsiteX351" fmla="*/ 5620 w 10000"/>
              <a:gd name="connsiteY351" fmla="*/ 2016 h 10000"/>
              <a:gd name="connsiteX352" fmla="*/ 5427 w 10000"/>
              <a:gd name="connsiteY352" fmla="*/ 1938 h 10000"/>
              <a:gd name="connsiteX353" fmla="*/ 5311 w 10000"/>
              <a:gd name="connsiteY353" fmla="*/ 2093 h 10000"/>
              <a:gd name="connsiteX354" fmla="*/ 5078 w 10000"/>
              <a:gd name="connsiteY354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7868 w 10000"/>
              <a:gd name="connsiteY264" fmla="*/ 7442 h 10000"/>
              <a:gd name="connsiteX265" fmla="*/ 8023 w 10000"/>
              <a:gd name="connsiteY265" fmla="*/ 8217 h 10000"/>
              <a:gd name="connsiteX266" fmla="*/ 8101 w 10000"/>
              <a:gd name="connsiteY266" fmla="*/ 7907 h 10000"/>
              <a:gd name="connsiteX267" fmla="*/ 8140 w 10000"/>
              <a:gd name="connsiteY267" fmla="*/ 7907 h 10000"/>
              <a:gd name="connsiteX268" fmla="*/ 8140 w 10000"/>
              <a:gd name="connsiteY268" fmla="*/ 7675 h 10000"/>
              <a:gd name="connsiteX269" fmla="*/ 8178 w 10000"/>
              <a:gd name="connsiteY269" fmla="*/ 7675 h 10000"/>
              <a:gd name="connsiteX270" fmla="*/ 8256 w 10000"/>
              <a:gd name="connsiteY270" fmla="*/ 7598 h 10000"/>
              <a:gd name="connsiteX271" fmla="*/ 8217 w 10000"/>
              <a:gd name="connsiteY271" fmla="*/ 7364 h 10000"/>
              <a:gd name="connsiteX272" fmla="*/ 8295 w 10000"/>
              <a:gd name="connsiteY272" fmla="*/ 7287 h 10000"/>
              <a:gd name="connsiteX273" fmla="*/ 8333 w 10000"/>
              <a:gd name="connsiteY273" fmla="*/ 7287 h 10000"/>
              <a:gd name="connsiteX274" fmla="*/ 8333 w 10000"/>
              <a:gd name="connsiteY274" fmla="*/ 7132 h 10000"/>
              <a:gd name="connsiteX275" fmla="*/ 8295 w 10000"/>
              <a:gd name="connsiteY275" fmla="*/ 7132 h 10000"/>
              <a:gd name="connsiteX276" fmla="*/ 8333 w 10000"/>
              <a:gd name="connsiteY276" fmla="*/ 6900 h 10000"/>
              <a:gd name="connsiteX277" fmla="*/ 8295 w 10000"/>
              <a:gd name="connsiteY277" fmla="*/ 6900 h 10000"/>
              <a:gd name="connsiteX278" fmla="*/ 8256 w 10000"/>
              <a:gd name="connsiteY278" fmla="*/ 6900 h 10000"/>
              <a:gd name="connsiteX279" fmla="*/ 8256 w 10000"/>
              <a:gd name="connsiteY279" fmla="*/ 6822 h 10000"/>
              <a:gd name="connsiteX280" fmla="*/ 8333 w 10000"/>
              <a:gd name="connsiteY280" fmla="*/ 6590 h 10000"/>
              <a:gd name="connsiteX281" fmla="*/ 8333 w 10000"/>
              <a:gd name="connsiteY281" fmla="*/ 6434 h 10000"/>
              <a:gd name="connsiteX282" fmla="*/ 8411 w 10000"/>
              <a:gd name="connsiteY282" fmla="*/ 6434 h 10000"/>
              <a:gd name="connsiteX283" fmla="*/ 8527 w 10000"/>
              <a:gd name="connsiteY283" fmla="*/ 6279 h 10000"/>
              <a:gd name="connsiteX284" fmla="*/ 8527 w 10000"/>
              <a:gd name="connsiteY284" fmla="*/ 6434 h 10000"/>
              <a:gd name="connsiteX285" fmla="*/ 8566 w 10000"/>
              <a:gd name="connsiteY285" fmla="*/ 6356 h 10000"/>
              <a:gd name="connsiteX286" fmla="*/ 8682 w 10000"/>
              <a:gd name="connsiteY286" fmla="*/ 6279 h 10000"/>
              <a:gd name="connsiteX287" fmla="*/ 8759 w 10000"/>
              <a:gd name="connsiteY287" fmla="*/ 6434 h 10000"/>
              <a:gd name="connsiteX288" fmla="*/ 8798 w 10000"/>
              <a:gd name="connsiteY288" fmla="*/ 6279 h 10000"/>
              <a:gd name="connsiteX289" fmla="*/ 9187 w 10000"/>
              <a:gd name="connsiteY289" fmla="*/ 5737 h 10000"/>
              <a:gd name="connsiteX290" fmla="*/ 9303 w 10000"/>
              <a:gd name="connsiteY290" fmla="*/ 5814 h 10000"/>
              <a:gd name="connsiteX291" fmla="*/ 9342 w 10000"/>
              <a:gd name="connsiteY291" fmla="*/ 5737 h 10000"/>
              <a:gd name="connsiteX292" fmla="*/ 9264 w 10000"/>
              <a:gd name="connsiteY292" fmla="*/ 5271 h 10000"/>
              <a:gd name="connsiteX293" fmla="*/ 9225 w 10000"/>
              <a:gd name="connsiteY293" fmla="*/ 5271 h 10000"/>
              <a:gd name="connsiteX294" fmla="*/ 9225 w 10000"/>
              <a:gd name="connsiteY294" fmla="*/ 5116 h 10000"/>
              <a:gd name="connsiteX295" fmla="*/ 9264 w 10000"/>
              <a:gd name="connsiteY295" fmla="*/ 5116 h 10000"/>
              <a:gd name="connsiteX296" fmla="*/ 9342 w 10000"/>
              <a:gd name="connsiteY296" fmla="*/ 5039 h 10000"/>
              <a:gd name="connsiteX297" fmla="*/ 9419 w 10000"/>
              <a:gd name="connsiteY297" fmla="*/ 4884 h 10000"/>
              <a:gd name="connsiteX298" fmla="*/ 9380 w 10000"/>
              <a:gd name="connsiteY298" fmla="*/ 4729 h 10000"/>
              <a:gd name="connsiteX299" fmla="*/ 9419 w 10000"/>
              <a:gd name="connsiteY299" fmla="*/ 4652 h 10000"/>
              <a:gd name="connsiteX300" fmla="*/ 9458 w 10000"/>
              <a:gd name="connsiteY300" fmla="*/ 4884 h 10000"/>
              <a:gd name="connsiteX301" fmla="*/ 9535 w 10000"/>
              <a:gd name="connsiteY301" fmla="*/ 4884 h 10000"/>
              <a:gd name="connsiteX302" fmla="*/ 9613 w 10000"/>
              <a:gd name="connsiteY302" fmla="*/ 5039 h 10000"/>
              <a:gd name="connsiteX303" fmla="*/ 9806 w 10000"/>
              <a:gd name="connsiteY303" fmla="*/ 5271 h 10000"/>
              <a:gd name="connsiteX304" fmla="*/ 9845 w 10000"/>
              <a:gd name="connsiteY304" fmla="*/ 5039 h 10000"/>
              <a:gd name="connsiteX305" fmla="*/ 9845 w 10000"/>
              <a:gd name="connsiteY305" fmla="*/ 4884 h 10000"/>
              <a:gd name="connsiteX306" fmla="*/ 9923 w 10000"/>
              <a:gd name="connsiteY306" fmla="*/ 4884 h 10000"/>
              <a:gd name="connsiteX307" fmla="*/ 10000 w 10000"/>
              <a:gd name="connsiteY307" fmla="*/ 4729 h 10000"/>
              <a:gd name="connsiteX308" fmla="*/ 9884 w 10000"/>
              <a:gd name="connsiteY308" fmla="*/ 4496 h 10000"/>
              <a:gd name="connsiteX309" fmla="*/ 9690 w 10000"/>
              <a:gd name="connsiteY309" fmla="*/ 4418 h 10000"/>
              <a:gd name="connsiteX310" fmla="*/ 9342 w 10000"/>
              <a:gd name="connsiteY310" fmla="*/ 3799 h 10000"/>
              <a:gd name="connsiteX311" fmla="*/ 9109 w 10000"/>
              <a:gd name="connsiteY311" fmla="*/ 3488 h 10000"/>
              <a:gd name="connsiteX312" fmla="*/ 8798 w 10000"/>
              <a:gd name="connsiteY312" fmla="*/ 3411 h 10000"/>
              <a:gd name="connsiteX313" fmla="*/ 8798 w 10000"/>
              <a:gd name="connsiteY313" fmla="*/ 3799 h 10000"/>
              <a:gd name="connsiteX314" fmla="*/ 8721 w 10000"/>
              <a:gd name="connsiteY314" fmla="*/ 3876 h 10000"/>
              <a:gd name="connsiteX315" fmla="*/ 8643 w 10000"/>
              <a:gd name="connsiteY315" fmla="*/ 3721 h 10000"/>
              <a:gd name="connsiteX316" fmla="*/ 8643 w 10000"/>
              <a:gd name="connsiteY316" fmla="*/ 3566 h 10000"/>
              <a:gd name="connsiteX317" fmla="*/ 8682 w 10000"/>
              <a:gd name="connsiteY317" fmla="*/ 3566 h 10000"/>
              <a:gd name="connsiteX318" fmla="*/ 8721 w 10000"/>
              <a:gd name="connsiteY318" fmla="*/ 3488 h 10000"/>
              <a:gd name="connsiteX319" fmla="*/ 8643 w 10000"/>
              <a:gd name="connsiteY319" fmla="*/ 3488 h 10000"/>
              <a:gd name="connsiteX320" fmla="*/ 8566 w 10000"/>
              <a:gd name="connsiteY320" fmla="*/ 3644 h 10000"/>
              <a:gd name="connsiteX321" fmla="*/ 8372 w 10000"/>
              <a:gd name="connsiteY321" fmla="*/ 3566 h 10000"/>
              <a:gd name="connsiteX322" fmla="*/ 8178 w 10000"/>
              <a:gd name="connsiteY322" fmla="*/ 3566 h 10000"/>
              <a:gd name="connsiteX323" fmla="*/ 8101 w 10000"/>
              <a:gd name="connsiteY323" fmla="*/ 3488 h 10000"/>
              <a:gd name="connsiteX324" fmla="*/ 8140 w 10000"/>
              <a:gd name="connsiteY324" fmla="*/ 3333 h 10000"/>
              <a:gd name="connsiteX325" fmla="*/ 8062 w 10000"/>
              <a:gd name="connsiteY325" fmla="*/ 3101 h 10000"/>
              <a:gd name="connsiteX326" fmla="*/ 7907 w 10000"/>
              <a:gd name="connsiteY326" fmla="*/ 3023 h 10000"/>
              <a:gd name="connsiteX327" fmla="*/ 7675 w 10000"/>
              <a:gd name="connsiteY327" fmla="*/ 3178 h 10000"/>
              <a:gd name="connsiteX328" fmla="*/ 7636 w 10000"/>
              <a:gd name="connsiteY328" fmla="*/ 2946 h 10000"/>
              <a:gd name="connsiteX329" fmla="*/ 7558 w 10000"/>
              <a:gd name="connsiteY329" fmla="*/ 2946 h 10000"/>
              <a:gd name="connsiteX330" fmla="*/ 7520 w 10000"/>
              <a:gd name="connsiteY330" fmla="*/ 2868 h 10000"/>
              <a:gd name="connsiteX331" fmla="*/ 7520 w 10000"/>
              <a:gd name="connsiteY331" fmla="*/ 2636 h 10000"/>
              <a:gd name="connsiteX332" fmla="*/ 7249 w 10000"/>
              <a:gd name="connsiteY332" fmla="*/ 2480 h 10000"/>
              <a:gd name="connsiteX333" fmla="*/ 6938 w 10000"/>
              <a:gd name="connsiteY333" fmla="*/ 2325 h 10000"/>
              <a:gd name="connsiteX334" fmla="*/ 6860 w 10000"/>
              <a:gd name="connsiteY334" fmla="*/ 2636 h 10000"/>
              <a:gd name="connsiteX335" fmla="*/ 6938 w 10000"/>
              <a:gd name="connsiteY335" fmla="*/ 2868 h 10000"/>
              <a:gd name="connsiteX336" fmla="*/ 6705 w 10000"/>
              <a:gd name="connsiteY336" fmla="*/ 2868 h 10000"/>
              <a:gd name="connsiteX337" fmla="*/ 6666 w 10000"/>
              <a:gd name="connsiteY337" fmla="*/ 2868 h 10000"/>
              <a:gd name="connsiteX338" fmla="*/ 6589 w 10000"/>
              <a:gd name="connsiteY338" fmla="*/ 2946 h 10000"/>
              <a:gd name="connsiteX339" fmla="*/ 6473 w 10000"/>
              <a:gd name="connsiteY339" fmla="*/ 2714 h 10000"/>
              <a:gd name="connsiteX340" fmla="*/ 6395 w 10000"/>
              <a:gd name="connsiteY340" fmla="*/ 3178 h 10000"/>
              <a:gd name="connsiteX341" fmla="*/ 6318 w 10000"/>
              <a:gd name="connsiteY341" fmla="*/ 3101 h 10000"/>
              <a:gd name="connsiteX342" fmla="*/ 6240 w 10000"/>
              <a:gd name="connsiteY342" fmla="*/ 2791 h 10000"/>
              <a:gd name="connsiteX343" fmla="*/ 6279 w 10000"/>
              <a:gd name="connsiteY343" fmla="*/ 2403 h 10000"/>
              <a:gd name="connsiteX344" fmla="*/ 6202 w 10000"/>
              <a:gd name="connsiteY344" fmla="*/ 2170 h 10000"/>
              <a:gd name="connsiteX345" fmla="*/ 5969 w 10000"/>
              <a:gd name="connsiteY345" fmla="*/ 2016 h 10000"/>
              <a:gd name="connsiteX346" fmla="*/ 5892 w 10000"/>
              <a:gd name="connsiteY346" fmla="*/ 2016 h 10000"/>
              <a:gd name="connsiteX347" fmla="*/ 5853 w 10000"/>
              <a:gd name="connsiteY347" fmla="*/ 2170 h 10000"/>
              <a:gd name="connsiteX348" fmla="*/ 5892 w 10000"/>
              <a:gd name="connsiteY348" fmla="*/ 2325 h 10000"/>
              <a:gd name="connsiteX349" fmla="*/ 5582 w 10000"/>
              <a:gd name="connsiteY349" fmla="*/ 2248 h 10000"/>
              <a:gd name="connsiteX350" fmla="*/ 5620 w 10000"/>
              <a:gd name="connsiteY350" fmla="*/ 2016 h 10000"/>
              <a:gd name="connsiteX351" fmla="*/ 5427 w 10000"/>
              <a:gd name="connsiteY351" fmla="*/ 1938 h 10000"/>
              <a:gd name="connsiteX352" fmla="*/ 5311 w 10000"/>
              <a:gd name="connsiteY352" fmla="*/ 2093 h 10000"/>
              <a:gd name="connsiteX353" fmla="*/ 5078 w 10000"/>
              <a:gd name="connsiteY353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7868 w 10000"/>
              <a:gd name="connsiteY264" fmla="*/ 7442 h 10000"/>
              <a:gd name="connsiteX265" fmla="*/ 8101 w 10000"/>
              <a:gd name="connsiteY265" fmla="*/ 7907 h 10000"/>
              <a:gd name="connsiteX266" fmla="*/ 8140 w 10000"/>
              <a:gd name="connsiteY266" fmla="*/ 7907 h 10000"/>
              <a:gd name="connsiteX267" fmla="*/ 8140 w 10000"/>
              <a:gd name="connsiteY267" fmla="*/ 7675 h 10000"/>
              <a:gd name="connsiteX268" fmla="*/ 8178 w 10000"/>
              <a:gd name="connsiteY268" fmla="*/ 7675 h 10000"/>
              <a:gd name="connsiteX269" fmla="*/ 8256 w 10000"/>
              <a:gd name="connsiteY269" fmla="*/ 7598 h 10000"/>
              <a:gd name="connsiteX270" fmla="*/ 8217 w 10000"/>
              <a:gd name="connsiteY270" fmla="*/ 7364 h 10000"/>
              <a:gd name="connsiteX271" fmla="*/ 8295 w 10000"/>
              <a:gd name="connsiteY271" fmla="*/ 7287 h 10000"/>
              <a:gd name="connsiteX272" fmla="*/ 8333 w 10000"/>
              <a:gd name="connsiteY272" fmla="*/ 7287 h 10000"/>
              <a:gd name="connsiteX273" fmla="*/ 8333 w 10000"/>
              <a:gd name="connsiteY273" fmla="*/ 7132 h 10000"/>
              <a:gd name="connsiteX274" fmla="*/ 8295 w 10000"/>
              <a:gd name="connsiteY274" fmla="*/ 7132 h 10000"/>
              <a:gd name="connsiteX275" fmla="*/ 8333 w 10000"/>
              <a:gd name="connsiteY275" fmla="*/ 6900 h 10000"/>
              <a:gd name="connsiteX276" fmla="*/ 8295 w 10000"/>
              <a:gd name="connsiteY276" fmla="*/ 6900 h 10000"/>
              <a:gd name="connsiteX277" fmla="*/ 8256 w 10000"/>
              <a:gd name="connsiteY277" fmla="*/ 6900 h 10000"/>
              <a:gd name="connsiteX278" fmla="*/ 8256 w 10000"/>
              <a:gd name="connsiteY278" fmla="*/ 6822 h 10000"/>
              <a:gd name="connsiteX279" fmla="*/ 8333 w 10000"/>
              <a:gd name="connsiteY279" fmla="*/ 6590 h 10000"/>
              <a:gd name="connsiteX280" fmla="*/ 8333 w 10000"/>
              <a:gd name="connsiteY280" fmla="*/ 6434 h 10000"/>
              <a:gd name="connsiteX281" fmla="*/ 8411 w 10000"/>
              <a:gd name="connsiteY281" fmla="*/ 6434 h 10000"/>
              <a:gd name="connsiteX282" fmla="*/ 8527 w 10000"/>
              <a:gd name="connsiteY282" fmla="*/ 6279 h 10000"/>
              <a:gd name="connsiteX283" fmla="*/ 8527 w 10000"/>
              <a:gd name="connsiteY283" fmla="*/ 6434 h 10000"/>
              <a:gd name="connsiteX284" fmla="*/ 8566 w 10000"/>
              <a:gd name="connsiteY284" fmla="*/ 6356 h 10000"/>
              <a:gd name="connsiteX285" fmla="*/ 8682 w 10000"/>
              <a:gd name="connsiteY285" fmla="*/ 6279 h 10000"/>
              <a:gd name="connsiteX286" fmla="*/ 8759 w 10000"/>
              <a:gd name="connsiteY286" fmla="*/ 6434 h 10000"/>
              <a:gd name="connsiteX287" fmla="*/ 8798 w 10000"/>
              <a:gd name="connsiteY287" fmla="*/ 6279 h 10000"/>
              <a:gd name="connsiteX288" fmla="*/ 9187 w 10000"/>
              <a:gd name="connsiteY288" fmla="*/ 5737 h 10000"/>
              <a:gd name="connsiteX289" fmla="*/ 9303 w 10000"/>
              <a:gd name="connsiteY289" fmla="*/ 5814 h 10000"/>
              <a:gd name="connsiteX290" fmla="*/ 9342 w 10000"/>
              <a:gd name="connsiteY290" fmla="*/ 5737 h 10000"/>
              <a:gd name="connsiteX291" fmla="*/ 9264 w 10000"/>
              <a:gd name="connsiteY291" fmla="*/ 5271 h 10000"/>
              <a:gd name="connsiteX292" fmla="*/ 9225 w 10000"/>
              <a:gd name="connsiteY292" fmla="*/ 5271 h 10000"/>
              <a:gd name="connsiteX293" fmla="*/ 9225 w 10000"/>
              <a:gd name="connsiteY293" fmla="*/ 5116 h 10000"/>
              <a:gd name="connsiteX294" fmla="*/ 9264 w 10000"/>
              <a:gd name="connsiteY294" fmla="*/ 5116 h 10000"/>
              <a:gd name="connsiteX295" fmla="*/ 9342 w 10000"/>
              <a:gd name="connsiteY295" fmla="*/ 5039 h 10000"/>
              <a:gd name="connsiteX296" fmla="*/ 9419 w 10000"/>
              <a:gd name="connsiteY296" fmla="*/ 4884 h 10000"/>
              <a:gd name="connsiteX297" fmla="*/ 9380 w 10000"/>
              <a:gd name="connsiteY297" fmla="*/ 4729 h 10000"/>
              <a:gd name="connsiteX298" fmla="*/ 9419 w 10000"/>
              <a:gd name="connsiteY298" fmla="*/ 4652 h 10000"/>
              <a:gd name="connsiteX299" fmla="*/ 9458 w 10000"/>
              <a:gd name="connsiteY299" fmla="*/ 4884 h 10000"/>
              <a:gd name="connsiteX300" fmla="*/ 9535 w 10000"/>
              <a:gd name="connsiteY300" fmla="*/ 4884 h 10000"/>
              <a:gd name="connsiteX301" fmla="*/ 9613 w 10000"/>
              <a:gd name="connsiteY301" fmla="*/ 5039 h 10000"/>
              <a:gd name="connsiteX302" fmla="*/ 9806 w 10000"/>
              <a:gd name="connsiteY302" fmla="*/ 5271 h 10000"/>
              <a:gd name="connsiteX303" fmla="*/ 9845 w 10000"/>
              <a:gd name="connsiteY303" fmla="*/ 5039 h 10000"/>
              <a:gd name="connsiteX304" fmla="*/ 9845 w 10000"/>
              <a:gd name="connsiteY304" fmla="*/ 4884 h 10000"/>
              <a:gd name="connsiteX305" fmla="*/ 9923 w 10000"/>
              <a:gd name="connsiteY305" fmla="*/ 4884 h 10000"/>
              <a:gd name="connsiteX306" fmla="*/ 10000 w 10000"/>
              <a:gd name="connsiteY306" fmla="*/ 4729 h 10000"/>
              <a:gd name="connsiteX307" fmla="*/ 9884 w 10000"/>
              <a:gd name="connsiteY307" fmla="*/ 4496 h 10000"/>
              <a:gd name="connsiteX308" fmla="*/ 9690 w 10000"/>
              <a:gd name="connsiteY308" fmla="*/ 4418 h 10000"/>
              <a:gd name="connsiteX309" fmla="*/ 9342 w 10000"/>
              <a:gd name="connsiteY309" fmla="*/ 3799 h 10000"/>
              <a:gd name="connsiteX310" fmla="*/ 9109 w 10000"/>
              <a:gd name="connsiteY310" fmla="*/ 3488 h 10000"/>
              <a:gd name="connsiteX311" fmla="*/ 8798 w 10000"/>
              <a:gd name="connsiteY311" fmla="*/ 3411 h 10000"/>
              <a:gd name="connsiteX312" fmla="*/ 8798 w 10000"/>
              <a:gd name="connsiteY312" fmla="*/ 3799 h 10000"/>
              <a:gd name="connsiteX313" fmla="*/ 8721 w 10000"/>
              <a:gd name="connsiteY313" fmla="*/ 3876 h 10000"/>
              <a:gd name="connsiteX314" fmla="*/ 8643 w 10000"/>
              <a:gd name="connsiteY314" fmla="*/ 3721 h 10000"/>
              <a:gd name="connsiteX315" fmla="*/ 8643 w 10000"/>
              <a:gd name="connsiteY315" fmla="*/ 3566 h 10000"/>
              <a:gd name="connsiteX316" fmla="*/ 8682 w 10000"/>
              <a:gd name="connsiteY316" fmla="*/ 3566 h 10000"/>
              <a:gd name="connsiteX317" fmla="*/ 8721 w 10000"/>
              <a:gd name="connsiteY317" fmla="*/ 3488 h 10000"/>
              <a:gd name="connsiteX318" fmla="*/ 8643 w 10000"/>
              <a:gd name="connsiteY318" fmla="*/ 3488 h 10000"/>
              <a:gd name="connsiteX319" fmla="*/ 8566 w 10000"/>
              <a:gd name="connsiteY319" fmla="*/ 3644 h 10000"/>
              <a:gd name="connsiteX320" fmla="*/ 8372 w 10000"/>
              <a:gd name="connsiteY320" fmla="*/ 3566 h 10000"/>
              <a:gd name="connsiteX321" fmla="*/ 8178 w 10000"/>
              <a:gd name="connsiteY321" fmla="*/ 3566 h 10000"/>
              <a:gd name="connsiteX322" fmla="*/ 8101 w 10000"/>
              <a:gd name="connsiteY322" fmla="*/ 3488 h 10000"/>
              <a:gd name="connsiteX323" fmla="*/ 8140 w 10000"/>
              <a:gd name="connsiteY323" fmla="*/ 3333 h 10000"/>
              <a:gd name="connsiteX324" fmla="*/ 8062 w 10000"/>
              <a:gd name="connsiteY324" fmla="*/ 3101 h 10000"/>
              <a:gd name="connsiteX325" fmla="*/ 7907 w 10000"/>
              <a:gd name="connsiteY325" fmla="*/ 3023 h 10000"/>
              <a:gd name="connsiteX326" fmla="*/ 7675 w 10000"/>
              <a:gd name="connsiteY326" fmla="*/ 3178 h 10000"/>
              <a:gd name="connsiteX327" fmla="*/ 7636 w 10000"/>
              <a:gd name="connsiteY327" fmla="*/ 2946 h 10000"/>
              <a:gd name="connsiteX328" fmla="*/ 7558 w 10000"/>
              <a:gd name="connsiteY328" fmla="*/ 2946 h 10000"/>
              <a:gd name="connsiteX329" fmla="*/ 7520 w 10000"/>
              <a:gd name="connsiteY329" fmla="*/ 2868 h 10000"/>
              <a:gd name="connsiteX330" fmla="*/ 7520 w 10000"/>
              <a:gd name="connsiteY330" fmla="*/ 2636 h 10000"/>
              <a:gd name="connsiteX331" fmla="*/ 7249 w 10000"/>
              <a:gd name="connsiteY331" fmla="*/ 2480 h 10000"/>
              <a:gd name="connsiteX332" fmla="*/ 6938 w 10000"/>
              <a:gd name="connsiteY332" fmla="*/ 2325 h 10000"/>
              <a:gd name="connsiteX333" fmla="*/ 6860 w 10000"/>
              <a:gd name="connsiteY333" fmla="*/ 2636 h 10000"/>
              <a:gd name="connsiteX334" fmla="*/ 6938 w 10000"/>
              <a:gd name="connsiteY334" fmla="*/ 2868 h 10000"/>
              <a:gd name="connsiteX335" fmla="*/ 6705 w 10000"/>
              <a:gd name="connsiteY335" fmla="*/ 2868 h 10000"/>
              <a:gd name="connsiteX336" fmla="*/ 6666 w 10000"/>
              <a:gd name="connsiteY336" fmla="*/ 2868 h 10000"/>
              <a:gd name="connsiteX337" fmla="*/ 6589 w 10000"/>
              <a:gd name="connsiteY337" fmla="*/ 2946 h 10000"/>
              <a:gd name="connsiteX338" fmla="*/ 6473 w 10000"/>
              <a:gd name="connsiteY338" fmla="*/ 2714 h 10000"/>
              <a:gd name="connsiteX339" fmla="*/ 6395 w 10000"/>
              <a:gd name="connsiteY339" fmla="*/ 3178 h 10000"/>
              <a:gd name="connsiteX340" fmla="*/ 6318 w 10000"/>
              <a:gd name="connsiteY340" fmla="*/ 3101 h 10000"/>
              <a:gd name="connsiteX341" fmla="*/ 6240 w 10000"/>
              <a:gd name="connsiteY341" fmla="*/ 2791 h 10000"/>
              <a:gd name="connsiteX342" fmla="*/ 6279 w 10000"/>
              <a:gd name="connsiteY342" fmla="*/ 2403 h 10000"/>
              <a:gd name="connsiteX343" fmla="*/ 6202 w 10000"/>
              <a:gd name="connsiteY343" fmla="*/ 2170 h 10000"/>
              <a:gd name="connsiteX344" fmla="*/ 5969 w 10000"/>
              <a:gd name="connsiteY344" fmla="*/ 2016 h 10000"/>
              <a:gd name="connsiteX345" fmla="*/ 5892 w 10000"/>
              <a:gd name="connsiteY345" fmla="*/ 2016 h 10000"/>
              <a:gd name="connsiteX346" fmla="*/ 5853 w 10000"/>
              <a:gd name="connsiteY346" fmla="*/ 2170 h 10000"/>
              <a:gd name="connsiteX347" fmla="*/ 5892 w 10000"/>
              <a:gd name="connsiteY347" fmla="*/ 2325 h 10000"/>
              <a:gd name="connsiteX348" fmla="*/ 5582 w 10000"/>
              <a:gd name="connsiteY348" fmla="*/ 2248 h 10000"/>
              <a:gd name="connsiteX349" fmla="*/ 5620 w 10000"/>
              <a:gd name="connsiteY349" fmla="*/ 2016 h 10000"/>
              <a:gd name="connsiteX350" fmla="*/ 5427 w 10000"/>
              <a:gd name="connsiteY350" fmla="*/ 1938 h 10000"/>
              <a:gd name="connsiteX351" fmla="*/ 5311 w 10000"/>
              <a:gd name="connsiteY351" fmla="*/ 2093 h 10000"/>
              <a:gd name="connsiteX352" fmla="*/ 5078 w 10000"/>
              <a:gd name="connsiteY352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7868 w 10000"/>
              <a:gd name="connsiteY264" fmla="*/ 7442 h 10000"/>
              <a:gd name="connsiteX265" fmla="*/ 8140 w 10000"/>
              <a:gd name="connsiteY265" fmla="*/ 7907 h 10000"/>
              <a:gd name="connsiteX266" fmla="*/ 8140 w 10000"/>
              <a:gd name="connsiteY266" fmla="*/ 7675 h 10000"/>
              <a:gd name="connsiteX267" fmla="*/ 8178 w 10000"/>
              <a:gd name="connsiteY267" fmla="*/ 7675 h 10000"/>
              <a:gd name="connsiteX268" fmla="*/ 8256 w 10000"/>
              <a:gd name="connsiteY268" fmla="*/ 7598 h 10000"/>
              <a:gd name="connsiteX269" fmla="*/ 8217 w 10000"/>
              <a:gd name="connsiteY269" fmla="*/ 7364 h 10000"/>
              <a:gd name="connsiteX270" fmla="*/ 8295 w 10000"/>
              <a:gd name="connsiteY270" fmla="*/ 7287 h 10000"/>
              <a:gd name="connsiteX271" fmla="*/ 8333 w 10000"/>
              <a:gd name="connsiteY271" fmla="*/ 7287 h 10000"/>
              <a:gd name="connsiteX272" fmla="*/ 8333 w 10000"/>
              <a:gd name="connsiteY272" fmla="*/ 7132 h 10000"/>
              <a:gd name="connsiteX273" fmla="*/ 8295 w 10000"/>
              <a:gd name="connsiteY273" fmla="*/ 7132 h 10000"/>
              <a:gd name="connsiteX274" fmla="*/ 8333 w 10000"/>
              <a:gd name="connsiteY274" fmla="*/ 6900 h 10000"/>
              <a:gd name="connsiteX275" fmla="*/ 8295 w 10000"/>
              <a:gd name="connsiteY275" fmla="*/ 6900 h 10000"/>
              <a:gd name="connsiteX276" fmla="*/ 8256 w 10000"/>
              <a:gd name="connsiteY276" fmla="*/ 6900 h 10000"/>
              <a:gd name="connsiteX277" fmla="*/ 8256 w 10000"/>
              <a:gd name="connsiteY277" fmla="*/ 6822 h 10000"/>
              <a:gd name="connsiteX278" fmla="*/ 8333 w 10000"/>
              <a:gd name="connsiteY278" fmla="*/ 6590 h 10000"/>
              <a:gd name="connsiteX279" fmla="*/ 8333 w 10000"/>
              <a:gd name="connsiteY279" fmla="*/ 6434 h 10000"/>
              <a:gd name="connsiteX280" fmla="*/ 8411 w 10000"/>
              <a:gd name="connsiteY280" fmla="*/ 6434 h 10000"/>
              <a:gd name="connsiteX281" fmla="*/ 8527 w 10000"/>
              <a:gd name="connsiteY281" fmla="*/ 6279 h 10000"/>
              <a:gd name="connsiteX282" fmla="*/ 8527 w 10000"/>
              <a:gd name="connsiteY282" fmla="*/ 6434 h 10000"/>
              <a:gd name="connsiteX283" fmla="*/ 8566 w 10000"/>
              <a:gd name="connsiteY283" fmla="*/ 6356 h 10000"/>
              <a:gd name="connsiteX284" fmla="*/ 8682 w 10000"/>
              <a:gd name="connsiteY284" fmla="*/ 6279 h 10000"/>
              <a:gd name="connsiteX285" fmla="*/ 8759 w 10000"/>
              <a:gd name="connsiteY285" fmla="*/ 6434 h 10000"/>
              <a:gd name="connsiteX286" fmla="*/ 8798 w 10000"/>
              <a:gd name="connsiteY286" fmla="*/ 6279 h 10000"/>
              <a:gd name="connsiteX287" fmla="*/ 9187 w 10000"/>
              <a:gd name="connsiteY287" fmla="*/ 5737 h 10000"/>
              <a:gd name="connsiteX288" fmla="*/ 9303 w 10000"/>
              <a:gd name="connsiteY288" fmla="*/ 5814 h 10000"/>
              <a:gd name="connsiteX289" fmla="*/ 9342 w 10000"/>
              <a:gd name="connsiteY289" fmla="*/ 5737 h 10000"/>
              <a:gd name="connsiteX290" fmla="*/ 9264 w 10000"/>
              <a:gd name="connsiteY290" fmla="*/ 5271 h 10000"/>
              <a:gd name="connsiteX291" fmla="*/ 9225 w 10000"/>
              <a:gd name="connsiteY291" fmla="*/ 5271 h 10000"/>
              <a:gd name="connsiteX292" fmla="*/ 9225 w 10000"/>
              <a:gd name="connsiteY292" fmla="*/ 5116 h 10000"/>
              <a:gd name="connsiteX293" fmla="*/ 9264 w 10000"/>
              <a:gd name="connsiteY293" fmla="*/ 5116 h 10000"/>
              <a:gd name="connsiteX294" fmla="*/ 9342 w 10000"/>
              <a:gd name="connsiteY294" fmla="*/ 5039 h 10000"/>
              <a:gd name="connsiteX295" fmla="*/ 9419 w 10000"/>
              <a:gd name="connsiteY295" fmla="*/ 4884 h 10000"/>
              <a:gd name="connsiteX296" fmla="*/ 9380 w 10000"/>
              <a:gd name="connsiteY296" fmla="*/ 4729 h 10000"/>
              <a:gd name="connsiteX297" fmla="*/ 9419 w 10000"/>
              <a:gd name="connsiteY297" fmla="*/ 4652 h 10000"/>
              <a:gd name="connsiteX298" fmla="*/ 9458 w 10000"/>
              <a:gd name="connsiteY298" fmla="*/ 4884 h 10000"/>
              <a:gd name="connsiteX299" fmla="*/ 9535 w 10000"/>
              <a:gd name="connsiteY299" fmla="*/ 4884 h 10000"/>
              <a:gd name="connsiteX300" fmla="*/ 9613 w 10000"/>
              <a:gd name="connsiteY300" fmla="*/ 5039 h 10000"/>
              <a:gd name="connsiteX301" fmla="*/ 9806 w 10000"/>
              <a:gd name="connsiteY301" fmla="*/ 5271 h 10000"/>
              <a:gd name="connsiteX302" fmla="*/ 9845 w 10000"/>
              <a:gd name="connsiteY302" fmla="*/ 5039 h 10000"/>
              <a:gd name="connsiteX303" fmla="*/ 9845 w 10000"/>
              <a:gd name="connsiteY303" fmla="*/ 4884 h 10000"/>
              <a:gd name="connsiteX304" fmla="*/ 9923 w 10000"/>
              <a:gd name="connsiteY304" fmla="*/ 4884 h 10000"/>
              <a:gd name="connsiteX305" fmla="*/ 10000 w 10000"/>
              <a:gd name="connsiteY305" fmla="*/ 4729 h 10000"/>
              <a:gd name="connsiteX306" fmla="*/ 9884 w 10000"/>
              <a:gd name="connsiteY306" fmla="*/ 4496 h 10000"/>
              <a:gd name="connsiteX307" fmla="*/ 9690 w 10000"/>
              <a:gd name="connsiteY307" fmla="*/ 4418 h 10000"/>
              <a:gd name="connsiteX308" fmla="*/ 9342 w 10000"/>
              <a:gd name="connsiteY308" fmla="*/ 3799 h 10000"/>
              <a:gd name="connsiteX309" fmla="*/ 9109 w 10000"/>
              <a:gd name="connsiteY309" fmla="*/ 3488 h 10000"/>
              <a:gd name="connsiteX310" fmla="*/ 8798 w 10000"/>
              <a:gd name="connsiteY310" fmla="*/ 3411 h 10000"/>
              <a:gd name="connsiteX311" fmla="*/ 8798 w 10000"/>
              <a:gd name="connsiteY311" fmla="*/ 3799 h 10000"/>
              <a:gd name="connsiteX312" fmla="*/ 8721 w 10000"/>
              <a:gd name="connsiteY312" fmla="*/ 3876 h 10000"/>
              <a:gd name="connsiteX313" fmla="*/ 8643 w 10000"/>
              <a:gd name="connsiteY313" fmla="*/ 3721 h 10000"/>
              <a:gd name="connsiteX314" fmla="*/ 8643 w 10000"/>
              <a:gd name="connsiteY314" fmla="*/ 3566 h 10000"/>
              <a:gd name="connsiteX315" fmla="*/ 8682 w 10000"/>
              <a:gd name="connsiteY315" fmla="*/ 3566 h 10000"/>
              <a:gd name="connsiteX316" fmla="*/ 8721 w 10000"/>
              <a:gd name="connsiteY316" fmla="*/ 3488 h 10000"/>
              <a:gd name="connsiteX317" fmla="*/ 8643 w 10000"/>
              <a:gd name="connsiteY317" fmla="*/ 3488 h 10000"/>
              <a:gd name="connsiteX318" fmla="*/ 8566 w 10000"/>
              <a:gd name="connsiteY318" fmla="*/ 3644 h 10000"/>
              <a:gd name="connsiteX319" fmla="*/ 8372 w 10000"/>
              <a:gd name="connsiteY319" fmla="*/ 3566 h 10000"/>
              <a:gd name="connsiteX320" fmla="*/ 8178 w 10000"/>
              <a:gd name="connsiteY320" fmla="*/ 3566 h 10000"/>
              <a:gd name="connsiteX321" fmla="*/ 8101 w 10000"/>
              <a:gd name="connsiteY321" fmla="*/ 3488 h 10000"/>
              <a:gd name="connsiteX322" fmla="*/ 8140 w 10000"/>
              <a:gd name="connsiteY322" fmla="*/ 3333 h 10000"/>
              <a:gd name="connsiteX323" fmla="*/ 8062 w 10000"/>
              <a:gd name="connsiteY323" fmla="*/ 3101 h 10000"/>
              <a:gd name="connsiteX324" fmla="*/ 7907 w 10000"/>
              <a:gd name="connsiteY324" fmla="*/ 3023 h 10000"/>
              <a:gd name="connsiteX325" fmla="*/ 7675 w 10000"/>
              <a:gd name="connsiteY325" fmla="*/ 3178 h 10000"/>
              <a:gd name="connsiteX326" fmla="*/ 7636 w 10000"/>
              <a:gd name="connsiteY326" fmla="*/ 2946 h 10000"/>
              <a:gd name="connsiteX327" fmla="*/ 7558 w 10000"/>
              <a:gd name="connsiteY327" fmla="*/ 2946 h 10000"/>
              <a:gd name="connsiteX328" fmla="*/ 7520 w 10000"/>
              <a:gd name="connsiteY328" fmla="*/ 2868 h 10000"/>
              <a:gd name="connsiteX329" fmla="*/ 7520 w 10000"/>
              <a:gd name="connsiteY329" fmla="*/ 2636 h 10000"/>
              <a:gd name="connsiteX330" fmla="*/ 7249 w 10000"/>
              <a:gd name="connsiteY330" fmla="*/ 2480 h 10000"/>
              <a:gd name="connsiteX331" fmla="*/ 6938 w 10000"/>
              <a:gd name="connsiteY331" fmla="*/ 2325 h 10000"/>
              <a:gd name="connsiteX332" fmla="*/ 6860 w 10000"/>
              <a:gd name="connsiteY332" fmla="*/ 2636 h 10000"/>
              <a:gd name="connsiteX333" fmla="*/ 6938 w 10000"/>
              <a:gd name="connsiteY333" fmla="*/ 2868 h 10000"/>
              <a:gd name="connsiteX334" fmla="*/ 6705 w 10000"/>
              <a:gd name="connsiteY334" fmla="*/ 2868 h 10000"/>
              <a:gd name="connsiteX335" fmla="*/ 6666 w 10000"/>
              <a:gd name="connsiteY335" fmla="*/ 2868 h 10000"/>
              <a:gd name="connsiteX336" fmla="*/ 6589 w 10000"/>
              <a:gd name="connsiteY336" fmla="*/ 2946 h 10000"/>
              <a:gd name="connsiteX337" fmla="*/ 6473 w 10000"/>
              <a:gd name="connsiteY337" fmla="*/ 2714 h 10000"/>
              <a:gd name="connsiteX338" fmla="*/ 6395 w 10000"/>
              <a:gd name="connsiteY338" fmla="*/ 3178 h 10000"/>
              <a:gd name="connsiteX339" fmla="*/ 6318 w 10000"/>
              <a:gd name="connsiteY339" fmla="*/ 3101 h 10000"/>
              <a:gd name="connsiteX340" fmla="*/ 6240 w 10000"/>
              <a:gd name="connsiteY340" fmla="*/ 2791 h 10000"/>
              <a:gd name="connsiteX341" fmla="*/ 6279 w 10000"/>
              <a:gd name="connsiteY341" fmla="*/ 2403 h 10000"/>
              <a:gd name="connsiteX342" fmla="*/ 6202 w 10000"/>
              <a:gd name="connsiteY342" fmla="*/ 2170 h 10000"/>
              <a:gd name="connsiteX343" fmla="*/ 5969 w 10000"/>
              <a:gd name="connsiteY343" fmla="*/ 2016 h 10000"/>
              <a:gd name="connsiteX344" fmla="*/ 5892 w 10000"/>
              <a:gd name="connsiteY344" fmla="*/ 2016 h 10000"/>
              <a:gd name="connsiteX345" fmla="*/ 5853 w 10000"/>
              <a:gd name="connsiteY345" fmla="*/ 2170 h 10000"/>
              <a:gd name="connsiteX346" fmla="*/ 5892 w 10000"/>
              <a:gd name="connsiteY346" fmla="*/ 2325 h 10000"/>
              <a:gd name="connsiteX347" fmla="*/ 5582 w 10000"/>
              <a:gd name="connsiteY347" fmla="*/ 2248 h 10000"/>
              <a:gd name="connsiteX348" fmla="*/ 5620 w 10000"/>
              <a:gd name="connsiteY348" fmla="*/ 2016 h 10000"/>
              <a:gd name="connsiteX349" fmla="*/ 5427 w 10000"/>
              <a:gd name="connsiteY349" fmla="*/ 1938 h 10000"/>
              <a:gd name="connsiteX350" fmla="*/ 5311 w 10000"/>
              <a:gd name="connsiteY350" fmla="*/ 2093 h 10000"/>
              <a:gd name="connsiteX351" fmla="*/ 5078 w 10000"/>
              <a:gd name="connsiteY351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7868 w 10000"/>
              <a:gd name="connsiteY264" fmla="*/ 7442 h 10000"/>
              <a:gd name="connsiteX265" fmla="*/ 8140 w 10000"/>
              <a:gd name="connsiteY265" fmla="*/ 7675 h 10000"/>
              <a:gd name="connsiteX266" fmla="*/ 8178 w 10000"/>
              <a:gd name="connsiteY266" fmla="*/ 7675 h 10000"/>
              <a:gd name="connsiteX267" fmla="*/ 8256 w 10000"/>
              <a:gd name="connsiteY267" fmla="*/ 7598 h 10000"/>
              <a:gd name="connsiteX268" fmla="*/ 8217 w 10000"/>
              <a:gd name="connsiteY268" fmla="*/ 7364 h 10000"/>
              <a:gd name="connsiteX269" fmla="*/ 8295 w 10000"/>
              <a:gd name="connsiteY269" fmla="*/ 7287 h 10000"/>
              <a:gd name="connsiteX270" fmla="*/ 8333 w 10000"/>
              <a:gd name="connsiteY270" fmla="*/ 7287 h 10000"/>
              <a:gd name="connsiteX271" fmla="*/ 8333 w 10000"/>
              <a:gd name="connsiteY271" fmla="*/ 7132 h 10000"/>
              <a:gd name="connsiteX272" fmla="*/ 8295 w 10000"/>
              <a:gd name="connsiteY272" fmla="*/ 7132 h 10000"/>
              <a:gd name="connsiteX273" fmla="*/ 8333 w 10000"/>
              <a:gd name="connsiteY273" fmla="*/ 6900 h 10000"/>
              <a:gd name="connsiteX274" fmla="*/ 8295 w 10000"/>
              <a:gd name="connsiteY274" fmla="*/ 6900 h 10000"/>
              <a:gd name="connsiteX275" fmla="*/ 8256 w 10000"/>
              <a:gd name="connsiteY275" fmla="*/ 6900 h 10000"/>
              <a:gd name="connsiteX276" fmla="*/ 8256 w 10000"/>
              <a:gd name="connsiteY276" fmla="*/ 6822 h 10000"/>
              <a:gd name="connsiteX277" fmla="*/ 8333 w 10000"/>
              <a:gd name="connsiteY277" fmla="*/ 6590 h 10000"/>
              <a:gd name="connsiteX278" fmla="*/ 8333 w 10000"/>
              <a:gd name="connsiteY278" fmla="*/ 6434 h 10000"/>
              <a:gd name="connsiteX279" fmla="*/ 8411 w 10000"/>
              <a:gd name="connsiteY279" fmla="*/ 6434 h 10000"/>
              <a:gd name="connsiteX280" fmla="*/ 8527 w 10000"/>
              <a:gd name="connsiteY280" fmla="*/ 6279 h 10000"/>
              <a:gd name="connsiteX281" fmla="*/ 8527 w 10000"/>
              <a:gd name="connsiteY281" fmla="*/ 6434 h 10000"/>
              <a:gd name="connsiteX282" fmla="*/ 8566 w 10000"/>
              <a:gd name="connsiteY282" fmla="*/ 6356 h 10000"/>
              <a:gd name="connsiteX283" fmla="*/ 8682 w 10000"/>
              <a:gd name="connsiteY283" fmla="*/ 6279 h 10000"/>
              <a:gd name="connsiteX284" fmla="*/ 8759 w 10000"/>
              <a:gd name="connsiteY284" fmla="*/ 6434 h 10000"/>
              <a:gd name="connsiteX285" fmla="*/ 8798 w 10000"/>
              <a:gd name="connsiteY285" fmla="*/ 6279 h 10000"/>
              <a:gd name="connsiteX286" fmla="*/ 9187 w 10000"/>
              <a:gd name="connsiteY286" fmla="*/ 5737 h 10000"/>
              <a:gd name="connsiteX287" fmla="*/ 9303 w 10000"/>
              <a:gd name="connsiteY287" fmla="*/ 5814 h 10000"/>
              <a:gd name="connsiteX288" fmla="*/ 9342 w 10000"/>
              <a:gd name="connsiteY288" fmla="*/ 5737 h 10000"/>
              <a:gd name="connsiteX289" fmla="*/ 9264 w 10000"/>
              <a:gd name="connsiteY289" fmla="*/ 5271 h 10000"/>
              <a:gd name="connsiteX290" fmla="*/ 9225 w 10000"/>
              <a:gd name="connsiteY290" fmla="*/ 5271 h 10000"/>
              <a:gd name="connsiteX291" fmla="*/ 9225 w 10000"/>
              <a:gd name="connsiteY291" fmla="*/ 5116 h 10000"/>
              <a:gd name="connsiteX292" fmla="*/ 9264 w 10000"/>
              <a:gd name="connsiteY292" fmla="*/ 5116 h 10000"/>
              <a:gd name="connsiteX293" fmla="*/ 9342 w 10000"/>
              <a:gd name="connsiteY293" fmla="*/ 5039 h 10000"/>
              <a:gd name="connsiteX294" fmla="*/ 9419 w 10000"/>
              <a:gd name="connsiteY294" fmla="*/ 4884 h 10000"/>
              <a:gd name="connsiteX295" fmla="*/ 9380 w 10000"/>
              <a:gd name="connsiteY295" fmla="*/ 4729 h 10000"/>
              <a:gd name="connsiteX296" fmla="*/ 9419 w 10000"/>
              <a:gd name="connsiteY296" fmla="*/ 4652 h 10000"/>
              <a:gd name="connsiteX297" fmla="*/ 9458 w 10000"/>
              <a:gd name="connsiteY297" fmla="*/ 4884 h 10000"/>
              <a:gd name="connsiteX298" fmla="*/ 9535 w 10000"/>
              <a:gd name="connsiteY298" fmla="*/ 4884 h 10000"/>
              <a:gd name="connsiteX299" fmla="*/ 9613 w 10000"/>
              <a:gd name="connsiteY299" fmla="*/ 5039 h 10000"/>
              <a:gd name="connsiteX300" fmla="*/ 9806 w 10000"/>
              <a:gd name="connsiteY300" fmla="*/ 5271 h 10000"/>
              <a:gd name="connsiteX301" fmla="*/ 9845 w 10000"/>
              <a:gd name="connsiteY301" fmla="*/ 5039 h 10000"/>
              <a:gd name="connsiteX302" fmla="*/ 9845 w 10000"/>
              <a:gd name="connsiteY302" fmla="*/ 4884 h 10000"/>
              <a:gd name="connsiteX303" fmla="*/ 9923 w 10000"/>
              <a:gd name="connsiteY303" fmla="*/ 4884 h 10000"/>
              <a:gd name="connsiteX304" fmla="*/ 10000 w 10000"/>
              <a:gd name="connsiteY304" fmla="*/ 4729 h 10000"/>
              <a:gd name="connsiteX305" fmla="*/ 9884 w 10000"/>
              <a:gd name="connsiteY305" fmla="*/ 4496 h 10000"/>
              <a:gd name="connsiteX306" fmla="*/ 9690 w 10000"/>
              <a:gd name="connsiteY306" fmla="*/ 4418 h 10000"/>
              <a:gd name="connsiteX307" fmla="*/ 9342 w 10000"/>
              <a:gd name="connsiteY307" fmla="*/ 3799 h 10000"/>
              <a:gd name="connsiteX308" fmla="*/ 9109 w 10000"/>
              <a:gd name="connsiteY308" fmla="*/ 3488 h 10000"/>
              <a:gd name="connsiteX309" fmla="*/ 8798 w 10000"/>
              <a:gd name="connsiteY309" fmla="*/ 3411 h 10000"/>
              <a:gd name="connsiteX310" fmla="*/ 8798 w 10000"/>
              <a:gd name="connsiteY310" fmla="*/ 3799 h 10000"/>
              <a:gd name="connsiteX311" fmla="*/ 8721 w 10000"/>
              <a:gd name="connsiteY311" fmla="*/ 3876 h 10000"/>
              <a:gd name="connsiteX312" fmla="*/ 8643 w 10000"/>
              <a:gd name="connsiteY312" fmla="*/ 3721 h 10000"/>
              <a:gd name="connsiteX313" fmla="*/ 8643 w 10000"/>
              <a:gd name="connsiteY313" fmla="*/ 3566 h 10000"/>
              <a:gd name="connsiteX314" fmla="*/ 8682 w 10000"/>
              <a:gd name="connsiteY314" fmla="*/ 3566 h 10000"/>
              <a:gd name="connsiteX315" fmla="*/ 8721 w 10000"/>
              <a:gd name="connsiteY315" fmla="*/ 3488 h 10000"/>
              <a:gd name="connsiteX316" fmla="*/ 8643 w 10000"/>
              <a:gd name="connsiteY316" fmla="*/ 3488 h 10000"/>
              <a:gd name="connsiteX317" fmla="*/ 8566 w 10000"/>
              <a:gd name="connsiteY317" fmla="*/ 3644 h 10000"/>
              <a:gd name="connsiteX318" fmla="*/ 8372 w 10000"/>
              <a:gd name="connsiteY318" fmla="*/ 3566 h 10000"/>
              <a:gd name="connsiteX319" fmla="*/ 8178 w 10000"/>
              <a:gd name="connsiteY319" fmla="*/ 3566 h 10000"/>
              <a:gd name="connsiteX320" fmla="*/ 8101 w 10000"/>
              <a:gd name="connsiteY320" fmla="*/ 3488 h 10000"/>
              <a:gd name="connsiteX321" fmla="*/ 8140 w 10000"/>
              <a:gd name="connsiteY321" fmla="*/ 3333 h 10000"/>
              <a:gd name="connsiteX322" fmla="*/ 8062 w 10000"/>
              <a:gd name="connsiteY322" fmla="*/ 3101 h 10000"/>
              <a:gd name="connsiteX323" fmla="*/ 7907 w 10000"/>
              <a:gd name="connsiteY323" fmla="*/ 3023 h 10000"/>
              <a:gd name="connsiteX324" fmla="*/ 7675 w 10000"/>
              <a:gd name="connsiteY324" fmla="*/ 3178 h 10000"/>
              <a:gd name="connsiteX325" fmla="*/ 7636 w 10000"/>
              <a:gd name="connsiteY325" fmla="*/ 2946 h 10000"/>
              <a:gd name="connsiteX326" fmla="*/ 7558 w 10000"/>
              <a:gd name="connsiteY326" fmla="*/ 2946 h 10000"/>
              <a:gd name="connsiteX327" fmla="*/ 7520 w 10000"/>
              <a:gd name="connsiteY327" fmla="*/ 2868 h 10000"/>
              <a:gd name="connsiteX328" fmla="*/ 7520 w 10000"/>
              <a:gd name="connsiteY328" fmla="*/ 2636 h 10000"/>
              <a:gd name="connsiteX329" fmla="*/ 7249 w 10000"/>
              <a:gd name="connsiteY329" fmla="*/ 2480 h 10000"/>
              <a:gd name="connsiteX330" fmla="*/ 6938 w 10000"/>
              <a:gd name="connsiteY330" fmla="*/ 2325 h 10000"/>
              <a:gd name="connsiteX331" fmla="*/ 6860 w 10000"/>
              <a:gd name="connsiteY331" fmla="*/ 2636 h 10000"/>
              <a:gd name="connsiteX332" fmla="*/ 6938 w 10000"/>
              <a:gd name="connsiteY332" fmla="*/ 2868 h 10000"/>
              <a:gd name="connsiteX333" fmla="*/ 6705 w 10000"/>
              <a:gd name="connsiteY333" fmla="*/ 2868 h 10000"/>
              <a:gd name="connsiteX334" fmla="*/ 6666 w 10000"/>
              <a:gd name="connsiteY334" fmla="*/ 2868 h 10000"/>
              <a:gd name="connsiteX335" fmla="*/ 6589 w 10000"/>
              <a:gd name="connsiteY335" fmla="*/ 2946 h 10000"/>
              <a:gd name="connsiteX336" fmla="*/ 6473 w 10000"/>
              <a:gd name="connsiteY336" fmla="*/ 2714 h 10000"/>
              <a:gd name="connsiteX337" fmla="*/ 6395 w 10000"/>
              <a:gd name="connsiteY337" fmla="*/ 3178 h 10000"/>
              <a:gd name="connsiteX338" fmla="*/ 6318 w 10000"/>
              <a:gd name="connsiteY338" fmla="*/ 3101 h 10000"/>
              <a:gd name="connsiteX339" fmla="*/ 6240 w 10000"/>
              <a:gd name="connsiteY339" fmla="*/ 2791 h 10000"/>
              <a:gd name="connsiteX340" fmla="*/ 6279 w 10000"/>
              <a:gd name="connsiteY340" fmla="*/ 2403 h 10000"/>
              <a:gd name="connsiteX341" fmla="*/ 6202 w 10000"/>
              <a:gd name="connsiteY341" fmla="*/ 2170 h 10000"/>
              <a:gd name="connsiteX342" fmla="*/ 5969 w 10000"/>
              <a:gd name="connsiteY342" fmla="*/ 2016 h 10000"/>
              <a:gd name="connsiteX343" fmla="*/ 5892 w 10000"/>
              <a:gd name="connsiteY343" fmla="*/ 2016 h 10000"/>
              <a:gd name="connsiteX344" fmla="*/ 5853 w 10000"/>
              <a:gd name="connsiteY344" fmla="*/ 2170 h 10000"/>
              <a:gd name="connsiteX345" fmla="*/ 5892 w 10000"/>
              <a:gd name="connsiteY345" fmla="*/ 2325 h 10000"/>
              <a:gd name="connsiteX346" fmla="*/ 5582 w 10000"/>
              <a:gd name="connsiteY346" fmla="*/ 2248 h 10000"/>
              <a:gd name="connsiteX347" fmla="*/ 5620 w 10000"/>
              <a:gd name="connsiteY347" fmla="*/ 2016 h 10000"/>
              <a:gd name="connsiteX348" fmla="*/ 5427 w 10000"/>
              <a:gd name="connsiteY348" fmla="*/ 1938 h 10000"/>
              <a:gd name="connsiteX349" fmla="*/ 5311 w 10000"/>
              <a:gd name="connsiteY349" fmla="*/ 2093 h 10000"/>
              <a:gd name="connsiteX350" fmla="*/ 5078 w 10000"/>
              <a:gd name="connsiteY350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7868 w 10000"/>
              <a:gd name="connsiteY264" fmla="*/ 7442 h 10000"/>
              <a:gd name="connsiteX265" fmla="*/ 8140 w 10000"/>
              <a:gd name="connsiteY265" fmla="*/ 7675 h 10000"/>
              <a:gd name="connsiteX266" fmla="*/ 8256 w 10000"/>
              <a:gd name="connsiteY266" fmla="*/ 7598 h 10000"/>
              <a:gd name="connsiteX267" fmla="*/ 8217 w 10000"/>
              <a:gd name="connsiteY267" fmla="*/ 7364 h 10000"/>
              <a:gd name="connsiteX268" fmla="*/ 8295 w 10000"/>
              <a:gd name="connsiteY268" fmla="*/ 7287 h 10000"/>
              <a:gd name="connsiteX269" fmla="*/ 8333 w 10000"/>
              <a:gd name="connsiteY269" fmla="*/ 7287 h 10000"/>
              <a:gd name="connsiteX270" fmla="*/ 8333 w 10000"/>
              <a:gd name="connsiteY270" fmla="*/ 7132 h 10000"/>
              <a:gd name="connsiteX271" fmla="*/ 8295 w 10000"/>
              <a:gd name="connsiteY271" fmla="*/ 7132 h 10000"/>
              <a:gd name="connsiteX272" fmla="*/ 8333 w 10000"/>
              <a:gd name="connsiteY272" fmla="*/ 6900 h 10000"/>
              <a:gd name="connsiteX273" fmla="*/ 8295 w 10000"/>
              <a:gd name="connsiteY273" fmla="*/ 6900 h 10000"/>
              <a:gd name="connsiteX274" fmla="*/ 8256 w 10000"/>
              <a:gd name="connsiteY274" fmla="*/ 6900 h 10000"/>
              <a:gd name="connsiteX275" fmla="*/ 8256 w 10000"/>
              <a:gd name="connsiteY275" fmla="*/ 6822 h 10000"/>
              <a:gd name="connsiteX276" fmla="*/ 8333 w 10000"/>
              <a:gd name="connsiteY276" fmla="*/ 6590 h 10000"/>
              <a:gd name="connsiteX277" fmla="*/ 8333 w 10000"/>
              <a:gd name="connsiteY277" fmla="*/ 6434 h 10000"/>
              <a:gd name="connsiteX278" fmla="*/ 8411 w 10000"/>
              <a:gd name="connsiteY278" fmla="*/ 6434 h 10000"/>
              <a:gd name="connsiteX279" fmla="*/ 8527 w 10000"/>
              <a:gd name="connsiteY279" fmla="*/ 6279 h 10000"/>
              <a:gd name="connsiteX280" fmla="*/ 8527 w 10000"/>
              <a:gd name="connsiteY280" fmla="*/ 6434 h 10000"/>
              <a:gd name="connsiteX281" fmla="*/ 8566 w 10000"/>
              <a:gd name="connsiteY281" fmla="*/ 6356 h 10000"/>
              <a:gd name="connsiteX282" fmla="*/ 8682 w 10000"/>
              <a:gd name="connsiteY282" fmla="*/ 6279 h 10000"/>
              <a:gd name="connsiteX283" fmla="*/ 8759 w 10000"/>
              <a:gd name="connsiteY283" fmla="*/ 6434 h 10000"/>
              <a:gd name="connsiteX284" fmla="*/ 8798 w 10000"/>
              <a:gd name="connsiteY284" fmla="*/ 6279 h 10000"/>
              <a:gd name="connsiteX285" fmla="*/ 9187 w 10000"/>
              <a:gd name="connsiteY285" fmla="*/ 5737 h 10000"/>
              <a:gd name="connsiteX286" fmla="*/ 9303 w 10000"/>
              <a:gd name="connsiteY286" fmla="*/ 5814 h 10000"/>
              <a:gd name="connsiteX287" fmla="*/ 9342 w 10000"/>
              <a:gd name="connsiteY287" fmla="*/ 5737 h 10000"/>
              <a:gd name="connsiteX288" fmla="*/ 9264 w 10000"/>
              <a:gd name="connsiteY288" fmla="*/ 5271 h 10000"/>
              <a:gd name="connsiteX289" fmla="*/ 9225 w 10000"/>
              <a:gd name="connsiteY289" fmla="*/ 5271 h 10000"/>
              <a:gd name="connsiteX290" fmla="*/ 9225 w 10000"/>
              <a:gd name="connsiteY290" fmla="*/ 5116 h 10000"/>
              <a:gd name="connsiteX291" fmla="*/ 9264 w 10000"/>
              <a:gd name="connsiteY291" fmla="*/ 5116 h 10000"/>
              <a:gd name="connsiteX292" fmla="*/ 9342 w 10000"/>
              <a:gd name="connsiteY292" fmla="*/ 5039 h 10000"/>
              <a:gd name="connsiteX293" fmla="*/ 9419 w 10000"/>
              <a:gd name="connsiteY293" fmla="*/ 4884 h 10000"/>
              <a:gd name="connsiteX294" fmla="*/ 9380 w 10000"/>
              <a:gd name="connsiteY294" fmla="*/ 4729 h 10000"/>
              <a:gd name="connsiteX295" fmla="*/ 9419 w 10000"/>
              <a:gd name="connsiteY295" fmla="*/ 4652 h 10000"/>
              <a:gd name="connsiteX296" fmla="*/ 9458 w 10000"/>
              <a:gd name="connsiteY296" fmla="*/ 4884 h 10000"/>
              <a:gd name="connsiteX297" fmla="*/ 9535 w 10000"/>
              <a:gd name="connsiteY297" fmla="*/ 4884 h 10000"/>
              <a:gd name="connsiteX298" fmla="*/ 9613 w 10000"/>
              <a:gd name="connsiteY298" fmla="*/ 5039 h 10000"/>
              <a:gd name="connsiteX299" fmla="*/ 9806 w 10000"/>
              <a:gd name="connsiteY299" fmla="*/ 5271 h 10000"/>
              <a:gd name="connsiteX300" fmla="*/ 9845 w 10000"/>
              <a:gd name="connsiteY300" fmla="*/ 5039 h 10000"/>
              <a:gd name="connsiteX301" fmla="*/ 9845 w 10000"/>
              <a:gd name="connsiteY301" fmla="*/ 4884 h 10000"/>
              <a:gd name="connsiteX302" fmla="*/ 9923 w 10000"/>
              <a:gd name="connsiteY302" fmla="*/ 4884 h 10000"/>
              <a:gd name="connsiteX303" fmla="*/ 10000 w 10000"/>
              <a:gd name="connsiteY303" fmla="*/ 4729 h 10000"/>
              <a:gd name="connsiteX304" fmla="*/ 9884 w 10000"/>
              <a:gd name="connsiteY304" fmla="*/ 4496 h 10000"/>
              <a:gd name="connsiteX305" fmla="*/ 9690 w 10000"/>
              <a:gd name="connsiteY305" fmla="*/ 4418 h 10000"/>
              <a:gd name="connsiteX306" fmla="*/ 9342 w 10000"/>
              <a:gd name="connsiteY306" fmla="*/ 3799 h 10000"/>
              <a:gd name="connsiteX307" fmla="*/ 9109 w 10000"/>
              <a:gd name="connsiteY307" fmla="*/ 3488 h 10000"/>
              <a:gd name="connsiteX308" fmla="*/ 8798 w 10000"/>
              <a:gd name="connsiteY308" fmla="*/ 3411 h 10000"/>
              <a:gd name="connsiteX309" fmla="*/ 8798 w 10000"/>
              <a:gd name="connsiteY309" fmla="*/ 3799 h 10000"/>
              <a:gd name="connsiteX310" fmla="*/ 8721 w 10000"/>
              <a:gd name="connsiteY310" fmla="*/ 3876 h 10000"/>
              <a:gd name="connsiteX311" fmla="*/ 8643 w 10000"/>
              <a:gd name="connsiteY311" fmla="*/ 3721 h 10000"/>
              <a:gd name="connsiteX312" fmla="*/ 8643 w 10000"/>
              <a:gd name="connsiteY312" fmla="*/ 3566 h 10000"/>
              <a:gd name="connsiteX313" fmla="*/ 8682 w 10000"/>
              <a:gd name="connsiteY313" fmla="*/ 3566 h 10000"/>
              <a:gd name="connsiteX314" fmla="*/ 8721 w 10000"/>
              <a:gd name="connsiteY314" fmla="*/ 3488 h 10000"/>
              <a:gd name="connsiteX315" fmla="*/ 8643 w 10000"/>
              <a:gd name="connsiteY315" fmla="*/ 3488 h 10000"/>
              <a:gd name="connsiteX316" fmla="*/ 8566 w 10000"/>
              <a:gd name="connsiteY316" fmla="*/ 3644 h 10000"/>
              <a:gd name="connsiteX317" fmla="*/ 8372 w 10000"/>
              <a:gd name="connsiteY317" fmla="*/ 3566 h 10000"/>
              <a:gd name="connsiteX318" fmla="*/ 8178 w 10000"/>
              <a:gd name="connsiteY318" fmla="*/ 3566 h 10000"/>
              <a:gd name="connsiteX319" fmla="*/ 8101 w 10000"/>
              <a:gd name="connsiteY319" fmla="*/ 3488 h 10000"/>
              <a:gd name="connsiteX320" fmla="*/ 8140 w 10000"/>
              <a:gd name="connsiteY320" fmla="*/ 3333 h 10000"/>
              <a:gd name="connsiteX321" fmla="*/ 8062 w 10000"/>
              <a:gd name="connsiteY321" fmla="*/ 3101 h 10000"/>
              <a:gd name="connsiteX322" fmla="*/ 7907 w 10000"/>
              <a:gd name="connsiteY322" fmla="*/ 3023 h 10000"/>
              <a:gd name="connsiteX323" fmla="*/ 7675 w 10000"/>
              <a:gd name="connsiteY323" fmla="*/ 3178 h 10000"/>
              <a:gd name="connsiteX324" fmla="*/ 7636 w 10000"/>
              <a:gd name="connsiteY324" fmla="*/ 2946 h 10000"/>
              <a:gd name="connsiteX325" fmla="*/ 7558 w 10000"/>
              <a:gd name="connsiteY325" fmla="*/ 2946 h 10000"/>
              <a:gd name="connsiteX326" fmla="*/ 7520 w 10000"/>
              <a:gd name="connsiteY326" fmla="*/ 2868 h 10000"/>
              <a:gd name="connsiteX327" fmla="*/ 7520 w 10000"/>
              <a:gd name="connsiteY327" fmla="*/ 2636 h 10000"/>
              <a:gd name="connsiteX328" fmla="*/ 7249 w 10000"/>
              <a:gd name="connsiteY328" fmla="*/ 2480 h 10000"/>
              <a:gd name="connsiteX329" fmla="*/ 6938 w 10000"/>
              <a:gd name="connsiteY329" fmla="*/ 2325 h 10000"/>
              <a:gd name="connsiteX330" fmla="*/ 6860 w 10000"/>
              <a:gd name="connsiteY330" fmla="*/ 2636 h 10000"/>
              <a:gd name="connsiteX331" fmla="*/ 6938 w 10000"/>
              <a:gd name="connsiteY331" fmla="*/ 2868 h 10000"/>
              <a:gd name="connsiteX332" fmla="*/ 6705 w 10000"/>
              <a:gd name="connsiteY332" fmla="*/ 2868 h 10000"/>
              <a:gd name="connsiteX333" fmla="*/ 6666 w 10000"/>
              <a:gd name="connsiteY333" fmla="*/ 2868 h 10000"/>
              <a:gd name="connsiteX334" fmla="*/ 6589 w 10000"/>
              <a:gd name="connsiteY334" fmla="*/ 2946 h 10000"/>
              <a:gd name="connsiteX335" fmla="*/ 6473 w 10000"/>
              <a:gd name="connsiteY335" fmla="*/ 2714 h 10000"/>
              <a:gd name="connsiteX336" fmla="*/ 6395 w 10000"/>
              <a:gd name="connsiteY336" fmla="*/ 3178 h 10000"/>
              <a:gd name="connsiteX337" fmla="*/ 6318 w 10000"/>
              <a:gd name="connsiteY337" fmla="*/ 3101 h 10000"/>
              <a:gd name="connsiteX338" fmla="*/ 6240 w 10000"/>
              <a:gd name="connsiteY338" fmla="*/ 2791 h 10000"/>
              <a:gd name="connsiteX339" fmla="*/ 6279 w 10000"/>
              <a:gd name="connsiteY339" fmla="*/ 2403 h 10000"/>
              <a:gd name="connsiteX340" fmla="*/ 6202 w 10000"/>
              <a:gd name="connsiteY340" fmla="*/ 2170 h 10000"/>
              <a:gd name="connsiteX341" fmla="*/ 5969 w 10000"/>
              <a:gd name="connsiteY341" fmla="*/ 2016 h 10000"/>
              <a:gd name="connsiteX342" fmla="*/ 5892 w 10000"/>
              <a:gd name="connsiteY342" fmla="*/ 2016 h 10000"/>
              <a:gd name="connsiteX343" fmla="*/ 5853 w 10000"/>
              <a:gd name="connsiteY343" fmla="*/ 2170 h 10000"/>
              <a:gd name="connsiteX344" fmla="*/ 5892 w 10000"/>
              <a:gd name="connsiteY344" fmla="*/ 2325 h 10000"/>
              <a:gd name="connsiteX345" fmla="*/ 5582 w 10000"/>
              <a:gd name="connsiteY345" fmla="*/ 2248 h 10000"/>
              <a:gd name="connsiteX346" fmla="*/ 5620 w 10000"/>
              <a:gd name="connsiteY346" fmla="*/ 2016 h 10000"/>
              <a:gd name="connsiteX347" fmla="*/ 5427 w 10000"/>
              <a:gd name="connsiteY347" fmla="*/ 1938 h 10000"/>
              <a:gd name="connsiteX348" fmla="*/ 5311 w 10000"/>
              <a:gd name="connsiteY348" fmla="*/ 2093 h 10000"/>
              <a:gd name="connsiteX349" fmla="*/ 5078 w 10000"/>
              <a:gd name="connsiteY349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7868 w 10000"/>
              <a:gd name="connsiteY264" fmla="*/ 7442 h 10000"/>
              <a:gd name="connsiteX265" fmla="*/ 8256 w 10000"/>
              <a:gd name="connsiteY265" fmla="*/ 7598 h 10000"/>
              <a:gd name="connsiteX266" fmla="*/ 8217 w 10000"/>
              <a:gd name="connsiteY266" fmla="*/ 7364 h 10000"/>
              <a:gd name="connsiteX267" fmla="*/ 8295 w 10000"/>
              <a:gd name="connsiteY267" fmla="*/ 7287 h 10000"/>
              <a:gd name="connsiteX268" fmla="*/ 8333 w 10000"/>
              <a:gd name="connsiteY268" fmla="*/ 7287 h 10000"/>
              <a:gd name="connsiteX269" fmla="*/ 8333 w 10000"/>
              <a:gd name="connsiteY269" fmla="*/ 7132 h 10000"/>
              <a:gd name="connsiteX270" fmla="*/ 8295 w 10000"/>
              <a:gd name="connsiteY270" fmla="*/ 7132 h 10000"/>
              <a:gd name="connsiteX271" fmla="*/ 8333 w 10000"/>
              <a:gd name="connsiteY271" fmla="*/ 6900 h 10000"/>
              <a:gd name="connsiteX272" fmla="*/ 8295 w 10000"/>
              <a:gd name="connsiteY272" fmla="*/ 6900 h 10000"/>
              <a:gd name="connsiteX273" fmla="*/ 8256 w 10000"/>
              <a:gd name="connsiteY273" fmla="*/ 6900 h 10000"/>
              <a:gd name="connsiteX274" fmla="*/ 8256 w 10000"/>
              <a:gd name="connsiteY274" fmla="*/ 6822 h 10000"/>
              <a:gd name="connsiteX275" fmla="*/ 8333 w 10000"/>
              <a:gd name="connsiteY275" fmla="*/ 6590 h 10000"/>
              <a:gd name="connsiteX276" fmla="*/ 8333 w 10000"/>
              <a:gd name="connsiteY276" fmla="*/ 6434 h 10000"/>
              <a:gd name="connsiteX277" fmla="*/ 8411 w 10000"/>
              <a:gd name="connsiteY277" fmla="*/ 6434 h 10000"/>
              <a:gd name="connsiteX278" fmla="*/ 8527 w 10000"/>
              <a:gd name="connsiteY278" fmla="*/ 6279 h 10000"/>
              <a:gd name="connsiteX279" fmla="*/ 8527 w 10000"/>
              <a:gd name="connsiteY279" fmla="*/ 6434 h 10000"/>
              <a:gd name="connsiteX280" fmla="*/ 8566 w 10000"/>
              <a:gd name="connsiteY280" fmla="*/ 6356 h 10000"/>
              <a:gd name="connsiteX281" fmla="*/ 8682 w 10000"/>
              <a:gd name="connsiteY281" fmla="*/ 6279 h 10000"/>
              <a:gd name="connsiteX282" fmla="*/ 8759 w 10000"/>
              <a:gd name="connsiteY282" fmla="*/ 6434 h 10000"/>
              <a:gd name="connsiteX283" fmla="*/ 8798 w 10000"/>
              <a:gd name="connsiteY283" fmla="*/ 6279 h 10000"/>
              <a:gd name="connsiteX284" fmla="*/ 9187 w 10000"/>
              <a:gd name="connsiteY284" fmla="*/ 5737 h 10000"/>
              <a:gd name="connsiteX285" fmla="*/ 9303 w 10000"/>
              <a:gd name="connsiteY285" fmla="*/ 5814 h 10000"/>
              <a:gd name="connsiteX286" fmla="*/ 9342 w 10000"/>
              <a:gd name="connsiteY286" fmla="*/ 5737 h 10000"/>
              <a:gd name="connsiteX287" fmla="*/ 9264 w 10000"/>
              <a:gd name="connsiteY287" fmla="*/ 5271 h 10000"/>
              <a:gd name="connsiteX288" fmla="*/ 9225 w 10000"/>
              <a:gd name="connsiteY288" fmla="*/ 5271 h 10000"/>
              <a:gd name="connsiteX289" fmla="*/ 9225 w 10000"/>
              <a:gd name="connsiteY289" fmla="*/ 5116 h 10000"/>
              <a:gd name="connsiteX290" fmla="*/ 9264 w 10000"/>
              <a:gd name="connsiteY290" fmla="*/ 5116 h 10000"/>
              <a:gd name="connsiteX291" fmla="*/ 9342 w 10000"/>
              <a:gd name="connsiteY291" fmla="*/ 5039 h 10000"/>
              <a:gd name="connsiteX292" fmla="*/ 9419 w 10000"/>
              <a:gd name="connsiteY292" fmla="*/ 4884 h 10000"/>
              <a:gd name="connsiteX293" fmla="*/ 9380 w 10000"/>
              <a:gd name="connsiteY293" fmla="*/ 4729 h 10000"/>
              <a:gd name="connsiteX294" fmla="*/ 9419 w 10000"/>
              <a:gd name="connsiteY294" fmla="*/ 4652 h 10000"/>
              <a:gd name="connsiteX295" fmla="*/ 9458 w 10000"/>
              <a:gd name="connsiteY295" fmla="*/ 4884 h 10000"/>
              <a:gd name="connsiteX296" fmla="*/ 9535 w 10000"/>
              <a:gd name="connsiteY296" fmla="*/ 4884 h 10000"/>
              <a:gd name="connsiteX297" fmla="*/ 9613 w 10000"/>
              <a:gd name="connsiteY297" fmla="*/ 5039 h 10000"/>
              <a:gd name="connsiteX298" fmla="*/ 9806 w 10000"/>
              <a:gd name="connsiteY298" fmla="*/ 5271 h 10000"/>
              <a:gd name="connsiteX299" fmla="*/ 9845 w 10000"/>
              <a:gd name="connsiteY299" fmla="*/ 5039 h 10000"/>
              <a:gd name="connsiteX300" fmla="*/ 9845 w 10000"/>
              <a:gd name="connsiteY300" fmla="*/ 4884 h 10000"/>
              <a:gd name="connsiteX301" fmla="*/ 9923 w 10000"/>
              <a:gd name="connsiteY301" fmla="*/ 4884 h 10000"/>
              <a:gd name="connsiteX302" fmla="*/ 10000 w 10000"/>
              <a:gd name="connsiteY302" fmla="*/ 4729 h 10000"/>
              <a:gd name="connsiteX303" fmla="*/ 9884 w 10000"/>
              <a:gd name="connsiteY303" fmla="*/ 4496 h 10000"/>
              <a:gd name="connsiteX304" fmla="*/ 9690 w 10000"/>
              <a:gd name="connsiteY304" fmla="*/ 4418 h 10000"/>
              <a:gd name="connsiteX305" fmla="*/ 9342 w 10000"/>
              <a:gd name="connsiteY305" fmla="*/ 3799 h 10000"/>
              <a:gd name="connsiteX306" fmla="*/ 9109 w 10000"/>
              <a:gd name="connsiteY306" fmla="*/ 3488 h 10000"/>
              <a:gd name="connsiteX307" fmla="*/ 8798 w 10000"/>
              <a:gd name="connsiteY307" fmla="*/ 3411 h 10000"/>
              <a:gd name="connsiteX308" fmla="*/ 8798 w 10000"/>
              <a:gd name="connsiteY308" fmla="*/ 3799 h 10000"/>
              <a:gd name="connsiteX309" fmla="*/ 8721 w 10000"/>
              <a:gd name="connsiteY309" fmla="*/ 3876 h 10000"/>
              <a:gd name="connsiteX310" fmla="*/ 8643 w 10000"/>
              <a:gd name="connsiteY310" fmla="*/ 3721 h 10000"/>
              <a:gd name="connsiteX311" fmla="*/ 8643 w 10000"/>
              <a:gd name="connsiteY311" fmla="*/ 3566 h 10000"/>
              <a:gd name="connsiteX312" fmla="*/ 8682 w 10000"/>
              <a:gd name="connsiteY312" fmla="*/ 3566 h 10000"/>
              <a:gd name="connsiteX313" fmla="*/ 8721 w 10000"/>
              <a:gd name="connsiteY313" fmla="*/ 3488 h 10000"/>
              <a:gd name="connsiteX314" fmla="*/ 8643 w 10000"/>
              <a:gd name="connsiteY314" fmla="*/ 3488 h 10000"/>
              <a:gd name="connsiteX315" fmla="*/ 8566 w 10000"/>
              <a:gd name="connsiteY315" fmla="*/ 3644 h 10000"/>
              <a:gd name="connsiteX316" fmla="*/ 8372 w 10000"/>
              <a:gd name="connsiteY316" fmla="*/ 3566 h 10000"/>
              <a:gd name="connsiteX317" fmla="*/ 8178 w 10000"/>
              <a:gd name="connsiteY317" fmla="*/ 3566 h 10000"/>
              <a:gd name="connsiteX318" fmla="*/ 8101 w 10000"/>
              <a:gd name="connsiteY318" fmla="*/ 3488 h 10000"/>
              <a:gd name="connsiteX319" fmla="*/ 8140 w 10000"/>
              <a:gd name="connsiteY319" fmla="*/ 3333 h 10000"/>
              <a:gd name="connsiteX320" fmla="*/ 8062 w 10000"/>
              <a:gd name="connsiteY320" fmla="*/ 3101 h 10000"/>
              <a:gd name="connsiteX321" fmla="*/ 7907 w 10000"/>
              <a:gd name="connsiteY321" fmla="*/ 3023 h 10000"/>
              <a:gd name="connsiteX322" fmla="*/ 7675 w 10000"/>
              <a:gd name="connsiteY322" fmla="*/ 3178 h 10000"/>
              <a:gd name="connsiteX323" fmla="*/ 7636 w 10000"/>
              <a:gd name="connsiteY323" fmla="*/ 2946 h 10000"/>
              <a:gd name="connsiteX324" fmla="*/ 7558 w 10000"/>
              <a:gd name="connsiteY324" fmla="*/ 2946 h 10000"/>
              <a:gd name="connsiteX325" fmla="*/ 7520 w 10000"/>
              <a:gd name="connsiteY325" fmla="*/ 2868 h 10000"/>
              <a:gd name="connsiteX326" fmla="*/ 7520 w 10000"/>
              <a:gd name="connsiteY326" fmla="*/ 2636 h 10000"/>
              <a:gd name="connsiteX327" fmla="*/ 7249 w 10000"/>
              <a:gd name="connsiteY327" fmla="*/ 2480 h 10000"/>
              <a:gd name="connsiteX328" fmla="*/ 6938 w 10000"/>
              <a:gd name="connsiteY328" fmla="*/ 2325 h 10000"/>
              <a:gd name="connsiteX329" fmla="*/ 6860 w 10000"/>
              <a:gd name="connsiteY329" fmla="*/ 2636 h 10000"/>
              <a:gd name="connsiteX330" fmla="*/ 6938 w 10000"/>
              <a:gd name="connsiteY330" fmla="*/ 2868 h 10000"/>
              <a:gd name="connsiteX331" fmla="*/ 6705 w 10000"/>
              <a:gd name="connsiteY331" fmla="*/ 2868 h 10000"/>
              <a:gd name="connsiteX332" fmla="*/ 6666 w 10000"/>
              <a:gd name="connsiteY332" fmla="*/ 2868 h 10000"/>
              <a:gd name="connsiteX333" fmla="*/ 6589 w 10000"/>
              <a:gd name="connsiteY333" fmla="*/ 2946 h 10000"/>
              <a:gd name="connsiteX334" fmla="*/ 6473 w 10000"/>
              <a:gd name="connsiteY334" fmla="*/ 2714 h 10000"/>
              <a:gd name="connsiteX335" fmla="*/ 6395 w 10000"/>
              <a:gd name="connsiteY335" fmla="*/ 3178 h 10000"/>
              <a:gd name="connsiteX336" fmla="*/ 6318 w 10000"/>
              <a:gd name="connsiteY336" fmla="*/ 3101 h 10000"/>
              <a:gd name="connsiteX337" fmla="*/ 6240 w 10000"/>
              <a:gd name="connsiteY337" fmla="*/ 2791 h 10000"/>
              <a:gd name="connsiteX338" fmla="*/ 6279 w 10000"/>
              <a:gd name="connsiteY338" fmla="*/ 2403 h 10000"/>
              <a:gd name="connsiteX339" fmla="*/ 6202 w 10000"/>
              <a:gd name="connsiteY339" fmla="*/ 2170 h 10000"/>
              <a:gd name="connsiteX340" fmla="*/ 5969 w 10000"/>
              <a:gd name="connsiteY340" fmla="*/ 2016 h 10000"/>
              <a:gd name="connsiteX341" fmla="*/ 5892 w 10000"/>
              <a:gd name="connsiteY341" fmla="*/ 2016 h 10000"/>
              <a:gd name="connsiteX342" fmla="*/ 5853 w 10000"/>
              <a:gd name="connsiteY342" fmla="*/ 2170 h 10000"/>
              <a:gd name="connsiteX343" fmla="*/ 5892 w 10000"/>
              <a:gd name="connsiteY343" fmla="*/ 2325 h 10000"/>
              <a:gd name="connsiteX344" fmla="*/ 5582 w 10000"/>
              <a:gd name="connsiteY344" fmla="*/ 2248 h 10000"/>
              <a:gd name="connsiteX345" fmla="*/ 5620 w 10000"/>
              <a:gd name="connsiteY345" fmla="*/ 2016 h 10000"/>
              <a:gd name="connsiteX346" fmla="*/ 5427 w 10000"/>
              <a:gd name="connsiteY346" fmla="*/ 1938 h 10000"/>
              <a:gd name="connsiteX347" fmla="*/ 5311 w 10000"/>
              <a:gd name="connsiteY347" fmla="*/ 2093 h 10000"/>
              <a:gd name="connsiteX348" fmla="*/ 5078 w 10000"/>
              <a:gd name="connsiteY348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7946 w 10000"/>
              <a:gd name="connsiteY263" fmla="*/ 6900 h 10000"/>
              <a:gd name="connsiteX264" fmla="*/ 8256 w 10000"/>
              <a:gd name="connsiteY264" fmla="*/ 7598 h 10000"/>
              <a:gd name="connsiteX265" fmla="*/ 8217 w 10000"/>
              <a:gd name="connsiteY265" fmla="*/ 7364 h 10000"/>
              <a:gd name="connsiteX266" fmla="*/ 8295 w 10000"/>
              <a:gd name="connsiteY266" fmla="*/ 7287 h 10000"/>
              <a:gd name="connsiteX267" fmla="*/ 8333 w 10000"/>
              <a:gd name="connsiteY267" fmla="*/ 7287 h 10000"/>
              <a:gd name="connsiteX268" fmla="*/ 8333 w 10000"/>
              <a:gd name="connsiteY268" fmla="*/ 7132 h 10000"/>
              <a:gd name="connsiteX269" fmla="*/ 8295 w 10000"/>
              <a:gd name="connsiteY269" fmla="*/ 7132 h 10000"/>
              <a:gd name="connsiteX270" fmla="*/ 8333 w 10000"/>
              <a:gd name="connsiteY270" fmla="*/ 6900 h 10000"/>
              <a:gd name="connsiteX271" fmla="*/ 8295 w 10000"/>
              <a:gd name="connsiteY271" fmla="*/ 6900 h 10000"/>
              <a:gd name="connsiteX272" fmla="*/ 8256 w 10000"/>
              <a:gd name="connsiteY272" fmla="*/ 6900 h 10000"/>
              <a:gd name="connsiteX273" fmla="*/ 8256 w 10000"/>
              <a:gd name="connsiteY273" fmla="*/ 6822 h 10000"/>
              <a:gd name="connsiteX274" fmla="*/ 8333 w 10000"/>
              <a:gd name="connsiteY274" fmla="*/ 6590 h 10000"/>
              <a:gd name="connsiteX275" fmla="*/ 8333 w 10000"/>
              <a:gd name="connsiteY275" fmla="*/ 6434 h 10000"/>
              <a:gd name="connsiteX276" fmla="*/ 8411 w 10000"/>
              <a:gd name="connsiteY276" fmla="*/ 6434 h 10000"/>
              <a:gd name="connsiteX277" fmla="*/ 8527 w 10000"/>
              <a:gd name="connsiteY277" fmla="*/ 6279 h 10000"/>
              <a:gd name="connsiteX278" fmla="*/ 8527 w 10000"/>
              <a:gd name="connsiteY278" fmla="*/ 6434 h 10000"/>
              <a:gd name="connsiteX279" fmla="*/ 8566 w 10000"/>
              <a:gd name="connsiteY279" fmla="*/ 6356 h 10000"/>
              <a:gd name="connsiteX280" fmla="*/ 8682 w 10000"/>
              <a:gd name="connsiteY280" fmla="*/ 6279 h 10000"/>
              <a:gd name="connsiteX281" fmla="*/ 8759 w 10000"/>
              <a:gd name="connsiteY281" fmla="*/ 6434 h 10000"/>
              <a:gd name="connsiteX282" fmla="*/ 8798 w 10000"/>
              <a:gd name="connsiteY282" fmla="*/ 6279 h 10000"/>
              <a:gd name="connsiteX283" fmla="*/ 9187 w 10000"/>
              <a:gd name="connsiteY283" fmla="*/ 5737 h 10000"/>
              <a:gd name="connsiteX284" fmla="*/ 9303 w 10000"/>
              <a:gd name="connsiteY284" fmla="*/ 5814 h 10000"/>
              <a:gd name="connsiteX285" fmla="*/ 9342 w 10000"/>
              <a:gd name="connsiteY285" fmla="*/ 5737 h 10000"/>
              <a:gd name="connsiteX286" fmla="*/ 9264 w 10000"/>
              <a:gd name="connsiteY286" fmla="*/ 5271 h 10000"/>
              <a:gd name="connsiteX287" fmla="*/ 9225 w 10000"/>
              <a:gd name="connsiteY287" fmla="*/ 5271 h 10000"/>
              <a:gd name="connsiteX288" fmla="*/ 9225 w 10000"/>
              <a:gd name="connsiteY288" fmla="*/ 5116 h 10000"/>
              <a:gd name="connsiteX289" fmla="*/ 9264 w 10000"/>
              <a:gd name="connsiteY289" fmla="*/ 5116 h 10000"/>
              <a:gd name="connsiteX290" fmla="*/ 9342 w 10000"/>
              <a:gd name="connsiteY290" fmla="*/ 5039 h 10000"/>
              <a:gd name="connsiteX291" fmla="*/ 9419 w 10000"/>
              <a:gd name="connsiteY291" fmla="*/ 4884 h 10000"/>
              <a:gd name="connsiteX292" fmla="*/ 9380 w 10000"/>
              <a:gd name="connsiteY292" fmla="*/ 4729 h 10000"/>
              <a:gd name="connsiteX293" fmla="*/ 9419 w 10000"/>
              <a:gd name="connsiteY293" fmla="*/ 4652 h 10000"/>
              <a:gd name="connsiteX294" fmla="*/ 9458 w 10000"/>
              <a:gd name="connsiteY294" fmla="*/ 4884 h 10000"/>
              <a:gd name="connsiteX295" fmla="*/ 9535 w 10000"/>
              <a:gd name="connsiteY295" fmla="*/ 4884 h 10000"/>
              <a:gd name="connsiteX296" fmla="*/ 9613 w 10000"/>
              <a:gd name="connsiteY296" fmla="*/ 5039 h 10000"/>
              <a:gd name="connsiteX297" fmla="*/ 9806 w 10000"/>
              <a:gd name="connsiteY297" fmla="*/ 5271 h 10000"/>
              <a:gd name="connsiteX298" fmla="*/ 9845 w 10000"/>
              <a:gd name="connsiteY298" fmla="*/ 5039 h 10000"/>
              <a:gd name="connsiteX299" fmla="*/ 9845 w 10000"/>
              <a:gd name="connsiteY299" fmla="*/ 4884 h 10000"/>
              <a:gd name="connsiteX300" fmla="*/ 9923 w 10000"/>
              <a:gd name="connsiteY300" fmla="*/ 4884 h 10000"/>
              <a:gd name="connsiteX301" fmla="*/ 10000 w 10000"/>
              <a:gd name="connsiteY301" fmla="*/ 4729 h 10000"/>
              <a:gd name="connsiteX302" fmla="*/ 9884 w 10000"/>
              <a:gd name="connsiteY302" fmla="*/ 4496 h 10000"/>
              <a:gd name="connsiteX303" fmla="*/ 9690 w 10000"/>
              <a:gd name="connsiteY303" fmla="*/ 4418 h 10000"/>
              <a:gd name="connsiteX304" fmla="*/ 9342 w 10000"/>
              <a:gd name="connsiteY304" fmla="*/ 3799 h 10000"/>
              <a:gd name="connsiteX305" fmla="*/ 9109 w 10000"/>
              <a:gd name="connsiteY305" fmla="*/ 3488 h 10000"/>
              <a:gd name="connsiteX306" fmla="*/ 8798 w 10000"/>
              <a:gd name="connsiteY306" fmla="*/ 3411 h 10000"/>
              <a:gd name="connsiteX307" fmla="*/ 8798 w 10000"/>
              <a:gd name="connsiteY307" fmla="*/ 3799 h 10000"/>
              <a:gd name="connsiteX308" fmla="*/ 8721 w 10000"/>
              <a:gd name="connsiteY308" fmla="*/ 3876 h 10000"/>
              <a:gd name="connsiteX309" fmla="*/ 8643 w 10000"/>
              <a:gd name="connsiteY309" fmla="*/ 3721 h 10000"/>
              <a:gd name="connsiteX310" fmla="*/ 8643 w 10000"/>
              <a:gd name="connsiteY310" fmla="*/ 3566 h 10000"/>
              <a:gd name="connsiteX311" fmla="*/ 8682 w 10000"/>
              <a:gd name="connsiteY311" fmla="*/ 3566 h 10000"/>
              <a:gd name="connsiteX312" fmla="*/ 8721 w 10000"/>
              <a:gd name="connsiteY312" fmla="*/ 3488 h 10000"/>
              <a:gd name="connsiteX313" fmla="*/ 8643 w 10000"/>
              <a:gd name="connsiteY313" fmla="*/ 3488 h 10000"/>
              <a:gd name="connsiteX314" fmla="*/ 8566 w 10000"/>
              <a:gd name="connsiteY314" fmla="*/ 3644 h 10000"/>
              <a:gd name="connsiteX315" fmla="*/ 8372 w 10000"/>
              <a:gd name="connsiteY315" fmla="*/ 3566 h 10000"/>
              <a:gd name="connsiteX316" fmla="*/ 8178 w 10000"/>
              <a:gd name="connsiteY316" fmla="*/ 3566 h 10000"/>
              <a:gd name="connsiteX317" fmla="*/ 8101 w 10000"/>
              <a:gd name="connsiteY317" fmla="*/ 3488 h 10000"/>
              <a:gd name="connsiteX318" fmla="*/ 8140 w 10000"/>
              <a:gd name="connsiteY318" fmla="*/ 3333 h 10000"/>
              <a:gd name="connsiteX319" fmla="*/ 8062 w 10000"/>
              <a:gd name="connsiteY319" fmla="*/ 3101 h 10000"/>
              <a:gd name="connsiteX320" fmla="*/ 7907 w 10000"/>
              <a:gd name="connsiteY320" fmla="*/ 3023 h 10000"/>
              <a:gd name="connsiteX321" fmla="*/ 7675 w 10000"/>
              <a:gd name="connsiteY321" fmla="*/ 3178 h 10000"/>
              <a:gd name="connsiteX322" fmla="*/ 7636 w 10000"/>
              <a:gd name="connsiteY322" fmla="*/ 2946 h 10000"/>
              <a:gd name="connsiteX323" fmla="*/ 7558 w 10000"/>
              <a:gd name="connsiteY323" fmla="*/ 2946 h 10000"/>
              <a:gd name="connsiteX324" fmla="*/ 7520 w 10000"/>
              <a:gd name="connsiteY324" fmla="*/ 2868 h 10000"/>
              <a:gd name="connsiteX325" fmla="*/ 7520 w 10000"/>
              <a:gd name="connsiteY325" fmla="*/ 2636 h 10000"/>
              <a:gd name="connsiteX326" fmla="*/ 7249 w 10000"/>
              <a:gd name="connsiteY326" fmla="*/ 2480 h 10000"/>
              <a:gd name="connsiteX327" fmla="*/ 6938 w 10000"/>
              <a:gd name="connsiteY327" fmla="*/ 2325 h 10000"/>
              <a:gd name="connsiteX328" fmla="*/ 6860 w 10000"/>
              <a:gd name="connsiteY328" fmla="*/ 2636 h 10000"/>
              <a:gd name="connsiteX329" fmla="*/ 6938 w 10000"/>
              <a:gd name="connsiteY329" fmla="*/ 2868 h 10000"/>
              <a:gd name="connsiteX330" fmla="*/ 6705 w 10000"/>
              <a:gd name="connsiteY330" fmla="*/ 2868 h 10000"/>
              <a:gd name="connsiteX331" fmla="*/ 6666 w 10000"/>
              <a:gd name="connsiteY331" fmla="*/ 2868 h 10000"/>
              <a:gd name="connsiteX332" fmla="*/ 6589 w 10000"/>
              <a:gd name="connsiteY332" fmla="*/ 2946 h 10000"/>
              <a:gd name="connsiteX333" fmla="*/ 6473 w 10000"/>
              <a:gd name="connsiteY333" fmla="*/ 2714 h 10000"/>
              <a:gd name="connsiteX334" fmla="*/ 6395 w 10000"/>
              <a:gd name="connsiteY334" fmla="*/ 3178 h 10000"/>
              <a:gd name="connsiteX335" fmla="*/ 6318 w 10000"/>
              <a:gd name="connsiteY335" fmla="*/ 3101 h 10000"/>
              <a:gd name="connsiteX336" fmla="*/ 6240 w 10000"/>
              <a:gd name="connsiteY336" fmla="*/ 2791 h 10000"/>
              <a:gd name="connsiteX337" fmla="*/ 6279 w 10000"/>
              <a:gd name="connsiteY337" fmla="*/ 2403 h 10000"/>
              <a:gd name="connsiteX338" fmla="*/ 6202 w 10000"/>
              <a:gd name="connsiteY338" fmla="*/ 2170 h 10000"/>
              <a:gd name="connsiteX339" fmla="*/ 5969 w 10000"/>
              <a:gd name="connsiteY339" fmla="*/ 2016 h 10000"/>
              <a:gd name="connsiteX340" fmla="*/ 5892 w 10000"/>
              <a:gd name="connsiteY340" fmla="*/ 2016 h 10000"/>
              <a:gd name="connsiteX341" fmla="*/ 5853 w 10000"/>
              <a:gd name="connsiteY341" fmla="*/ 2170 h 10000"/>
              <a:gd name="connsiteX342" fmla="*/ 5892 w 10000"/>
              <a:gd name="connsiteY342" fmla="*/ 2325 h 10000"/>
              <a:gd name="connsiteX343" fmla="*/ 5582 w 10000"/>
              <a:gd name="connsiteY343" fmla="*/ 2248 h 10000"/>
              <a:gd name="connsiteX344" fmla="*/ 5620 w 10000"/>
              <a:gd name="connsiteY344" fmla="*/ 2016 h 10000"/>
              <a:gd name="connsiteX345" fmla="*/ 5427 w 10000"/>
              <a:gd name="connsiteY345" fmla="*/ 1938 h 10000"/>
              <a:gd name="connsiteX346" fmla="*/ 5311 w 10000"/>
              <a:gd name="connsiteY346" fmla="*/ 2093 h 10000"/>
              <a:gd name="connsiteX347" fmla="*/ 5078 w 10000"/>
              <a:gd name="connsiteY347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023 w 10000"/>
              <a:gd name="connsiteY262" fmla="*/ 6822 h 10000"/>
              <a:gd name="connsiteX263" fmla="*/ 8256 w 10000"/>
              <a:gd name="connsiteY263" fmla="*/ 7598 h 10000"/>
              <a:gd name="connsiteX264" fmla="*/ 8217 w 10000"/>
              <a:gd name="connsiteY264" fmla="*/ 7364 h 10000"/>
              <a:gd name="connsiteX265" fmla="*/ 8295 w 10000"/>
              <a:gd name="connsiteY265" fmla="*/ 7287 h 10000"/>
              <a:gd name="connsiteX266" fmla="*/ 8333 w 10000"/>
              <a:gd name="connsiteY266" fmla="*/ 7287 h 10000"/>
              <a:gd name="connsiteX267" fmla="*/ 8333 w 10000"/>
              <a:gd name="connsiteY267" fmla="*/ 7132 h 10000"/>
              <a:gd name="connsiteX268" fmla="*/ 8295 w 10000"/>
              <a:gd name="connsiteY268" fmla="*/ 7132 h 10000"/>
              <a:gd name="connsiteX269" fmla="*/ 8333 w 10000"/>
              <a:gd name="connsiteY269" fmla="*/ 6900 h 10000"/>
              <a:gd name="connsiteX270" fmla="*/ 8295 w 10000"/>
              <a:gd name="connsiteY270" fmla="*/ 6900 h 10000"/>
              <a:gd name="connsiteX271" fmla="*/ 8256 w 10000"/>
              <a:gd name="connsiteY271" fmla="*/ 6900 h 10000"/>
              <a:gd name="connsiteX272" fmla="*/ 8256 w 10000"/>
              <a:gd name="connsiteY272" fmla="*/ 6822 h 10000"/>
              <a:gd name="connsiteX273" fmla="*/ 8333 w 10000"/>
              <a:gd name="connsiteY273" fmla="*/ 6590 h 10000"/>
              <a:gd name="connsiteX274" fmla="*/ 8333 w 10000"/>
              <a:gd name="connsiteY274" fmla="*/ 6434 h 10000"/>
              <a:gd name="connsiteX275" fmla="*/ 8411 w 10000"/>
              <a:gd name="connsiteY275" fmla="*/ 6434 h 10000"/>
              <a:gd name="connsiteX276" fmla="*/ 8527 w 10000"/>
              <a:gd name="connsiteY276" fmla="*/ 6279 h 10000"/>
              <a:gd name="connsiteX277" fmla="*/ 8527 w 10000"/>
              <a:gd name="connsiteY277" fmla="*/ 6434 h 10000"/>
              <a:gd name="connsiteX278" fmla="*/ 8566 w 10000"/>
              <a:gd name="connsiteY278" fmla="*/ 6356 h 10000"/>
              <a:gd name="connsiteX279" fmla="*/ 8682 w 10000"/>
              <a:gd name="connsiteY279" fmla="*/ 6279 h 10000"/>
              <a:gd name="connsiteX280" fmla="*/ 8759 w 10000"/>
              <a:gd name="connsiteY280" fmla="*/ 6434 h 10000"/>
              <a:gd name="connsiteX281" fmla="*/ 8798 w 10000"/>
              <a:gd name="connsiteY281" fmla="*/ 6279 h 10000"/>
              <a:gd name="connsiteX282" fmla="*/ 9187 w 10000"/>
              <a:gd name="connsiteY282" fmla="*/ 5737 h 10000"/>
              <a:gd name="connsiteX283" fmla="*/ 9303 w 10000"/>
              <a:gd name="connsiteY283" fmla="*/ 5814 h 10000"/>
              <a:gd name="connsiteX284" fmla="*/ 9342 w 10000"/>
              <a:gd name="connsiteY284" fmla="*/ 5737 h 10000"/>
              <a:gd name="connsiteX285" fmla="*/ 9264 w 10000"/>
              <a:gd name="connsiteY285" fmla="*/ 5271 h 10000"/>
              <a:gd name="connsiteX286" fmla="*/ 9225 w 10000"/>
              <a:gd name="connsiteY286" fmla="*/ 5271 h 10000"/>
              <a:gd name="connsiteX287" fmla="*/ 9225 w 10000"/>
              <a:gd name="connsiteY287" fmla="*/ 5116 h 10000"/>
              <a:gd name="connsiteX288" fmla="*/ 9264 w 10000"/>
              <a:gd name="connsiteY288" fmla="*/ 5116 h 10000"/>
              <a:gd name="connsiteX289" fmla="*/ 9342 w 10000"/>
              <a:gd name="connsiteY289" fmla="*/ 5039 h 10000"/>
              <a:gd name="connsiteX290" fmla="*/ 9419 w 10000"/>
              <a:gd name="connsiteY290" fmla="*/ 4884 h 10000"/>
              <a:gd name="connsiteX291" fmla="*/ 9380 w 10000"/>
              <a:gd name="connsiteY291" fmla="*/ 4729 h 10000"/>
              <a:gd name="connsiteX292" fmla="*/ 9419 w 10000"/>
              <a:gd name="connsiteY292" fmla="*/ 4652 h 10000"/>
              <a:gd name="connsiteX293" fmla="*/ 9458 w 10000"/>
              <a:gd name="connsiteY293" fmla="*/ 4884 h 10000"/>
              <a:gd name="connsiteX294" fmla="*/ 9535 w 10000"/>
              <a:gd name="connsiteY294" fmla="*/ 4884 h 10000"/>
              <a:gd name="connsiteX295" fmla="*/ 9613 w 10000"/>
              <a:gd name="connsiteY295" fmla="*/ 5039 h 10000"/>
              <a:gd name="connsiteX296" fmla="*/ 9806 w 10000"/>
              <a:gd name="connsiteY296" fmla="*/ 5271 h 10000"/>
              <a:gd name="connsiteX297" fmla="*/ 9845 w 10000"/>
              <a:gd name="connsiteY297" fmla="*/ 5039 h 10000"/>
              <a:gd name="connsiteX298" fmla="*/ 9845 w 10000"/>
              <a:gd name="connsiteY298" fmla="*/ 4884 h 10000"/>
              <a:gd name="connsiteX299" fmla="*/ 9923 w 10000"/>
              <a:gd name="connsiteY299" fmla="*/ 4884 h 10000"/>
              <a:gd name="connsiteX300" fmla="*/ 10000 w 10000"/>
              <a:gd name="connsiteY300" fmla="*/ 4729 h 10000"/>
              <a:gd name="connsiteX301" fmla="*/ 9884 w 10000"/>
              <a:gd name="connsiteY301" fmla="*/ 4496 h 10000"/>
              <a:gd name="connsiteX302" fmla="*/ 9690 w 10000"/>
              <a:gd name="connsiteY302" fmla="*/ 4418 h 10000"/>
              <a:gd name="connsiteX303" fmla="*/ 9342 w 10000"/>
              <a:gd name="connsiteY303" fmla="*/ 3799 h 10000"/>
              <a:gd name="connsiteX304" fmla="*/ 9109 w 10000"/>
              <a:gd name="connsiteY304" fmla="*/ 3488 h 10000"/>
              <a:gd name="connsiteX305" fmla="*/ 8798 w 10000"/>
              <a:gd name="connsiteY305" fmla="*/ 3411 h 10000"/>
              <a:gd name="connsiteX306" fmla="*/ 8798 w 10000"/>
              <a:gd name="connsiteY306" fmla="*/ 3799 h 10000"/>
              <a:gd name="connsiteX307" fmla="*/ 8721 w 10000"/>
              <a:gd name="connsiteY307" fmla="*/ 3876 h 10000"/>
              <a:gd name="connsiteX308" fmla="*/ 8643 w 10000"/>
              <a:gd name="connsiteY308" fmla="*/ 3721 h 10000"/>
              <a:gd name="connsiteX309" fmla="*/ 8643 w 10000"/>
              <a:gd name="connsiteY309" fmla="*/ 3566 h 10000"/>
              <a:gd name="connsiteX310" fmla="*/ 8682 w 10000"/>
              <a:gd name="connsiteY310" fmla="*/ 3566 h 10000"/>
              <a:gd name="connsiteX311" fmla="*/ 8721 w 10000"/>
              <a:gd name="connsiteY311" fmla="*/ 3488 h 10000"/>
              <a:gd name="connsiteX312" fmla="*/ 8643 w 10000"/>
              <a:gd name="connsiteY312" fmla="*/ 3488 h 10000"/>
              <a:gd name="connsiteX313" fmla="*/ 8566 w 10000"/>
              <a:gd name="connsiteY313" fmla="*/ 3644 h 10000"/>
              <a:gd name="connsiteX314" fmla="*/ 8372 w 10000"/>
              <a:gd name="connsiteY314" fmla="*/ 3566 h 10000"/>
              <a:gd name="connsiteX315" fmla="*/ 8178 w 10000"/>
              <a:gd name="connsiteY315" fmla="*/ 3566 h 10000"/>
              <a:gd name="connsiteX316" fmla="*/ 8101 w 10000"/>
              <a:gd name="connsiteY316" fmla="*/ 3488 h 10000"/>
              <a:gd name="connsiteX317" fmla="*/ 8140 w 10000"/>
              <a:gd name="connsiteY317" fmla="*/ 3333 h 10000"/>
              <a:gd name="connsiteX318" fmla="*/ 8062 w 10000"/>
              <a:gd name="connsiteY318" fmla="*/ 3101 h 10000"/>
              <a:gd name="connsiteX319" fmla="*/ 7907 w 10000"/>
              <a:gd name="connsiteY319" fmla="*/ 3023 h 10000"/>
              <a:gd name="connsiteX320" fmla="*/ 7675 w 10000"/>
              <a:gd name="connsiteY320" fmla="*/ 3178 h 10000"/>
              <a:gd name="connsiteX321" fmla="*/ 7636 w 10000"/>
              <a:gd name="connsiteY321" fmla="*/ 2946 h 10000"/>
              <a:gd name="connsiteX322" fmla="*/ 7558 w 10000"/>
              <a:gd name="connsiteY322" fmla="*/ 2946 h 10000"/>
              <a:gd name="connsiteX323" fmla="*/ 7520 w 10000"/>
              <a:gd name="connsiteY323" fmla="*/ 2868 h 10000"/>
              <a:gd name="connsiteX324" fmla="*/ 7520 w 10000"/>
              <a:gd name="connsiteY324" fmla="*/ 2636 h 10000"/>
              <a:gd name="connsiteX325" fmla="*/ 7249 w 10000"/>
              <a:gd name="connsiteY325" fmla="*/ 2480 h 10000"/>
              <a:gd name="connsiteX326" fmla="*/ 6938 w 10000"/>
              <a:gd name="connsiteY326" fmla="*/ 2325 h 10000"/>
              <a:gd name="connsiteX327" fmla="*/ 6860 w 10000"/>
              <a:gd name="connsiteY327" fmla="*/ 2636 h 10000"/>
              <a:gd name="connsiteX328" fmla="*/ 6938 w 10000"/>
              <a:gd name="connsiteY328" fmla="*/ 2868 h 10000"/>
              <a:gd name="connsiteX329" fmla="*/ 6705 w 10000"/>
              <a:gd name="connsiteY329" fmla="*/ 2868 h 10000"/>
              <a:gd name="connsiteX330" fmla="*/ 6666 w 10000"/>
              <a:gd name="connsiteY330" fmla="*/ 2868 h 10000"/>
              <a:gd name="connsiteX331" fmla="*/ 6589 w 10000"/>
              <a:gd name="connsiteY331" fmla="*/ 2946 h 10000"/>
              <a:gd name="connsiteX332" fmla="*/ 6473 w 10000"/>
              <a:gd name="connsiteY332" fmla="*/ 2714 h 10000"/>
              <a:gd name="connsiteX333" fmla="*/ 6395 w 10000"/>
              <a:gd name="connsiteY333" fmla="*/ 3178 h 10000"/>
              <a:gd name="connsiteX334" fmla="*/ 6318 w 10000"/>
              <a:gd name="connsiteY334" fmla="*/ 3101 h 10000"/>
              <a:gd name="connsiteX335" fmla="*/ 6240 w 10000"/>
              <a:gd name="connsiteY335" fmla="*/ 2791 h 10000"/>
              <a:gd name="connsiteX336" fmla="*/ 6279 w 10000"/>
              <a:gd name="connsiteY336" fmla="*/ 2403 h 10000"/>
              <a:gd name="connsiteX337" fmla="*/ 6202 w 10000"/>
              <a:gd name="connsiteY337" fmla="*/ 2170 h 10000"/>
              <a:gd name="connsiteX338" fmla="*/ 5969 w 10000"/>
              <a:gd name="connsiteY338" fmla="*/ 2016 h 10000"/>
              <a:gd name="connsiteX339" fmla="*/ 5892 w 10000"/>
              <a:gd name="connsiteY339" fmla="*/ 2016 h 10000"/>
              <a:gd name="connsiteX340" fmla="*/ 5853 w 10000"/>
              <a:gd name="connsiteY340" fmla="*/ 2170 h 10000"/>
              <a:gd name="connsiteX341" fmla="*/ 5892 w 10000"/>
              <a:gd name="connsiteY341" fmla="*/ 2325 h 10000"/>
              <a:gd name="connsiteX342" fmla="*/ 5582 w 10000"/>
              <a:gd name="connsiteY342" fmla="*/ 2248 h 10000"/>
              <a:gd name="connsiteX343" fmla="*/ 5620 w 10000"/>
              <a:gd name="connsiteY343" fmla="*/ 2016 h 10000"/>
              <a:gd name="connsiteX344" fmla="*/ 5427 w 10000"/>
              <a:gd name="connsiteY344" fmla="*/ 1938 h 10000"/>
              <a:gd name="connsiteX345" fmla="*/ 5311 w 10000"/>
              <a:gd name="connsiteY345" fmla="*/ 2093 h 10000"/>
              <a:gd name="connsiteX346" fmla="*/ 5078 w 10000"/>
              <a:gd name="connsiteY346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56 w 10000"/>
              <a:gd name="connsiteY262" fmla="*/ 7598 h 10000"/>
              <a:gd name="connsiteX263" fmla="*/ 8217 w 10000"/>
              <a:gd name="connsiteY263" fmla="*/ 7364 h 10000"/>
              <a:gd name="connsiteX264" fmla="*/ 8295 w 10000"/>
              <a:gd name="connsiteY264" fmla="*/ 7287 h 10000"/>
              <a:gd name="connsiteX265" fmla="*/ 8333 w 10000"/>
              <a:gd name="connsiteY265" fmla="*/ 7287 h 10000"/>
              <a:gd name="connsiteX266" fmla="*/ 8333 w 10000"/>
              <a:gd name="connsiteY266" fmla="*/ 7132 h 10000"/>
              <a:gd name="connsiteX267" fmla="*/ 8295 w 10000"/>
              <a:gd name="connsiteY267" fmla="*/ 7132 h 10000"/>
              <a:gd name="connsiteX268" fmla="*/ 8333 w 10000"/>
              <a:gd name="connsiteY268" fmla="*/ 6900 h 10000"/>
              <a:gd name="connsiteX269" fmla="*/ 8295 w 10000"/>
              <a:gd name="connsiteY269" fmla="*/ 6900 h 10000"/>
              <a:gd name="connsiteX270" fmla="*/ 8256 w 10000"/>
              <a:gd name="connsiteY270" fmla="*/ 6900 h 10000"/>
              <a:gd name="connsiteX271" fmla="*/ 8256 w 10000"/>
              <a:gd name="connsiteY271" fmla="*/ 6822 h 10000"/>
              <a:gd name="connsiteX272" fmla="*/ 8333 w 10000"/>
              <a:gd name="connsiteY272" fmla="*/ 6590 h 10000"/>
              <a:gd name="connsiteX273" fmla="*/ 8333 w 10000"/>
              <a:gd name="connsiteY273" fmla="*/ 6434 h 10000"/>
              <a:gd name="connsiteX274" fmla="*/ 8411 w 10000"/>
              <a:gd name="connsiteY274" fmla="*/ 6434 h 10000"/>
              <a:gd name="connsiteX275" fmla="*/ 8527 w 10000"/>
              <a:gd name="connsiteY275" fmla="*/ 6279 h 10000"/>
              <a:gd name="connsiteX276" fmla="*/ 8527 w 10000"/>
              <a:gd name="connsiteY276" fmla="*/ 6434 h 10000"/>
              <a:gd name="connsiteX277" fmla="*/ 8566 w 10000"/>
              <a:gd name="connsiteY277" fmla="*/ 6356 h 10000"/>
              <a:gd name="connsiteX278" fmla="*/ 8682 w 10000"/>
              <a:gd name="connsiteY278" fmla="*/ 6279 h 10000"/>
              <a:gd name="connsiteX279" fmla="*/ 8759 w 10000"/>
              <a:gd name="connsiteY279" fmla="*/ 6434 h 10000"/>
              <a:gd name="connsiteX280" fmla="*/ 8798 w 10000"/>
              <a:gd name="connsiteY280" fmla="*/ 6279 h 10000"/>
              <a:gd name="connsiteX281" fmla="*/ 9187 w 10000"/>
              <a:gd name="connsiteY281" fmla="*/ 5737 h 10000"/>
              <a:gd name="connsiteX282" fmla="*/ 9303 w 10000"/>
              <a:gd name="connsiteY282" fmla="*/ 5814 h 10000"/>
              <a:gd name="connsiteX283" fmla="*/ 9342 w 10000"/>
              <a:gd name="connsiteY283" fmla="*/ 5737 h 10000"/>
              <a:gd name="connsiteX284" fmla="*/ 9264 w 10000"/>
              <a:gd name="connsiteY284" fmla="*/ 5271 h 10000"/>
              <a:gd name="connsiteX285" fmla="*/ 9225 w 10000"/>
              <a:gd name="connsiteY285" fmla="*/ 5271 h 10000"/>
              <a:gd name="connsiteX286" fmla="*/ 9225 w 10000"/>
              <a:gd name="connsiteY286" fmla="*/ 5116 h 10000"/>
              <a:gd name="connsiteX287" fmla="*/ 9264 w 10000"/>
              <a:gd name="connsiteY287" fmla="*/ 5116 h 10000"/>
              <a:gd name="connsiteX288" fmla="*/ 9342 w 10000"/>
              <a:gd name="connsiteY288" fmla="*/ 5039 h 10000"/>
              <a:gd name="connsiteX289" fmla="*/ 9419 w 10000"/>
              <a:gd name="connsiteY289" fmla="*/ 4884 h 10000"/>
              <a:gd name="connsiteX290" fmla="*/ 9380 w 10000"/>
              <a:gd name="connsiteY290" fmla="*/ 4729 h 10000"/>
              <a:gd name="connsiteX291" fmla="*/ 9419 w 10000"/>
              <a:gd name="connsiteY291" fmla="*/ 4652 h 10000"/>
              <a:gd name="connsiteX292" fmla="*/ 9458 w 10000"/>
              <a:gd name="connsiteY292" fmla="*/ 4884 h 10000"/>
              <a:gd name="connsiteX293" fmla="*/ 9535 w 10000"/>
              <a:gd name="connsiteY293" fmla="*/ 4884 h 10000"/>
              <a:gd name="connsiteX294" fmla="*/ 9613 w 10000"/>
              <a:gd name="connsiteY294" fmla="*/ 5039 h 10000"/>
              <a:gd name="connsiteX295" fmla="*/ 9806 w 10000"/>
              <a:gd name="connsiteY295" fmla="*/ 5271 h 10000"/>
              <a:gd name="connsiteX296" fmla="*/ 9845 w 10000"/>
              <a:gd name="connsiteY296" fmla="*/ 5039 h 10000"/>
              <a:gd name="connsiteX297" fmla="*/ 9845 w 10000"/>
              <a:gd name="connsiteY297" fmla="*/ 4884 h 10000"/>
              <a:gd name="connsiteX298" fmla="*/ 9923 w 10000"/>
              <a:gd name="connsiteY298" fmla="*/ 4884 h 10000"/>
              <a:gd name="connsiteX299" fmla="*/ 10000 w 10000"/>
              <a:gd name="connsiteY299" fmla="*/ 4729 h 10000"/>
              <a:gd name="connsiteX300" fmla="*/ 9884 w 10000"/>
              <a:gd name="connsiteY300" fmla="*/ 4496 h 10000"/>
              <a:gd name="connsiteX301" fmla="*/ 9690 w 10000"/>
              <a:gd name="connsiteY301" fmla="*/ 4418 h 10000"/>
              <a:gd name="connsiteX302" fmla="*/ 9342 w 10000"/>
              <a:gd name="connsiteY302" fmla="*/ 3799 h 10000"/>
              <a:gd name="connsiteX303" fmla="*/ 9109 w 10000"/>
              <a:gd name="connsiteY303" fmla="*/ 3488 h 10000"/>
              <a:gd name="connsiteX304" fmla="*/ 8798 w 10000"/>
              <a:gd name="connsiteY304" fmla="*/ 3411 h 10000"/>
              <a:gd name="connsiteX305" fmla="*/ 8798 w 10000"/>
              <a:gd name="connsiteY305" fmla="*/ 3799 h 10000"/>
              <a:gd name="connsiteX306" fmla="*/ 8721 w 10000"/>
              <a:gd name="connsiteY306" fmla="*/ 3876 h 10000"/>
              <a:gd name="connsiteX307" fmla="*/ 8643 w 10000"/>
              <a:gd name="connsiteY307" fmla="*/ 3721 h 10000"/>
              <a:gd name="connsiteX308" fmla="*/ 8643 w 10000"/>
              <a:gd name="connsiteY308" fmla="*/ 3566 h 10000"/>
              <a:gd name="connsiteX309" fmla="*/ 8682 w 10000"/>
              <a:gd name="connsiteY309" fmla="*/ 3566 h 10000"/>
              <a:gd name="connsiteX310" fmla="*/ 8721 w 10000"/>
              <a:gd name="connsiteY310" fmla="*/ 3488 h 10000"/>
              <a:gd name="connsiteX311" fmla="*/ 8643 w 10000"/>
              <a:gd name="connsiteY311" fmla="*/ 3488 h 10000"/>
              <a:gd name="connsiteX312" fmla="*/ 8566 w 10000"/>
              <a:gd name="connsiteY312" fmla="*/ 3644 h 10000"/>
              <a:gd name="connsiteX313" fmla="*/ 8372 w 10000"/>
              <a:gd name="connsiteY313" fmla="*/ 3566 h 10000"/>
              <a:gd name="connsiteX314" fmla="*/ 8178 w 10000"/>
              <a:gd name="connsiteY314" fmla="*/ 3566 h 10000"/>
              <a:gd name="connsiteX315" fmla="*/ 8101 w 10000"/>
              <a:gd name="connsiteY315" fmla="*/ 3488 h 10000"/>
              <a:gd name="connsiteX316" fmla="*/ 8140 w 10000"/>
              <a:gd name="connsiteY316" fmla="*/ 3333 h 10000"/>
              <a:gd name="connsiteX317" fmla="*/ 8062 w 10000"/>
              <a:gd name="connsiteY317" fmla="*/ 3101 h 10000"/>
              <a:gd name="connsiteX318" fmla="*/ 7907 w 10000"/>
              <a:gd name="connsiteY318" fmla="*/ 3023 h 10000"/>
              <a:gd name="connsiteX319" fmla="*/ 7675 w 10000"/>
              <a:gd name="connsiteY319" fmla="*/ 3178 h 10000"/>
              <a:gd name="connsiteX320" fmla="*/ 7636 w 10000"/>
              <a:gd name="connsiteY320" fmla="*/ 2946 h 10000"/>
              <a:gd name="connsiteX321" fmla="*/ 7558 w 10000"/>
              <a:gd name="connsiteY321" fmla="*/ 2946 h 10000"/>
              <a:gd name="connsiteX322" fmla="*/ 7520 w 10000"/>
              <a:gd name="connsiteY322" fmla="*/ 2868 h 10000"/>
              <a:gd name="connsiteX323" fmla="*/ 7520 w 10000"/>
              <a:gd name="connsiteY323" fmla="*/ 2636 h 10000"/>
              <a:gd name="connsiteX324" fmla="*/ 7249 w 10000"/>
              <a:gd name="connsiteY324" fmla="*/ 2480 h 10000"/>
              <a:gd name="connsiteX325" fmla="*/ 6938 w 10000"/>
              <a:gd name="connsiteY325" fmla="*/ 2325 h 10000"/>
              <a:gd name="connsiteX326" fmla="*/ 6860 w 10000"/>
              <a:gd name="connsiteY326" fmla="*/ 2636 h 10000"/>
              <a:gd name="connsiteX327" fmla="*/ 6938 w 10000"/>
              <a:gd name="connsiteY327" fmla="*/ 2868 h 10000"/>
              <a:gd name="connsiteX328" fmla="*/ 6705 w 10000"/>
              <a:gd name="connsiteY328" fmla="*/ 2868 h 10000"/>
              <a:gd name="connsiteX329" fmla="*/ 6666 w 10000"/>
              <a:gd name="connsiteY329" fmla="*/ 2868 h 10000"/>
              <a:gd name="connsiteX330" fmla="*/ 6589 w 10000"/>
              <a:gd name="connsiteY330" fmla="*/ 2946 h 10000"/>
              <a:gd name="connsiteX331" fmla="*/ 6473 w 10000"/>
              <a:gd name="connsiteY331" fmla="*/ 2714 h 10000"/>
              <a:gd name="connsiteX332" fmla="*/ 6395 w 10000"/>
              <a:gd name="connsiteY332" fmla="*/ 3178 h 10000"/>
              <a:gd name="connsiteX333" fmla="*/ 6318 w 10000"/>
              <a:gd name="connsiteY333" fmla="*/ 3101 h 10000"/>
              <a:gd name="connsiteX334" fmla="*/ 6240 w 10000"/>
              <a:gd name="connsiteY334" fmla="*/ 2791 h 10000"/>
              <a:gd name="connsiteX335" fmla="*/ 6279 w 10000"/>
              <a:gd name="connsiteY335" fmla="*/ 2403 h 10000"/>
              <a:gd name="connsiteX336" fmla="*/ 6202 w 10000"/>
              <a:gd name="connsiteY336" fmla="*/ 2170 h 10000"/>
              <a:gd name="connsiteX337" fmla="*/ 5969 w 10000"/>
              <a:gd name="connsiteY337" fmla="*/ 2016 h 10000"/>
              <a:gd name="connsiteX338" fmla="*/ 5892 w 10000"/>
              <a:gd name="connsiteY338" fmla="*/ 2016 h 10000"/>
              <a:gd name="connsiteX339" fmla="*/ 5853 w 10000"/>
              <a:gd name="connsiteY339" fmla="*/ 2170 h 10000"/>
              <a:gd name="connsiteX340" fmla="*/ 5892 w 10000"/>
              <a:gd name="connsiteY340" fmla="*/ 2325 h 10000"/>
              <a:gd name="connsiteX341" fmla="*/ 5582 w 10000"/>
              <a:gd name="connsiteY341" fmla="*/ 2248 h 10000"/>
              <a:gd name="connsiteX342" fmla="*/ 5620 w 10000"/>
              <a:gd name="connsiteY342" fmla="*/ 2016 h 10000"/>
              <a:gd name="connsiteX343" fmla="*/ 5427 w 10000"/>
              <a:gd name="connsiteY343" fmla="*/ 1938 h 10000"/>
              <a:gd name="connsiteX344" fmla="*/ 5311 w 10000"/>
              <a:gd name="connsiteY344" fmla="*/ 2093 h 10000"/>
              <a:gd name="connsiteX345" fmla="*/ 5078 w 10000"/>
              <a:gd name="connsiteY345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56 w 10000"/>
              <a:gd name="connsiteY262" fmla="*/ 7598 h 10000"/>
              <a:gd name="connsiteX263" fmla="*/ 8217 w 10000"/>
              <a:gd name="connsiteY263" fmla="*/ 7364 h 10000"/>
              <a:gd name="connsiteX264" fmla="*/ 8295 w 10000"/>
              <a:gd name="connsiteY264" fmla="*/ 7287 h 10000"/>
              <a:gd name="connsiteX265" fmla="*/ 8333 w 10000"/>
              <a:gd name="connsiteY265" fmla="*/ 7287 h 10000"/>
              <a:gd name="connsiteX266" fmla="*/ 8333 w 10000"/>
              <a:gd name="connsiteY266" fmla="*/ 7132 h 10000"/>
              <a:gd name="connsiteX267" fmla="*/ 8295 w 10000"/>
              <a:gd name="connsiteY267" fmla="*/ 7132 h 10000"/>
              <a:gd name="connsiteX268" fmla="*/ 8333 w 10000"/>
              <a:gd name="connsiteY268" fmla="*/ 6900 h 10000"/>
              <a:gd name="connsiteX269" fmla="*/ 8295 w 10000"/>
              <a:gd name="connsiteY269" fmla="*/ 6900 h 10000"/>
              <a:gd name="connsiteX270" fmla="*/ 8256 w 10000"/>
              <a:gd name="connsiteY270" fmla="*/ 6822 h 10000"/>
              <a:gd name="connsiteX271" fmla="*/ 8333 w 10000"/>
              <a:gd name="connsiteY271" fmla="*/ 6590 h 10000"/>
              <a:gd name="connsiteX272" fmla="*/ 8333 w 10000"/>
              <a:gd name="connsiteY272" fmla="*/ 6434 h 10000"/>
              <a:gd name="connsiteX273" fmla="*/ 8411 w 10000"/>
              <a:gd name="connsiteY273" fmla="*/ 6434 h 10000"/>
              <a:gd name="connsiteX274" fmla="*/ 8527 w 10000"/>
              <a:gd name="connsiteY274" fmla="*/ 6279 h 10000"/>
              <a:gd name="connsiteX275" fmla="*/ 8527 w 10000"/>
              <a:gd name="connsiteY275" fmla="*/ 6434 h 10000"/>
              <a:gd name="connsiteX276" fmla="*/ 8566 w 10000"/>
              <a:gd name="connsiteY276" fmla="*/ 6356 h 10000"/>
              <a:gd name="connsiteX277" fmla="*/ 8682 w 10000"/>
              <a:gd name="connsiteY277" fmla="*/ 6279 h 10000"/>
              <a:gd name="connsiteX278" fmla="*/ 8759 w 10000"/>
              <a:gd name="connsiteY278" fmla="*/ 6434 h 10000"/>
              <a:gd name="connsiteX279" fmla="*/ 8798 w 10000"/>
              <a:gd name="connsiteY279" fmla="*/ 6279 h 10000"/>
              <a:gd name="connsiteX280" fmla="*/ 9187 w 10000"/>
              <a:gd name="connsiteY280" fmla="*/ 5737 h 10000"/>
              <a:gd name="connsiteX281" fmla="*/ 9303 w 10000"/>
              <a:gd name="connsiteY281" fmla="*/ 5814 h 10000"/>
              <a:gd name="connsiteX282" fmla="*/ 9342 w 10000"/>
              <a:gd name="connsiteY282" fmla="*/ 5737 h 10000"/>
              <a:gd name="connsiteX283" fmla="*/ 9264 w 10000"/>
              <a:gd name="connsiteY283" fmla="*/ 5271 h 10000"/>
              <a:gd name="connsiteX284" fmla="*/ 9225 w 10000"/>
              <a:gd name="connsiteY284" fmla="*/ 5271 h 10000"/>
              <a:gd name="connsiteX285" fmla="*/ 9225 w 10000"/>
              <a:gd name="connsiteY285" fmla="*/ 5116 h 10000"/>
              <a:gd name="connsiteX286" fmla="*/ 9264 w 10000"/>
              <a:gd name="connsiteY286" fmla="*/ 5116 h 10000"/>
              <a:gd name="connsiteX287" fmla="*/ 9342 w 10000"/>
              <a:gd name="connsiteY287" fmla="*/ 5039 h 10000"/>
              <a:gd name="connsiteX288" fmla="*/ 9419 w 10000"/>
              <a:gd name="connsiteY288" fmla="*/ 4884 h 10000"/>
              <a:gd name="connsiteX289" fmla="*/ 9380 w 10000"/>
              <a:gd name="connsiteY289" fmla="*/ 4729 h 10000"/>
              <a:gd name="connsiteX290" fmla="*/ 9419 w 10000"/>
              <a:gd name="connsiteY290" fmla="*/ 4652 h 10000"/>
              <a:gd name="connsiteX291" fmla="*/ 9458 w 10000"/>
              <a:gd name="connsiteY291" fmla="*/ 4884 h 10000"/>
              <a:gd name="connsiteX292" fmla="*/ 9535 w 10000"/>
              <a:gd name="connsiteY292" fmla="*/ 4884 h 10000"/>
              <a:gd name="connsiteX293" fmla="*/ 9613 w 10000"/>
              <a:gd name="connsiteY293" fmla="*/ 5039 h 10000"/>
              <a:gd name="connsiteX294" fmla="*/ 9806 w 10000"/>
              <a:gd name="connsiteY294" fmla="*/ 5271 h 10000"/>
              <a:gd name="connsiteX295" fmla="*/ 9845 w 10000"/>
              <a:gd name="connsiteY295" fmla="*/ 5039 h 10000"/>
              <a:gd name="connsiteX296" fmla="*/ 9845 w 10000"/>
              <a:gd name="connsiteY296" fmla="*/ 4884 h 10000"/>
              <a:gd name="connsiteX297" fmla="*/ 9923 w 10000"/>
              <a:gd name="connsiteY297" fmla="*/ 4884 h 10000"/>
              <a:gd name="connsiteX298" fmla="*/ 10000 w 10000"/>
              <a:gd name="connsiteY298" fmla="*/ 4729 h 10000"/>
              <a:gd name="connsiteX299" fmla="*/ 9884 w 10000"/>
              <a:gd name="connsiteY299" fmla="*/ 4496 h 10000"/>
              <a:gd name="connsiteX300" fmla="*/ 9690 w 10000"/>
              <a:gd name="connsiteY300" fmla="*/ 4418 h 10000"/>
              <a:gd name="connsiteX301" fmla="*/ 9342 w 10000"/>
              <a:gd name="connsiteY301" fmla="*/ 3799 h 10000"/>
              <a:gd name="connsiteX302" fmla="*/ 9109 w 10000"/>
              <a:gd name="connsiteY302" fmla="*/ 3488 h 10000"/>
              <a:gd name="connsiteX303" fmla="*/ 8798 w 10000"/>
              <a:gd name="connsiteY303" fmla="*/ 3411 h 10000"/>
              <a:gd name="connsiteX304" fmla="*/ 8798 w 10000"/>
              <a:gd name="connsiteY304" fmla="*/ 3799 h 10000"/>
              <a:gd name="connsiteX305" fmla="*/ 8721 w 10000"/>
              <a:gd name="connsiteY305" fmla="*/ 3876 h 10000"/>
              <a:gd name="connsiteX306" fmla="*/ 8643 w 10000"/>
              <a:gd name="connsiteY306" fmla="*/ 3721 h 10000"/>
              <a:gd name="connsiteX307" fmla="*/ 8643 w 10000"/>
              <a:gd name="connsiteY307" fmla="*/ 3566 h 10000"/>
              <a:gd name="connsiteX308" fmla="*/ 8682 w 10000"/>
              <a:gd name="connsiteY308" fmla="*/ 3566 h 10000"/>
              <a:gd name="connsiteX309" fmla="*/ 8721 w 10000"/>
              <a:gd name="connsiteY309" fmla="*/ 3488 h 10000"/>
              <a:gd name="connsiteX310" fmla="*/ 8643 w 10000"/>
              <a:gd name="connsiteY310" fmla="*/ 3488 h 10000"/>
              <a:gd name="connsiteX311" fmla="*/ 8566 w 10000"/>
              <a:gd name="connsiteY311" fmla="*/ 3644 h 10000"/>
              <a:gd name="connsiteX312" fmla="*/ 8372 w 10000"/>
              <a:gd name="connsiteY312" fmla="*/ 3566 h 10000"/>
              <a:gd name="connsiteX313" fmla="*/ 8178 w 10000"/>
              <a:gd name="connsiteY313" fmla="*/ 3566 h 10000"/>
              <a:gd name="connsiteX314" fmla="*/ 8101 w 10000"/>
              <a:gd name="connsiteY314" fmla="*/ 3488 h 10000"/>
              <a:gd name="connsiteX315" fmla="*/ 8140 w 10000"/>
              <a:gd name="connsiteY315" fmla="*/ 3333 h 10000"/>
              <a:gd name="connsiteX316" fmla="*/ 8062 w 10000"/>
              <a:gd name="connsiteY316" fmla="*/ 3101 h 10000"/>
              <a:gd name="connsiteX317" fmla="*/ 7907 w 10000"/>
              <a:gd name="connsiteY317" fmla="*/ 3023 h 10000"/>
              <a:gd name="connsiteX318" fmla="*/ 7675 w 10000"/>
              <a:gd name="connsiteY318" fmla="*/ 3178 h 10000"/>
              <a:gd name="connsiteX319" fmla="*/ 7636 w 10000"/>
              <a:gd name="connsiteY319" fmla="*/ 2946 h 10000"/>
              <a:gd name="connsiteX320" fmla="*/ 7558 w 10000"/>
              <a:gd name="connsiteY320" fmla="*/ 2946 h 10000"/>
              <a:gd name="connsiteX321" fmla="*/ 7520 w 10000"/>
              <a:gd name="connsiteY321" fmla="*/ 2868 h 10000"/>
              <a:gd name="connsiteX322" fmla="*/ 7520 w 10000"/>
              <a:gd name="connsiteY322" fmla="*/ 2636 h 10000"/>
              <a:gd name="connsiteX323" fmla="*/ 7249 w 10000"/>
              <a:gd name="connsiteY323" fmla="*/ 2480 h 10000"/>
              <a:gd name="connsiteX324" fmla="*/ 6938 w 10000"/>
              <a:gd name="connsiteY324" fmla="*/ 2325 h 10000"/>
              <a:gd name="connsiteX325" fmla="*/ 6860 w 10000"/>
              <a:gd name="connsiteY325" fmla="*/ 2636 h 10000"/>
              <a:gd name="connsiteX326" fmla="*/ 6938 w 10000"/>
              <a:gd name="connsiteY326" fmla="*/ 2868 h 10000"/>
              <a:gd name="connsiteX327" fmla="*/ 6705 w 10000"/>
              <a:gd name="connsiteY327" fmla="*/ 2868 h 10000"/>
              <a:gd name="connsiteX328" fmla="*/ 6666 w 10000"/>
              <a:gd name="connsiteY328" fmla="*/ 2868 h 10000"/>
              <a:gd name="connsiteX329" fmla="*/ 6589 w 10000"/>
              <a:gd name="connsiteY329" fmla="*/ 2946 h 10000"/>
              <a:gd name="connsiteX330" fmla="*/ 6473 w 10000"/>
              <a:gd name="connsiteY330" fmla="*/ 2714 h 10000"/>
              <a:gd name="connsiteX331" fmla="*/ 6395 w 10000"/>
              <a:gd name="connsiteY331" fmla="*/ 3178 h 10000"/>
              <a:gd name="connsiteX332" fmla="*/ 6318 w 10000"/>
              <a:gd name="connsiteY332" fmla="*/ 3101 h 10000"/>
              <a:gd name="connsiteX333" fmla="*/ 6240 w 10000"/>
              <a:gd name="connsiteY333" fmla="*/ 2791 h 10000"/>
              <a:gd name="connsiteX334" fmla="*/ 6279 w 10000"/>
              <a:gd name="connsiteY334" fmla="*/ 2403 h 10000"/>
              <a:gd name="connsiteX335" fmla="*/ 6202 w 10000"/>
              <a:gd name="connsiteY335" fmla="*/ 2170 h 10000"/>
              <a:gd name="connsiteX336" fmla="*/ 5969 w 10000"/>
              <a:gd name="connsiteY336" fmla="*/ 2016 h 10000"/>
              <a:gd name="connsiteX337" fmla="*/ 5892 w 10000"/>
              <a:gd name="connsiteY337" fmla="*/ 2016 h 10000"/>
              <a:gd name="connsiteX338" fmla="*/ 5853 w 10000"/>
              <a:gd name="connsiteY338" fmla="*/ 2170 h 10000"/>
              <a:gd name="connsiteX339" fmla="*/ 5892 w 10000"/>
              <a:gd name="connsiteY339" fmla="*/ 2325 h 10000"/>
              <a:gd name="connsiteX340" fmla="*/ 5582 w 10000"/>
              <a:gd name="connsiteY340" fmla="*/ 2248 h 10000"/>
              <a:gd name="connsiteX341" fmla="*/ 5620 w 10000"/>
              <a:gd name="connsiteY341" fmla="*/ 2016 h 10000"/>
              <a:gd name="connsiteX342" fmla="*/ 5427 w 10000"/>
              <a:gd name="connsiteY342" fmla="*/ 1938 h 10000"/>
              <a:gd name="connsiteX343" fmla="*/ 5311 w 10000"/>
              <a:gd name="connsiteY343" fmla="*/ 2093 h 10000"/>
              <a:gd name="connsiteX344" fmla="*/ 5078 w 10000"/>
              <a:gd name="connsiteY344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56 w 10000"/>
              <a:gd name="connsiteY262" fmla="*/ 7598 h 10000"/>
              <a:gd name="connsiteX263" fmla="*/ 8295 w 10000"/>
              <a:gd name="connsiteY263" fmla="*/ 7287 h 10000"/>
              <a:gd name="connsiteX264" fmla="*/ 8333 w 10000"/>
              <a:gd name="connsiteY264" fmla="*/ 7287 h 10000"/>
              <a:gd name="connsiteX265" fmla="*/ 8333 w 10000"/>
              <a:gd name="connsiteY265" fmla="*/ 7132 h 10000"/>
              <a:gd name="connsiteX266" fmla="*/ 8295 w 10000"/>
              <a:gd name="connsiteY266" fmla="*/ 7132 h 10000"/>
              <a:gd name="connsiteX267" fmla="*/ 8333 w 10000"/>
              <a:gd name="connsiteY267" fmla="*/ 6900 h 10000"/>
              <a:gd name="connsiteX268" fmla="*/ 8295 w 10000"/>
              <a:gd name="connsiteY268" fmla="*/ 6900 h 10000"/>
              <a:gd name="connsiteX269" fmla="*/ 8256 w 10000"/>
              <a:gd name="connsiteY269" fmla="*/ 6822 h 10000"/>
              <a:gd name="connsiteX270" fmla="*/ 8333 w 10000"/>
              <a:gd name="connsiteY270" fmla="*/ 6590 h 10000"/>
              <a:gd name="connsiteX271" fmla="*/ 8333 w 10000"/>
              <a:gd name="connsiteY271" fmla="*/ 6434 h 10000"/>
              <a:gd name="connsiteX272" fmla="*/ 8411 w 10000"/>
              <a:gd name="connsiteY272" fmla="*/ 6434 h 10000"/>
              <a:gd name="connsiteX273" fmla="*/ 8527 w 10000"/>
              <a:gd name="connsiteY273" fmla="*/ 6279 h 10000"/>
              <a:gd name="connsiteX274" fmla="*/ 8527 w 10000"/>
              <a:gd name="connsiteY274" fmla="*/ 6434 h 10000"/>
              <a:gd name="connsiteX275" fmla="*/ 8566 w 10000"/>
              <a:gd name="connsiteY275" fmla="*/ 6356 h 10000"/>
              <a:gd name="connsiteX276" fmla="*/ 8682 w 10000"/>
              <a:gd name="connsiteY276" fmla="*/ 6279 h 10000"/>
              <a:gd name="connsiteX277" fmla="*/ 8759 w 10000"/>
              <a:gd name="connsiteY277" fmla="*/ 6434 h 10000"/>
              <a:gd name="connsiteX278" fmla="*/ 8798 w 10000"/>
              <a:gd name="connsiteY278" fmla="*/ 6279 h 10000"/>
              <a:gd name="connsiteX279" fmla="*/ 9187 w 10000"/>
              <a:gd name="connsiteY279" fmla="*/ 5737 h 10000"/>
              <a:gd name="connsiteX280" fmla="*/ 9303 w 10000"/>
              <a:gd name="connsiteY280" fmla="*/ 5814 h 10000"/>
              <a:gd name="connsiteX281" fmla="*/ 9342 w 10000"/>
              <a:gd name="connsiteY281" fmla="*/ 5737 h 10000"/>
              <a:gd name="connsiteX282" fmla="*/ 9264 w 10000"/>
              <a:gd name="connsiteY282" fmla="*/ 5271 h 10000"/>
              <a:gd name="connsiteX283" fmla="*/ 9225 w 10000"/>
              <a:gd name="connsiteY283" fmla="*/ 5271 h 10000"/>
              <a:gd name="connsiteX284" fmla="*/ 9225 w 10000"/>
              <a:gd name="connsiteY284" fmla="*/ 5116 h 10000"/>
              <a:gd name="connsiteX285" fmla="*/ 9264 w 10000"/>
              <a:gd name="connsiteY285" fmla="*/ 5116 h 10000"/>
              <a:gd name="connsiteX286" fmla="*/ 9342 w 10000"/>
              <a:gd name="connsiteY286" fmla="*/ 5039 h 10000"/>
              <a:gd name="connsiteX287" fmla="*/ 9419 w 10000"/>
              <a:gd name="connsiteY287" fmla="*/ 4884 h 10000"/>
              <a:gd name="connsiteX288" fmla="*/ 9380 w 10000"/>
              <a:gd name="connsiteY288" fmla="*/ 4729 h 10000"/>
              <a:gd name="connsiteX289" fmla="*/ 9419 w 10000"/>
              <a:gd name="connsiteY289" fmla="*/ 4652 h 10000"/>
              <a:gd name="connsiteX290" fmla="*/ 9458 w 10000"/>
              <a:gd name="connsiteY290" fmla="*/ 4884 h 10000"/>
              <a:gd name="connsiteX291" fmla="*/ 9535 w 10000"/>
              <a:gd name="connsiteY291" fmla="*/ 4884 h 10000"/>
              <a:gd name="connsiteX292" fmla="*/ 9613 w 10000"/>
              <a:gd name="connsiteY292" fmla="*/ 5039 h 10000"/>
              <a:gd name="connsiteX293" fmla="*/ 9806 w 10000"/>
              <a:gd name="connsiteY293" fmla="*/ 5271 h 10000"/>
              <a:gd name="connsiteX294" fmla="*/ 9845 w 10000"/>
              <a:gd name="connsiteY294" fmla="*/ 5039 h 10000"/>
              <a:gd name="connsiteX295" fmla="*/ 9845 w 10000"/>
              <a:gd name="connsiteY295" fmla="*/ 4884 h 10000"/>
              <a:gd name="connsiteX296" fmla="*/ 9923 w 10000"/>
              <a:gd name="connsiteY296" fmla="*/ 4884 h 10000"/>
              <a:gd name="connsiteX297" fmla="*/ 10000 w 10000"/>
              <a:gd name="connsiteY297" fmla="*/ 4729 h 10000"/>
              <a:gd name="connsiteX298" fmla="*/ 9884 w 10000"/>
              <a:gd name="connsiteY298" fmla="*/ 4496 h 10000"/>
              <a:gd name="connsiteX299" fmla="*/ 9690 w 10000"/>
              <a:gd name="connsiteY299" fmla="*/ 4418 h 10000"/>
              <a:gd name="connsiteX300" fmla="*/ 9342 w 10000"/>
              <a:gd name="connsiteY300" fmla="*/ 3799 h 10000"/>
              <a:gd name="connsiteX301" fmla="*/ 9109 w 10000"/>
              <a:gd name="connsiteY301" fmla="*/ 3488 h 10000"/>
              <a:gd name="connsiteX302" fmla="*/ 8798 w 10000"/>
              <a:gd name="connsiteY302" fmla="*/ 3411 h 10000"/>
              <a:gd name="connsiteX303" fmla="*/ 8798 w 10000"/>
              <a:gd name="connsiteY303" fmla="*/ 3799 h 10000"/>
              <a:gd name="connsiteX304" fmla="*/ 8721 w 10000"/>
              <a:gd name="connsiteY304" fmla="*/ 3876 h 10000"/>
              <a:gd name="connsiteX305" fmla="*/ 8643 w 10000"/>
              <a:gd name="connsiteY305" fmla="*/ 3721 h 10000"/>
              <a:gd name="connsiteX306" fmla="*/ 8643 w 10000"/>
              <a:gd name="connsiteY306" fmla="*/ 3566 h 10000"/>
              <a:gd name="connsiteX307" fmla="*/ 8682 w 10000"/>
              <a:gd name="connsiteY307" fmla="*/ 3566 h 10000"/>
              <a:gd name="connsiteX308" fmla="*/ 8721 w 10000"/>
              <a:gd name="connsiteY308" fmla="*/ 3488 h 10000"/>
              <a:gd name="connsiteX309" fmla="*/ 8643 w 10000"/>
              <a:gd name="connsiteY309" fmla="*/ 3488 h 10000"/>
              <a:gd name="connsiteX310" fmla="*/ 8566 w 10000"/>
              <a:gd name="connsiteY310" fmla="*/ 3644 h 10000"/>
              <a:gd name="connsiteX311" fmla="*/ 8372 w 10000"/>
              <a:gd name="connsiteY311" fmla="*/ 3566 h 10000"/>
              <a:gd name="connsiteX312" fmla="*/ 8178 w 10000"/>
              <a:gd name="connsiteY312" fmla="*/ 3566 h 10000"/>
              <a:gd name="connsiteX313" fmla="*/ 8101 w 10000"/>
              <a:gd name="connsiteY313" fmla="*/ 3488 h 10000"/>
              <a:gd name="connsiteX314" fmla="*/ 8140 w 10000"/>
              <a:gd name="connsiteY314" fmla="*/ 3333 h 10000"/>
              <a:gd name="connsiteX315" fmla="*/ 8062 w 10000"/>
              <a:gd name="connsiteY315" fmla="*/ 3101 h 10000"/>
              <a:gd name="connsiteX316" fmla="*/ 7907 w 10000"/>
              <a:gd name="connsiteY316" fmla="*/ 3023 h 10000"/>
              <a:gd name="connsiteX317" fmla="*/ 7675 w 10000"/>
              <a:gd name="connsiteY317" fmla="*/ 3178 h 10000"/>
              <a:gd name="connsiteX318" fmla="*/ 7636 w 10000"/>
              <a:gd name="connsiteY318" fmla="*/ 2946 h 10000"/>
              <a:gd name="connsiteX319" fmla="*/ 7558 w 10000"/>
              <a:gd name="connsiteY319" fmla="*/ 2946 h 10000"/>
              <a:gd name="connsiteX320" fmla="*/ 7520 w 10000"/>
              <a:gd name="connsiteY320" fmla="*/ 2868 h 10000"/>
              <a:gd name="connsiteX321" fmla="*/ 7520 w 10000"/>
              <a:gd name="connsiteY321" fmla="*/ 2636 h 10000"/>
              <a:gd name="connsiteX322" fmla="*/ 7249 w 10000"/>
              <a:gd name="connsiteY322" fmla="*/ 2480 h 10000"/>
              <a:gd name="connsiteX323" fmla="*/ 6938 w 10000"/>
              <a:gd name="connsiteY323" fmla="*/ 2325 h 10000"/>
              <a:gd name="connsiteX324" fmla="*/ 6860 w 10000"/>
              <a:gd name="connsiteY324" fmla="*/ 2636 h 10000"/>
              <a:gd name="connsiteX325" fmla="*/ 6938 w 10000"/>
              <a:gd name="connsiteY325" fmla="*/ 2868 h 10000"/>
              <a:gd name="connsiteX326" fmla="*/ 6705 w 10000"/>
              <a:gd name="connsiteY326" fmla="*/ 2868 h 10000"/>
              <a:gd name="connsiteX327" fmla="*/ 6666 w 10000"/>
              <a:gd name="connsiteY327" fmla="*/ 2868 h 10000"/>
              <a:gd name="connsiteX328" fmla="*/ 6589 w 10000"/>
              <a:gd name="connsiteY328" fmla="*/ 2946 h 10000"/>
              <a:gd name="connsiteX329" fmla="*/ 6473 w 10000"/>
              <a:gd name="connsiteY329" fmla="*/ 2714 h 10000"/>
              <a:gd name="connsiteX330" fmla="*/ 6395 w 10000"/>
              <a:gd name="connsiteY330" fmla="*/ 3178 h 10000"/>
              <a:gd name="connsiteX331" fmla="*/ 6318 w 10000"/>
              <a:gd name="connsiteY331" fmla="*/ 3101 h 10000"/>
              <a:gd name="connsiteX332" fmla="*/ 6240 w 10000"/>
              <a:gd name="connsiteY332" fmla="*/ 2791 h 10000"/>
              <a:gd name="connsiteX333" fmla="*/ 6279 w 10000"/>
              <a:gd name="connsiteY333" fmla="*/ 2403 h 10000"/>
              <a:gd name="connsiteX334" fmla="*/ 6202 w 10000"/>
              <a:gd name="connsiteY334" fmla="*/ 2170 h 10000"/>
              <a:gd name="connsiteX335" fmla="*/ 5969 w 10000"/>
              <a:gd name="connsiteY335" fmla="*/ 2016 h 10000"/>
              <a:gd name="connsiteX336" fmla="*/ 5892 w 10000"/>
              <a:gd name="connsiteY336" fmla="*/ 2016 h 10000"/>
              <a:gd name="connsiteX337" fmla="*/ 5853 w 10000"/>
              <a:gd name="connsiteY337" fmla="*/ 2170 h 10000"/>
              <a:gd name="connsiteX338" fmla="*/ 5892 w 10000"/>
              <a:gd name="connsiteY338" fmla="*/ 2325 h 10000"/>
              <a:gd name="connsiteX339" fmla="*/ 5582 w 10000"/>
              <a:gd name="connsiteY339" fmla="*/ 2248 h 10000"/>
              <a:gd name="connsiteX340" fmla="*/ 5620 w 10000"/>
              <a:gd name="connsiteY340" fmla="*/ 2016 h 10000"/>
              <a:gd name="connsiteX341" fmla="*/ 5427 w 10000"/>
              <a:gd name="connsiteY341" fmla="*/ 1938 h 10000"/>
              <a:gd name="connsiteX342" fmla="*/ 5311 w 10000"/>
              <a:gd name="connsiteY342" fmla="*/ 2093 h 10000"/>
              <a:gd name="connsiteX343" fmla="*/ 5078 w 10000"/>
              <a:gd name="connsiteY343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95 w 10000"/>
              <a:gd name="connsiteY262" fmla="*/ 7287 h 10000"/>
              <a:gd name="connsiteX263" fmla="*/ 8333 w 10000"/>
              <a:gd name="connsiteY263" fmla="*/ 7287 h 10000"/>
              <a:gd name="connsiteX264" fmla="*/ 8333 w 10000"/>
              <a:gd name="connsiteY264" fmla="*/ 7132 h 10000"/>
              <a:gd name="connsiteX265" fmla="*/ 8295 w 10000"/>
              <a:gd name="connsiteY265" fmla="*/ 7132 h 10000"/>
              <a:gd name="connsiteX266" fmla="*/ 8333 w 10000"/>
              <a:gd name="connsiteY266" fmla="*/ 6900 h 10000"/>
              <a:gd name="connsiteX267" fmla="*/ 8295 w 10000"/>
              <a:gd name="connsiteY267" fmla="*/ 6900 h 10000"/>
              <a:gd name="connsiteX268" fmla="*/ 8256 w 10000"/>
              <a:gd name="connsiteY268" fmla="*/ 6822 h 10000"/>
              <a:gd name="connsiteX269" fmla="*/ 8333 w 10000"/>
              <a:gd name="connsiteY269" fmla="*/ 6590 h 10000"/>
              <a:gd name="connsiteX270" fmla="*/ 8333 w 10000"/>
              <a:gd name="connsiteY270" fmla="*/ 6434 h 10000"/>
              <a:gd name="connsiteX271" fmla="*/ 8411 w 10000"/>
              <a:gd name="connsiteY271" fmla="*/ 6434 h 10000"/>
              <a:gd name="connsiteX272" fmla="*/ 8527 w 10000"/>
              <a:gd name="connsiteY272" fmla="*/ 6279 h 10000"/>
              <a:gd name="connsiteX273" fmla="*/ 8527 w 10000"/>
              <a:gd name="connsiteY273" fmla="*/ 6434 h 10000"/>
              <a:gd name="connsiteX274" fmla="*/ 8566 w 10000"/>
              <a:gd name="connsiteY274" fmla="*/ 6356 h 10000"/>
              <a:gd name="connsiteX275" fmla="*/ 8682 w 10000"/>
              <a:gd name="connsiteY275" fmla="*/ 6279 h 10000"/>
              <a:gd name="connsiteX276" fmla="*/ 8759 w 10000"/>
              <a:gd name="connsiteY276" fmla="*/ 6434 h 10000"/>
              <a:gd name="connsiteX277" fmla="*/ 8798 w 10000"/>
              <a:gd name="connsiteY277" fmla="*/ 6279 h 10000"/>
              <a:gd name="connsiteX278" fmla="*/ 9187 w 10000"/>
              <a:gd name="connsiteY278" fmla="*/ 5737 h 10000"/>
              <a:gd name="connsiteX279" fmla="*/ 9303 w 10000"/>
              <a:gd name="connsiteY279" fmla="*/ 5814 h 10000"/>
              <a:gd name="connsiteX280" fmla="*/ 9342 w 10000"/>
              <a:gd name="connsiteY280" fmla="*/ 5737 h 10000"/>
              <a:gd name="connsiteX281" fmla="*/ 9264 w 10000"/>
              <a:gd name="connsiteY281" fmla="*/ 5271 h 10000"/>
              <a:gd name="connsiteX282" fmla="*/ 9225 w 10000"/>
              <a:gd name="connsiteY282" fmla="*/ 5271 h 10000"/>
              <a:gd name="connsiteX283" fmla="*/ 9225 w 10000"/>
              <a:gd name="connsiteY283" fmla="*/ 5116 h 10000"/>
              <a:gd name="connsiteX284" fmla="*/ 9264 w 10000"/>
              <a:gd name="connsiteY284" fmla="*/ 5116 h 10000"/>
              <a:gd name="connsiteX285" fmla="*/ 9342 w 10000"/>
              <a:gd name="connsiteY285" fmla="*/ 5039 h 10000"/>
              <a:gd name="connsiteX286" fmla="*/ 9419 w 10000"/>
              <a:gd name="connsiteY286" fmla="*/ 4884 h 10000"/>
              <a:gd name="connsiteX287" fmla="*/ 9380 w 10000"/>
              <a:gd name="connsiteY287" fmla="*/ 4729 h 10000"/>
              <a:gd name="connsiteX288" fmla="*/ 9419 w 10000"/>
              <a:gd name="connsiteY288" fmla="*/ 4652 h 10000"/>
              <a:gd name="connsiteX289" fmla="*/ 9458 w 10000"/>
              <a:gd name="connsiteY289" fmla="*/ 4884 h 10000"/>
              <a:gd name="connsiteX290" fmla="*/ 9535 w 10000"/>
              <a:gd name="connsiteY290" fmla="*/ 4884 h 10000"/>
              <a:gd name="connsiteX291" fmla="*/ 9613 w 10000"/>
              <a:gd name="connsiteY291" fmla="*/ 5039 h 10000"/>
              <a:gd name="connsiteX292" fmla="*/ 9806 w 10000"/>
              <a:gd name="connsiteY292" fmla="*/ 5271 h 10000"/>
              <a:gd name="connsiteX293" fmla="*/ 9845 w 10000"/>
              <a:gd name="connsiteY293" fmla="*/ 5039 h 10000"/>
              <a:gd name="connsiteX294" fmla="*/ 9845 w 10000"/>
              <a:gd name="connsiteY294" fmla="*/ 4884 h 10000"/>
              <a:gd name="connsiteX295" fmla="*/ 9923 w 10000"/>
              <a:gd name="connsiteY295" fmla="*/ 4884 h 10000"/>
              <a:gd name="connsiteX296" fmla="*/ 10000 w 10000"/>
              <a:gd name="connsiteY296" fmla="*/ 4729 h 10000"/>
              <a:gd name="connsiteX297" fmla="*/ 9884 w 10000"/>
              <a:gd name="connsiteY297" fmla="*/ 4496 h 10000"/>
              <a:gd name="connsiteX298" fmla="*/ 9690 w 10000"/>
              <a:gd name="connsiteY298" fmla="*/ 4418 h 10000"/>
              <a:gd name="connsiteX299" fmla="*/ 9342 w 10000"/>
              <a:gd name="connsiteY299" fmla="*/ 3799 h 10000"/>
              <a:gd name="connsiteX300" fmla="*/ 9109 w 10000"/>
              <a:gd name="connsiteY300" fmla="*/ 3488 h 10000"/>
              <a:gd name="connsiteX301" fmla="*/ 8798 w 10000"/>
              <a:gd name="connsiteY301" fmla="*/ 3411 h 10000"/>
              <a:gd name="connsiteX302" fmla="*/ 8798 w 10000"/>
              <a:gd name="connsiteY302" fmla="*/ 3799 h 10000"/>
              <a:gd name="connsiteX303" fmla="*/ 8721 w 10000"/>
              <a:gd name="connsiteY303" fmla="*/ 3876 h 10000"/>
              <a:gd name="connsiteX304" fmla="*/ 8643 w 10000"/>
              <a:gd name="connsiteY304" fmla="*/ 3721 h 10000"/>
              <a:gd name="connsiteX305" fmla="*/ 8643 w 10000"/>
              <a:gd name="connsiteY305" fmla="*/ 3566 h 10000"/>
              <a:gd name="connsiteX306" fmla="*/ 8682 w 10000"/>
              <a:gd name="connsiteY306" fmla="*/ 3566 h 10000"/>
              <a:gd name="connsiteX307" fmla="*/ 8721 w 10000"/>
              <a:gd name="connsiteY307" fmla="*/ 3488 h 10000"/>
              <a:gd name="connsiteX308" fmla="*/ 8643 w 10000"/>
              <a:gd name="connsiteY308" fmla="*/ 3488 h 10000"/>
              <a:gd name="connsiteX309" fmla="*/ 8566 w 10000"/>
              <a:gd name="connsiteY309" fmla="*/ 3644 h 10000"/>
              <a:gd name="connsiteX310" fmla="*/ 8372 w 10000"/>
              <a:gd name="connsiteY310" fmla="*/ 3566 h 10000"/>
              <a:gd name="connsiteX311" fmla="*/ 8178 w 10000"/>
              <a:gd name="connsiteY311" fmla="*/ 3566 h 10000"/>
              <a:gd name="connsiteX312" fmla="*/ 8101 w 10000"/>
              <a:gd name="connsiteY312" fmla="*/ 3488 h 10000"/>
              <a:gd name="connsiteX313" fmla="*/ 8140 w 10000"/>
              <a:gd name="connsiteY313" fmla="*/ 3333 h 10000"/>
              <a:gd name="connsiteX314" fmla="*/ 8062 w 10000"/>
              <a:gd name="connsiteY314" fmla="*/ 3101 h 10000"/>
              <a:gd name="connsiteX315" fmla="*/ 7907 w 10000"/>
              <a:gd name="connsiteY315" fmla="*/ 3023 h 10000"/>
              <a:gd name="connsiteX316" fmla="*/ 7675 w 10000"/>
              <a:gd name="connsiteY316" fmla="*/ 3178 h 10000"/>
              <a:gd name="connsiteX317" fmla="*/ 7636 w 10000"/>
              <a:gd name="connsiteY317" fmla="*/ 2946 h 10000"/>
              <a:gd name="connsiteX318" fmla="*/ 7558 w 10000"/>
              <a:gd name="connsiteY318" fmla="*/ 2946 h 10000"/>
              <a:gd name="connsiteX319" fmla="*/ 7520 w 10000"/>
              <a:gd name="connsiteY319" fmla="*/ 2868 h 10000"/>
              <a:gd name="connsiteX320" fmla="*/ 7520 w 10000"/>
              <a:gd name="connsiteY320" fmla="*/ 2636 h 10000"/>
              <a:gd name="connsiteX321" fmla="*/ 7249 w 10000"/>
              <a:gd name="connsiteY321" fmla="*/ 2480 h 10000"/>
              <a:gd name="connsiteX322" fmla="*/ 6938 w 10000"/>
              <a:gd name="connsiteY322" fmla="*/ 2325 h 10000"/>
              <a:gd name="connsiteX323" fmla="*/ 6860 w 10000"/>
              <a:gd name="connsiteY323" fmla="*/ 2636 h 10000"/>
              <a:gd name="connsiteX324" fmla="*/ 6938 w 10000"/>
              <a:gd name="connsiteY324" fmla="*/ 2868 h 10000"/>
              <a:gd name="connsiteX325" fmla="*/ 6705 w 10000"/>
              <a:gd name="connsiteY325" fmla="*/ 2868 h 10000"/>
              <a:gd name="connsiteX326" fmla="*/ 6666 w 10000"/>
              <a:gd name="connsiteY326" fmla="*/ 2868 h 10000"/>
              <a:gd name="connsiteX327" fmla="*/ 6589 w 10000"/>
              <a:gd name="connsiteY327" fmla="*/ 2946 h 10000"/>
              <a:gd name="connsiteX328" fmla="*/ 6473 w 10000"/>
              <a:gd name="connsiteY328" fmla="*/ 2714 h 10000"/>
              <a:gd name="connsiteX329" fmla="*/ 6395 w 10000"/>
              <a:gd name="connsiteY329" fmla="*/ 3178 h 10000"/>
              <a:gd name="connsiteX330" fmla="*/ 6318 w 10000"/>
              <a:gd name="connsiteY330" fmla="*/ 3101 h 10000"/>
              <a:gd name="connsiteX331" fmla="*/ 6240 w 10000"/>
              <a:gd name="connsiteY331" fmla="*/ 2791 h 10000"/>
              <a:gd name="connsiteX332" fmla="*/ 6279 w 10000"/>
              <a:gd name="connsiteY332" fmla="*/ 2403 h 10000"/>
              <a:gd name="connsiteX333" fmla="*/ 6202 w 10000"/>
              <a:gd name="connsiteY333" fmla="*/ 2170 h 10000"/>
              <a:gd name="connsiteX334" fmla="*/ 5969 w 10000"/>
              <a:gd name="connsiteY334" fmla="*/ 2016 h 10000"/>
              <a:gd name="connsiteX335" fmla="*/ 5892 w 10000"/>
              <a:gd name="connsiteY335" fmla="*/ 2016 h 10000"/>
              <a:gd name="connsiteX336" fmla="*/ 5853 w 10000"/>
              <a:gd name="connsiteY336" fmla="*/ 2170 h 10000"/>
              <a:gd name="connsiteX337" fmla="*/ 5892 w 10000"/>
              <a:gd name="connsiteY337" fmla="*/ 2325 h 10000"/>
              <a:gd name="connsiteX338" fmla="*/ 5582 w 10000"/>
              <a:gd name="connsiteY338" fmla="*/ 2248 h 10000"/>
              <a:gd name="connsiteX339" fmla="*/ 5620 w 10000"/>
              <a:gd name="connsiteY339" fmla="*/ 2016 h 10000"/>
              <a:gd name="connsiteX340" fmla="*/ 5427 w 10000"/>
              <a:gd name="connsiteY340" fmla="*/ 1938 h 10000"/>
              <a:gd name="connsiteX341" fmla="*/ 5311 w 10000"/>
              <a:gd name="connsiteY341" fmla="*/ 2093 h 10000"/>
              <a:gd name="connsiteX342" fmla="*/ 5078 w 10000"/>
              <a:gd name="connsiteY342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95 w 10000"/>
              <a:gd name="connsiteY262" fmla="*/ 7287 h 10000"/>
              <a:gd name="connsiteX263" fmla="*/ 8333 w 10000"/>
              <a:gd name="connsiteY263" fmla="*/ 7132 h 10000"/>
              <a:gd name="connsiteX264" fmla="*/ 8295 w 10000"/>
              <a:gd name="connsiteY264" fmla="*/ 7132 h 10000"/>
              <a:gd name="connsiteX265" fmla="*/ 8333 w 10000"/>
              <a:gd name="connsiteY265" fmla="*/ 6900 h 10000"/>
              <a:gd name="connsiteX266" fmla="*/ 8295 w 10000"/>
              <a:gd name="connsiteY266" fmla="*/ 6900 h 10000"/>
              <a:gd name="connsiteX267" fmla="*/ 8256 w 10000"/>
              <a:gd name="connsiteY267" fmla="*/ 6822 h 10000"/>
              <a:gd name="connsiteX268" fmla="*/ 8333 w 10000"/>
              <a:gd name="connsiteY268" fmla="*/ 6590 h 10000"/>
              <a:gd name="connsiteX269" fmla="*/ 8333 w 10000"/>
              <a:gd name="connsiteY269" fmla="*/ 6434 h 10000"/>
              <a:gd name="connsiteX270" fmla="*/ 8411 w 10000"/>
              <a:gd name="connsiteY270" fmla="*/ 6434 h 10000"/>
              <a:gd name="connsiteX271" fmla="*/ 8527 w 10000"/>
              <a:gd name="connsiteY271" fmla="*/ 6279 h 10000"/>
              <a:gd name="connsiteX272" fmla="*/ 8527 w 10000"/>
              <a:gd name="connsiteY272" fmla="*/ 6434 h 10000"/>
              <a:gd name="connsiteX273" fmla="*/ 8566 w 10000"/>
              <a:gd name="connsiteY273" fmla="*/ 6356 h 10000"/>
              <a:gd name="connsiteX274" fmla="*/ 8682 w 10000"/>
              <a:gd name="connsiteY274" fmla="*/ 6279 h 10000"/>
              <a:gd name="connsiteX275" fmla="*/ 8759 w 10000"/>
              <a:gd name="connsiteY275" fmla="*/ 6434 h 10000"/>
              <a:gd name="connsiteX276" fmla="*/ 8798 w 10000"/>
              <a:gd name="connsiteY276" fmla="*/ 6279 h 10000"/>
              <a:gd name="connsiteX277" fmla="*/ 9187 w 10000"/>
              <a:gd name="connsiteY277" fmla="*/ 5737 h 10000"/>
              <a:gd name="connsiteX278" fmla="*/ 9303 w 10000"/>
              <a:gd name="connsiteY278" fmla="*/ 5814 h 10000"/>
              <a:gd name="connsiteX279" fmla="*/ 9342 w 10000"/>
              <a:gd name="connsiteY279" fmla="*/ 5737 h 10000"/>
              <a:gd name="connsiteX280" fmla="*/ 9264 w 10000"/>
              <a:gd name="connsiteY280" fmla="*/ 5271 h 10000"/>
              <a:gd name="connsiteX281" fmla="*/ 9225 w 10000"/>
              <a:gd name="connsiteY281" fmla="*/ 5271 h 10000"/>
              <a:gd name="connsiteX282" fmla="*/ 9225 w 10000"/>
              <a:gd name="connsiteY282" fmla="*/ 5116 h 10000"/>
              <a:gd name="connsiteX283" fmla="*/ 9264 w 10000"/>
              <a:gd name="connsiteY283" fmla="*/ 5116 h 10000"/>
              <a:gd name="connsiteX284" fmla="*/ 9342 w 10000"/>
              <a:gd name="connsiteY284" fmla="*/ 5039 h 10000"/>
              <a:gd name="connsiteX285" fmla="*/ 9419 w 10000"/>
              <a:gd name="connsiteY285" fmla="*/ 4884 h 10000"/>
              <a:gd name="connsiteX286" fmla="*/ 9380 w 10000"/>
              <a:gd name="connsiteY286" fmla="*/ 4729 h 10000"/>
              <a:gd name="connsiteX287" fmla="*/ 9419 w 10000"/>
              <a:gd name="connsiteY287" fmla="*/ 4652 h 10000"/>
              <a:gd name="connsiteX288" fmla="*/ 9458 w 10000"/>
              <a:gd name="connsiteY288" fmla="*/ 4884 h 10000"/>
              <a:gd name="connsiteX289" fmla="*/ 9535 w 10000"/>
              <a:gd name="connsiteY289" fmla="*/ 4884 h 10000"/>
              <a:gd name="connsiteX290" fmla="*/ 9613 w 10000"/>
              <a:gd name="connsiteY290" fmla="*/ 5039 h 10000"/>
              <a:gd name="connsiteX291" fmla="*/ 9806 w 10000"/>
              <a:gd name="connsiteY291" fmla="*/ 5271 h 10000"/>
              <a:gd name="connsiteX292" fmla="*/ 9845 w 10000"/>
              <a:gd name="connsiteY292" fmla="*/ 5039 h 10000"/>
              <a:gd name="connsiteX293" fmla="*/ 9845 w 10000"/>
              <a:gd name="connsiteY293" fmla="*/ 4884 h 10000"/>
              <a:gd name="connsiteX294" fmla="*/ 9923 w 10000"/>
              <a:gd name="connsiteY294" fmla="*/ 4884 h 10000"/>
              <a:gd name="connsiteX295" fmla="*/ 10000 w 10000"/>
              <a:gd name="connsiteY295" fmla="*/ 4729 h 10000"/>
              <a:gd name="connsiteX296" fmla="*/ 9884 w 10000"/>
              <a:gd name="connsiteY296" fmla="*/ 4496 h 10000"/>
              <a:gd name="connsiteX297" fmla="*/ 9690 w 10000"/>
              <a:gd name="connsiteY297" fmla="*/ 4418 h 10000"/>
              <a:gd name="connsiteX298" fmla="*/ 9342 w 10000"/>
              <a:gd name="connsiteY298" fmla="*/ 3799 h 10000"/>
              <a:gd name="connsiteX299" fmla="*/ 9109 w 10000"/>
              <a:gd name="connsiteY299" fmla="*/ 3488 h 10000"/>
              <a:gd name="connsiteX300" fmla="*/ 8798 w 10000"/>
              <a:gd name="connsiteY300" fmla="*/ 3411 h 10000"/>
              <a:gd name="connsiteX301" fmla="*/ 8798 w 10000"/>
              <a:gd name="connsiteY301" fmla="*/ 3799 h 10000"/>
              <a:gd name="connsiteX302" fmla="*/ 8721 w 10000"/>
              <a:gd name="connsiteY302" fmla="*/ 3876 h 10000"/>
              <a:gd name="connsiteX303" fmla="*/ 8643 w 10000"/>
              <a:gd name="connsiteY303" fmla="*/ 3721 h 10000"/>
              <a:gd name="connsiteX304" fmla="*/ 8643 w 10000"/>
              <a:gd name="connsiteY304" fmla="*/ 3566 h 10000"/>
              <a:gd name="connsiteX305" fmla="*/ 8682 w 10000"/>
              <a:gd name="connsiteY305" fmla="*/ 3566 h 10000"/>
              <a:gd name="connsiteX306" fmla="*/ 8721 w 10000"/>
              <a:gd name="connsiteY306" fmla="*/ 3488 h 10000"/>
              <a:gd name="connsiteX307" fmla="*/ 8643 w 10000"/>
              <a:gd name="connsiteY307" fmla="*/ 3488 h 10000"/>
              <a:gd name="connsiteX308" fmla="*/ 8566 w 10000"/>
              <a:gd name="connsiteY308" fmla="*/ 3644 h 10000"/>
              <a:gd name="connsiteX309" fmla="*/ 8372 w 10000"/>
              <a:gd name="connsiteY309" fmla="*/ 3566 h 10000"/>
              <a:gd name="connsiteX310" fmla="*/ 8178 w 10000"/>
              <a:gd name="connsiteY310" fmla="*/ 3566 h 10000"/>
              <a:gd name="connsiteX311" fmla="*/ 8101 w 10000"/>
              <a:gd name="connsiteY311" fmla="*/ 3488 h 10000"/>
              <a:gd name="connsiteX312" fmla="*/ 8140 w 10000"/>
              <a:gd name="connsiteY312" fmla="*/ 3333 h 10000"/>
              <a:gd name="connsiteX313" fmla="*/ 8062 w 10000"/>
              <a:gd name="connsiteY313" fmla="*/ 3101 h 10000"/>
              <a:gd name="connsiteX314" fmla="*/ 7907 w 10000"/>
              <a:gd name="connsiteY314" fmla="*/ 3023 h 10000"/>
              <a:gd name="connsiteX315" fmla="*/ 7675 w 10000"/>
              <a:gd name="connsiteY315" fmla="*/ 3178 h 10000"/>
              <a:gd name="connsiteX316" fmla="*/ 7636 w 10000"/>
              <a:gd name="connsiteY316" fmla="*/ 2946 h 10000"/>
              <a:gd name="connsiteX317" fmla="*/ 7558 w 10000"/>
              <a:gd name="connsiteY317" fmla="*/ 2946 h 10000"/>
              <a:gd name="connsiteX318" fmla="*/ 7520 w 10000"/>
              <a:gd name="connsiteY318" fmla="*/ 2868 h 10000"/>
              <a:gd name="connsiteX319" fmla="*/ 7520 w 10000"/>
              <a:gd name="connsiteY319" fmla="*/ 2636 h 10000"/>
              <a:gd name="connsiteX320" fmla="*/ 7249 w 10000"/>
              <a:gd name="connsiteY320" fmla="*/ 2480 h 10000"/>
              <a:gd name="connsiteX321" fmla="*/ 6938 w 10000"/>
              <a:gd name="connsiteY321" fmla="*/ 2325 h 10000"/>
              <a:gd name="connsiteX322" fmla="*/ 6860 w 10000"/>
              <a:gd name="connsiteY322" fmla="*/ 2636 h 10000"/>
              <a:gd name="connsiteX323" fmla="*/ 6938 w 10000"/>
              <a:gd name="connsiteY323" fmla="*/ 2868 h 10000"/>
              <a:gd name="connsiteX324" fmla="*/ 6705 w 10000"/>
              <a:gd name="connsiteY324" fmla="*/ 2868 h 10000"/>
              <a:gd name="connsiteX325" fmla="*/ 6666 w 10000"/>
              <a:gd name="connsiteY325" fmla="*/ 2868 h 10000"/>
              <a:gd name="connsiteX326" fmla="*/ 6589 w 10000"/>
              <a:gd name="connsiteY326" fmla="*/ 2946 h 10000"/>
              <a:gd name="connsiteX327" fmla="*/ 6473 w 10000"/>
              <a:gd name="connsiteY327" fmla="*/ 2714 h 10000"/>
              <a:gd name="connsiteX328" fmla="*/ 6395 w 10000"/>
              <a:gd name="connsiteY328" fmla="*/ 3178 h 10000"/>
              <a:gd name="connsiteX329" fmla="*/ 6318 w 10000"/>
              <a:gd name="connsiteY329" fmla="*/ 3101 h 10000"/>
              <a:gd name="connsiteX330" fmla="*/ 6240 w 10000"/>
              <a:gd name="connsiteY330" fmla="*/ 2791 h 10000"/>
              <a:gd name="connsiteX331" fmla="*/ 6279 w 10000"/>
              <a:gd name="connsiteY331" fmla="*/ 2403 h 10000"/>
              <a:gd name="connsiteX332" fmla="*/ 6202 w 10000"/>
              <a:gd name="connsiteY332" fmla="*/ 2170 h 10000"/>
              <a:gd name="connsiteX333" fmla="*/ 5969 w 10000"/>
              <a:gd name="connsiteY333" fmla="*/ 2016 h 10000"/>
              <a:gd name="connsiteX334" fmla="*/ 5892 w 10000"/>
              <a:gd name="connsiteY334" fmla="*/ 2016 h 10000"/>
              <a:gd name="connsiteX335" fmla="*/ 5853 w 10000"/>
              <a:gd name="connsiteY335" fmla="*/ 2170 h 10000"/>
              <a:gd name="connsiteX336" fmla="*/ 5892 w 10000"/>
              <a:gd name="connsiteY336" fmla="*/ 2325 h 10000"/>
              <a:gd name="connsiteX337" fmla="*/ 5582 w 10000"/>
              <a:gd name="connsiteY337" fmla="*/ 2248 h 10000"/>
              <a:gd name="connsiteX338" fmla="*/ 5620 w 10000"/>
              <a:gd name="connsiteY338" fmla="*/ 2016 h 10000"/>
              <a:gd name="connsiteX339" fmla="*/ 5427 w 10000"/>
              <a:gd name="connsiteY339" fmla="*/ 1938 h 10000"/>
              <a:gd name="connsiteX340" fmla="*/ 5311 w 10000"/>
              <a:gd name="connsiteY340" fmla="*/ 2093 h 10000"/>
              <a:gd name="connsiteX341" fmla="*/ 5078 w 10000"/>
              <a:gd name="connsiteY341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333 w 10000"/>
              <a:gd name="connsiteY262" fmla="*/ 7132 h 10000"/>
              <a:gd name="connsiteX263" fmla="*/ 8295 w 10000"/>
              <a:gd name="connsiteY263" fmla="*/ 7132 h 10000"/>
              <a:gd name="connsiteX264" fmla="*/ 8333 w 10000"/>
              <a:gd name="connsiteY264" fmla="*/ 6900 h 10000"/>
              <a:gd name="connsiteX265" fmla="*/ 8295 w 10000"/>
              <a:gd name="connsiteY265" fmla="*/ 6900 h 10000"/>
              <a:gd name="connsiteX266" fmla="*/ 8256 w 10000"/>
              <a:gd name="connsiteY266" fmla="*/ 6822 h 10000"/>
              <a:gd name="connsiteX267" fmla="*/ 8333 w 10000"/>
              <a:gd name="connsiteY267" fmla="*/ 6590 h 10000"/>
              <a:gd name="connsiteX268" fmla="*/ 8333 w 10000"/>
              <a:gd name="connsiteY268" fmla="*/ 6434 h 10000"/>
              <a:gd name="connsiteX269" fmla="*/ 8411 w 10000"/>
              <a:gd name="connsiteY269" fmla="*/ 6434 h 10000"/>
              <a:gd name="connsiteX270" fmla="*/ 8527 w 10000"/>
              <a:gd name="connsiteY270" fmla="*/ 6279 h 10000"/>
              <a:gd name="connsiteX271" fmla="*/ 8527 w 10000"/>
              <a:gd name="connsiteY271" fmla="*/ 6434 h 10000"/>
              <a:gd name="connsiteX272" fmla="*/ 8566 w 10000"/>
              <a:gd name="connsiteY272" fmla="*/ 6356 h 10000"/>
              <a:gd name="connsiteX273" fmla="*/ 8682 w 10000"/>
              <a:gd name="connsiteY273" fmla="*/ 6279 h 10000"/>
              <a:gd name="connsiteX274" fmla="*/ 8759 w 10000"/>
              <a:gd name="connsiteY274" fmla="*/ 6434 h 10000"/>
              <a:gd name="connsiteX275" fmla="*/ 8798 w 10000"/>
              <a:gd name="connsiteY275" fmla="*/ 6279 h 10000"/>
              <a:gd name="connsiteX276" fmla="*/ 9187 w 10000"/>
              <a:gd name="connsiteY276" fmla="*/ 5737 h 10000"/>
              <a:gd name="connsiteX277" fmla="*/ 9303 w 10000"/>
              <a:gd name="connsiteY277" fmla="*/ 5814 h 10000"/>
              <a:gd name="connsiteX278" fmla="*/ 9342 w 10000"/>
              <a:gd name="connsiteY278" fmla="*/ 5737 h 10000"/>
              <a:gd name="connsiteX279" fmla="*/ 9264 w 10000"/>
              <a:gd name="connsiteY279" fmla="*/ 5271 h 10000"/>
              <a:gd name="connsiteX280" fmla="*/ 9225 w 10000"/>
              <a:gd name="connsiteY280" fmla="*/ 5271 h 10000"/>
              <a:gd name="connsiteX281" fmla="*/ 9225 w 10000"/>
              <a:gd name="connsiteY281" fmla="*/ 5116 h 10000"/>
              <a:gd name="connsiteX282" fmla="*/ 9264 w 10000"/>
              <a:gd name="connsiteY282" fmla="*/ 5116 h 10000"/>
              <a:gd name="connsiteX283" fmla="*/ 9342 w 10000"/>
              <a:gd name="connsiteY283" fmla="*/ 5039 h 10000"/>
              <a:gd name="connsiteX284" fmla="*/ 9419 w 10000"/>
              <a:gd name="connsiteY284" fmla="*/ 4884 h 10000"/>
              <a:gd name="connsiteX285" fmla="*/ 9380 w 10000"/>
              <a:gd name="connsiteY285" fmla="*/ 4729 h 10000"/>
              <a:gd name="connsiteX286" fmla="*/ 9419 w 10000"/>
              <a:gd name="connsiteY286" fmla="*/ 4652 h 10000"/>
              <a:gd name="connsiteX287" fmla="*/ 9458 w 10000"/>
              <a:gd name="connsiteY287" fmla="*/ 4884 h 10000"/>
              <a:gd name="connsiteX288" fmla="*/ 9535 w 10000"/>
              <a:gd name="connsiteY288" fmla="*/ 4884 h 10000"/>
              <a:gd name="connsiteX289" fmla="*/ 9613 w 10000"/>
              <a:gd name="connsiteY289" fmla="*/ 5039 h 10000"/>
              <a:gd name="connsiteX290" fmla="*/ 9806 w 10000"/>
              <a:gd name="connsiteY290" fmla="*/ 5271 h 10000"/>
              <a:gd name="connsiteX291" fmla="*/ 9845 w 10000"/>
              <a:gd name="connsiteY291" fmla="*/ 5039 h 10000"/>
              <a:gd name="connsiteX292" fmla="*/ 9845 w 10000"/>
              <a:gd name="connsiteY292" fmla="*/ 4884 h 10000"/>
              <a:gd name="connsiteX293" fmla="*/ 9923 w 10000"/>
              <a:gd name="connsiteY293" fmla="*/ 4884 h 10000"/>
              <a:gd name="connsiteX294" fmla="*/ 10000 w 10000"/>
              <a:gd name="connsiteY294" fmla="*/ 4729 h 10000"/>
              <a:gd name="connsiteX295" fmla="*/ 9884 w 10000"/>
              <a:gd name="connsiteY295" fmla="*/ 4496 h 10000"/>
              <a:gd name="connsiteX296" fmla="*/ 9690 w 10000"/>
              <a:gd name="connsiteY296" fmla="*/ 4418 h 10000"/>
              <a:gd name="connsiteX297" fmla="*/ 9342 w 10000"/>
              <a:gd name="connsiteY297" fmla="*/ 3799 h 10000"/>
              <a:gd name="connsiteX298" fmla="*/ 9109 w 10000"/>
              <a:gd name="connsiteY298" fmla="*/ 3488 h 10000"/>
              <a:gd name="connsiteX299" fmla="*/ 8798 w 10000"/>
              <a:gd name="connsiteY299" fmla="*/ 3411 h 10000"/>
              <a:gd name="connsiteX300" fmla="*/ 8798 w 10000"/>
              <a:gd name="connsiteY300" fmla="*/ 3799 h 10000"/>
              <a:gd name="connsiteX301" fmla="*/ 8721 w 10000"/>
              <a:gd name="connsiteY301" fmla="*/ 3876 h 10000"/>
              <a:gd name="connsiteX302" fmla="*/ 8643 w 10000"/>
              <a:gd name="connsiteY302" fmla="*/ 3721 h 10000"/>
              <a:gd name="connsiteX303" fmla="*/ 8643 w 10000"/>
              <a:gd name="connsiteY303" fmla="*/ 3566 h 10000"/>
              <a:gd name="connsiteX304" fmla="*/ 8682 w 10000"/>
              <a:gd name="connsiteY304" fmla="*/ 3566 h 10000"/>
              <a:gd name="connsiteX305" fmla="*/ 8721 w 10000"/>
              <a:gd name="connsiteY305" fmla="*/ 3488 h 10000"/>
              <a:gd name="connsiteX306" fmla="*/ 8643 w 10000"/>
              <a:gd name="connsiteY306" fmla="*/ 3488 h 10000"/>
              <a:gd name="connsiteX307" fmla="*/ 8566 w 10000"/>
              <a:gd name="connsiteY307" fmla="*/ 3644 h 10000"/>
              <a:gd name="connsiteX308" fmla="*/ 8372 w 10000"/>
              <a:gd name="connsiteY308" fmla="*/ 3566 h 10000"/>
              <a:gd name="connsiteX309" fmla="*/ 8178 w 10000"/>
              <a:gd name="connsiteY309" fmla="*/ 3566 h 10000"/>
              <a:gd name="connsiteX310" fmla="*/ 8101 w 10000"/>
              <a:gd name="connsiteY310" fmla="*/ 3488 h 10000"/>
              <a:gd name="connsiteX311" fmla="*/ 8140 w 10000"/>
              <a:gd name="connsiteY311" fmla="*/ 3333 h 10000"/>
              <a:gd name="connsiteX312" fmla="*/ 8062 w 10000"/>
              <a:gd name="connsiteY312" fmla="*/ 3101 h 10000"/>
              <a:gd name="connsiteX313" fmla="*/ 7907 w 10000"/>
              <a:gd name="connsiteY313" fmla="*/ 3023 h 10000"/>
              <a:gd name="connsiteX314" fmla="*/ 7675 w 10000"/>
              <a:gd name="connsiteY314" fmla="*/ 3178 h 10000"/>
              <a:gd name="connsiteX315" fmla="*/ 7636 w 10000"/>
              <a:gd name="connsiteY315" fmla="*/ 2946 h 10000"/>
              <a:gd name="connsiteX316" fmla="*/ 7558 w 10000"/>
              <a:gd name="connsiteY316" fmla="*/ 2946 h 10000"/>
              <a:gd name="connsiteX317" fmla="*/ 7520 w 10000"/>
              <a:gd name="connsiteY317" fmla="*/ 2868 h 10000"/>
              <a:gd name="connsiteX318" fmla="*/ 7520 w 10000"/>
              <a:gd name="connsiteY318" fmla="*/ 2636 h 10000"/>
              <a:gd name="connsiteX319" fmla="*/ 7249 w 10000"/>
              <a:gd name="connsiteY319" fmla="*/ 2480 h 10000"/>
              <a:gd name="connsiteX320" fmla="*/ 6938 w 10000"/>
              <a:gd name="connsiteY320" fmla="*/ 2325 h 10000"/>
              <a:gd name="connsiteX321" fmla="*/ 6860 w 10000"/>
              <a:gd name="connsiteY321" fmla="*/ 2636 h 10000"/>
              <a:gd name="connsiteX322" fmla="*/ 6938 w 10000"/>
              <a:gd name="connsiteY322" fmla="*/ 2868 h 10000"/>
              <a:gd name="connsiteX323" fmla="*/ 6705 w 10000"/>
              <a:gd name="connsiteY323" fmla="*/ 2868 h 10000"/>
              <a:gd name="connsiteX324" fmla="*/ 6666 w 10000"/>
              <a:gd name="connsiteY324" fmla="*/ 2868 h 10000"/>
              <a:gd name="connsiteX325" fmla="*/ 6589 w 10000"/>
              <a:gd name="connsiteY325" fmla="*/ 2946 h 10000"/>
              <a:gd name="connsiteX326" fmla="*/ 6473 w 10000"/>
              <a:gd name="connsiteY326" fmla="*/ 2714 h 10000"/>
              <a:gd name="connsiteX327" fmla="*/ 6395 w 10000"/>
              <a:gd name="connsiteY327" fmla="*/ 3178 h 10000"/>
              <a:gd name="connsiteX328" fmla="*/ 6318 w 10000"/>
              <a:gd name="connsiteY328" fmla="*/ 3101 h 10000"/>
              <a:gd name="connsiteX329" fmla="*/ 6240 w 10000"/>
              <a:gd name="connsiteY329" fmla="*/ 2791 h 10000"/>
              <a:gd name="connsiteX330" fmla="*/ 6279 w 10000"/>
              <a:gd name="connsiteY330" fmla="*/ 2403 h 10000"/>
              <a:gd name="connsiteX331" fmla="*/ 6202 w 10000"/>
              <a:gd name="connsiteY331" fmla="*/ 2170 h 10000"/>
              <a:gd name="connsiteX332" fmla="*/ 5969 w 10000"/>
              <a:gd name="connsiteY332" fmla="*/ 2016 h 10000"/>
              <a:gd name="connsiteX333" fmla="*/ 5892 w 10000"/>
              <a:gd name="connsiteY333" fmla="*/ 2016 h 10000"/>
              <a:gd name="connsiteX334" fmla="*/ 5853 w 10000"/>
              <a:gd name="connsiteY334" fmla="*/ 2170 h 10000"/>
              <a:gd name="connsiteX335" fmla="*/ 5892 w 10000"/>
              <a:gd name="connsiteY335" fmla="*/ 2325 h 10000"/>
              <a:gd name="connsiteX336" fmla="*/ 5582 w 10000"/>
              <a:gd name="connsiteY336" fmla="*/ 2248 h 10000"/>
              <a:gd name="connsiteX337" fmla="*/ 5620 w 10000"/>
              <a:gd name="connsiteY337" fmla="*/ 2016 h 10000"/>
              <a:gd name="connsiteX338" fmla="*/ 5427 w 10000"/>
              <a:gd name="connsiteY338" fmla="*/ 1938 h 10000"/>
              <a:gd name="connsiteX339" fmla="*/ 5311 w 10000"/>
              <a:gd name="connsiteY339" fmla="*/ 2093 h 10000"/>
              <a:gd name="connsiteX340" fmla="*/ 5078 w 10000"/>
              <a:gd name="connsiteY340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95 w 10000"/>
              <a:gd name="connsiteY262" fmla="*/ 7132 h 10000"/>
              <a:gd name="connsiteX263" fmla="*/ 8333 w 10000"/>
              <a:gd name="connsiteY263" fmla="*/ 6900 h 10000"/>
              <a:gd name="connsiteX264" fmla="*/ 8295 w 10000"/>
              <a:gd name="connsiteY264" fmla="*/ 6900 h 10000"/>
              <a:gd name="connsiteX265" fmla="*/ 8256 w 10000"/>
              <a:gd name="connsiteY265" fmla="*/ 6822 h 10000"/>
              <a:gd name="connsiteX266" fmla="*/ 8333 w 10000"/>
              <a:gd name="connsiteY266" fmla="*/ 6590 h 10000"/>
              <a:gd name="connsiteX267" fmla="*/ 8333 w 10000"/>
              <a:gd name="connsiteY267" fmla="*/ 6434 h 10000"/>
              <a:gd name="connsiteX268" fmla="*/ 8411 w 10000"/>
              <a:gd name="connsiteY268" fmla="*/ 6434 h 10000"/>
              <a:gd name="connsiteX269" fmla="*/ 8527 w 10000"/>
              <a:gd name="connsiteY269" fmla="*/ 6279 h 10000"/>
              <a:gd name="connsiteX270" fmla="*/ 8527 w 10000"/>
              <a:gd name="connsiteY270" fmla="*/ 6434 h 10000"/>
              <a:gd name="connsiteX271" fmla="*/ 8566 w 10000"/>
              <a:gd name="connsiteY271" fmla="*/ 6356 h 10000"/>
              <a:gd name="connsiteX272" fmla="*/ 8682 w 10000"/>
              <a:gd name="connsiteY272" fmla="*/ 6279 h 10000"/>
              <a:gd name="connsiteX273" fmla="*/ 8759 w 10000"/>
              <a:gd name="connsiteY273" fmla="*/ 6434 h 10000"/>
              <a:gd name="connsiteX274" fmla="*/ 8798 w 10000"/>
              <a:gd name="connsiteY274" fmla="*/ 6279 h 10000"/>
              <a:gd name="connsiteX275" fmla="*/ 9187 w 10000"/>
              <a:gd name="connsiteY275" fmla="*/ 5737 h 10000"/>
              <a:gd name="connsiteX276" fmla="*/ 9303 w 10000"/>
              <a:gd name="connsiteY276" fmla="*/ 5814 h 10000"/>
              <a:gd name="connsiteX277" fmla="*/ 9342 w 10000"/>
              <a:gd name="connsiteY277" fmla="*/ 5737 h 10000"/>
              <a:gd name="connsiteX278" fmla="*/ 9264 w 10000"/>
              <a:gd name="connsiteY278" fmla="*/ 5271 h 10000"/>
              <a:gd name="connsiteX279" fmla="*/ 9225 w 10000"/>
              <a:gd name="connsiteY279" fmla="*/ 5271 h 10000"/>
              <a:gd name="connsiteX280" fmla="*/ 9225 w 10000"/>
              <a:gd name="connsiteY280" fmla="*/ 5116 h 10000"/>
              <a:gd name="connsiteX281" fmla="*/ 9264 w 10000"/>
              <a:gd name="connsiteY281" fmla="*/ 5116 h 10000"/>
              <a:gd name="connsiteX282" fmla="*/ 9342 w 10000"/>
              <a:gd name="connsiteY282" fmla="*/ 5039 h 10000"/>
              <a:gd name="connsiteX283" fmla="*/ 9419 w 10000"/>
              <a:gd name="connsiteY283" fmla="*/ 4884 h 10000"/>
              <a:gd name="connsiteX284" fmla="*/ 9380 w 10000"/>
              <a:gd name="connsiteY284" fmla="*/ 4729 h 10000"/>
              <a:gd name="connsiteX285" fmla="*/ 9419 w 10000"/>
              <a:gd name="connsiteY285" fmla="*/ 4652 h 10000"/>
              <a:gd name="connsiteX286" fmla="*/ 9458 w 10000"/>
              <a:gd name="connsiteY286" fmla="*/ 4884 h 10000"/>
              <a:gd name="connsiteX287" fmla="*/ 9535 w 10000"/>
              <a:gd name="connsiteY287" fmla="*/ 4884 h 10000"/>
              <a:gd name="connsiteX288" fmla="*/ 9613 w 10000"/>
              <a:gd name="connsiteY288" fmla="*/ 5039 h 10000"/>
              <a:gd name="connsiteX289" fmla="*/ 9806 w 10000"/>
              <a:gd name="connsiteY289" fmla="*/ 5271 h 10000"/>
              <a:gd name="connsiteX290" fmla="*/ 9845 w 10000"/>
              <a:gd name="connsiteY290" fmla="*/ 5039 h 10000"/>
              <a:gd name="connsiteX291" fmla="*/ 9845 w 10000"/>
              <a:gd name="connsiteY291" fmla="*/ 4884 h 10000"/>
              <a:gd name="connsiteX292" fmla="*/ 9923 w 10000"/>
              <a:gd name="connsiteY292" fmla="*/ 4884 h 10000"/>
              <a:gd name="connsiteX293" fmla="*/ 10000 w 10000"/>
              <a:gd name="connsiteY293" fmla="*/ 4729 h 10000"/>
              <a:gd name="connsiteX294" fmla="*/ 9884 w 10000"/>
              <a:gd name="connsiteY294" fmla="*/ 4496 h 10000"/>
              <a:gd name="connsiteX295" fmla="*/ 9690 w 10000"/>
              <a:gd name="connsiteY295" fmla="*/ 4418 h 10000"/>
              <a:gd name="connsiteX296" fmla="*/ 9342 w 10000"/>
              <a:gd name="connsiteY296" fmla="*/ 3799 h 10000"/>
              <a:gd name="connsiteX297" fmla="*/ 9109 w 10000"/>
              <a:gd name="connsiteY297" fmla="*/ 3488 h 10000"/>
              <a:gd name="connsiteX298" fmla="*/ 8798 w 10000"/>
              <a:gd name="connsiteY298" fmla="*/ 3411 h 10000"/>
              <a:gd name="connsiteX299" fmla="*/ 8798 w 10000"/>
              <a:gd name="connsiteY299" fmla="*/ 3799 h 10000"/>
              <a:gd name="connsiteX300" fmla="*/ 8721 w 10000"/>
              <a:gd name="connsiteY300" fmla="*/ 3876 h 10000"/>
              <a:gd name="connsiteX301" fmla="*/ 8643 w 10000"/>
              <a:gd name="connsiteY301" fmla="*/ 3721 h 10000"/>
              <a:gd name="connsiteX302" fmla="*/ 8643 w 10000"/>
              <a:gd name="connsiteY302" fmla="*/ 3566 h 10000"/>
              <a:gd name="connsiteX303" fmla="*/ 8682 w 10000"/>
              <a:gd name="connsiteY303" fmla="*/ 3566 h 10000"/>
              <a:gd name="connsiteX304" fmla="*/ 8721 w 10000"/>
              <a:gd name="connsiteY304" fmla="*/ 3488 h 10000"/>
              <a:gd name="connsiteX305" fmla="*/ 8643 w 10000"/>
              <a:gd name="connsiteY305" fmla="*/ 3488 h 10000"/>
              <a:gd name="connsiteX306" fmla="*/ 8566 w 10000"/>
              <a:gd name="connsiteY306" fmla="*/ 3644 h 10000"/>
              <a:gd name="connsiteX307" fmla="*/ 8372 w 10000"/>
              <a:gd name="connsiteY307" fmla="*/ 3566 h 10000"/>
              <a:gd name="connsiteX308" fmla="*/ 8178 w 10000"/>
              <a:gd name="connsiteY308" fmla="*/ 3566 h 10000"/>
              <a:gd name="connsiteX309" fmla="*/ 8101 w 10000"/>
              <a:gd name="connsiteY309" fmla="*/ 3488 h 10000"/>
              <a:gd name="connsiteX310" fmla="*/ 8140 w 10000"/>
              <a:gd name="connsiteY310" fmla="*/ 3333 h 10000"/>
              <a:gd name="connsiteX311" fmla="*/ 8062 w 10000"/>
              <a:gd name="connsiteY311" fmla="*/ 3101 h 10000"/>
              <a:gd name="connsiteX312" fmla="*/ 7907 w 10000"/>
              <a:gd name="connsiteY312" fmla="*/ 3023 h 10000"/>
              <a:gd name="connsiteX313" fmla="*/ 7675 w 10000"/>
              <a:gd name="connsiteY313" fmla="*/ 3178 h 10000"/>
              <a:gd name="connsiteX314" fmla="*/ 7636 w 10000"/>
              <a:gd name="connsiteY314" fmla="*/ 2946 h 10000"/>
              <a:gd name="connsiteX315" fmla="*/ 7558 w 10000"/>
              <a:gd name="connsiteY315" fmla="*/ 2946 h 10000"/>
              <a:gd name="connsiteX316" fmla="*/ 7520 w 10000"/>
              <a:gd name="connsiteY316" fmla="*/ 2868 h 10000"/>
              <a:gd name="connsiteX317" fmla="*/ 7520 w 10000"/>
              <a:gd name="connsiteY317" fmla="*/ 2636 h 10000"/>
              <a:gd name="connsiteX318" fmla="*/ 7249 w 10000"/>
              <a:gd name="connsiteY318" fmla="*/ 2480 h 10000"/>
              <a:gd name="connsiteX319" fmla="*/ 6938 w 10000"/>
              <a:gd name="connsiteY319" fmla="*/ 2325 h 10000"/>
              <a:gd name="connsiteX320" fmla="*/ 6860 w 10000"/>
              <a:gd name="connsiteY320" fmla="*/ 2636 h 10000"/>
              <a:gd name="connsiteX321" fmla="*/ 6938 w 10000"/>
              <a:gd name="connsiteY321" fmla="*/ 2868 h 10000"/>
              <a:gd name="connsiteX322" fmla="*/ 6705 w 10000"/>
              <a:gd name="connsiteY322" fmla="*/ 2868 h 10000"/>
              <a:gd name="connsiteX323" fmla="*/ 6666 w 10000"/>
              <a:gd name="connsiteY323" fmla="*/ 2868 h 10000"/>
              <a:gd name="connsiteX324" fmla="*/ 6589 w 10000"/>
              <a:gd name="connsiteY324" fmla="*/ 2946 h 10000"/>
              <a:gd name="connsiteX325" fmla="*/ 6473 w 10000"/>
              <a:gd name="connsiteY325" fmla="*/ 2714 h 10000"/>
              <a:gd name="connsiteX326" fmla="*/ 6395 w 10000"/>
              <a:gd name="connsiteY326" fmla="*/ 3178 h 10000"/>
              <a:gd name="connsiteX327" fmla="*/ 6318 w 10000"/>
              <a:gd name="connsiteY327" fmla="*/ 3101 h 10000"/>
              <a:gd name="connsiteX328" fmla="*/ 6240 w 10000"/>
              <a:gd name="connsiteY328" fmla="*/ 2791 h 10000"/>
              <a:gd name="connsiteX329" fmla="*/ 6279 w 10000"/>
              <a:gd name="connsiteY329" fmla="*/ 2403 h 10000"/>
              <a:gd name="connsiteX330" fmla="*/ 6202 w 10000"/>
              <a:gd name="connsiteY330" fmla="*/ 2170 h 10000"/>
              <a:gd name="connsiteX331" fmla="*/ 5969 w 10000"/>
              <a:gd name="connsiteY331" fmla="*/ 2016 h 10000"/>
              <a:gd name="connsiteX332" fmla="*/ 5892 w 10000"/>
              <a:gd name="connsiteY332" fmla="*/ 2016 h 10000"/>
              <a:gd name="connsiteX333" fmla="*/ 5853 w 10000"/>
              <a:gd name="connsiteY333" fmla="*/ 2170 h 10000"/>
              <a:gd name="connsiteX334" fmla="*/ 5892 w 10000"/>
              <a:gd name="connsiteY334" fmla="*/ 2325 h 10000"/>
              <a:gd name="connsiteX335" fmla="*/ 5582 w 10000"/>
              <a:gd name="connsiteY335" fmla="*/ 2248 h 10000"/>
              <a:gd name="connsiteX336" fmla="*/ 5620 w 10000"/>
              <a:gd name="connsiteY336" fmla="*/ 2016 h 10000"/>
              <a:gd name="connsiteX337" fmla="*/ 5427 w 10000"/>
              <a:gd name="connsiteY337" fmla="*/ 1938 h 10000"/>
              <a:gd name="connsiteX338" fmla="*/ 5311 w 10000"/>
              <a:gd name="connsiteY338" fmla="*/ 2093 h 10000"/>
              <a:gd name="connsiteX339" fmla="*/ 5078 w 10000"/>
              <a:gd name="connsiteY339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333 w 10000"/>
              <a:gd name="connsiteY262" fmla="*/ 6900 h 10000"/>
              <a:gd name="connsiteX263" fmla="*/ 8295 w 10000"/>
              <a:gd name="connsiteY263" fmla="*/ 6900 h 10000"/>
              <a:gd name="connsiteX264" fmla="*/ 8256 w 10000"/>
              <a:gd name="connsiteY264" fmla="*/ 6822 h 10000"/>
              <a:gd name="connsiteX265" fmla="*/ 8333 w 10000"/>
              <a:gd name="connsiteY265" fmla="*/ 6590 h 10000"/>
              <a:gd name="connsiteX266" fmla="*/ 8333 w 10000"/>
              <a:gd name="connsiteY266" fmla="*/ 6434 h 10000"/>
              <a:gd name="connsiteX267" fmla="*/ 8411 w 10000"/>
              <a:gd name="connsiteY267" fmla="*/ 6434 h 10000"/>
              <a:gd name="connsiteX268" fmla="*/ 8527 w 10000"/>
              <a:gd name="connsiteY268" fmla="*/ 6279 h 10000"/>
              <a:gd name="connsiteX269" fmla="*/ 8527 w 10000"/>
              <a:gd name="connsiteY269" fmla="*/ 6434 h 10000"/>
              <a:gd name="connsiteX270" fmla="*/ 8566 w 10000"/>
              <a:gd name="connsiteY270" fmla="*/ 6356 h 10000"/>
              <a:gd name="connsiteX271" fmla="*/ 8682 w 10000"/>
              <a:gd name="connsiteY271" fmla="*/ 6279 h 10000"/>
              <a:gd name="connsiteX272" fmla="*/ 8759 w 10000"/>
              <a:gd name="connsiteY272" fmla="*/ 6434 h 10000"/>
              <a:gd name="connsiteX273" fmla="*/ 8798 w 10000"/>
              <a:gd name="connsiteY273" fmla="*/ 6279 h 10000"/>
              <a:gd name="connsiteX274" fmla="*/ 9187 w 10000"/>
              <a:gd name="connsiteY274" fmla="*/ 5737 h 10000"/>
              <a:gd name="connsiteX275" fmla="*/ 9303 w 10000"/>
              <a:gd name="connsiteY275" fmla="*/ 5814 h 10000"/>
              <a:gd name="connsiteX276" fmla="*/ 9342 w 10000"/>
              <a:gd name="connsiteY276" fmla="*/ 5737 h 10000"/>
              <a:gd name="connsiteX277" fmla="*/ 9264 w 10000"/>
              <a:gd name="connsiteY277" fmla="*/ 5271 h 10000"/>
              <a:gd name="connsiteX278" fmla="*/ 9225 w 10000"/>
              <a:gd name="connsiteY278" fmla="*/ 5271 h 10000"/>
              <a:gd name="connsiteX279" fmla="*/ 9225 w 10000"/>
              <a:gd name="connsiteY279" fmla="*/ 5116 h 10000"/>
              <a:gd name="connsiteX280" fmla="*/ 9264 w 10000"/>
              <a:gd name="connsiteY280" fmla="*/ 5116 h 10000"/>
              <a:gd name="connsiteX281" fmla="*/ 9342 w 10000"/>
              <a:gd name="connsiteY281" fmla="*/ 5039 h 10000"/>
              <a:gd name="connsiteX282" fmla="*/ 9419 w 10000"/>
              <a:gd name="connsiteY282" fmla="*/ 4884 h 10000"/>
              <a:gd name="connsiteX283" fmla="*/ 9380 w 10000"/>
              <a:gd name="connsiteY283" fmla="*/ 4729 h 10000"/>
              <a:gd name="connsiteX284" fmla="*/ 9419 w 10000"/>
              <a:gd name="connsiteY284" fmla="*/ 4652 h 10000"/>
              <a:gd name="connsiteX285" fmla="*/ 9458 w 10000"/>
              <a:gd name="connsiteY285" fmla="*/ 4884 h 10000"/>
              <a:gd name="connsiteX286" fmla="*/ 9535 w 10000"/>
              <a:gd name="connsiteY286" fmla="*/ 4884 h 10000"/>
              <a:gd name="connsiteX287" fmla="*/ 9613 w 10000"/>
              <a:gd name="connsiteY287" fmla="*/ 5039 h 10000"/>
              <a:gd name="connsiteX288" fmla="*/ 9806 w 10000"/>
              <a:gd name="connsiteY288" fmla="*/ 5271 h 10000"/>
              <a:gd name="connsiteX289" fmla="*/ 9845 w 10000"/>
              <a:gd name="connsiteY289" fmla="*/ 5039 h 10000"/>
              <a:gd name="connsiteX290" fmla="*/ 9845 w 10000"/>
              <a:gd name="connsiteY290" fmla="*/ 4884 h 10000"/>
              <a:gd name="connsiteX291" fmla="*/ 9923 w 10000"/>
              <a:gd name="connsiteY291" fmla="*/ 4884 h 10000"/>
              <a:gd name="connsiteX292" fmla="*/ 10000 w 10000"/>
              <a:gd name="connsiteY292" fmla="*/ 4729 h 10000"/>
              <a:gd name="connsiteX293" fmla="*/ 9884 w 10000"/>
              <a:gd name="connsiteY293" fmla="*/ 4496 h 10000"/>
              <a:gd name="connsiteX294" fmla="*/ 9690 w 10000"/>
              <a:gd name="connsiteY294" fmla="*/ 4418 h 10000"/>
              <a:gd name="connsiteX295" fmla="*/ 9342 w 10000"/>
              <a:gd name="connsiteY295" fmla="*/ 3799 h 10000"/>
              <a:gd name="connsiteX296" fmla="*/ 9109 w 10000"/>
              <a:gd name="connsiteY296" fmla="*/ 3488 h 10000"/>
              <a:gd name="connsiteX297" fmla="*/ 8798 w 10000"/>
              <a:gd name="connsiteY297" fmla="*/ 3411 h 10000"/>
              <a:gd name="connsiteX298" fmla="*/ 8798 w 10000"/>
              <a:gd name="connsiteY298" fmla="*/ 3799 h 10000"/>
              <a:gd name="connsiteX299" fmla="*/ 8721 w 10000"/>
              <a:gd name="connsiteY299" fmla="*/ 3876 h 10000"/>
              <a:gd name="connsiteX300" fmla="*/ 8643 w 10000"/>
              <a:gd name="connsiteY300" fmla="*/ 3721 h 10000"/>
              <a:gd name="connsiteX301" fmla="*/ 8643 w 10000"/>
              <a:gd name="connsiteY301" fmla="*/ 3566 h 10000"/>
              <a:gd name="connsiteX302" fmla="*/ 8682 w 10000"/>
              <a:gd name="connsiteY302" fmla="*/ 3566 h 10000"/>
              <a:gd name="connsiteX303" fmla="*/ 8721 w 10000"/>
              <a:gd name="connsiteY303" fmla="*/ 3488 h 10000"/>
              <a:gd name="connsiteX304" fmla="*/ 8643 w 10000"/>
              <a:gd name="connsiteY304" fmla="*/ 3488 h 10000"/>
              <a:gd name="connsiteX305" fmla="*/ 8566 w 10000"/>
              <a:gd name="connsiteY305" fmla="*/ 3644 h 10000"/>
              <a:gd name="connsiteX306" fmla="*/ 8372 w 10000"/>
              <a:gd name="connsiteY306" fmla="*/ 3566 h 10000"/>
              <a:gd name="connsiteX307" fmla="*/ 8178 w 10000"/>
              <a:gd name="connsiteY307" fmla="*/ 3566 h 10000"/>
              <a:gd name="connsiteX308" fmla="*/ 8101 w 10000"/>
              <a:gd name="connsiteY308" fmla="*/ 3488 h 10000"/>
              <a:gd name="connsiteX309" fmla="*/ 8140 w 10000"/>
              <a:gd name="connsiteY309" fmla="*/ 3333 h 10000"/>
              <a:gd name="connsiteX310" fmla="*/ 8062 w 10000"/>
              <a:gd name="connsiteY310" fmla="*/ 3101 h 10000"/>
              <a:gd name="connsiteX311" fmla="*/ 7907 w 10000"/>
              <a:gd name="connsiteY311" fmla="*/ 3023 h 10000"/>
              <a:gd name="connsiteX312" fmla="*/ 7675 w 10000"/>
              <a:gd name="connsiteY312" fmla="*/ 3178 h 10000"/>
              <a:gd name="connsiteX313" fmla="*/ 7636 w 10000"/>
              <a:gd name="connsiteY313" fmla="*/ 2946 h 10000"/>
              <a:gd name="connsiteX314" fmla="*/ 7558 w 10000"/>
              <a:gd name="connsiteY314" fmla="*/ 2946 h 10000"/>
              <a:gd name="connsiteX315" fmla="*/ 7520 w 10000"/>
              <a:gd name="connsiteY315" fmla="*/ 2868 h 10000"/>
              <a:gd name="connsiteX316" fmla="*/ 7520 w 10000"/>
              <a:gd name="connsiteY316" fmla="*/ 2636 h 10000"/>
              <a:gd name="connsiteX317" fmla="*/ 7249 w 10000"/>
              <a:gd name="connsiteY317" fmla="*/ 2480 h 10000"/>
              <a:gd name="connsiteX318" fmla="*/ 6938 w 10000"/>
              <a:gd name="connsiteY318" fmla="*/ 2325 h 10000"/>
              <a:gd name="connsiteX319" fmla="*/ 6860 w 10000"/>
              <a:gd name="connsiteY319" fmla="*/ 2636 h 10000"/>
              <a:gd name="connsiteX320" fmla="*/ 6938 w 10000"/>
              <a:gd name="connsiteY320" fmla="*/ 2868 h 10000"/>
              <a:gd name="connsiteX321" fmla="*/ 6705 w 10000"/>
              <a:gd name="connsiteY321" fmla="*/ 2868 h 10000"/>
              <a:gd name="connsiteX322" fmla="*/ 6666 w 10000"/>
              <a:gd name="connsiteY322" fmla="*/ 2868 h 10000"/>
              <a:gd name="connsiteX323" fmla="*/ 6589 w 10000"/>
              <a:gd name="connsiteY323" fmla="*/ 2946 h 10000"/>
              <a:gd name="connsiteX324" fmla="*/ 6473 w 10000"/>
              <a:gd name="connsiteY324" fmla="*/ 2714 h 10000"/>
              <a:gd name="connsiteX325" fmla="*/ 6395 w 10000"/>
              <a:gd name="connsiteY325" fmla="*/ 3178 h 10000"/>
              <a:gd name="connsiteX326" fmla="*/ 6318 w 10000"/>
              <a:gd name="connsiteY326" fmla="*/ 3101 h 10000"/>
              <a:gd name="connsiteX327" fmla="*/ 6240 w 10000"/>
              <a:gd name="connsiteY327" fmla="*/ 2791 h 10000"/>
              <a:gd name="connsiteX328" fmla="*/ 6279 w 10000"/>
              <a:gd name="connsiteY328" fmla="*/ 2403 h 10000"/>
              <a:gd name="connsiteX329" fmla="*/ 6202 w 10000"/>
              <a:gd name="connsiteY329" fmla="*/ 2170 h 10000"/>
              <a:gd name="connsiteX330" fmla="*/ 5969 w 10000"/>
              <a:gd name="connsiteY330" fmla="*/ 2016 h 10000"/>
              <a:gd name="connsiteX331" fmla="*/ 5892 w 10000"/>
              <a:gd name="connsiteY331" fmla="*/ 2016 h 10000"/>
              <a:gd name="connsiteX332" fmla="*/ 5853 w 10000"/>
              <a:gd name="connsiteY332" fmla="*/ 2170 h 10000"/>
              <a:gd name="connsiteX333" fmla="*/ 5892 w 10000"/>
              <a:gd name="connsiteY333" fmla="*/ 2325 h 10000"/>
              <a:gd name="connsiteX334" fmla="*/ 5582 w 10000"/>
              <a:gd name="connsiteY334" fmla="*/ 2248 h 10000"/>
              <a:gd name="connsiteX335" fmla="*/ 5620 w 10000"/>
              <a:gd name="connsiteY335" fmla="*/ 2016 h 10000"/>
              <a:gd name="connsiteX336" fmla="*/ 5427 w 10000"/>
              <a:gd name="connsiteY336" fmla="*/ 1938 h 10000"/>
              <a:gd name="connsiteX337" fmla="*/ 5311 w 10000"/>
              <a:gd name="connsiteY337" fmla="*/ 2093 h 10000"/>
              <a:gd name="connsiteX338" fmla="*/ 5078 w 10000"/>
              <a:gd name="connsiteY338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95 w 10000"/>
              <a:gd name="connsiteY262" fmla="*/ 6900 h 10000"/>
              <a:gd name="connsiteX263" fmla="*/ 8256 w 10000"/>
              <a:gd name="connsiteY263" fmla="*/ 6822 h 10000"/>
              <a:gd name="connsiteX264" fmla="*/ 8333 w 10000"/>
              <a:gd name="connsiteY264" fmla="*/ 6590 h 10000"/>
              <a:gd name="connsiteX265" fmla="*/ 8333 w 10000"/>
              <a:gd name="connsiteY265" fmla="*/ 6434 h 10000"/>
              <a:gd name="connsiteX266" fmla="*/ 8411 w 10000"/>
              <a:gd name="connsiteY266" fmla="*/ 6434 h 10000"/>
              <a:gd name="connsiteX267" fmla="*/ 8527 w 10000"/>
              <a:gd name="connsiteY267" fmla="*/ 6279 h 10000"/>
              <a:gd name="connsiteX268" fmla="*/ 8527 w 10000"/>
              <a:gd name="connsiteY268" fmla="*/ 6434 h 10000"/>
              <a:gd name="connsiteX269" fmla="*/ 8566 w 10000"/>
              <a:gd name="connsiteY269" fmla="*/ 6356 h 10000"/>
              <a:gd name="connsiteX270" fmla="*/ 8682 w 10000"/>
              <a:gd name="connsiteY270" fmla="*/ 6279 h 10000"/>
              <a:gd name="connsiteX271" fmla="*/ 8759 w 10000"/>
              <a:gd name="connsiteY271" fmla="*/ 6434 h 10000"/>
              <a:gd name="connsiteX272" fmla="*/ 8798 w 10000"/>
              <a:gd name="connsiteY272" fmla="*/ 6279 h 10000"/>
              <a:gd name="connsiteX273" fmla="*/ 9187 w 10000"/>
              <a:gd name="connsiteY273" fmla="*/ 5737 h 10000"/>
              <a:gd name="connsiteX274" fmla="*/ 9303 w 10000"/>
              <a:gd name="connsiteY274" fmla="*/ 5814 h 10000"/>
              <a:gd name="connsiteX275" fmla="*/ 9342 w 10000"/>
              <a:gd name="connsiteY275" fmla="*/ 5737 h 10000"/>
              <a:gd name="connsiteX276" fmla="*/ 9264 w 10000"/>
              <a:gd name="connsiteY276" fmla="*/ 5271 h 10000"/>
              <a:gd name="connsiteX277" fmla="*/ 9225 w 10000"/>
              <a:gd name="connsiteY277" fmla="*/ 5271 h 10000"/>
              <a:gd name="connsiteX278" fmla="*/ 9225 w 10000"/>
              <a:gd name="connsiteY278" fmla="*/ 5116 h 10000"/>
              <a:gd name="connsiteX279" fmla="*/ 9264 w 10000"/>
              <a:gd name="connsiteY279" fmla="*/ 5116 h 10000"/>
              <a:gd name="connsiteX280" fmla="*/ 9342 w 10000"/>
              <a:gd name="connsiteY280" fmla="*/ 5039 h 10000"/>
              <a:gd name="connsiteX281" fmla="*/ 9419 w 10000"/>
              <a:gd name="connsiteY281" fmla="*/ 4884 h 10000"/>
              <a:gd name="connsiteX282" fmla="*/ 9380 w 10000"/>
              <a:gd name="connsiteY282" fmla="*/ 4729 h 10000"/>
              <a:gd name="connsiteX283" fmla="*/ 9419 w 10000"/>
              <a:gd name="connsiteY283" fmla="*/ 4652 h 10000"/>
              <a:gd name="connsiteX284" fmla="*/ 9458 w 10000"/>
              <a:gd name="connsiteY284" fmla="*/ 4884 h 10000"/>
              <a:gd name="connsiteX285" fmla="*/ 9535 w 10000"/>
              <a:gd name="connsiteY285" fmla="*/ 4884 h 10000"/>
              <a:gd name="connsiteX286" fmla="*/ 9613 w 10000"/>
              <a:gd name="connsiteY286" fmla="*/ 5039 h 10000"/>
              <a:gd name="connsiteX287" fmla="*/ 9806 w 10000"/>
              <a:gd name="connsiteY287" fmla="*/ 5271 h 10000"/>
              <a:gd name="connsiteX288" fmla="*/ 9845 w 10000"/>
              <a:gd name="connsiteY288" fmla="*/ 5039 h 10000"/>
              <a:gd name="connsiteX289" fmla="*/ 9845 w 10000"/>
              <a:gd name="connsiteY289" fmla="*/ 4884 h 10000"/>
              <a:gd name="connsiteX290" fmla="*/ 9923 w 10000"/>
              <a:gd name="connsiteY290" fmla="*/ 4884 h 10000"/>
              <a:gd name="connsiteX291" fmla="*/ 10000 w 10000"/>
              <a:gd name="connsiteY291" fmla="*/ 4729 h 10000"/>
              <a:gd name="connsiteX292" fmla="*/ 9884 w 10000"/>
              <a:gd name="connsiteY292" fmla="*/ 4496 h 10000"/>
              <a:gd name="connsiteX293" fmla="*/ 9690 w 10000"/>
              <a:gd name="connsiteY293" fmla="*/ 4418 h 10000"/>
              <a:gd name="connsiteX294" fmla="*/ 9342 w 10000"/>
              <a:gd name="connsiteY294" fmla="*/ 3799 h 10000"/>
              <a:gd name="connsiteX295" fmla="*/ 9109 w 10000"/>
              <a:gd name="connsiteY295" fmla="*/ 3488 h 10000"/>
              <a:gd name="connsiteX296" fmla="*/ 8798 w 10000"/>
              <a:gd name="connsiteY296" fmla="*/ 3411 h 10000"/>
              <a:gd name="connsiteX297" fmla="*/ 8798 w 10000"/>
              <a:gd name="connsiteY297" fmla="*/ 3799 h 10000"/>
              <a:gd name="connsiteX298" fmla="*/ 8721 w 10000"/>
              <a:gd name="connsiteY298" fmla="*/ 3876 h 10000"/>
              <a:gd name="connsiteX299" fmla="*/ 8643 w 10000"/>
              <a:gd name="connsiteY299" fmla="*/ 3721 h 10000"/>
              <a:gd name="connsiteX300" fmla="*/ 8643 w 10000"/>
              <a:gd name="connsiteY300" fmla="*/ 3566 h 10000"/>
              <a:gd name="connsiteX301" fmla="*/ 8682 w 10000"/>
              <a:gd name="connsiteY301" fmla="*/ 3566 h 10000"/>
              <a:gd name="connsiteX302" fmla="*/ 8721 w 10000"/>
              <a:gd name="connsiteY302" fmla="*/ 3488 h 10000"/>
              <a:gd name="connsiteX303" fmla="*/ 8643 w 10000"/>
              <a:gd name="connsiteY303" fmla="*/ 3488 h 10000"/>
              <a:gd name="connsiteX304" fmla="*/ 8566 w 10000"/>
              <a:gd name="connsiteY304" fmla="*/ 3644 h 10000"/>
              <a:gd name="connsiteX305" fmla="*/ 8372 w 10000"/>
              <a:gd name="connsiteY305" fmla="*/ 3566 h 10000"/>
              <a:gd name="connsiteX306" fmla="*/ 8178 w 10000"/>
              <a:gd name="connsiteY306" fmla="*/ 3566 h 10000"/>
              <a:gd name="connsiteX307" fmla="*/ 8101 w 10000"/>
              <a:gd name="connsiteY307" fmla="*/ 3488 h 10000"/>
              <a:gd name="connsiteX308" fmla="*/ 8140 w 10000"/>
              <a:gd name="connsiteY308" fmla="*/ 3333 h 10000"/>
              <a:gd name="connsiteX309" fmla="*/ 8062 w 10000"/>
              <a:gd name="connsiteY309" fmla="*/ 3101 h 10000"/>
              <a:gd name="connsiteX310" fmla="*/ 7907 w 10000"/>
              <a:gd name="connsiteY310" fmla="*/ 3023 h 10000"/>
              <a:gd name="connsiteX311" fmla="*/ 7675 w 10000"/>
              <a:gd name="connsiteY311" fmla="*/ 3178 h 10000"/>
              <a:gd name="connsiteX312" fmla="*/ 7636 w 10000"/>
              <a:gd name="connsiteY312" fmla="*/ 2946 h 10000"/>
              <a:gd name="connsiteX313" fmla="*/ 7558 w 10000"/>
              <a:gd name="connsiteY313" fmla="*/ 2946 h 10000"/>
              <a:gd name="connsiteX314" fmla="*/ 7520 w 10000"/>
              <a:gd name="connsiteY314" fmla="*/ 2868 h 10000"/>
              <a:gd name="connsiteX315" fmla="*/ 7520 w 10000"/>
              <a:gd name="connsiteY315" fmla="*/ 2636 h 10000"/>
              <a:gd name="connsiteX316" fmla="*/ 7249 w 10000"/>
              <a:gd name="connsiteY316" fmla="*/ 2480 h 10000"/>
              <a:gd name="connsiteX317" fmla="*/ 6938 w 10000"/>
              <a:gd name="connsiteY317" fmla="*/ 2325 h 10000"/>
              <a:gd name="connsiteX318" fmla="*/ 6860 w 10000"/>
              <a:gd name="connsiteY318" fmla="*/ 2636 h 10000"/>
              <a:gd name="connsiteX319" fmla="*/ 6938 w 10000"/>
              <a:gd name="connsiteY319" fmla="*/ 2868 h 10000"/>
              <a:gd name="connsiteX320" fmla="*/ 6705 w 10000"/>
              <a:gd name="connsiteY320" fmla="*/ 2868 h 10000"/>
              <a:gd name="connsiteX321" fmla="*/ 6666 w 10000"/>
              <a:gd name="connsiteY321" fmla="*/ 2868 h 10000"/>
              <a:gd name="connsiteX322" fmla="*/ 6589 w 10000"/>
              <a:gd name="connsiteY322" fmla="*/ 2946 h 10000"/>
              <a:gd name="connsiteX323" fmla="*/ 6473 w 10000"/>
              <a:gd name="connsiteY323" fmla="*/ 2714 h 10000"/>
              <a:gd name="connsiteX324" fmla="*/ 6395 w 10000"/>
              <a:gd name="connsiteY324" fmla="*/ 3178 h 10000"/>
              <a:gd name="connsiteX325" fmla="*/ 6318 w 10000"/>
              <a:gd name="connsiteY325" fmla="*/ 3101 h 10000"/>
              <a:gd name="connsiteX326" fmla="*/ 6240 w 10000"/>
              <a:gd name="connsiteY326" fmla="*/ 2791 h 10000"/>
              <a:gd name="connsiteX327" fmla="*/ 6279 w 10000"/>
              <a:gd name="connsiteY327" fmla="*/ 2403 h 10000"/>
              <a:gd name="connsiteX328" fmla="*/ 6202 w 10000"/>
              <a:gd name="connsiteY328" fmla="*/ 2170 h 10000"/>
              <a:gd name="connsiteX329" fmla="*/ 5969 w 10000"/>
              <a:gd name="connsiteY329" fmla="*/ 2016 h 10000"/>
              <a:gd name="connsiteX330" fmla="*/ 5892 w 10000"/>
              <a:gd name="connsiteY330" fmla="*/ 2016 h 10000"/>
              <a:gd name="connsiteX331" fmla="*/ 5853 w 10000"/>
              <a:gd name="connsiteY331" fmla="*/ 2170 h 10000"/>
              <a:gd name="connsiteX332" fmla="*/ 5892 w 10000"/>
              <a:gd name="connsiteY332" fmla="*/ 2325 h 10000"/>
              <a:gd name="connsiteX333" fmla="*/ 5582 w 10000"/>
              <a:gd name="connsiteY333" fmla="*/ 2248 h 10000"/>
              <a:gd name="connsiteX334" fmla="*/ 5620 w 10000"/>
              <a:gd name="connsiteY334" fmla="*/ 2016 h 10000"/>
              <a:gd name="connsiteX335" fmla="*/ 5427 w 10000"/>
              <a:gd name="connsiteY335" fmla="*/ 1938 h 10000"/>
              <a:gd name="connsiteX336" fmla="*/ 5311 w 10000"/>
              <a:gd name="connsiteY336" fmla="*/ 2093 h 10000"/>
              <a:gd name="connsiteX337" fmla="*/ 5078 w 10000"/>
              <a:gd name="connsiteY337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256 w 10000"/>
              <a:gd name="connsiteY262" fmla="*/ 6822 h 10000"/>
              <a:gd name="connsiteX263" fmla="*/ 8333 w 10000"/>
              <a:gd name="connsiteY263" fmla="*/ 6590 h 10000"/>
              <a:gd name="connsiteX264" fmla="*/ 8333 w 10000"/>
              <a:gd name="connsiteY264" fmla="*/ 6434 h 10000"/>
              <a:gd name="connsiteX265" fmla="*/ 8411 w 10000"/>
              <a:gd name="connsiteY265" fmla="*/ 6434 h 10000"/>
              <a:gd name="connsiteX266" fmla="*/ 8527 w 10000"/>
              <a:gd name="connsiteY266" fmla="*/ 6279 h 10000"/>
              <a:gd name="connsiteX267" fmla="*/ 8527 w 10000"/>
              <a:gd name="connsiteY267" fmla="*/ 6434 h 10000"/>
              <a:gd name="connsiteX268" fmla="*/ 8566 w 10000"/>
              <a:gd name="connsiteY268" fmla="*/ 6356 h 10000"/>
              <a:gd name="connsiteX269" fmla="*/ 8682 w 10000"/>
              <a:gd name="connsiteY269" fmla="*/ 6279 h 10000"/>
              <a:gd name="connsiteX270" fmla="*/ 8759 w 10000"/>
              <a:gd name="connsiteY270" fmla="*/ 6434 h 10000"/>
              <a:gd name="connsiteX271" fmla="*/ 8798 w 10000"/>
              <a:gd name="connsiteY271" fmla="*/ 6279 h 10000"/>
              <a:gd name="connsiteX272" fmla="*/ 9187 w 10000"/>
              <a:gd name="connsiteY272" fmla="*/ 5737 h 10000"/>
              <a:gd name="connsiteX273" fmla="*/ 9303 w 10000"/>
              <a:gd name="connsiteY273" fmla="*/ 5814 h 10000"/>
              <a:gd name="connsiteX274" fmla="*/ 9342 w 10000"/>
              <a:gd name="connsiteY274" fmla="*/ 5737 h 10000"/>
              <a:gd name="connsiteX275" fmla="*/ 9264 w 10000"/>
              <a:gd name="connsiteY275" fmla="*/ 5271 h 10000"/>
              <a:gd name="connsiteX276" fmla="*/ 9225 w 10000"/>
              <a:gd name="connsiteY276" fmla="*/ 5271 h 10000"/>
              <a:gd name="connsiteX277" fmla="*/ 9225 w 10000"/>
              <a:gd name="connsiteY277" fmla="*/ 5116 h 10000"/>
              <a:gd name="connsiteX278" fmla="*/ 9264 w 10000"/>
              <a:gd name="connsiteY278" fmla="*/ 5116 h 10000"/>
              <a:gd name="connsiteX279" fmla="*/ 9342 w 10000"/>
              <a:gd name="connsiteY279" fmla="*/ 5039 h 10000"/>
              <a:gd name="connsiteX280" fmla="*/ 9419 w 10000"/>
              <a:gd name="connsiteY280" fmla="*/ 4884 h 10000"/>
              <a:gd name="connsiteX281" fmla="*/ 9380 w 10000"/>
              <a:gd name="connsiteY281" fmla="*/ 4729 h 10000"/>
              <a:gd name="connsiteX282" fmla="*/ 9419 w 10000"/>
              <a:gd name="connsiteY282" fmla="*/ 4652 h 10000"/>
              <a:gd name="connsiteX283" fmla="*/ 9458 w 10000"/>
              <a:gd name="connsiteY283" fmla="*/ 4884 h 10000"/>
              <a:gd name="connsiteX284" fmla="*/ 9535 w 10000"/>
              <a:gd name="connsiteY284" fmla="*/ 4884 h 10000"/>
              <a:gd name="connsiteX285" fmla="*/ 9613 w 10000"/>
              <a:gd name="connsiteY285" fmla="*/ 5039 h 10000"/>
              <a:gd name="connsiteX286" fmla="*/ 9806 w 10000"/>
              <a:gd name="connsiteY286" fmla="*/ 5271 h 10000"/>
              <a:gd name="connsiteX287" fmla="*/ 9845 w 10000"/>
              <a:gd name="connsiteY287" fmla="*/ 5039 h 10000"/>
              <a:gd name="connsiteX288" fmla="*/ 9845 w 10000"/>
              <a:gd name="connsiteY288" fmla="*/ 4884 h 10000"/>
              <a:gd name="connsiteX289" fmla="*/ 9923 w 10000"/>
              <a:gd name="connsiteY289" fmla="*/ 4884 h 10000"/>
              <a:gd name="connsiteX290" fmla="*/ 10000 w 10000"/>
              <a:gd name="connsiteY290" fmla="*/ 4729 h 10000"/>
              <a:gd name="connsiteX291" fmla="*/ 9884 w 10000"/>
              <a:gd name="connsiteY291" fmla="*/ 4496 h 10000"/>
              <a:gd name="connsiteX292" fmla="*/ 9690 w 10000"/>
              <a:gd name="connsiteY292" fmla="*/ 4418 h 10000"/>
              <a:gd name="connsiteX293" fmla="*/ 9342 w 10000"/>
              <a:gd name="connsiteY293" fmla="*/ 3799 h 10000"/>
              <a:gd name="connsiteX294" fmla="*/ 9109 w 10000"/>
              <a:gd name="connsiteY294" fmla="*/ 3488 h 10000"/>
              <a:gd name="connsiteX295" fmla="*/ 8798 w 10000"/>
              <a:gd name="connsiteY295" fmla="*/ 3411 h 10000"/>
              <a:gd name="connsiteX296" fmla="*/ 8798 w 10000"/>
              <a:gd name="connsiteY296" fmla="*/ 3799 h 10000"/>
              <a:gd name="connsiteX297" fmla="*/ 8721 w 10000"/>
              <a:gd name="connsiteY297" fmla="*/ 3876 h 10000"/>
              <a:gd name="connsiteX298" fmla="*/ 8643 w 10000"/>
              <a:gd name="connsiteY298" fmla="*/ 3721 h 10000"/>
              <a:gd name="connsiteX299" fmla="*/ 8643 w 10000"/>
              <a:gd name="connsiteY299" fmla="*/ 3566 h 10000"/>
              <a:gd name="connsiteX300" fmla="*/ 8682 w 10000"/>
              <a:gd name="connsiteY300" fmla="*/ 3566 h 10000"/>
              <a:gd name="connsiteX301" fmla="*/ 8721 w 10000"/>
              <a:gd name="connsiteY301" fmla="*/ 3488 h 10000"/>
              <a:gd name="connsiteX302" fmla="*/ 8643 w 10000"/>
              <a:gd name="connsiteY302" fmla="*/ 3488 h 10000"/>
              <a:gd name="connsiteX303" fmla="*/ 8566 w 10000"/>
              <a:gd name="connsiteY303" fmla="*/ 3644 h 10000"/>
              <a:gd name="connsiteX304" fmla="*/ 8372 w 10000"/>
              <a:gd name="connsiteY304" fmla="*/ 3566 h 10000"/>
              <a:gd name="connsiteX305" fmla="*/ 8178 w 10000"/>
              <a:gd name="connsiteY305" fmla="*/ 3566 h 10000"/>
              <a:gd name="connsiteX306" fmla="*/ 8101 w 10000"/>
              <a:gd name="connsiteY306" fmla="*/ 3488 h 10000"/>
              <a:gd name="connsiteX307" fmla="*/ 8140 w 10000"/>
              <a:gd name="connsiteY307" fmla="*/ 3333 h 10000"/>
              <a:gd name="connsiteX308" fmla="*/ 8062 w 10000"/>
              <a:gd name="connsiteY308" fmla="*/ 3101 h 10000"/>
              <a:gd name="connsiteX309" fmla="*/ 7907 w 10000"/>
              <a:gd name="connsiteY309" fmla="*/ 3023 h 10000"/>
              <a:gd name="connsiteX310" fmla="*/ 7675 w 10000"/>
              <a:gd name="connsiteY310" fmla="*/ 3178 h 10000"/>
              <a:gd name="connsiteX311" fmla="*/ 7636 w 10000"/>
              <a:gd name="connsiteY311" fmla="*/ 2946 h 10000"/>
              <a:gd name="connsiteX312" fmla="*/ 7558 w 10000"/>
              <a:gd name="connsiteY312" fmla="*/ 2946 h 10000"/>
              <a:gd name="connsiteX313" fmla="*/ 7520 w 10000"/>
              <a:gd name="connsiteY313" fmla="*/ 2868 h 10000"/>
              <a:gd name="connsiteX314" fmla="*/ 7520 w 10000"/>
              <a:gd name="connsiteY314" fmla="*/ 2636 h 10000"/>
              <a:gd name="connsiteX315" fmla="*/ 7249 w 10000"/>
              <a:gd name="connsiteY315" fmla="*/ 2480 h 10000"/>
              <a:gd name="connsiteX316" fmla="*/ 6938 w 10000"/>
              <a:gd name="connsiteY316" fmla="*/ 2325 h 10000"/>
              <a:gd name="connsiteX317" fmla="*/ 6860 w 10000"/>
              <a:gd name="connsiteY317" fmla="*/ 2636 h 10000"/>
              <a:gd name="connsiteX318" fmla="*/ 6938 w 10000"/>
              <a:gd name="connsiteY318" fmla="*/ 2868 h 10000"/>
              <a:gd name="connsiteX319" fmla="*/ 6705 w 10000"/>
              <a:gd name="connsiteY319" fmla="*/ 2868 h 10000"/>
              <a:gd name="connsiteX320" fmla="*/ 6666 w 10000"/>
              <a:gd name="connsiteY320" fmla="*/ 2868 h 10000"/>
              <a:gd name="connsiteX321" fmla="*/ 6589 w 10000"/>
              <a:gd name="connsiteY321" fmla="*/ 2946 h 10000"/>
              <a:gd name="connsiteX322" fmla="*/ 6473 w 10000"/>
              <a:gd name="connsiteY322" fmla="*/ 2714 h 10000"/>
              <a:gd name="connsiteX323" fmla="*/ 6395 w 10000"/>
              <a:gd name="connsiteY323" fmla="*/ 3178 h 10000"/>
              <a:gd name="connsiteX324" fmla="*/ 6318 w 10000"/>
              <a:gd name="connsiteY324" fmla="*/ 3101 h 10000"/>
              <a:gd name="connsiteX325" fmla="*/ 6240 w 10000"/>
              <a:gd name="connsiteY325" fmla="*/ 2791 h 10000"/>
              <a:gd name="connsiteX326" fmla="*/ 6279 w 10000"/>
              <a:gd name="connsiteY326" fmla="*/ 2403 h 10000"/>
              <a:gd name="connsiteX327" fmla="*/ 6202 w 10000"/>
              <a:gd name="connsiteY327" fmla="*/ 2170 h 10000"/>
              <a:gd name="connsiteX328" fmla="*/ 5969 w 10000"/>
              <a:gd name="connsiteY328" fmla="*/ 2016 h 10000"/>
              <a:gd name="connsiteX329" fmla="*/ 5892 w 10000"/>
              <a:gd name="connsiteY329" fmla="*/ 2016 h 10000"/>
              <a:gd name="connsiteX330" fmla="*/ 5853 w 10000"/>
              <a:gd name="connsiteY330" fmla="*/ 2170 h 10000"/>
              <a:gd name="connsiteX331" fmla="*/ 5892 w 10000"/>
              <a:gd name="connsiteY331" fmla="*/ 2325 h 10000"/>
              <a:gd name="connsiteX332" fmla="*/ 5582 w 10000"/>
              <a:gd name="connsiteY332" fmla="*/ 2248 h 10000"/>
              <a:gd name="connsiteX333" fmla="*/ 5620 w 10000"/>
              <a:gd name="connsiteY333" fmla="*/ 2016 h 10000"/>
              <a:gd name="connsiteX334" fmla="*/ 5427 w 10000"/>
              <a:gd name="connsiteY334" fmla="*/ 1938 h 10000"/>
              <a:gd name="connsiteX335" fmla="*/ 5311 w 10000"/>
              <a:gd name="connsiteY335" fmla="*/ 2093 h 10000"/>
              <a:gd name="connsiteX336" fmla="*/ 5078 w 10000"/>
              <a:gd name="connsiteY336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333 w 10000"/>
              <a:gd name="connsiteY262" fmla="*/ 6590 h 10000"/>
              <a:gd name="connsiteX263" fmla="*/ 8333 w 10000"/>
              <a:gd name="connsiteY263" fmla="*/ 6434 h 10000"/>
              <a:gd name="connsiteX264" fmla="*/ 8411 w 10000"/>
              <a:gd name="connsiteY264" fmla="*/ 6434 h 10000"/>
              <a:gd name="connsiteX265" fmla="*/ 8527 w 10000"/>
              <a:gd name="connsiteY265" fmla="*/ 6279 h 10000"/>
              <a:gd name="connsiteX266" fmla="*/ 8527 w 10000"/>
              <a:gd name="connsiteY266" fmla="*/ 6434 h 10000"/>
              <a:gd name="connsiteX267" fmla="*/ 8566 w 10000"/>
              <a:gd name="connsiteY267" fmla="*/ 6356 h 10000"/>
              <a:gd name="connsiteX268" fmla="*/ 8682 w 10000"/>
              <a:gd name="connsiteY268" fmla="*/ 6279 h 10000"/>
              <a:gd name="connsiteX269" fmla="*/ 8759 w 10000"/>
              <a:gd name="connsiteY269" fmla="*/ 6434 h 10000"/>
              <a:gd name="connsiteX270" fmla="*/ 8798 w 10000"/>
              <a:gd name="connsiteY270" fmla="*/ 6279 h 10000"/>
              <a:gd name="connsiteX271" fmla="*/ 9187 w 10000"/>
              <a:gd name="connsiteY271" fmla="*/ 5737 h 10000"/>
              <a:gd name="connsiteX272" fmla="*/ 9303 w 10000"/>
              <a:gd name="connsiteY272" fmla="*/ 5814 h 10000"/>
              <a:gd name="connsiteX273" fmla="*/ 9342 w 10000"/>
              <a:gd name="connsiteY273" fmla="*/ 5737 h 10000"/>
              <a:gd name="connsiteX274" fmla="*/ 9264 w 10000"/>
              <a:gd name="connsiteY274" fmla="*/ 5271 h 10000"/>
              <a:gd name="connsiteX275" fmla="*/ 9225 w 10000"/>
              <a:gd name="connsiteY275" fmla="*/ 5271 h 10000"/>
              <a:gd name="connsiteX276" fmla="*/ 9225 w 10000"/>
              <a:gd name="connsiteY276" fmla="*/ 5116 h 10000"/>
              <a:gd name="connsiteX277" fmla="*/ 9264 w 10000"/>
              <a:gd name="connsiteY277" fmla="*/ 5116 h 10000"/>
              <a:gd name="connsiteX278" fmla="*/ 9342 w 10000"/>
              <a:gd name="connsiteY278" fmla="*/ 5039 h 10000"/>
              <a:gd name="connsiteX279" fmla="*/ 9419 w 10000"/>
              <a:gd name="connsiteY279" fmla="*/ 4884 h 10000"/>
              <a:gd name="connsiteX280" fmla="*/ 9380 w 10000"/>
              <a:gd name="connsiteY280" fmla="*/ 4729 h 10000"/>
              <a:gd name="connsiteX281" fmla="*/ 9419 w 10000"/>
              <a:gd name="connsiteY281" fmla="*/ 4652 h 10000"/>
              <a:gd name="connsiteX282" fmla="*/ 9458 w 10000"/>
              <a:gd name="connsiteY282" fmla="*/ 4884 h 10000"/>
              <a:gd name="connsiteX283" fmla="*/ 9535 w 10000"/>
              <a:gd name="connsiteY283" fmla="*/ 4884 h 10000"/>
              <a:gd name="connsiteX284" fmla="*/ 9613 w 10000"/>
              <a:gd name="connsiteY284" fmla="*/ 5039 h 10000"/>
              <a:gd name="connsiteX285" fmla="*/ 9806 w 10000"/>
              <a:gd name="connsiteY285" fmla="*/ 5271 h 10000"/>
              <a:gd name="connsiteX286" fmla="*/ 9845 w 10000"/>
              <a:gd name="connsiteY286" fmla="*/ 5039 h 10000"/>
              <a:gd name="connsiteX287" fmla="*/ 9845 w 10000"/>
              <a:gd name="connsiteY287" fmla="*/ 4884 h 10000"/>
              <a:gd name="connsiteX288" fmla="*/ 9923 w 10000"/>
              <a:gd name="connsiteY288" fmla="*/ 4884 h 10000"/>
              <a:gd name="connsiteX289" fmla="*/ 10000 w 10000"/>
              <a:gd name="connsiteY289" fmla="*/ 4729 h 10000"/>
              <a:gd name="connsiteX290" fmla="*/ 9884 w 10000"/>
              <a:gd name="connsiteY290" fmla="*/ 4496 h 10000"/>
              <a:gd name="connsiteX291" fmla="*/ 9690 w 10000"/>
              <a:gd name="connsiteY291" fmla="*/ 4418 h 10000"/>
              <a:gd name="connsiteX292" fmla="*/ 9342 w 10000"/>
              <a:gd name="connsiteY292" fmla="*/ 3799 h 10000"/>
              <a:gd name="connsiteX293" fmla="*/ 9109 w 10000"/>
              <a:gd name="connsiteY293" fmla="*/ 3488 h 10000"/>
              <a:gd name="connsiteX294" fmla="*/ 8798 w 10000"/>
              <a:gd name="connsiteY294" fmla="*/ 3411 h 10000"/>
              <a:gd name="connsiteX295" fmla="*/ 8798 w 10000"/>
              <a:gd name="connsiteY295" fmla="*/ 3799 h 10000"/>
              <a:gd name="connsiteX296" fmla="*/ 8721 w 10000"/>
              <a:gd name="connsiteY296" fmla="*/ 3876 h 10000"/>
              <a:gd name="connsiteX297" fmla="*/ 8643 w 10000"/>
              <a:gd name="connsiteY297" fmla="*/ 3721 h 10000"/>
              <a:gd name="connsiteX298" fmla="*/ 8643 w 10000"/>
              <a:gd name="connsiteY298" fmla="*/ 3566 h 10000"/>
              <a:gd name="connsiteX299" fmla="*/ 8682 w 10000"/>
              <a:gd name="connsiteY299" fmla="*/ 3566 h 10000"/>
              <a:gd name="connsiteX300" fmla="*/ 8721 w 10000"/>
              <a:gd name="connsiteY300" fmla="*/ 3488 h 10000"/>
              <a:gd name="connsiteX301" fmla="*/ 8643 w 10000"/>
              <a:gd name="connsiteY301" fmla="*/ 3488 h 10000"/>
              <a:gd name="connsiteX302" fmla="*/ 8566 w 10000"/>
              <a:gd name="connsiteY302" fmla="*/ 3644 h 10000"/>
              <a:gd name="connsiteX303" fmla="*/ 8372 w 10000"/>
              <a:gd name="connsiteY303" fmla="*/ 3566 h 10000"/>
              <a:gd name="connsiteX304" fmla="*/ 8178 w 10000"/>
              <a:gd name="connsiteY304" fmla="*/ 3566 h 10000"/>
              <a:gd name="connsiteX305" fmla="*/ 8101 w 10000"/>
              <a:gd name="connsiteY305" fmla="*/ 3488 h 10000"/>
              <a:gd name="connsiteX306" fmla="*/ 8140 w 10000"/>
              <a:gd name="connsiteY306" fmla="*/ 3333 h 10000"/>
              <a:gd name="connsiteX307" fmla="*/ 8062 w 10000"/>
              <a:gd name="connsiteY307" fmla="*/ 3101 h 10000"/>
              <a:gd name="connsiteX308" fmla="*/ 7907 w 10000"/>
              <a:gd name="connsiteY308" fmla="*/ 3023 h 10000"/>
              <a:gd name="connsiteX309" fmla="*/ 7675 w 10000"/>
              <a:gd name="connsiteY309" fmla="*/ 3178 h 10000"/>
              <a:gd name="connsiteX310" fmla="*/ 7636 w 10000"/>
              <a:gd name="connsiteY310" fmla="*/ 2946 h 10000"/>
              <a:gd name="connsiteX311" fmla="*/ 7558 w 10000"/>
              <a:gd name="connsiteY311" fmla="*/ 2946 h 10000"/>
              <a:gd name="connsiteX312" fmla="*/ 7520 w 10000"/>
              <a:gd name="connsiteY312" fmla="*/ 2868 h 10000"/>
              <a:gd name="connsiteX313" fmla="*/ 7520 w 10000"/>
              <a:gd name="connsiteY313" fmla="*/ 2636 h 10000"/>
              <a:gd name="connsiteX314" fmla="*/ 7249 w 10000"/>
              <a:gd name="connsiteY314" fmla="*/ 2480 h 10000"/>
              <a:gd name="connsiteX315" fmla="*/ 6938 w 10000"/>
              <a:gd name="connsiteY315" fmla="*/ 2325 h 10000"/>
              <a:gd name="connsiteX316" fmla="*/ 6860 w 10000"/>
              <a:gd name="connsiteY316" fmla="*/ 2636 h 10000"/>
              <a:gd name="connsiteX317" fmla="*/ 6938 w 10000"/>
              <a:gd name="connsiteY317" fmla="*/ 2868 h 10000"/>
              <a:gd name="connsiteX318" fmla="*/ 6705 w 10000"/>
              <a:gd name="connsiteY318" fmla="*/ 2868 h 10000"/>
              <a:gd name="connsiteX319" fmla="*/ 6666 w 10000"/>
              <a:gd name="connsiteY319" fmla="*/ 2868 h 10000"/>
              <a:gd name="connsiteX320" fmla="*/ 6589 w 10000"/>
              <a:gd name="connsiteY320" fmla="*/ 2946 h 10000"/>
              <a:gd name="connsiteX321" fmla="*/ 6473 w 10000"/>
              <a:gd name="connsiteY321" fmla="*/ 2714 h 10000"/>
              <a:gd name="connsiteX322" fmla="*/ 6395 w 10000"/>
              <a:gd name="connsiteY322" fmla="*/ 3178 h 10000"/>
              <a:gd name="connsiteX323" fmla="*/ 6318 w 10000"/>
              <a:gd name="connsiteY323" fmla="*/ 3101 h 10000"/>
              <a:gd name="connsiteX324" fmla="*/ 6240 w 10000"/>
              <a:gd name="connsiteY324" fmla="*/ 2791 h 10000"/>
              <a:gd name="connsiteX325" fmla="*/ 6279 w 10000"/>
              <a:gd name="connsiteY325" fmla="*/ 2403 h 10000"/>
              <a:gd name="connsiteX326" fmla="*/ 6202 w 10000"/>
              <a:gd name="connsiteY326" fmla="*/ 2170 h 10000"/>
              <a:gd name="connsiteX327" fmla="*/ 5969 w 10000"/>
              <a:gd name="connsiteY327" fmla="*/ 2016 h 10000"/>
              <a:gd name="connsiteX328" fmla="*/ 5892 w 10000"/>
              <a:gd name="connsiteY328" fmla="*/ 2016 h 10000"/>
              <a:gd name="connsiteX329" fmla="*/ 5853 w 10000"/>
              <a:gd name="connsiteY329" fmla="*/ 2170 h 10000"/>
              <a:gd name="connsiteX330" fmla="*/ 5892 w 10000"/>
              <a:gd name="connsiteY330" fmla="*/ 2325 h 10000"/>
              <a:gd name="connsiteX331" fmla="*/ 5582 w 10000"/>
              <a:gd name="connsiteY331" fmla="*/ 2248 h 10000"/>
              <a:gd name="connsiteX332" fmla="*/ 5620 w 10000"/>
              <a:gd name="connsiteY332" fmla="*/ 2016 h 10000"/>
              <a:gd name="connsiteX333" fmla="*/ 5427 w 10000"/>
              <a:gd name="connsiteY333" fmla="*/ 1938 h 10000"/>
              <a:gd name="connsiteX334" fmla="*/ 5311 w 10000"/>
              <a:gd name="connsiteY334" fmla="*/ 2093 h 10000"/>
              <a:gd name="connsiteX335" fmla="*/ 5078 w 10000"/>
              <a:gd name="connsiteY335" fmla="*/ 1861 h 10000"/>
              <a:gd name="connsiteX0" fmla="*/ 5078 w 10000"/>
              <a:gd name="connsiteY0" fmla="*/ 1861 h 10000"/>
              <a:gd name="connsiteX1" fmla="*/ 5078 w 10000"/>
              <a:gd name="connsiteY1" fmla="*/ 1861 h 10000"/>
              <a:gd name="connsiteX2" fmla="*/ 5039 w 10000"/>
              <a:gd name="connsiteY2" fmla="*/ 1938 h 10000"/>
              <a:gd name="connsiteX3" fmla="*/ 5078 w 10000"/>
              <a:gd name="connsiteY3" fmla="*/ 2093 h 10000"/>
              <a:gd name="connsiteX4" fmla="*/ 4922 w 10000"/>
              <a:gd name="connsiteY4" fmla="*/ 2248 h 10000"/>
              <a:gd name="connsiteX5" fmla="*/ 4883 w 10000"/>
              <a:gd name="connsiteY5" fmla="*/ 2248 h 10000"/>
              <a:gd name="connsiteX6" fmla="*/ 4922 w 10000"/>
              <a:gd name="connsiteY6" fmla="*/ 2016 h 10000"/>
              <a:gd name="connsiteX7" fmla="*/ 5311 w 10000"/>
              <a:gd name="connsiteY7" fmla="*/ 1318 h 10000"/>
              <a:gd name="connsiteX8" fmla="*/ 5311 w 10000"/>
              <a:gd name="connsiteY8" fmla="*/ 853 h 10000"/>
              <a:gd name="connsiteX9" fmla="*/ 5156 w 10000"/>
              <a:gd name="connsiteY9" fmla="*/ 543 h 10000"/>
              <a:gd name="connsiteX10" fmla="*/ 4961 w 10000"/>
              <a:gd name="connsiteY10" fmla="*/ 543 h 10000"/>
              <a:gd name="connsiteX11" fmla="*/ 4961 w 10000"/>
              <a:gd name="connsiteY11" fmla="*/ 698 h 10000"/>
              <a:gd name="connsiteX12" fmla="*/ 4845 w 10000"/>
              <a:gd name="connsiteY12" fmla="*/ 698 h 10000"/>
              <a:gd name="connsiteX13" fmla="*/ 4922 w 10000"/>
              <a:gd name="connsiteY13" fmla="*/ 387 h 10000"/>
              <a:gd name="connsiteX14" fmla="*/ 4728 w 10000"/>
              <a:gd name="connsiteY14" fmla="*/ 310 h 10000"/>
              <a:gd name="connsiteX15" fmla="*/ 4845 w 10000"/>
              <a:gd name="connsiteY15" fmla="*/ 155 h 10000"/>
              <a:gd name="connsiteX16" fmla="*/ 4728 w 10000"/>
              <a:gd name="connsiteY16" fmla="*/ 0 h 10000"/>
              <a:gd name="connsiteX17" fmla="*/ 4535 w 10000"/>
              <a:gd name="connsiteY17" fmla="*/ 387 h 10000"/>
              <a:gd name="connsiteX18" fmla="*/ 4535 w 10000"/>
              <a:gd name="connsiteY18" fmla="*/ 698 h 10000"/>
              <a:gd name="connsiteX19" fmla="*/ 4418 w 10000"/>
              <a:gd name="connsiteY19" fmla="*/ 698 h 10000"/>
              <a:gd name="connsiteX20" fmla="*/ 4070 w 10000"/>
              <a:gd name="connsiteY20" fmla="*/ 853 h 10000"/>
              <a:gd name="connsiteX21" fmla="*/ 3760 w 10000"/>
              <a:gd name="connsiteY21" fmla="*/ 1240 h 10000"/>
              <a:gd name="connsiteX22" fmla="*/ 3644 w 10000"/>
              <a:gd name="connsiteY22" fmla="*/ 1551 h 10000"/>
              <a:gd name="connsiteX23" fmla="*/ 3682 w 10000"/>
              <a:gd name="connsiteY23" fmla="*/ 1938 h 10000"/>
              <a:gd name="connsiteX24" fmla="*/ 3256 w 10000"/>
              <a:gd name="connsiteY24" fmla="*/ 2093 h 10000"/>
              <a:gd name="connsiteX25" fmla="*/ 3295 w 10000"/>
              <a:gd name="connsiteY25" fmla="*/ 2559 h 10000"/>
              <a:gd name="connsiteX26" fmla="*/ 3411 w 10000"/>
              <a:gd name="connsiteY26" fmla="*/ 2791 h 10000"/>
              <a:gd name="connsiteX27" fmla="*/ 3334 w 10000"/>
              <a:gd name="connsiteY27" fmla="*/ 2868 h 10000"/>
              <a:gd name="connsiteX28" fmla="*/ 3217 w 10000"/>
              <a:gd name="connsiteY28" fmla="*/ 2559 h 10000"/>
              <a:gd name="connsiteX29" fmla="*/ 3101 w 10000"/>
              <a:gd name="connsiteY29" fmla="*/ 2480 h 10000"/>
              <a:gd name="connsiteX30" fmla="*/ 3063 w 10000"/>
              <a:gd name="connsiteY30" fmla="*/ 2559 h 10000"/>
              <a:gd name="connsiteX31" fmla="*/ 2984 w 10000"/>
              <a:gd name="connsiteY31" fmla="*/ 2403 h 10000"/>
              <a:gd name="connsiteX32" fmla="*/ 2907 w 10000"/>
              <a:gd name="connsiteY32" fmla="*/ 2248 h 10000"/>
              <a:gd name="connsiteX33" fmla="*/ 2907 w 10000"/>
              <a:gd name="connsiteY33" fmla="*/ 2325 h 10000"/>
              <a:gd name="connsiteX34" fmla="*/ 2945 w 10000"/>
              <a:gd name="connsiteY34" fmla="*/ 2559 h 10000"/>
              <a:gd name="connsiteX35" fmla="*/ 2829 w 10000"/>
              <a:gd name="connsiteY35" fmla="*/ 2946 h 10000"/>
              <a:gd name="connsiteX36" fmla="*/ 2907 w 10000"/>
              <a:gd name="connsiteY36" fmla="*/ 3256 h 10000"/>
              <a:gd name="connsiteX37" fmla="*/ 2868 w 10000"/>
              <a:gd name="connsiteY37" fmla="*/ 3566 h 10000"/>
              <a:gd name="connsiteX38" fmla="*/ 2868 w 10000"/>
              <a:gd name="connsiteY38" fmla="*/ 3799 h 10000"/>
              <a:gd name="connsiteX39" fmla="*/ 2984 w 10000"/>
              <a:gd name="connsiteY39" fmla="*/ 3799 h 10000"/>
              <a:gd name="connsiteX40" fmla="*/ 2907 w 10000"/>
              <a:gd name="connsiteY40" fmla="*/ 3876 h 10000"/>
              <a:gd name="connsiteX41" fmla="*/ 2945 w 10000"/>
              <a:gd name="connsiteY41" fmla="*/ 4263 h 10000"/>
              <a:gd name="connsiteX42" fmla="*/ 2713 w 10000"/>
              <a:gd name="connsiteY42" fmla="*/ 4652 h 10000"/>
              <a:gd name="connsiteX43" fmla="*/ 2674 w 10000"/>
              <a:gd name="connsiteY43" fmla="*/ 4574 h 10000"/>
              <a:gd name="connsiteX44" fmla="*/ 2829 w 10000"/>
              <a:gd name="connsiteY44" fmla="*/ 4186 h 10000"/>
              <a:gd name="connsiteX45" fmla="*/ 2868 w 10000"/>
              <a:gd name="connsiteY45" fmla="*/ 3954 h 10000"/>
              <a:gd name="connsiteX46" fmla="*/ 2790 w 10000"/>
              <a:gd name="connsiteY46" fmla="*/ 3799 h 10000"/>
              <a:gd name="connsiteX47" fmla="*/ 2790 w 10000"/>
              <a:gd name="connsiteY47" fmla="*/ 3023 h 10000"/>
              <a:gd name="connsiteX48" fmla="*/ 2752 w 10000"/>
              <a:gd name="connsiteY48" fmla="*/ 2868 h 10000"/>
              <a:gd name="connsiteX49" fmla="*/ 2790 w 10000"/>
              <a:gd name="connsiteY49" fmla="*/ 2403 h 10000"/>
              <a:gd name="connsiteX50" fmla="*/ 2713 w 10000"/>
              <a:gd name="connsiteY50" fmla="*/ 2325 h 10000"/>
              <a:gd name="connsiteX51" fmla="*/ 2752 w 10000"/>
              <a:gd name="connsiteY51" fmla="*/ 2248 h 10000"/>
              <a:gd name="connsiteX52" fmla="*/ 2713 w 10000"/>
              <a:gd name="connsiteY52" fmla="*/ 2093 h 10000"/>
              <a:gd name="connsiteX53" fmla="*/ 2635 w 10000"/>
              <a:gd name="connsiteY53" fmla="*/ 2170 h 10000"/>
              <a:gd name="connsiteX54" fmla="*/ 2442 w 10000"/>
              <a:gd name="connsiteY54" fmla="*/ 3178 h 10000"/>
              <a:gd name="connsiteX55" fmla="*/ 2442 w 10000"/>
              <a:gd name="connsiteY55" fmla="*/ 3566 h 10000"/>
              <a:gd name="connsiteX56" fmla="*/ 2558 w 10000"/>
              <a:gd name="connsiteY56" fmla="*/ 3876 h 10000"/>
              <a:gd name="connsiteX57" fmla="*/ 2558 w 10000"/>
              <a:gd name="connsiteY57" fmla="*/ 4031 h 10000"/>
              <a:gd name="connsiteX58" fmla="*/ 2442 w 10000"/>
              <a:gd name="connsiteY58" fmla="*/ 3876 h 10000"/>
              <a:gd name="connsiteX59" fmla="*/ 1977 w 10000"/>
              <a:gd name="connsiteY59" fmla="*/ 3256 h 10000"/>
              <a:gd name="connsiteX60" fmla="*/ 1938 w 10000"/>
              <a:gd name="connsiteY60" fmla="*/ 3411 h 10000"/>
              <a:gd name="connsiteX61" fmla="*/ 2093 w 10000"/>
              <a:gd name="connsiteY61" fmla="*/ 3799 h 10000"/>
              <a:gd name="connsiteX62" fmla="*/ 2016 w 10000"/>
              <a:gd name="connsiteY62" fmla="*/ 3876 h 10000"/>
              <a:gd name="connsiteX63" fmla="*/ 1977 w 10000"/>
              <a:gd name="connsiteY63" fmla="*/ 3799 h 10000"/>
              <a:gd name="connsiteX64" fmla="*/ 1744 w 10000"/>
              <a:gd name="connsiteY64" fmla="*/ 3954 h 10000"/>
              <a:gd name="connsiteX65" fmla="*/ 1706 w 10000"/>
              <a:gd name="connsiteY65" fmla="*/ 4109 h 10000"/>
              <a:gd name="connsiteX66" fmla="*/ 1667 w 10000"/>
              <a:gd name="connsiteY66" fmla="*/ 3954 h 10000"/>
              <a:gd name="connsiteX67" fmla="*/ 1667 w 10000"/>
              <a:gd name="connsiteY67" fmla="*/ 3799 h 10000"/>
              <a:gd name="connsiteX68" fmla="*/ 1279 w 10000"/>
              <a:gd name="connsiteY68" fmla="*/ 4263 h 10000"/>
              <a:gd name="connsiteX69" fmla="*/ 1279 w 10000"/>
              <a:gd name="connsiteY69" fmla="*/ 4418 h 10000"/>
              <a:gd name="connsiteX70" fmla="*/ 1202 w 10000"/>
              <a:gd name="connsiteY70" fmla="*/ 4496 h 10000"/>
              <a:gd name="connsiteX71" fmla="*/ 1086 w 10000"/>
              <a:gd name="connsiteY71" fmla="*/ 4341 h 10000"/>
              <a:gd name="connsiteX72" fmla="*/ 1202 w 10000"/>
              <a:gd name="connsiteY72" fmla="*/ 4186 h 10000"/>
              <a:gd name="connsiteX73" fmla="*/ 1163 w 10000"/>
              <a:gd name="connsiteY73" fmla="*/ 3954 h 10000"/>
              <a:gd name="connsiteX74" fmla="*/ 1008 w 10000"/>
              <a:gd name="connsiteY74" fmla="*/ 3876 h 10000"/>
              <a:gd name="connsiteX75" fmla="*/ 1047 w 10000"/>
              <a:gd name="connsiteY75" fmla="*/ 4031 h 10000"/>
              <a:gd name="connsiteX76" fmla="*/ 1047 w 10000"/>
              <a:gd name="connsiteY76" fmla="*/ 4418 h 10000"/>
              <a:gd name="connsiteX77" fmla="*/ 1086 w 10000"/>
              <a:gd name="connsiteY77" fmla="*/ 4574 h 10000"/>
              <a:gd name="connsiteX78" fmla="*/ 1047 w 10000"/>
              <a:gd name="connsiteY78" fmla="*/ 4729 h 10000"/>
              <a:gd name="connsiteX79" fmla="*/ 930 w 10000"/>
              <a:gd name="connsiteY79" fmla="*/ 4652 h 10000"/>
              <a:gd name="connsiteX80" fmla="*/ 775 w 10000"/>
              <a:gd name="connsiteY80" fmla="*/ 4884 h 10000"/>
              <a:gd name="connsiteX81" fmla="*/ 852 w 10000"/>
              <a:gd name="connsiteY81" fmla="*/ 5194 h 10000"/>
              <a:gd name="connsiteX82" fmla="*/ 620 w 10000"/>
              <a:gd name="connsiteY82" fmla="*/ 5039 h 10000"/>
              <a:gd name="connsiteX83" fmla="*/ 581 w 10000"/>
              <a:gd name="connsiteY83" fmla="*/ 5116 h 10000"/>
              <a:gd name="connsiteX84" fmla="*/ 659 w 10000"/>
              <a:gd name="connsiteY84" fmla="*/ 5349 h 10000"/>
              <a:gd name="connsiteX85" fmla="*/ 581 w 10000"/>
              <a:gd name="connsiteY85" fmla="*/ 5349 h 10000"/>
              <a:gd name="connsiteX86" fmla="*/ 465 w 10000"/>
              <a:gd name="connsiteY86" fmla="*/ 5194 h 10000"/>
              <a:gd name="connsiteX87" fmla="*/ 465 w 10000"/>
              <a:gd name="connsiteY87" fmla="*/ 4729 h 10000"/>
              <a:gd name="connsiteX88" fmla="*/ 349 w 10000"/>
              <a:gd name="connsiteY88" fmla="*/ 4574 h 10000"/>
              <a:gd name="connsiteX89" fmla="*/ 310 w 10000"/>
              <a:gd name="connsiteY89" fmla="*/ 4418 h 10000"/>
              <a:gd name="connsiteX90" fmla="*/ 387 w 10000"/>
              <a:gd name="connsiteY90" fmla="*/ 4496 h 10000"/>
              <a:gd name="connsiteX91" fmla="*/ 697 w 10000"/>
              <a:gd name="connsiteY91" fmla="*/ 4729 h 10000"/>
              <a:gd name="connsiteX92" fmla="*/ 891 w 10000"/>
              <a:gd name="connsiteY92" fmla="*/ 4496 h 10000"/>
              <a:gd name="connsiteX93" fmla="*/ 852 w 10000"/>
              <a:gd name="connsiteY93" fmla="*/ 4263 h 10000"/>
              <a:gd name="connsiteX94" fmla="*/ 620 w 10000"/>
              <a:gd name="connsiteY94" fmla="*/ 3799 h 10000"/>
              <a:gd name="connsiteX95" fmla="*/ 387 w 10000"/>
              <a:gd name="connsiteY95" fmla="*/ 3644 h 10000"/>
              <a:gd name="connsiteX96" fmla="*/ 387 w 10000"/>
              <a:gd name="connsiteY96" fmla="*/ 3566 h 10000"/>
              <a:gd name="connsiteX97" fmla="*/ 310 w 10000"/>
              <a:gd name="connsiteY97" fmla="*/ 3488 h 10000"/>
              <a:gd name="connsiteX98" fmla="*/ 232 w 10000"/>
              <a:gd name="connsiteY98" fmla="*/ 3566 h 10000"/>
              <a:gd name="connsiteX99" fmla="*/ 232 w 10000"/>
              <a:gd name="connsiteY99" fmla="*/ 3644 h 10000"/>
              <a:gd name="connsiteX100" fmla="*/ 194 w 10000"/>
              <a:gd name="connsiteY100" fmla="*/ 3644 h 10000"/>
              <a:gd name="connsiteX101" fmla="*/ 116 w 10000"/>
              <a:gd name="connsiteY101" fmla="*/ 3799 h 10000"/>
              <a:gd name="connsiteX102" fmla="*/ 116 w 10000"/>
              <a:gd name="connsiteY102" fmla="*/ 4031 h 10000"/>
              <a:gd name="connsiteX103" fmla="*/ 194 w 10000"/>
              <a:gd name="connsiteY103" fmla="*/ 4186 h 10000"/>
              <a:gd name="connsiteX104" fmla="*/ 155 w 10000"/>
              <a:gd name="connsiteY104" fmla="*/ 4418 h 10000"/>
              <a:gd name="connsiteX105" fmla="*/ 194 w 10000"/>
              <a:gd name="connsiteY105" fmla="*/ 4807 h 10000"/>
              <a:gd name="connsiteX106" fmla="*/ 155 w 10000"/>
              <a:gd name="connsiteY106" fmla="*/ 5039 h 10000"/>
              <a:gd name="connsiteX107" fmla="*/ 232 w 10000"/>
              <a:gd name="connsiteY107" fmla="*/ 5271 h 10000"/>
              <a:gd name="connsiteX108" fmla="*/ 194 w 10000"/>
              <a:gd name="connsiteY108" fmla="*/ 5426 h 10000"/>
              <a:gd name="connsiteX109" fmla="*/ 271 w 10000"/>
              <a:gd name="connsiteY109" fmla="*/ 5582 h 10000"/>
              <a:gd name="connsiteX110" fmla="*/ 271 w 10000"/>
              <a:gd name="connsiteY110" fmla="*/ 5659 h 10000"/>
              <a:gd name="connsiteX111" fmla="*/ 155 w 10000"/>
              <a:gd name="connsiteY111" fmla="*/ 6047 h 10000"/>
              <a:gd name="connsiteX112" fmla="*/ 39 w 10000"/>
              <a:gd name="connsiteY112" fmla="*/ 6202 h 10000"/>
              <a:gd name="connsiteX113" fmla="*/ 77 w 10000"/>
              <a:gd name="connsiteY113" fmla="*/ 6202 h 10000"/>
              <a:gd name="connsiteX114" fmla="*/ 155 w 10000"/>
              <a:gd name="connsiteY114" fmla="*/ 6356 h 10000"/>
              <a:gd name="connsiteX115" fmla="*/ 77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7 w 10000"/>
              <a:gd name="connsiteY122" fmla="*/ 7209 h 10000"/>
              <a:gd name="connsiteX123" fmla="*/ 194 w 10000"/>
              <a:gd name="connsiteY123" fmla="*/ 7287 h 10000"/>
              <a:gd name="connsiteX124" fmla="*/ 232 w 10000"/>
              <a:gd name="connsiteY124" fmla="*/ 7364 h 10000"/>
              <a:gd name="connsiteX125" fmla="*/ 232 w 10000"/>
              <a:gd name="connsiteY125" fmla="*/ 7520 h 10000"/>
              <a:gd name="connsiteX126" fmla="*/ 310 w 10000"/>
              <a:gd name="connsiteY126" fmla="*/ 7752 h 10000"/>
              <a:gd name="connsiteX127" fmla="*/ 349 w 10000"/>
              <a:gd name="connsiteY127" fmla="*/ 7752 h 10000"/>
              <a:gd name="connsiteX128" fmla="*/ 310 w 10000"/>
              <a:gd name="connsiteY128" fmla="*/ 7907 h 10000"/>
              <a:gd name="connsiteX129" fmla="*/ 271 w 10000"/>
              <a:gd name="connsiteY129" fmla="*/ 7830 h 10000"/>
              <a:gd name="connsiteX130" fmla="*/ 271 w 10000"/>
              <a:gd name="connsiteY130" fmla="*/ 7907 h 10000"/>
              <a:gd name="connsiteX131" fmla="*/ 310 w 10000"/>
              <a:gd name="connsiteY131" fmla="*/ 8062 h 10000"/>
              <a:gd name="connsiteX132" fmla="*/ 426 w 10000"/>
              <a:gd name="connsiteY132" fmla="*/ 8062 h 10000"/>
              <a:gd name="connsiteX133" fmla="*/ 465 w 10000"/>
              <a:gd name="connsiteY133" fmla="*/ 8140 h 10000"/>
              <a:gd name="connsiteX134" fmla="*/ 426 w 10000"/>
              <a:gd name="connsiteY134" fmla="*/ 8140 h 10000"/>
              <a:gd name="connsiteX135" fmla="*/ 465 w 10000"/>
              <a:gd name="connsiteY135" fmla="*/ 8217 h 10000"/>
              <a:gd name="connsiteX136" fmla="*/ 504 w 10000"/>
              <a:gd name="connsiteY136" fmla="*/ 8217 h 10000"/>
              <a:gd name="connsiteX137" fmla="*/ 542 w 10000"/>
              <a:gd name="connsiteY137" fmla="*/ 8372 h 10000"/>
              <a:gd name="connsiteX138" fmla="*/ 581 w 10000"/>
              <a:gd name="connsiteY138" fmla="*/ 8449 h 10000"/>
              <a:gd name="connsiteX139" fmla="*/ 620 w 10000"/>
              <a:gd name="connsiteY139" fmla="*/ 8372 h 10000"/>
              <a:gd name="connsiteX140" fmla="*/ 814 w 10000"/>
              <a:gd name="connsiteY140" fmla="*/ 8605 h 10000"/>
              <a:gd name="connsiteX141" fmla="*/ 775 w 10000"/>
              <a:gd name="connsiteY141" fmla="*/ 8915 h 10000"/>
              <a:gd name="connsiteX142" fmla="*/ 736 w 10000"/>
              <a:gd name="connsiteY142" fmla="*/ 8838 h 10000"/>
              <a:gd name="connsiteX143" fmla="*/ 697 w 10000"/>
              <a:gd name="connsiteY143" fmla="*/ 8915 h 10000"/>
              <a:gd name="connsiteX144" fmla="*/ 697 w 10000"/>
              <a:gd name="connsiteY144" fmla="*/ 9070 h 10000"/>
              <a:gd name="connsiteX145" fmla="*/ 736 w 10000"/>
              <a:gd name="connsiteY145" fmla="*/ 8993 h 10000"/>
              <a:gd name="connsiteX146" fmla="*/ 775 w 10000"/>
              <a:gd name="connsiteY146" fmla="*/ 9070 h 10000"/>
              <a:gd name="connsiteX147" fmla="*/ 659 w 10000"/>
              <a:gd name="connsiteY147" fmla="*/ 9147 h 10000"/>
              <a:gd name="connsiteX148" fmla="*/ 697 w 10000"/>
              <a:gd name="connsiteY148" fmla="*/ 9225 h 10000"/>
              <a:gd name="connsiteX149" fmla="*/ 620 w 10000"/>
              <a:gd name="connsiteY149" fmla="*/ 9380 h 10000"/>
              <a:gd name="connsiteX150" fmla="*/ 581 w 10000"/>
              <a:gd name="connsiteY150" fmla="*/ 9380 h 10000"/>
              <a:gd name="connsiteX151" fmla="*/ 620 w 10000"/>
              <a:gd name="connsiteY151" fmla="*/ 9380 h 10000"/>
              <a:gd name="connsiteX152" fmla="*/ 775 w 10000"/>
              <a:gd name="connsiteY152" fmla="*/ 9691 h 10000"/>
              <a:gd name="connsiteX153" fmla="*/ 969 w 10000"/>
              <a:gd name="connsiteY153" fmla="*/ 9691 h 10000"/>
              <a:gd name="connsiteX154" fmla="*/ 1047 w 10000"/>
              <a:gd name="connsiteY154" fmla="*/ 9768 h 10000"/>
              <a:gd name="connsiteX155" fmla="*/ 1124 w 10000"/>
              <a:gd name="connsiteY155" fmla="*/ 9768 h 10000"/>
              <a:gd name="connsiteX156" fmla="*/ 1202 w 10000"/>
              <a:gd name="connsiteY156" fmla="*/ 9923 h 10000"/>
              <a:gd name="connsiteX157" fmla="*/ 1241 w 10000"/>
              <a:gd name="connsiteY157" fmla="*/ 10000 h 10000"/>
              <a:gd name="connsiteX158" fmla="*/ 1279 w 10000"/>
              <a:gd name="connsiteY158" fmla="*/ 10000 h 10000"/>
              <a:gd name="connsiteX159" fmla="*/ 1318 w 10000"/>
              <a:gd name="connsiteY159" fmla="*/ 9923 h 10000"/>
              <a:gd name="connsiteX160" fmla="*/ 1241 w 10000"/>
              <a:gd name="connsiteY160" fmla="*/ 9768 h 10000"/>
              <a:gd name="connsiteX161" fmla="*/ 1241 w 10000"/>
              <a:gd name="connsiteY161" fmla="*/ 9613 h 10000"/>
              <a:gd name="connsiteX162" fmla="*/ 1202 w 10000"/>
              <a:gd name="connsiteY162" fmla="*/ 9457 h 10000"/>
              <a:gd name="connsiteX163" fmla="*/ 1279 w 10000"/>
              <a:gd name="connsiteY163" fmla="*/ 9225 h 10000"/>
              <a:gd name="connsiteX164" fmla="*/ 1318 w 10000"/>
              <a:gd name="connsiteY164" fmla="*/ 9302 h 10000"/>
              <a:gd name="connsiteX165" fmla="*/ 1357 w 10000"/>
              <a:gd name="connsiteY165" fmla="*/ 9225 h 10000"/>
              <a:gd name="connsiteX166" fmla="*/ 1357 w 10000"/>
              <a:gd name="connsiteY166" fmla="*/ 9147 h 10000"/>
              <a:gd name="connsiteX167" fmla="*/ 1318 w 10000"/>
              <a:gd name="connsiteY167" fmla="*/ 9147 h 10000"/>
              <a:gd name="connsiteX168" fmla="*/ 1357 w 10000"/>
              <a:gd name="connsiteY168" fmla="*/ 9070 h 10000"/>
              <a:gd name="connsiteX169" fmla="*/ 1318 w 10000"/>
              <a:gd name="connsiteY169" fmla="*/ 8915 h 10000"/>
              <a:gd name="connsiteX170" fmla="*/ 1241 w 10000"/>
              <a:gd name="connsiteY170" fmla="*/ 8915 h 10000"/>
              <a:gd name="connsiteX171" fmla="*/ 1202 w 10000"/>
              <a:gd name="connsiteY171" fmla="*/ 8760 h 10000"/>
              <a:gd name="connsiteX172" fmla="*/ 1241 w 10000"/>
              <a:gd name="connsiteY172" fmla="*/ 8372 h 10000"/>
              <a:gd name="connsiteX173" fmla="*/ 1318 w 10000"/>
              <a:gd name="connsiteY173" fmla="*/ 8528 h 10000"/>
              <a:gd name="connsiteX174" fmla="*/ 1357 w 10000"/>
              <a:gd name="connsiteY174" fmla="*/ 8528 h 10000"/>
              <a:gd name="connsiteX175" fmla="*/ 1318 w 10000"/>
              <a:gd name="connsiteY175" fmla="*/ 8372 h 10000"/>
              <a:gd name="connsiteX176" fmla="*/ 1434 w 10000"/>
              <a:gd name="connsiteY176" fmla="*/ 8140 h 10000"/>
              <a:gd name="connsiteX177" fmla="*/ 1512 w 10000"/>
              <a:gd name="connsiteY177" fmla="*/ 8217 h 10000"/>
              <a:gd name="connsiteX178" fmla="*/ 1551 w 10000"/>
              <a:gd name="connsiteY178" fmla="*/ 8140 h 10000"/>
              <a:gd name="connsiteX179" fmla="*/ 1628 w 10000"/>
              <a:gd name="connsiteY179" fmla="*/ 8217 h 10000"/>
              <a:gd name="connsiteX180" fmla="*/ 1744 w 10000"/>
              <a:gd name="connsiteY180" fmla="*/ 8372 h 10000"/>
              <a:gd name="connsiteX181" fmla="*/ 1822 w 10000"/>
              <a:gd name="connsiteY181" fmla="*/ 8295 h 10000"/>
              <a:gd name="connsiteX182" fmla="*/ 1899 w 10000"/>
              <a:gd name="connsiteY182" fmla="*/ 8295 h 10000"/>
              <a:gd name="connsiteX183" fmla="*/ 1938 w 10000"/>
              <a:gd name="connsiteY183" fmla="*/ 8372 h 10000"/>
              <a:gd name="connsiteX184" fmla="*/ 2093 w 10000"/>
              <a:gd name="connsiteY184" fmla="*/ 8372 h 10000"/>
              <a:gd name="connsiteX185" fmla="*/ 2132 w 10000"/>
              <a:gd name="connsiteY185" fmla="*/ 8217 h 10000"/>
              <a:gd name="connsiteX186" fmla="*/ 2016 w 10000"/>
              <a:gd name="connsiteY186" fmla="*/ 8140 h 10000"/>
              <a:gd name="connsiteX187" fmla="*/ 2093 w 10000"/>
              <a:gd name="connsiteY187" fmla="*/ 8062 h 10000"/>
              <a:gd name="connsiteX188" fmla="*/ 2054 w 10000"/>
              <a:gd name="connsiteY188" fmla="*/ 7985 h 10000"/>
              <a:gd name="connsiteX189" fmla="*/ 2093 w 10000"/>
              <a:gd name="connsiteY189" fmla="*/ 7907 h 10000"/>
              <a:gd name="connsiteX190" fmla="*/ 2093 w 10000"/>
              <a:gd name="connsiteY190" fmla="*/ 7675 h 10000"/>
              <a:gd name="connsiteX191" fmla="*/ 2170 w 10000"/>
              <a:gd name="connsiteY191" fmla="*/ 7752 h 10000"/>
              <a:gd name="connsiteX192" fmla="*/ 2519 w 10000"/>
              <a:gd name="connsiteY192" fmla="*/ 7520 h 10000"/>
              <a:gd name="connsiteX193" fmla="*/ 2519 w 10000"/>
              <a:gd name="connsiteY193" fmla="*/ 7442 h 10000"/>
              <a:gd name="connsiteX194" fmla="*/ 2558 w 10000"/>
              <a:gd name="connsiteY194" fmla="*/ 7442 h 10000"/>
              <a:gd name="connsiteX195" fmla="*/ 2674 w 10000"/>
              <a:gd name="connsiteY195" fmla="*/ 7442 h 10000"/>
              <a:gd name="connsiteX196" fmla="*/ 2713 w 10000"/>
              <a:gd name="connsiteY196" fmla="*/ 7598 h 10000"/>
              <a:gd name="connsiteX197" fmla="*/ 2713 w 10000"/>
              <a:gd name="connsiteY197" fmla="*/ 7675 h 10000"/>
              <a:gd name="connsiteX198" fmla="*/ 2752 w 10000"/>
              <a:gd name="connsiteY198" fmla="*/ 7675 h 10000"/>
              <a:gd name="connsiteX199" fmla="*/ 2829 w 10000"/>
              <a:gd name="connsiteY199" fmla="*/ 7752 h 10000"/>
              <a:gd name="connsiteX200" fmla="*/ 2829 w 10000"/>
              <a:gd name="connsiteY200" fmla="*/ 7830 h 10000"/>
              <a:gd name="connsiteX201" fmla="*/ 2907 w 10000"/>
              <a:gd name="connsiteY201" fmla="*/ 7830 h 10000"/>
              <a:gd name="connsiteX202" fmla="*/ 2984 w 10000"/>
              <a:gd name="connsiteY202" fmla="*/ 7675 h 10000"/>
              <a:gd name="connsiteX203" fmla="*/ 3063 w 10000"/>
              <a:gd name="connsiteY203" fmla="*/ 7598 h 10000"/>
              <a:gd name="connsiteX204" fmla="*/ 3101 w 10000"/>
              <a:gd name="connsiteY204" fmla="*/ 7830 h 10000"/>
              <a:gd name="connsiteX205" fmla="*/ 3256 w 10000"/>
              <a:gd name="connsiteY205" fmla="*/ 8372 h 10000"/>
              <a:gd name="connsiteX206" fmla="*/ 3295 w 10000"/>
              <a:gd name="connsiteY206" fmla="*/ 8217 h 10000"/>
              <a:gd name="connsiteX207" fmla="*/ 3334 w 10000"/>
              <a:gd name="connsiteY207" fmla="*/ 8372 h 10000"/>
              <a:gd name="connsiteX208" fmla="*/ 3450 w 10000"/>
              <a:gd name="connsiteY208" fmla="*/ 8295 h 10000"/>
              <a:gd name="connsiteX209" fmla="*/ 3566 w 10000"/>
              <a:gd name="connsiteY209" fmla="*/ 8528 h 10000"/>
              <a:gd name="connsiteX210" fmla="*/ 3644 w 10000"/>
              <a:gd name="connsiteY210" fmla="*/ 8605 h 10000"/>
              <a:gd name="connsiteX211" fmla="*/ 3644 w 10000"/>
              <a:gd name="connsiteY211" fmla="*/ 8528 h 10000"/>
              <a:gd name="connsiteX212" fmla="*/ 3682 w 10000"/>
              <a:gd name="connsiteY212" fmla="*/ 8683 h 10000"/>
              <a:gd name="connsiteX213" fmla="*/ 3644 w 10000"/>
              <a:gd name="connsiteY213" fmla="*/ 8760 h 10000"/>
              <a:gd name="connsiteX214" fmla="*/ 3721 w 10000"/>
              <a:gd name="connsiteY214" fmla="*/ 8683 h 10000"/>
              <a:gd name="connsiteX215" fmla="*/ 3760 w 10000"/>
              <a:gd name="connsiteY215" fmla="*/ 8605 h 10000"/>
              <a:gd name="connsiteX216" fmla="*/ 3954 w 10000"/>
              <a:gd name="connsiteY216" fmla="*/ 8372 h 10000"/>
              <a:gd name="connsiteX217" fmla="*/ 4109 w 10000"/>
              <a:gd name="connsiteY217" fmla="*/ 8449 h 10000"/>
              <a:gd name="connsiteX218" fmla="*/ 4186 w 10000"/>
              <a:gd name="connsiteY218" fmla="*/ 8528 h 10000"/>
              <a:gd name="connsiteX219" fmla="*/ 4341 w 10000"/>
              <a:gd name="connsiteY219" fmla="*/ 8528 h 10000"/>
              <a:gd name="connsiteX220" fmla="*/ 4341 w 10000"/>
              <a:gd name="connsiteY220" fmla="*/ 8372 h 10000"/>
              <a:gd name="connsiteX221" fmla="*/ 4341 w 10000"/>
              <a:gd name="connsiteY221" fmla="*/ 8217 h 10000"/>
              <a:gd name="connsiteX222" fmla="*/ 4418 w 10000"/>
              <a:gd name="connsiteY222" fmla="*/ 8140 h 10000"/>
              <a:gd name="connsiteX223" fmla="*/ 4573 w 10000"/>
              <a:gd name="connsiteY223" fmla="*/ 8217 h 10000"/>
              <a:gd name="connsiteX224" fmla="*/ 4651 w 10000"/>
              <a:gd name="connsiteY224" fmla="*/ 8449 h 10000"/>
              <a:gd name="connsiteX225" fmla="*/ 4690 w 10000"/>
              <a:gd name="connsiteY225" fmla="*/ 8449 h 10000"/>
              <a:gd name="connsiteX226" fmla="*/ 4767 w 10000"/>
              <a:gd name="connsiteY226" fmla="*/ 8372 h 10000"/>
              <a:gd name="connsiteX227" fmla="*/ 5001 w 10000"/>
              <a:gd name="connsiteY227" fmla="*/ 8605 h 10000"/>
              <a:gd name="connsiteX228" fmla="*/ 5117 w 10000"/>
              <a:gd name="connsiteY228" fmla="*/ 8683 h 10000"/>
              <a:gd name="connsiteX229" fmla="*/ 5272 w 10000"/>
              <a:gd name="connsiteY229" fmla="*/ 8605 h 10000"/>
              <a:gd name="connsiteX230" fmla="*/ 5349 w 10000"/>
              <a:gd name="connsiteY230" fmla="*/ 8449 h 10000"/>
              <a:gd name="connsiteX231" fmla="*/ 5465 w 10000"/>
              <a:gd name="connsiteY231" fmla="*/ 8528 h 10000"/>
              <a:gd name="connsiteX232" fmla="*/ 5543 w 10000"/>
              <a:gd name="connsiteY232" fmla="*/ 8605 h 10000"/>
              <a:gd name="connsiteX233" fmla="*/ 6860 w 10000"/>
              <a:gd name="connsiteY233" fmla="*/ 7675 h 10000"/>
              <a:gd name="connsiteX234" fmla="*/ 6783 w 10000"/>
              <a:gd name="connsiteY234" fmla="*/ 7675 h 10000"/>
              <a:gd name="connsiteX235" fmla="*/ 6744 w 10000"/>
              <a:gd name="connsiteY235" fmla="*/ 7675 h 10000"/>
              <a:gd name="connsiteX236" fmla="*/ 6705 w 10000"/>
              <a:gd name="connsiteY236" fmla="*/ 7598 h 10000"/>
              <a:gd name="connsiteX237" fmla="*/ 6628 w 10000"/>
              <a:gd name="connsiteY237" fmla="*/ 7598 h 10000"/>
              <a:gd name="connsiteX238" fmla="*/ 6628 w 10000"/>
              <a:gd name="connsiteY238" fmla="*/ 7520 h 10000"/>
              <a:gd name="connsiteX239" fmla="*/ 6744 w 10000"/>
              <a:gd name="connsiteY239" fmla="*/ 7287 h 10000"/>
              <a:gd name="connsiteX240" fmla="*/ 7094 w 10000"/>
              <a:gd name="connsiteY240" fmla="*/ 6590 h 10000"/>
              <a:gd name="connsiteX241" fmla="*/ 7249 w 10000"/>
              <a:gd name="connsiteY241" fmla="*/ 6512 h 10000"/>
              <a:gd name="connsiteX242" fmla="*/ 7287 w 10000"/>
              <a:gd name="connsiteY242" fmla="*/ 6590 h 10000"/>
              <a:gd name="connsiteX243" fmla="*/ 7326 w 10000"/>
              <a:gd name="connsiteY243" fmla="*/ 6512 h 10000"/>
              <a:gd name="connsiteX244" fmla="*/ 7442 w 10000"/>
              <a:gd name="connsiteY244" fmla="*/ 6590 h 10000"/>
              <a:gd name="connsiteX245" fmla="*/ 7481 w 10000"/>
              <a:gd name="connsiteY245" fmla="*/ 6434 h 10000"/>
              <a:gd name="connsiteX246" fmla="*/ 7597 w 10000"/>
              <a:gd name="connsiteY246" fmla="*/ 6512 h 10000"/>
              <a:gd name="connsiteX247" fmla="*/ 7636 w 10000"/>
              <a:gd name="connsiteY247" fmla="*/ 6512 h 10000"/>
              <a:gd name="connsiteX248" fmla="*/ 7597 w 10000"/>
              <a:gd name="connsiteY248" fmla="*/ 6590 h 10000"/>
              <a:gd name="connsiteX249" fmla="*/ 7597 w 10000"/>
              <a:gd name="connsiteY249" fmla="*/ 6667 h 10000"/>
              <a:gd name="connsiteX250" fmla="*/ 7830 w 10000"/>
              <a:gd name="connsiteY250" fmla="*/ 6590 h 10000"/>
              <a:gd name="connsiteX251" fmla="*/ 7791 w 10000"/>
              <a:gd name="connsiteY251" fmla="*/ 6512 h 10000"/>
              <a:gd name="connsiteX252" fmla="*/ 7946 w 10000"/>
              <a:gd name="connsiteY252" fmla="*/ 5969 h 10000"/>
              <a:gd name="connsiteX253" fmla="*/ 8140 w 10000"/>
              <a:gd name="connsiteY253" fmla="*/ 5892 h 10000"/>
              <a:gd name="connsiteX254" fmla="*/ 8140 w 10000"/>
              <a:gd name="connsiteY254" fmla="*/ 6047 h 10000"/>
              <a:gd name="connsiteX255" fmla="*/ 8140 w 10000"/>
              <a:gd name="connsiteY255" fmla="*/ 6202 h 10000"/>
              <a:gd name="connsiteX256" fmla="*/ 8333 w 10000"/>
              <a:gd name="connsiteY256" fmla="*/ 5969 h 10000"/>
              <a:gd name="connsiteX257" fmla="*/ 8333 w 10000"/>
              <a:gd name="connsiteY257" fmla="*/ 5737 h 10000"/>
              <a:gd name="connsiteX258" fmla="*/ 8411 w 10000"/>
              <a:gd name="connsiteY258" fmla="*/ 5737 h 10000"/>
              <a:gd name="connsiteX259" fmla="*/ 8372 w 10000"/>
              <a:gd name="connsiteY259" fmla="*/ 5814 h 10000"/>
              <a:gd name="connsiteX260" fmla="*/ 8333 w 10000"/>
              <a:gd name="connsiteY260" fmla="*/ 6202 h 10000"/>
              <a:gd name="connsiteX261" fmla="*/ 8256 w 10000"/>
              <a:gd name="connsiteY261" fmla="*/ 6279 h 10000"/>
              <a:gd name="connsiteX262" fmla="*/ 8333 w 10000"/>
              <a:gd name="connsiteY262" fmla="*/ 6590 h 10000"/>
              <a:gd name="connsiteX263" fmla="*/ 8333 w 10000"/>
              <a:gd name="connsiteY263" fmla="*/ 6434 h 10000"/>
              <a:gd name="connsiteX264" fmla="*/ 8411 w 10000"/>
              <a:gd name="connsiteY264" fmla="*/ 6434 h 10000"/>
              <a:gd name="connsiteX265" fmla="*/ 8527 w 10000"/>
              <a:gd name="connsiteY265" fmla="*/ 6279 h 10000"/>
              <a:gd name="connsiteX266" fmla="*/ 8527 w 10000"/>
              <a:gd name="connsiteY266" fmla="*/ 6434 h 10000"/>
              <a:gd name="connsiteX267" fmla="*/ 8566 w 10000"/>
              <a:gd name="connsiteY267" fmla="*/ 6356 h 10000"/>
              <a:gd name="connsiteX268" fmla="*/ 8682 w 10000"/>
              <a:gd name="connsiteY268" fmla="*/ 6279 h 10000"/>
              <a:gd name="connsiteX269" fmla="*/ 8759 w 10000"/>
              <a:gd name="connsiteY269" fmla="*/ 6434 h 10000"/>
              <a:gd name="connsiteX270" fmla="*/ 8798 w 10000"/>
              <a:gd name="connsiteY270" fmla="*/ 6279 h 10000"/>
              <a:gd name="connsiteX271" fmla="*/ 9187 w 10000"/>
              <a:gd name="connsiteY271" fmla="*/ 5737 h 10000"/>
              <a:gd name="connsiteX272" fmla="*/ 9303 w 10000"/>
              <a:gd name="connsiteY272" fmla="*/ 5814 h 10000"/>
              <a:gd name="connsiteX273" fmla="*/ 9342 w 10000"/>
              <a:gd name="connsiteY273" fmla="*/ 5737 h 10000"/>
              <a:gd name="connsiteX274" fmla="*/ 9264 w 10000"/>
              <a:gd name="connsiteY274" fmla="*/ 5271 h 10000"/>
              <a:gd name="connsiteX275" fmla="*/ 9225 w 10000"/>
              <a:gd name="connsiteY275" fmla="*/ 5271 h 10000"/>
              <a:gd name="connsiteX276" fmla="*/ 9225 w 10000"/>
              <a:gd name="connsiteY276" fmla="*/ 5116 h 10000"/>
              <a:gd name="connsiteX277" fmla="*/ 9264 w 10000"/>
              <a:gd name="connsiteY277" fmla="*/ 5116 h 10000"/>
              <a:gd name="connsiteX278" fmla="*/ 9342 w 10000"/>
              <a:gd name="connsiteY278" fmla="*/ 5039 h 10000"/>
              <a:gd name="connsiteX279" fmla="*/ 9419 w 10000"/>
              <a:gd name="connsiteY279" fmla="*/ 4884 h 10000"/>
              <a:gd name="connsiteX280" fmla="*/ 9380 w 10000"/>
              <a:gd name="connsiteY280" fmla="*/ 4729 h 10000"/>
              <a:gd name="connsiteX281" fmla="*/ 9419 w 10000"/>
              <a:gd name="connsiteY281" fmla="*/ 4652 h 10000"/>
              <a:gd name="connsiteX282" fmla="*/ 9458 w 10000"/>
              <a:gd name="connsiteY282" fmla="*/ 4884 h 10000"/>
              <a:gd name="connsiteX283" fmla="*/ 9535 w 10000"/>
              <a:gd name="connsiteY283" fmla="*/ 4884 h 10000"/>
              <a:gd name="connsiteX284" fmla="*/ 9613 w 10000"/>
              <a:gd name="connsiteY284" fmla="*/ 5039 h 10000"/>
              <a:gd name="connsiteX285" fmla="*/ 9806 w 10000"/>
              <a:gd name="connsiteY285" fmla="*/ 5271 h 10000"/>
              <a:gd name="connsiteX286" fmla="*/ 9845 w 10000"/>
              <a:gd name="connsiteY286" fmla="*/ 5039 h 10000"/>
              <a:gd name="connsiteX287" fmla="*/ 9845 w 10000"/>
              <a:gd name="connsiteY287" fmla="*/ 4884 h 10000"/>
              <a:gd name="connsiteX288" fmla="*/ 9923 w 10000"/>
              <a:gd name="connsiteY288" fmla="*/ 4884 h 10000"/>
              <a:gd name="connsiteX289" fmla="*/ 10000 w 10000"/>
              <a:gd name="connsiteY289" fmla="*/ 4729 h 10000"/>
              <a:gd name="connsiteX290" fmla="*/ 9884 w 10000"/>
              <a:gd name="connsiteY290" fmla="*/ 4496 h 10000"/>
              <a:gd name="connsiteX291" fmla="*/ 9342 w 10000"/>
              <a:gd name="connsiteY291" fmla="*/ 3799 h 10000"/>
              <a:gd name="connsiteX292" fmla="*/ 9109 w 10000"/>
              <a:gd name="connsiteY292" fmla="*/ 3488 h 10000"/>
              <a:gd name="connsiteX293" fmla="*/ 8798 w 10000"/>
              <a:gd name="connsiteY293" fmla="*/ 3411 h 10000"/>
              <a:gd name="connsiteX294" fmla="*/ 8798 w 10000"/>
              <a:gd name="connsiteY294" fmla="*/ 3799 h 10000"/>
              <a:gd name="connsiteX295" fmla="*/ 8721 w 10000"/>
              <a:gd name="connsiteY295" fmla="*/ 3876 h 10000"/>
              <a:gd name="connsiteX296" fmla="*/ 8643 w 10000"/>
              <a:gd name="connsiteY296" fmla="*/ 3721 h 10000"/>
              <a:gd name="connsiteX297" fmla="*/ 8643 w 10000"/>
              <a:gd name="connsiteY297" fmla="*/ 3566 h 10000"/>
              <a:gd name="connsiteX298" fmla="*/ 8682 w 10000"/>
              <a:gd name="connsiteY298" fmla="*/ 3566 h 10000"/>
              <a:gd name="connsiteX299" fmla="*/ 8721 w 10000"/>
              <a:gd name="connsiteY299" fmla="*/ 3488 h 10000"/>
              <a:gd name="connsiteX300" fmla="*/ 8643 w 10000"/>
              <a:gd name="connsiteY300" fmla="*/ 3488 h 10000"/>
              <a:gd name="connsiteX301" fmla="*/ 8566 w 10000"/>
              <a:gd name="connsiteY301" fmla="*/ 3644 h 10000"/>
              <a:gd name="connsiteX302" fmla="*/ 8372 w 10000"/>
              <a:gd name="connsiteY302" fmla="*/ 3566 h 10000"/>
              <a:gd name="connsiteX303" fmla="*/ 8178 w 10000"/>
              <a:gd name="connsiteY303" fmla="*/ 3566 h 10000"/>
              <a:gd name="connsiteX304" fmla="*/ 8101 w 10000"/>
              <a:gd name="connsiteY304" fmla="*/ 3488 h 10000"/>
              <a:gd name="connsiteX305" fmla="*/ 8140 w 10000"/>
              <a:gd name="connsiteY305" fmla="*/ 3333 h 10000"/>
              <a:gd name="connsiteX306" fmla="*/ 8062 w 10000"/>
              <a:gd name="connsiteY306" fmla="*/ 3101 h 10000"/>
              <a:gd name="connsiteX307" fmla="*/ 7907 w 10000"/>
              <a:gd name="connsiteY307" fmla="*/ 3023 h 10000"/>
              <a:gd name="connsiteX308" fmla="*/ 7675 w 10000"/>
              <a:gd name="connsiteY308" fmla="*/ 3178 h 10000"/>
              <a:gd name="connsiteX309" fmla="*/ 7636 w 10000"/>
              <a:gd name="connsiteY309" fmla="*/ 2946 h 10000"/>
              <a:gd name="connsiteX310" fmla="*/ 7558 w 10000"/>
              <a:gd name="connsiteY310" fmla="*/ 2946 h 10000"/>
              <a:gd name="connsiteX311" fmla="*/ 7520 w 10000"/>
              <a:gd name="connsiteY311" fmla="*/ 2868 h 10000"/>
              <a:gd name="connsiteX312" fmla="*/ 7520 w 10000"/>
              <a:gd name="connsiteY312" fmla="*/ 2636 h 10000"/>
              <a:gd name="connsiteX313" fmla="*/ 7249 w 10000"/>
              <a:gd name="connsiteY313" fmla="*/ 2480 h 10000"/>
              <a:gd name="connsiteX314" fmla="*/ 6938 w 10000"/>
              <a:gd name="connsiteY314" fmla="*/ 2325 h 10000"/>
              <a:gd name="connsiteX315" fmla="*/ 6860 w 10000"/>
              <a:gd name="connsiteY315" fmla="*/ 2636 h 10000"/>
              <a:gd name="connsiteX316" fmla="*/ 6938 w 10000"/>
              <a:gd name="connsiteY316" fmla="*/ 2868 h 10000"/>
              <a:gd name="connsiteX317" fmla="*/ 6705 w 10000"/>
              <a:gd name="connsiteY317" fmla="*/ 2868 h 10000"/>
              <a:gd name="connsiteX318" fmla="*/ 6666 w 10000"/>
              <a:gd name="connsiteY318" fmla="*/ 2868 h 10000"/>
              <a:gd name="connsiteX319" fmla="*/ 6589 w 10000"/>
              <a:gd name="connsiteY319" fmla="*/ 2946 h 10000"/>
              <a:gd name="connsiteX320" fmla="*/ 6473 w 10000"/>
              <a:gd name="connsiteY320" fmla="*/ 2714 h 10000"/>
              <a:gd name="connsiteX321" fmla="*/ 6395 w 10000"/>
              <a:gd name="connsiteY321" fmla="*/ 3178 h 10000"/>
              <a:gd name="connsiteX322" fmla="*/ 6318 w 10000"/>
              <a:gd name="connsiteY322" fmla="*/ 3101 h 10000"/>
              <a:gd name="connsiteX323" fmla="*/ 6240 w 10000"/>
              <a:gd name="connsiteY323" fmla="*/ 2791 h 10000"/>
              <a:gd name="connsiteX324" fmla="*/ 6279 w 10000"/>
              <a:gd name="connsiteY324" fmla="*/ 2403 h 10000"/>
              <a:gd name="connsiteX325" fmla="*/ 6202 w 10000"/>
              <a:gd name="connsiteY325" fmla="*/ 2170 h 10000"/>
              <a:gd name="connsiteX326" fmla="*/ 5969 w 10000"/>
              <a:gd name="connsiteY326" fmla="*/ 2016 h 10000"/>
              <a:gd name="connsiteX327" fmla="*/ 5892 w 10000"/>
              <a:gd name="connsiteY327" fmla="*/ 2016 h 10000"/>
              <a:gd name="connsiteX328" fmla="*/ 5853 w 10000"/>
              <a:gd name="connsiteY328" fmla="*/ 2170 h 10000"/>
              <a:gd name="connsiteX329" fmla="*/ 5892 w 10000"/>
              <a:gd name="connsiteY329" fmla="*/ 2325 h 10000"/>
              <a:gd name="connsiteX330" fmla="*/ 5582 w 10000"/>
              <a:gd name="connsiteY330" fmla="*/ 2248 h 10000"/>
              <a:gd name="connsiteX331" fmla="*/ 5620 w 10000"/>
              <a:gd name="connsiteY331" fmla="*/ 2016 h 10000"/>
              <a:gd name="connsiteX332" fmla="*/ 5427 w 10000"/>
              <a:gd name="connsiteY332" fmla="*/ 1938 h 10000"/>
              <a:gd name="connsiteX333" fmla="*/ 5311 w 10000"/>
              <a:gd name="connsiteY333" fmla="*/ 2093 h 10000"/>
              <a:gd name="connsiteX334" fmla="*/ 5078 w 10000"/>
              <a:gd name="connsiteY334" fmla="*/ 1861 h 10000"/>
              <a:gd name="connsiteX0" fmla="*/ 5078 w 9942"/>
              <a:gd name="connsiteY0" fmla="*/ 1861 h 10000"/>
              <a:gd name="connsiteX1" fmla="*/ 5078 w 9942"/>
              <a:gd name="connsiteY1" fmla="*/ 1861 h 10000"/>
              <a:gd name="connsiteX2" fmla="*/ 5039 w 9942"/>
              <a:gd name="connsiteY2" fmla="*/ 1938 h 10000"/>
              <a:gd name="connsiteX3" fmla="*/ 5078 w 9942"/>
              <a:gd name="connsiteY3" fmla="*/ 2093 h 10000"/>
              <a:gd name="connsiteX4" fmla="*/ 4922 w 9942"/>
              <a:gd name="connsiteY4" fmla="*/ 2248 h 10000"/>
              <a:gd name="connsiteX5" fmla="*/ 4883 w 9942"/>
              <a:gd name="connsiteY5" fmla="*/ 2248 h 10000"/>
              <a:gd name="connsiteX6" fmla="*/ 4922 w 9942"/>
              <a:gd name="connsiteY6" fmla="*/ 2016 h 10000"/>
              <a:gd name="connsiteX7" fmla="*/ 5311 w 9942"/>
              <a:gd name="connsiteY7" fmla="*/ 1318 h 10000"/>
              <a:gd name="connsiteX8" fmla="*/ 5311 w 9942"/>
              <a:gd name="connsiteY8" fmla="*/ 853 h 10000"/>
              <a:gd name="connsiteX9" fmla="*/ 5156 w 9942"/>
              <a:gd name="connsiteY9" fmla="*/ 543 h 10000"/>
              <a:gd name="connsiteX10" fmla="*/ 4961 w 9942"/>
              <a:gd name="connsiteY10" fmla="*/ 543 h 10000"/>
              <a:gd name="connsiteX11" fmla="*/ 4961 w 9942"/>
              <a:gd name="connsiteY11" fmla="*/ 698 h 10000"/>
              <a:gd name="connsiteX12" fmla="*/ 4845 w 9942"/>
              <a:gd name="connsiteY12" fmla="*/ 698 h 10000"/>
              <a:gd name="connsiteX13" fmla="*/ 4922 w 9942"/>
              <a:gd name="connsiteY13" fmla="*/ 387 h 10000"/>
              <a:gd name="connsiteX14" fmla="*/ 4728 w 9942"/>
              <a:gd name="connsiteY14" fmla="*/ 310 h 10000"/>
              <a:gd name="connsiteX15" fmla="*/ 4845 w 9942"/>
              <a:gd name="connsiteY15" fmla="*/ 155 h 10000"/>
              <a:gd name="connsiteX16" fmla="*/ 4728 w 9942"/>
              <a:gd name="connsiteY16" fmla="*/ 0 h 10000"/>
              <a:gd name="connsiteX17" fmla="*/ 4535 w 9942"/>
              <a:gd name="connsiteY17" fmla="*/ 387 h 10000"/>
              <a:gd name="connsiteX18" fmla="*/ 4535 w 9942"/>
              <a:gd name="connsiteY18" fmla="*/ 698 h 10000"/>
              <a:gd name="connsiteX19" fmla="*/ 4418 w 9942"/>
              <a:gd name="connsiteY19" fmla="*/ 698 h 10000"/>
              <a:gd name="connsiteX20" fmla="*/ 4070 w 9942"/>
              <a:gd name="connsiteY20" fmla="*/ 853 h 10000"/>
              <a:gd name="connsiteX21" fmla="*/ 3760 w 9942"/>
              <a:gd name="connsiteY21" fmla="*/ 1240 h 10000"/>
              <a:gd name="connsiteX22" fmla="*/ 3644 w 9942"/>
              <a:gd name="connsiteY22" fmla="*/ 1551 h 10000"/>
              <a:gd name="connsiteX23" fmla="*/ 3682 w 9942"/>
              <a:gd name="connsiteY23" fmla="*/ 1938 h 10000"/>
              <a:gd name="connsiteX24" fmla="*/ 3256 w 9942"/>
              <a:gd name="connsiteY24" fmla="*/ 2093 h 10000"/>
              <a:gd name="connsiteX25" fmla="*/ 3295 w 9942"/>
              <a:gd name="connsiteY25" fmla="*/ 2559 h 10000"/>
              <a:gd name="connsiteX26" fmla="*/ 3411 w 9942"/>
              <a:gd name="connsiteY26" fmla="*/ 2791 h 10000"/>
              <a:gd name="connsiteX27" fmla="*/ 3334 w 9942"/>
              <a:gd name="connsiteY27" fmla="*/ 2868 h 10000"/>
              <a:gd name="connsiteX28" fmla="*/ 3217 w 9942"/>
              <a:gd name="connsiteY28" fmla="*/ 2559 h 10000"/>
              <a:gd name="connsiteX29" fmla="*/ 3101 w 9942"/>
              <a:gd name="connsiteY29" fmla="*/ 2480 h 10000"/>
              <a:gd name="connsiteX30" fmla="*/ 3063 w 9942"/>
              <a:gd name="connsiteY30" fmla="*/ 2559 h 10000"/>
              <a:gd name="connsiteX31" fmla="*/ 2984 w 9942"/>
              <a:gd name="connsiteY31" fmla="*/ 2403 h 10000"/>
              <a:gd name="connsiteX32" fmla="*/ 2907 w 9942"/>
              <a:gd name="connsiteY32" fmla="*/ 2248 h 10000"/>
              <a:gd name="connsiteX33" fmla="*/ 2907 w 9942"/>
              <a:gd name="connsiteY33" fmla="*/ 2325 h 10000"/>
              <a:gd name="connsiteX34" fmla="*/ 2945 w 9942"/>
              <a:gd name="connsiteY34" fmla="*/ 2559 h 10000"/>
              <a:gd name="connsiteX35" fmla="*/ 2829 w 9942"/>
              <a:gd name="connsiteY35" fmla="*/ 2946 h 10000"/>
              <a:gd name="connsiteX36" fmla="*/ 2907 w 9942"/>
              <a:gd name="connsiteY36" fmla="*/ 3256 h 10000"/>
              <a:gd name="connsiteX37" fmla="*/ 2868 w 9942"/>
              <a:gd name="connsiteY37" fmla="*/ 3566 h 10000"/>
              <a:gd name="connsiteX38" fmla="*/ 2868 w 9942"/>
              <a:gd name="connsiteY38" fmla="*/ 3799 h 10000"/>
              <a:gd name="connsiteX39" fmla="*/ 2984 w 9942"/>
              <a:gd name="connsiteY39" fmla="*/ 3799 h 10000"/>
              <a:gd name="connsiteX40" fmla="*/ 2907 w 9942"/>
              <a:gd name="connsiteY40" fmla="*/ 3876 h 10000"/>
              <a:gd name="connsiteX41" fmla="*/ 2945 w 9942"/>
              <a:gd name="connsiteY41" fmla="*/ 4263 h 10000"/>
              <a:gd name="connsiteX42" fmla="*/ 2713 w 9942"/>
              <a:gd name="connsiteY42" fmla="*/ 4652 h 10000"/>
              <a:gd name="connsiteX43" fmla="*/ 2674 w 9942"/>
              <a:gd name="connsiteY43" fmla="*/ 4574 h 10000"/>
              <a:gd name="connsiteX44" fmla="*/ 2829 w 9942"/>
              <a:gd name="connsiteY44" fmla="*/ 4186 h 10000"/>
              <a:gd name="connsiteX45" fmla="*/ 2868 w 9942"/>
              <a:gd name="connsiteY45" fmla="*/ 3954 h 10000"/>
              <a:gd name="connsiteX46" fmla="*/ 2790 w 9942"/>
              <a:gd name="connsiteY46" fmla="*/ 3799 h 10000"/>
              <a:gd name="connsiteX47" fmla="*/ 2790 w 9942"/>
              <a:gd name="connsiteY47" fmla="*/ 3023 h 10000"/>
              <a:gd name="connsiteX48" fmla="*/ 2752 w 9942"/>
              <a:gd name="connsiteY48" fmla="*/ 2868 h 10000"/>
              <a:gd name="connsiteX49" fmla="*/ 2790 w 9942"/>
              <a:gd name="connsiteY49" fmla="*/ 2403 h 10000"/>
              <a:gd name="connsiteX50" fmla="*/ 2713 w 9942"/>
              <a:gd name="connsiteY50" fmla="*/ 2325 h 10000"/>
              <a:gd name="connsiteX51" fmla="*/ 2752 w 9942"/>
              <a:gd name="connsiteY51" fmla="*/ 2248 h 10000"/>
              <a:gd name="connsiteX52" fmla="*/ 2713 w 9942"/>
              <a:gd name="connsiteY52" fmla="*/ 2093 h 10000"/>
              <a:gd name="connsiteX53" fmla="*/ 2635 w 9942"/>
              <a:gd name="connsiteY53" fmla="*/ 2170 h 10000"/>
              <a:gd name="connsiteX54" fmla="*/ 2442 w 9942"/>
              <a:gd name="connsiteY54" fmla="*/ 3178 h 10000"/>
              <a:gd name="connsiteX55" fmla="*/ 2442 w 9942"/>
              <a:gd name="connsiteY55" fmla="*/ 3566 h 10000"/>
              <a:gd name="connsiteX56" fmla="*/ 2558 w 9942"/>
              <a:gd name="connsiteY56" fmla="*/ 3876 h 10000"/>
              <a:gd name="connsiteX57" fmla="*/ 2558 w 9942"/>
              <a:gd name="connsiteY57" fmla="*/ 4031 h 10000"/>
              <a:gd name="connsiteX58" fmla="*/ 2442 w 9942"/>
              <a:gd name="connsiteY58" fmla="*/ 3876 h 10000"/>
              <a:gd name="connsiteX59" fmla="*/ 1977 w 9942"/>
              <a:gd name="connsiteY59" fmla="*/ 3256 h 10000"/>
              <a:gd name="connsiteX60" fmla="*/ 1938 w 9942"/>
              <a:gd name="connsiteY60" fmla="*/ 3411 h 10000"/>
              <a:gd name="connsiteX61" fmla="*/ 2093 w 9942"/>
              <a:gd name="connsiteY61" fmla="*/ 3799 h 10000"/>
              <a:gd name="connsiteX62" fmla="*/ 2016 w 9942"/>
              <a:gd name="connsiteY62" fmla="*/ 3876 h 10000"/>
              <a:gd name="connsiteX63" fmla="*/ 1977 w 9942"/>
              <a:gd name="connsiteY63" fmla="*/ 3799 h 10000"/>
              <a:gd name="connsiteX64" fmla="*/ 1744 w 9942"/>
              <a:gd name="connsiteY64" fmla="*/ 3954 h 10000"/>
              <a:gd name="connsiteX65" fmla="*/ 1706 w 9942"/>
              <a:gd name="connsiteY65" fmla="*/ 4109 h 10000"/>
              <a:gd name="connsiteX66" fmla="*/ 1667 w 9942"/>
              <a:gd name="connsiteY66" fmla="*/ 3954 h 10000"/>
              <a:gd name="connsiteX67" fmla="*/ 1667 w 9942"/>
              <a:gd name="connsiteY67" fmla="*/ 3799 h 10000"/>
              <a:gd name="connsiteX68" fmla="*/ 1279 w 9942"/>
              <a:gd name="connsiteY68" fmla="*/ 4263 h 10000"/>
              <a:gd name="connsiteX69" fmla="*/ 1279 w 9942"/>
              <a:gd name="connsiteY69" fmla="*/ 4418 h 10000"/>
              <a:gd name="connsiteX70" fmla="*/ 1202 w 9942"/>
              <a:gd name="connsiteY70" fmla="*/ 4496 h 10000"/>
              <a:gd name="connsiteX71" fmla="*/ 1086 w 9942"/>
              <a:gd name="connsiteY71" fmla="*/ 4341 h 10000"/>
              <a:gd name="connsiteX72" fmla="*/ 1202 w 9942"/>
              <a:gd name="connsiteY72" fmla="*/ 4186 h 10000"/>
              <a:gd name="connsiteX73" fmla="*/ 1163 w 9942"/>
              <a:gd name="connsiteY73" fmla="*/ 3954 h 10000"/>
              <a:gd name="connsiteX74" fmla="*/ 1008 w 9942"/>
              <a:gd name="connsiteY74" fmla="*/ 3876 h 10000"/>
              <a:gd name="connsiteX75" fmla="*/ 1047 w 9942"/>
              <a:gd name="connsiteY75" fmla="*/ 4031 h 10000"/>
              <a:gd name="connsiteX76" fmla="*/ 1047 w 9942"/>
              <a:gd name="connsiteY76" fmla="*/ 4418 h 10000"/>
              <a:gd name="connsiteX77" fmla="*/ 1086 w 9942"/>
              <a:gd name="connsiteY77" fmla="*/ 4574 h 10000"/>
              <a:gd name="connsiteX78" fmla="*/ 1047 w 9942"/>
              <a:gd name="connsiteY78" fmla="*/ 4729 h 10000"/>
              <a:gd name="connsiteX79" fmla="*/ 930 w 9942"/>
              <a:gd name="connsiteY79" fmla="*/ 4652 h 10000"/>
              <a:gd name="connsiteX80" fmla="*/ 775 w 9942"/>
              <a:gd name="connsiteY80" fmla="*/ 4884 h 10000"/>
              <a:gd name="connsiteX81" fmla="*/ 852 w 9942"/>
              <a:gd name="connsiteY81" fmla="*/ 5194 h 10000"/>
              <a:gd name="connsiteX82" fmla="*/ 620 w 9942"/>
              <a:gd name="connsiteY82" fmla="*/ 5039 h 10000"/>
              <a:gd name="connsiteX83" fmla="*/ 581 w 9942"/>
              <a:gd name="connsiteY83" fmla="*/ 5116 h 10000"/>
              <a:gd name="connsiteX84" fmla="*/ 659 w 9942"/>
              <a:gd name="connsiteY84" fmla="*/ 5349 h 10000"/>
              <a:gd name="connsiteX85" fmla="*/ 581 w 9942"/>
              <a:gd name="connsiteY85" fmla="*/ 5349 h 10000"/>
              <a:gd name="connsiteX86" fmla="*/ 465 w 9942"/>
              <a:gd name="connsiteY86" fmla="*/ 5194 h 10000"/>
              <a:gd name="connsiteX87" fmla="*/ 465 w 9942"/>
              <a:gd name="connsiteY87" fmla="*/ 4729 h 10000"/>
              <a:gd name="connsiteX88" fmla="*/ 349 w 9942"/>
              <a:gd name="connsiteY88" fmla="*/ 4574 h 10000"/>
              <a:gd name="connsiteX89" fmla="*/ 310 w 9942"/>
              <a:gd name="connsiteY89" fmla="*/ 4418 h 10000"/>
              <a:gd name="connsiteX90" fmla="*/ 387 w 9942"/>
              <a:gd name="connsiteY90" fmla="*/ 4496 h 10000"/>
              <a:gd name="connsiteX91" fmla="*/ 697 w 9942"/>
              <a:gd name="connsiteY91" fmla="*/ 4729 h 10000"/>
              <a:gd name="connsiteX92" fmla="*/ 891 w 9942"/>
              <a:gd name="connsiteY92" fmla="*/ 4496 h 10000"/>
              <a:gd name="connsiteX93" fmla="*/ 852 w 9942"/>
              <a:gd name="connsiteY93" fmla="*/ 4263 h 10000"/>
              <a:gd name="connsiteX94" fmla="*/ 620 w 9942"/>
              <a:gd name="connsiteY94" fmla="*/ 3799 h 10000"/>
              <a:gd name="connsiteX95" fmla="*/ 387 w 9942"/>
              <a:gd name="connsiteY95" fmla="*/ 3644 h 10000"/>
              <a:gd name="connsiteX96" fmla="*/ 387 w 9942"/>
              <a:gd name="connsiteY96" fmla="*/ 3566 h 10000"/>
              <a:gd name="connsiteX97" fmla="*/ 310 w 9942"/>
              <a:gd name="connsiteY97" fmla="*/ 3488 h 10000"/>
              <a:gd name="connsiteX98" fmla="*/ 232 w 9942"/>
              <a:gd name="connsiteY98" fmla="*/ 3566 h 10000"/>
              <a:gd name="connsiteX99" fmla="*/ 232 w 9942"/>
              <a:gd name="connsiteY99" fmla="*/ 3644 h 10000"/>
              <a:gd name="connsiteX100" fmla="*/ 194 w 9942"/>
              <a:gd name="connsiteY100" fmla="*/ 3644 h 10000"/>
              <a:gd name="connsiteX101" fmla="*/ 116 w 9942"/>
              <a:gd name="connsiteY101" fmla="*/ 3799 h 10000"/>
              <a:gd name="connsiteX102" fmla="*/ 116 w 9942"/>
              <a:gd name="connsiteY102" fmla="*/ 4031 h 10000"/>
              <a:gd name="connsiteX103" fmla="*/ 194 w 9942"/>
              <a:gd name="connsiteY103" fmla="*/ 4186 h 10000"/>
              <a:gd name="connsiteX104" fmla="*/ 155 w 9942"/>
              <a:gd name="connsiteY104" fmla="*/ 4418 h 10000"/>
              <a:gd name="connsiteX105" fmla="*/ 194 w 9942"/>
              <a:gd name="connsiteY105" fmla="*/ 4807 h 10000"/>
              <a:gd name="connsiteX106" fmla="*/ 155 w 9942"/>
              <a:gd name="connsiteY106" fmla="*/ 5039 h 10000"/>
              <a:gd name="connsiteX107" fmla="*/ 232 w 9942"/>
              <a:gd name="connsiteY107" fmla="*/ 5271 h 10000"/>
              <a:gd name="connsiteX108" fmla="*/ 194 w 9942"/>
              <a:gd name="connsiteY108" fmla="*/ 5426 h 10000"/>
              <a:gd name="connsiteX109" fmla="*/ 271 w 9942"/>
              <a:gd name="connsiteY109" fmla="*/ 5582 h 10000"/>
              <a:gd name="connsiteX110" fmla="*/ 271 w 9942"/>
              <a:gd name="connsiteY110" fmla="*/ 5659 h 10000"/>
              <a:gd name="connsiteX111" fmla="*/ 155 w 9942"/>
              <a:gd name="connsiteY111" fmla="*/ 6047 h 10000"/>
              <a:gd name="connsiteX112" fmla="*/ 39 w 9942"/>
              <a:gd name="connsiteY112" fmla="*/ 6202 h 10000"/>
              <a:gd name="connsiteX113" fmla="*/ 77 w 9942"/>
              <a:gd name="connsiteY113" fmla="*/ 6202 h 10000"/>
              <a:gd name="connsiteX114" fmla="*/ 155 w 9942"/>
              <a:gd name="connsiteY114" fmla="*/ 6356 h 10000"/>
              <a:gd name="connsiteX115" fmla="*/ 77 w 9942"/>
              <a:gd name="connsiteY115" fmla="*/ 6512 h 10000"/>
              <a:gd name="connsiteX116" fmla="*/ 39 w 9942"/>
              <a:gd name="connsiteY116" fmla="*/ 6590 h 10000"/>
              <a:gd name="connsiteX117" fmla="*/ 0 w 9942"/>
              <a:gd name="connsiteY117" fmla="*/ 6590 h 10000"/>
              <a:gd name="connsiteX118" fmla="*/ 39 w 9942"/>
              <a:gd name="connsiteY118" fmla="*/ 6822 h 10000"/>
              <a:gd name="connsiteX119" fmla="*/ 39 w 9942"/>
              <a:gd name="connsiteY119" fmla="*/ 6900 h 10000"/>
              <a:gd name="connsiteX120" fmla="*/ 39 w 9942"/>
              <a:gd name="connsiteY120" fmla="*/ 6977 h 10000"/>
              <a:gd name="connsiteX121" fmla="*/ 39 w 9942"/>
              <a:gd name="connsiteY121" fmla="*/ 7054 h 10000"/>
              <a:gd name="connsiteX122" fmla="*/ 77 w 9942"/>
              <a:gd name="connsiteY122" fmla="*/ 7209 h 10000"/>
              <a:gd name="connsiteX123" fmla="*/ 194 w 9942"/>
              <a:gd name="connsiteY123" fmla="*/ 7287 h 10000"/>
              <a:gd name="connsiteX124" fmla="*/ 232 w 9942"/>
              <a:gd name="connsiteY124" fmla="*/ 7364 h 10000"/>
              <a:gd name="connsiteX125" fmla="*/ 232 w 9942"/>
              <a:gd name="connsiteY125" fmla="*/ 7520 h 10000"/>
              <a:gd name="connsiteX126" fmla="*/ 310 w 9942"/>
              <a:gd name="connsiteY126" fmla="*/ 7752 h 10000"/>
              <a:gd name="connsiteX127" fmla="*/ 349 w 9942"/>
              <a:gd name="connsiteY127" fmla="*/ 7752 h 10000"/>
              <a:gd name="connsiteX128" fmla="*/ 310 w 9942"/>
              <a:gd name="connsiteY128" fmla="*/ 7907 h 10000"/>
              <a:gd name="connsiteX129" fmla="*/ 271 w 9942"/>
              <a:gd name="connsiteY129" fmla="*/ 7830 h 10000"/>
              <a:gd name="connsiteX130" fmla="*/ 271 w 9942"/>
              <a:gd name="connsiteY130" fmla="*/ 7907 h 10000"/>
              <a:gd name="connsiteX131" fmla="*/ 310 w 9942"/>
              <a:gd name="connsiteY131" fmla="*/ 8062 h 10000"/>
              <a:gd name="connsiteX132" fmla="*/ 426 w 9942"/>
              <a:gd name="connsiteY132" fmla="*/ 8062 h 10000"/>
              <a:gd name="connsiteX133" fmla="*/ 465 w 9942"/>
              <a:gd name="connsiteY133" fmla="*/ 8140 h 10000"/>
              <a:gd name="connsiteX134" fmla="*/ 426 w 9942"/>
              <a:gd name="connsiteY134" fmla="*/ 8140 h 10000"/>
              <a:gd name="connsiteX135" fmla="*/ 465 w 9942"/>
              <a:gd name="connsiteY135" fmla="*/ 8217 h 10000"/>
              <a:gd name="connsiteX136" fmla="*/ 504 w 9942"/>
              <a:gd name="connsiteY136" fmla="*/ 8217 h 10000"/>
              <a:gd name="connsiteX137" fmla="*/ 542 w 9942"/>
              <a:gd name="connsiteY137" fmla="*/ 8372 h 10000"/>
              <a:gd name="connsiteX138" fmla="*/ 581 w 9942"/>
              <a:gd name="connsiteY138" fmla="*/ 8449 h 10000"/>
              <a:gd name="connsiteX139" fmla="*/ 620 w 9942"/>
              <a:gd name="connsiteY139" fmla="*/ 8372 h 10000"/>
              <a:gd name="connsiteX140" fmla="*/ 814 w 9942"/>
              <a:gd name="connsiteY140" fmla="*/ 8605 h 10000"/>
              <a:gd name="connsiteX141" fmla="*/ 775 w 9942"/>
              <a:gd name="connsiteY141" fmla="*/ 8915 h 10000"/>
              <a:gd name="connsiteX142" fmla="*/ 736 w 9942"/>
              <a:gd name="connsiteY142" fmla="*/ 8838 h 10000"/>
              <a:gd name="connsiteX143" fmla="*/ 697 w 9942"/>
              <a:gd name="connsiteY143" fmla="*/ 8915 h 10000"/>
              <a:gd name="connsiteX144" fmla="*/ 697 w 9942"/>
              <a:gd name="connsiteY144" fmla="*/ 9070 h 10000"/>
              <a:gd name="connsiteX145" fmla="*/ 736 w 9942"/>
              <a:gd name="connsiteY145" fmla="*/ 8993 h 10000"/>
              <a:gd name="connsiteX146" fmla="*/ 775 w 9942"/>
              <a:gd name="connsiteY146" fmla="*/ 9070 h 10000"/>
              <a:gd name="connsiteX147" fmla="*/ 659 w 9942"/>
              <a:gd name="connsiteY147" fmla="*/ 9147 h 10000"/>
              <a:gd name="connsiteX148" fmla="*/ 697 w 9942"/>
              <a:gd name="connsiteY148" fmla="*/ 9225 h 10000"/>
              <a:gd name="connsiteX149" fmla="*/ 620 w 9942"/>
              <a:gd name="connsiteY149" fmla="*/ 9380 h 10000"/>
              <a:gd name="connsiteX150" fmla="*/ 581 w 9942"/>
              <a:gd name="connsiteY150" fmla="*/ 9380 h 10000"/>
              <a:gd name="connsiteX151" fmla="*/ 620 w 9942"/>
              <a:gd name="connsiteY151" fmla="*/ 9380 h 10000"/>
              <a:gd name="connsiteX152" fmla="*/ 775 w 9942"/>
              <a:gd name="connsiteY152" fmla="*/ 9691 h 10000"/>
              <a:gd name="connsiteX153" fmla="*/ 969 w 9942"/>
              <a:gd name="connsiteY153" fmla="*/ 9691 h 10000"/>
              <a:gd name="connsiteX154" fmla="*/ 1047 w 9942"/>
              <a:gd name="connsiteY154" fmla="*/ 9768 h 10000"/>
              <a:gd name="connsiteX155" fmla="*/ 1124 w 9942"/>
              <a:gd name="connsiteY155" fmla="*/ 9768 h 10000"/>
              <a:gd name="connsiteX156" fmla="*/ 1202 w 9942"/>
              <a:gd name="connsiteY156" fmla="*/ 9923 h 10000"/>
              <a:gd name="connsiteX157" fmla="*/ 1241 w 9942"/>
              <a:gd name="connsiteY157" fmla="*/ 10000 h 10000"/>
              <a:gd name="connsiteX158" fmla="*/ 1279 w 9942"/>
              <a:gd name="connsiteY158" fmla="*/ 10000 h 10000"/>
              <a:gd name="connsiteX159" fmla="*/ 1318 w 9942"/>
              <a:gd name="connsiteY159" fmla="*/ 9923 h 10000"/>
              <a:gd name="connsiteX160" fmla="*/ 1241 w 9942"/>
              <a:gd name="connsiteY160" fmla="*/ 9768 h 10000"/>
              <a:gd name="connsiteX161" fmla="*/ 1241 w 9942"/>
              <a:gd name="connsiteY161" fmla="*/ 9613 h 10000"/>
              <a:gd name="connsiteX162" fmla="*/ 1202 w 9942"/>
              <a:gd name="connsiteY162" fmla="*/ 9457 h 10000"/>
              <a:gd name="connsiteX163" fmla="*/ 1279 w 9942"/>
              <a:gd name="connsiteY163" fmla="*/ 9225 h 10000"/>
              <a:gd name="connsiteX164" fmla="*/ 1318 w 9942"/>
              <a:gd name="connsiteY164" fmla="*/ 9302 h 10000"/>
              <a:gd name="connsiteX165" fmla="*/ 1357 w 9942"/>
              <a:gd name="connsiteY165" fmla="*/ 9225 h 10000"/>
              <a:gd name="connsiteX166" fmla="*/ 1357 w 9942"/>
              <a:gd name="connsiteY166" fmla="*/ 9147 h 10000"/>
              <a:gd name="connsiteX167" fmla="*/ 1318 w 9942"/>
              <a:gd name="connsiteY167" fmla="*/ 9147 h 10000"/>
              <a:gd name="connsiteX168" fmla="*/ 1357 w 9942"/>
              <a:gd name="connsiteY168" fmla="*/ 9070 h 10000"/>
              <a:gd name="connsiteX169" fmla="*/ 1318 w 9942"/>
              <a:gd name="connsiteY169" fmla="*/ 8915 h 10000"/>
              <a:gd name="connsiteX170" fmla="*/ 1241 w 9942"/>
              <a:gd name="connsiteY170" fmla="*/ 8915 h 10000"/>
              <a:gd name="connsiteX171" fmla="*/ 1202 w 9942"/>
              <a:gd name="connsiteY171" fmla="*/ 8760 h 10000"/>
              <a:gd name="connsiteX172" fmla="*/ 1241 w 9942"/>
              <a:gd name="connsiteY172" fmla="*/ 8372 h 10000"/>
              <a:gd name="connsiteX173" fmla="*/ 1318 w 9942"/>
              <a:gd name="connsiteY173" fmla="*/ 8528 h 10000"/>
              <a:gd name="connsiteX174" fmla="*/ 1357 w 9942"/>
              <a:gd name="connsiteY174" fmla="*/ 8528 h 10000"/>
              <a:gd name="connsiteX175" fmla="*/ 1318 w 9942"/>
              <a:gd name="connsiteY175" fmla="*/ 8372 h 10000"/>
              <a:gd name="connsiteX176" fmla="*/ 1434 w 9942"/>
              <a:gd name="connsiteY176" fmla="*/ 8140 h 10000"/>
              <a:gd name="connsiteX177" fmla="*/ 1512 w 9942"/>
              <a:gd name="connsiteY177" fmla="*/ 8217 h 10000"/>
              <a:gd name="connsiteX178" fmla="*/ 1551 w 9942"/>
              <a:gd name="connsiteY178" fmla="*/ 8140 h 10000"/>
              <a:gd name="connsiteX179" fmla="*/ 1628 w 9942"/>
              <a:gd name="connsiteY179" fmla="*/ 8217 h 10000"/>
              <a:gd name="connsiteX180" fmla="*/ 1744 w 9942"/>
              <a:gd name="connsiteY180" fmla="*/ 8372 h 10000"/>
              <a:gd name="connsiteX181" fmla="*/ 1822 w 9942"/>
              <a:gd name="connsiteY181" fmla="*/ 8295 h 10000"/>
              <a:gd name="connsiteX182" fmla="*/ 1899 w 9942"/>
              <a:gd name="connsiteY182" fmla="*/ 8295 h 10000"/>
              <a:gd name="connsiteX183" fmla="*/ 1938 w 9942"/>
              <a:gd name="connsiteY183" fmla="*/ 8372 h 10000"/>
              <a:gd name="connsiteX184" fmla="*/ 2093 w 9942"/>
              <a:gd name="connsiteY184" fmla="*/ 8372 h 10000"/>
              <a:gd name="connsiteX185" fmla="*/ 2132 w 9942"/>
              <a:gd name="connsiteY185" fmla="*/ 8217 h 10000"/>
              <a:gd name="connsiteX186" fmla="*/ 2016 w 9942"/>
              <a:gd name="connsiteY186" fmla="*/ 8140 h 10000"/>
              <a:gd name="connsiteX187" fmla="*/ 2093 w 9942"/>
              <a:gd name="connsiteY187" fmla="*/ 8062 h 10000"/>
              <a:gd name="connsiteX188" fmla="*/ 2054 w 9942"/>
              <a:gd name="connsiteY188" fmla="*/ 7985 h 10000"/>
              <a:gd name="connsiteX189" fmla="*/ 2093 w 9942"/>
              <a:gd name="connsiteY189" fmla="*/ 7907 h 10000"/>
              <a:gd name="connsiteX190" fmla="*/ 2093 w 9942"/>
              <a:gd name="connsiteY190" fmla="*/ 7675 h 10000"/>
              <a:gd name="connsiteX191" fmla="*/ 2170 w 9942"/>
              <a:gd name="connsiteY191" fmla="*/ 7752 h 10000"/>
              <a:gd name="connsiteX192" fmla="*/ 2519 w 9942"/>
              <a:gd name="connsiteY192" fmla="*/ 7520 h 10000"/>
              <a:gd name="connsiteX193" fmla="*/ 2519 w 9942"/>
              <a:gd name="connsiteY193" fmla="*/ 7442 h 10000"/>
              <a:gd name="connsiteX194" fmla="*/ 2558 w 9942"/>
              <a:gd name="connsiteY194" fmla="*/ 7442 h 10000"/>
              <a:gd name="connsiteX195" fmla="*/ 2674 w 9942"/>
              <a:gd name="connsiteY195" fmla="*/ 7442 h 10000"/>
              <a:gd name="connsiteX196" fmla="*/ 2713 w 9942"/>
              <a:gd name="connsiteY196" fmla="*/ 7598 h 10000"/>
              <a:gd name="connsiteX197" fmla="*/ 2713 w 9942"/>
              <a:gd name="connsiteY197" fmla="*/ 7675 h 10000"/>
              <a:gd name="connsiteX198" fmla="*/ 2752 w 9942"/>
              <a:gd name="connsiteY198" fmla="*/ 7675 h 10000"/>
              <a:gd name="connsiteX199" fmla="*/ 2829 w 9942"/>
              <a:gd name="connsiteY199" fmla="*/ 7752 h 10000"/>
              <a:gd name="connsiteX200" fmla="*/ 2829 w 9942"/>
              <a:gd name="connsiteY200" fmla="*/ 7830 h 10000"/>
              <a:gd name="connsiteX201" fmla="*/ 2907 w 9942"/>
              <a:gd name="connsiteY201" fmla="*/ 7830 h 10000"/>
              <a:gd name="connsiteX202" fmla="*/ 2984 w 9942"/>
              <a:gd name="connsiteY202" fmla="*/ 7675 h 10000"/>
              <a:gd name="connsiteX203" fmla="*/ 3063 w 9942"/>
              <a:gd name="connsiteY203" fmla="*/ 7598 h 10000"/>
              <a:gd name="connsiteX204" fmla="*/ 3101 w 9942"/>
              <a:gd name="connsiteY204" fmla="*/ 7830 h 10000"/>
              <a:gd name="connsiteX205" fmla="*/ 3256 w 9942"/>
              <a:gd name="connsiteY205" fmla="*/ 8372 h 10000"/>
              <a:gd name="connsiteX206" fmla="*/ 3295 w 9942"/>
              <a:gd name="connsiteY206" fmla="*/ 8217 h 10000"/>
              <a:gd name="connsiteX207" fmla="*/ 3334 w 9942"/>
              <a:gd name="connsiteY207" fmla="*/ 8372 h 10000"/>
              <a:gd name="connsiteX208" fmla="*/ 3450 w 9942"/>
              <a:gd name="connsiteY208" fmla="*/ 8295 h 10000"/>
              <a:gd name="connsiteX209" fmla="*/ 3566 w 9942"/>
              <a:gd name="connsiteY209" fmla="*/ 8528 h 10000"/>
              <a:gd name="connsiteX210" fmla="*/ 3644 w 9942"/>
              <a:gd name="connsiteY210" fmla="*/ 8605 h 10000"/>
              <a:gd name="connsiteX211" fmla="*/ 3644 w 9942"/>
              <a:gd name="connsiteY211" fmla="*/ 8528 h 10000"/>
              <a:gd name="connsiteX212" fmla="*/ 3682 w 9942"/>
              <a:gd name="connsiteY212" fmla="*/ 8683 h 10000"/>
              <a:gd name="connsiteX213" fmla="*/ 3644 w 9942"/>
              <a:gd name="connsiteY213" fmla="*/ 8760 h 10000"/>
              <a:gd name="connsiteX214" fmla="*/ 3721 w 9942"/>
              <a:gd name="connsiteY214" fmla="*/ 8683 h 10000"/>
              <a:gd name="connsiteX215" fmla="*/ 3760 w 9942"/>
              <a:gd name="connsiteY215" fmla="*/ 8605 h 10000"/>
              <a:gd name="connsiteX216" fmla="*/ 3954 w 9942"/>
              <a:gd name="connsiteY216" fmla="*/ 8372 h 10000"/>
              <a:gd name="connsiteX217" fmla="*/ 4109 w 9942"/>
              <a:gd name="connsiteY217" fmla="*/ 8449 h 10000"/>
              <a:gd name="connsiteX218" fmla="*/ 4186 w 9942"/>
              <a:gd name="connsiteY218" fmla="*/ 8528 h 10000"/>
              <a:gd name="connsiteX219" fmla="*/ 4341 w 9942"/>
              <a:gd name="connsiteY219" fmla="*/ 8528 h 10000"/>
              <a:gd name="connsiteX220" fmla="*/ 4341 w 9942"/>
              <a:gd name="connsiteY220" fmla="*/ 8372 h 10000"/>
              <a:gd name="connsiteX221" fmla="*/ 4341 w 9942"/>
              <a:gd name="connsiteY221" fmla="*/ 8217 h 10000"/>
              <a:gd name="connsiteX222" fmla="*/ 4418 w 9942"/>
              <a:gd name="connsiteY222" fmla="*/ 8140 h 10000"/>
              <a:gd name="connsiteX223" fmla="*/ 4573 w 9942"/>
              <a:gd name="connsiteY223" fmla="*/ 8217 h 10000"/>
              <a:gd name="connsiteX224" fmla="*/ 4651 w 9942"/>
              <a:gd name="connsiteY224" fmla="*/ 8449 h 10000"/>
              <a:gd name="connsiteX225" fmla="*/ 4690 w 9942"/>
              <a:gd name="connsiteY225" fmla="*/ 8449 h 10000"/>
              <a:gd name="connsiteX226" fmla="*/ 4767 w 9942"/>
              <a:gd name="connsiteY226" fmla="*/ 8372 h 10000"/>
              <a:gd name="connsiteX227" fmla="*/ 5001 w 9942"/>
              <a:gd name="connsiteY227" fmla="*/ 8605 h 10000"/>
              <a:gd name="connsiteX228" fmla="*/ 5117 w 9942"/>
              <a:gd name="connsiteY228" fmla="*/ 8683 h 10000"/>
              <a:gd name="connsiteX229" fmla="*/ 5272 w 9942"/>
              <a:gd name="connsiteY229" fmla="*/ 8605 h 10000"/>
              <a:gd name="connsiteX230" fmla="*/ 5349 w 9942"/>
              <a:gd name="connsiteY230" fmla="*/ 8449 h 10000"/>
              <a:gd name="connsiteX231" fmla="*/ 5465 w 9942"/>
              <a:gd name="connsiteY231" fmla="*/ 8528 h 10000"/>
              <a:gd name="connsiteX232" fmla="*/ 5543 w 9942"/>
              <a:gd name="connsiteY232" fmla="*/ 8605 h 10000"/>
              <a:gd name="connsiteX233" fmla="*/ 6860 w 9942"/>
              <a:gd name="connsiteY233" fmla="*/ 7675 h 10000"/>
              <a:gd name="connsiteX234" fmla="*/ 6783 w 9942"/>
              <a:gd name="connsiteY234" fmla="*/ 7675 h 10000"/>
              <a:gd name="connsiteX235" fmla="*/ 6744 w 9942"/>
              <a:gd name="connsiteY235" fmla="*/ 7675 h 10000"/>
              <a:gd name="connsiteX236" fmla="*/ 6705 w 9942"/>
              <a:gd name="connsiteY236" fmla="*/ 7598 h 10000"/>
              <a:gd name="connsiteX237" fmla="*/ 6628 w 9942"/>
              <a:gd name="connsiteY237" fmla="*/ 7598 h 10000"/>
              <a:gd name="connsiteX238" fmla="*/ 6628 w 9942"/>
              <a:gd name="connsiteY238" fmla="*/ 7520 h 10000"/>
              <a:gd name="connsiteX239" fmla="*/ 6744 w 9942"/>
              <a:gd name="connsiteY239" fmla="*/ 7287 h 10000"/>
              <a:gd name="connsiteX240" fmla="*/ 7094 w 9942"/>
              <a:gd name="connsiteY240" fmla="*/ 6590 h 10000"/>
              <a:gd name="connsiteX241" fmla="*/ 7249 w 9942"/>
              <a:gd name="connsiteY241" fmla="*/ 6512 h 10000"/>
              <a:gd name="connsiteX242" fmla="*/ 7287 w 9942"/>
              <a:gd name="connsiteY242" fmla="*/ 6590 h 10000"/>
              <a:gd name="connsiteX243" fmla="*/ 7326 w 9942"/>
              <a:gd name="connsiteY243" fmla="*/ 6512 h 10000"/>
              <a:gd name="connsiteX244" fmla="*/ 7442 w 9942"/>
              <a:gd name="connsiteY244" fmla="*/ 6590 h 10000"/>
              <a:gd name="connsiteX245" fmla="*/ 7481 w 9942"/>
              <a:gd name="connsiteY245" fmla="*/ 6434 h 10000"/>
              <a:gd name="connsiteX246" fmla="*/ 7597 w 9942"/>
              <a:gd name="connsiteY246" fmla="*/ 6512 h 10000"/>
              <a:gd name="connsiteX247" fmla="*/ 7636 w 9942"/>
              <a:gd name="connsiteY247" fmla="*/ 6512 h 10000"/>
              <a:gd name="connsiteX248" fmla="*/ 7597 w 9942"/>
              <a:gd name="connsiteY248" fmla="*/ 6590 h 10000"/>
              <a:gd name="connsiteX249" fmla="*/ 7597 w 9942"/>
              <a:gd name="connsiteY249" fmla="*/ 6667 h 10000"/>
              <a:gd name="connsiteX250" fmla="*/ 7830 w 9942"/>
              <a:gd name="connsiteY250" fmla="*/ 6590 h 10000"/>
              <a:gd name="connsiteX251" fmla="*/ 7791 w 9942"/>
              <a:gd name="connsiteY251" fmla="*/ 6512 h 10000"/>
              <a:gd name="connsiteX252" fmla="*/ 7946 w 9942"/>
              <a:gd name="connsiteY252" fmla="*/ 5969 h 10000"/>
              <a:gd name="connsiteX253" fmla="*/ 8140 w 9942"/>
              <a:gd name="connsiteY253" fmla="*/ 5892 h 10000"/>
              <a:gd name="connsiteX254" fmla="*/ 8140 w 9942"/>
              <a:gd name="connsiteY254" fmla="*/ 6047 h 10000"/>
              <a:gd name="connsiteX255" fmla="*/ 8140 w 9942"/>
              <a:gd name="connsiteY255" fmla="*/ 6202 h 10000"/>
              <a:gd name="connsiteX256" fmla="*/ 8333 w 9942"/>
              <a:gd name="connsiteY256" fmla="*/ 5969 h 10000"/>
              <a:gd name="connsiteX257" fmla="*/ 8333 w 9942"/>
              <a:gd name="connsiteY257" fmla="*/ 5737 h 10000"/>
              <a:gd name="connsiteX258" fmla="*/ 8411 w 9942"/>
              <a:gd name="connsiteY258" fmla="*/ 5737 h 10000"/>
              <a:gd name="connsiteX259" fmla="*/ 8372 w 9942"/>
              <a:gd name="connsiteY259" fmla="*/ 5814 h 10000"/>
              <a:gd name="connsiteX260" fmla="*/ 8333 w 9942"/>
              <a:gd name="connsiteY260" fmla="*/ 6202 h 10000"/>
              <a:gd name="connsiteX261" fmla="*/ 8256 w 9942"/>
              <a:gd name="connsiteY261" fmla="*/ 6279 h 10000"/>
              <a:gd name="connsiteX262" fmla="*/ 8333 w 9942"/>
              <a:gd name="connsiteY262" fmla="*/ 6590 h 10000"/>
              <a:gd name="connsiteX263" fmla="*/ 8333 w 9942"/>
              <a:gd name="connsiteY263" fmla="*/ 6434 h 10000"/>
              <a:gd name="connsiteX264" fmla="*/ 8411 w 9942"/>
              <a:gd name="connsiteY264" fmla="*/ 6434 h 10000"/>
              <a:gd name="connsiteX265" fmla="*/ 8527 w 9942"/>
              <a:gd name="connsiteY265" fmla="*/ 6279 h 10000"/>
              <a:gd name="connsiteX266" fmla="*/ 8527 w 9942"/>
              <a:gd name="connsiteY266" fmla="*/ 6434 h 10000"/>
              <a:gd name="connsiteX267" fmla="*/ 8566 w 9942"/>
              <a:gd name="connsiteY267" fmla="*/ 6356 h 10000"/>
              <a:gd name="connsiteX268" fmla="*/ 8682 w 9942"/>
              <a:gd name="connsiteY268" fmla="*/ 6279 h 10000"/>
              <a:gd name="connsiteX269" fmla="*/ 8759 w 9942"/>
              <a:gd name="connsiteY269" fmla="*/ 6434 h 10000"/>
              <a:gd name="connsiteX270" fmla="*/ 8798 w 9942"/>
              <a:gd name="connsiteY270" fmla="*/ 6279 h 10000"/>
              <a:gd name="connsiteX271" fmla="*/ 9187 w 9942"/>
              <a:gd name="connsiteY271" fmla="*/ 5737 h 10000"/>
              <a:gd name="connsiteX272" fmla="*/ 9303 w 9942"/>
              <a:gd name="connsiteY272" fmla="*/ 5814 h 10000"/>
              <a:gd name="connsiteX273" fmla="*/ 9342 w 9942"/>
              <a:gd name="connsiteY273" fmla="*/ 5737 h 10000"/>
              <a:gd name="connsiteX274" fmla="*/ 9264 w 9942"/>
              <a:gd name="connsiteY274" fmla="*/ 5271 h 10000"/>
              <a:gd name="connsiteX275" fmla="*/ 9225 w 9942"/>
              <a:gd name="connsiteY275" fmla="*/ 5271 h 10000"/>
              <a:gd name="connsiteX276" fmla="*/ 9225 w 9942"/>
              <a:gd name="connsiteY276" fmla="*/ 5116 h 10000"/>
              <a:gd name="connsiteX277" fmla="*/ 9264 w 9942"/>
              <a:gd name="connsiteY277" fmla="*/ 5116 h 10000"/>
              <a:gd name="connsiteX278" fmla="*/ 9342 w 9942"/>
              <a:gd name="connsiteY278" fmla="*/ 5039 h 10000"/>
              <a:gd name="connsiteX279" fmla="*/ 9419 w 9942"/>
              <a:gd name="connsiteY279" fmla="*/ 4884 h 10000"/>
              <a:gd name="connsiteX280" fmla="*/ 9380 w 9942"/>
              <a:gd name="connsiteY280" fmla="*/ 4729 h 10000"/>
              <a:gd name="connsiteX281" fmla="*/ 9419 w 9942"/>
              <a:gd name="connsiteY281" fmla="*/ 4652 h 10000"/>
              <a:gd name="connsiteX282" fmla="*/ 9458 w 9942"/>
              <a:gd name="connsiteY282" fmla="*/ 4884 h 10000"/>
              <a:gd name="connsiteX283" fmla="*/ 9535 w 9942"/>
              <a:gd name="connsiteY283" fmla="*/ 4884 h 10000"/>
              <a:gd name="connsiteX284" fmla="*/ 9613 w 9942"/>
              <a:gd name="connsiteY284" fmla="*/ 5039 h 10000"/>
              <a:gd name="connsiteX285" fmla="*/ 9806 w 9942"/>
              <a:gd name="connsiteY285" fmla="*/ 5271 h 10000"/>
              <a:gd name="connsiteX286" fmla="*/ 9845 w 9942"/>
              <a:gd name="connsiteY286" fmla="*/ 5039 h 10000"/>
              <a:gd name="connsiteX287" fmla="*/ 9845 w 9942"/>
              <a:gd name="connsiteY287" fmla="*/ 4884 h 10000"/>
              <a:gd name="connsiteX288" fmla="*/ 9923 w 9942"/>
              <a:gd name="connsiteY288" fmla="*/ 4884 h 10000"/>
              <a:gd name="connsiteX289" fmla="*/ 9884 w 9942"/>
              <a:gd name="connsiteY289" fmla="*/ 4496 h 10000"/>
              <a:gd name="connsiteX290" fmla="*/ 9342 w 9942"/>
              <a:gd name="connsiteY290" fmla="*/ 3799 h 10000"/>
              <a:gd name="connsiteX291" fmla="*/ 9109 w 9942"/>
              <a:gd name="connsiteY291" fmla="*/ 3488 h 10000"/>
              <a:gd name="connsiteX292" fmla="*/ 8798 w 9942"/>
              <a:gd name="connsiteY292" fmla="*/ 3411 h 10000"/>
              <a:gd name="connsiteX293" fmla="*/ 8798 w 9942"/>
              <a:gd name="connsiteY293" fmla="*/ 3799 h 10000"/>
              <a:gd name="connsiteX294" fmla="*/ 8721 w 9942"/>
              <a:gd name="connsiteY294" fmla="*/ 3876 h 10000"/>
              <a:gd name="connsiteX295" fmla="*/ 8643 w 9942"/>
              <a:gd name="connsiteY295" fmla="*/ 3721 h 10000"/>
              <a:gd name="connsiteX296" fmla="*/ 8643 w 9942"/>
              <a:gd name="connsiteY296" fmla="*/ 3566 h 10000"/>
              <a:gd name="connsiteX297" fmla="*/ 8682 w 9942"/>
              <a:gd name="connsiteY297" fmla="*/ 3566 h 10000"/>
              <a:gd name="connsiteX298" fmla="*/ 8721 w 9942"/>
              <a:gd name="connsiteY298" fmla="*/ 3488 h 10000"/>
              <a:gd name="connsiteX299" fmla="*/ 8643 w 9942"/>
              <a:gd name="connsiteY299" fmla="*/ 3488 h 10000"/>
              <a:gd name="connsiteX300" fmla="*/ 8566 w 9942"/>
              <a:gd name="connsiteY300" fmla="*/ 3644 h 10000"/>
              <a:gd name="connsiteX301" fmla="*/ 8372 w 9942"/>
              <a:gd name="connsiteY301" fmla="*/ 3566 h 10000"/>
              <a:gd name="connsiteX302" fmla="*/ 8178 w 9942"/>
              <a:gd name="connsiteY302" fmla="*/ 3566 h 10000"/>
              <a:gd name="connsiteX303" fmla="*/ 8101 w 9942"/>
              <a:gd name="connsiteY303" fmla="*/ 3488 h 10000"/>
              <a:gd name="connsiteX304" fmla="*/ 8140 w 9942"/>
              <a:gd name="connsiteY304" fmla="*/ 3333 h 10000"/>
              <a:gd name="connsiteX305" fmla="*/ 8062 w 9942"/>
              <a:gd name="connsiteY305" fmla="*/ 3101 h 10000"/>
              <a:gd name="connsiteX306" fmla="*/ 7907 w 9942"/>
              <a:gd name="connsiteY306" fmla="*/ 3023 h 10000"/>
              <a:gd name="connsiteX307" fmla="*/ 7675 w 9942"/>
              <a:gd name="connsiteY307" fmla="*/ 3178 h 10000"/>
              <a:gd name="connsiteX308" fmla="*/ 7636 w 9942"/>
              <a:gd name="connsiteY308" fmla="*/ 2946 h 10000"/>
              <a:gd name="connsiteX309" fmla="*/ 7558 w 9942"/>
              <a:gd name="connsiteY309" fmla="*/ 2946 h 10000"/>
              <a:gd name="connsiteX310" fmla="*/ 7520 w 9942"/>
              <a:gd name="connsiteY310" fmla="*/ 2868 h 10000"/>
              <a:gd name="connsiteX311" fmla="*/ 7520 w 9942"/>
              <a:gd name="connsiteY311" fmla="*/ 2636 h 10000"/>
              <a:gd name="connsiteX312" fmla="*/ 7249 w 9942"/>
              <a:gd name="connsiteY312" fmla="*/ 2480 h 10000"/>
              <a:gd name="connsiteX313" fmla="*/ 6938 w 9942"/>
              <a:gd name="connsiteY313" fmla="*/ 2325 h 10000"/>
              <a:gd name="connsiteX314" fmla="*/ 6860 w 9942"/>
              <a:gd name="connsiteY314" fmla="*/ 2636 h 10000"/>
              <a:gd name="connsiteX315" fmla="*/ 6938 w 9942"/>
              <a:gd name="connsiteY315" fmla="*/ 2868 h 10000"/>
              <a:gd name="connsiteX316" fmla="*/ 6705 w 9942"/>
              <a:gd name="connsiteY316" fmla="*/ 2868 h 10000"/>
              <a:gd name="connsiteX317" fmla="*/ 6666 w 9942"/>
              <a:gd name="connsiteY317" fmla="*/ 2868 h 10000"/>
              <a:gd name="connsiteX318" fmla="*/ 6589 w 9942"/>
              <a:gd name="connsiteY318" fmla="*/ 2946 h 10000"/>
              <a:gd name="connsiteX319" fmla="*/ 6473 w 9942"/>
              <a:gd name="connsiteY319" fmla="*/ 2714 h 10000"/>
              <a:gd name="connsiteX320" fmla="*/ 6395 w 9942"/>
              <a:gd name="connsiteY320" fmla="*/ 3178 h 10000"/>
              <a:gd name="connsiteX321" fmla="*/ 6318 w 9942"/>
              <a:gd name="connsiteY321" fmla="*/ 3101 h 10000"/>
              <a:gd name="connsiteX322" fmla="*/ 6240 w 9942"/>
              <a:gd name="connsiteY322" fmla="*/ 2791 h 10000"/>
              <a:gd name="connsiteX323" fmla="*/ 6279 w 9942"/>
              <a:gd name="connsiteY323" fmla="*/ 2403 h 10000"/>
              <a:gd name="connsiteX324" fmla="*/ 6202 w 9942"/>
              <a:gd name="connsiteY324" fmla="*/ 2170 h 10000"/>
              <a:gd name="connsiteX325" fmla="*/ 5969 w 9942"/>
              <a:gd name="connsiteY325" fmla="*/ 2016 h 10000"/>
              <a:gd name="connsiteX326" fmla="*/ 5892 w 9942"/>
              <a:gd name="connsiteY326" fmla="*/ 2016 h 10000"/>
              <a:gd name="connsiteX327" fmla="*/ 5853 w 9942"/>
              <a:gd name="connsiteY327" fmla="*/ 2170 h 10000"/>
              <a:gd name="connsiteX328" fmla="*/ 5892 w 9942"/>
              <a:gd name="connsiteY328" fmla="*/ 2325 h 10000"/>
              <a:gd name="connsiteX329" fmla="*/ 5582 w 9942"/>
              <a:gd name="connsiteY329" fmla="*/ 2248 h 10000"/>
              <a:gd name="connsiteX330" fmla="*/ 5620 w 9942"/>
              <a:gd name="connsiteY330" fmla="*/ 2016 h 10000"/>
              <a:gd name="connsiteX331" fmla="*/ 5427 w 9942"/>
              <a:gd name="connsiteY331" fmla="*/ 1938 h 10000"/>
              <a:gd name="connsiteX332" fmla="*/ 5311 w 9942"/>
              <a:gd name="connsiteY332" fmla="*/ 2093 h 10000"/>
              <a:gd name="connsiteX333" fmla="*/ 5078 w 9942"/>
              <a:gd name="connsiteY333" fmla="*/ 1861 h 10000"/>
              <a:gd name="connsiteX0" fmla="*/ 5108 w 9981"/>
              <a:gd name="connsiteY0" fmla="*/ 1861 h 10000"/>
              <a:gd name="connsiteX1" fmla="*/ 5108 w 9981"/>
              <a:gd name="connsiteY1" fmla="*/ 1861 h 10000"/>
              <a:gd name="connsiteX2" fmla="*/ 5068 w 9981"/>
              <a:gd name="connsiteY2" fmla="*/ 1938 h 10000"/>
              <a:gd name="connsiteX3" fmla="*/ 5108 w 9981"/>
              <a:gd name="connsiteY3" fmla="*/ 2093 h 10000"/>
              <a:gd name="connsiteX4" fmla="*/ 4951 w 9981"/>
              <a:gd name="connsiteY4" fmla="*/ 2248 h 10000"/>
              <a:gd name="connsiteX5" fmla="*/ 4911 w 9981"/>
              <a:gd name="connsiteY5" fmla="*/ 2248 h 10000"/>
              <a:gd name="connsiteX6" fmla="*/ 4951 w 9981"/>
              <a:gd name="connsiteY6" fmla="*/ 2016 h 10000"/>
              <a:gd name="connsiteX7" fmla="*/ 5342 w 9981"/>
              <a:gd name="connsiteY7" fmla="*/ 1318 h 10000"/>
              <a:gd name="connsiteX8" fmla="*/ 5342 w 9981"/>
              <a:gd name="connsiteY8" fmla="*/ 853 h 10000"/>
              <a:gd name="connsiteX9" fmla="*/ 5186 w 9981"/>
              <a:gd name="connsiteY9" fmla="*/ 543 h 10000"/>
              <a:gd name="connsiteX10" fmla="*/ 4990 w 9981"/>
              <a:gd name="connsiteY10" fmla="*/ 543 h 10000"/>
              <a:gd name="connsiteX11" fmla="*/ 4990 w 9981"/>
              <a:gd name="connsiteY11" fmla="*/ 698 h 10000"/>
              <a:gd name="connsiteX12" fmla="*/ 4873 w 9981"/>
              <a:gd name="connsiteY12" fmla="*/ 698 h 10000"/>
              <a:gd name="connsiteX13" fmla="*/ 4951 w 9981"/>
              <a:gd name="connsiteY13" fmla="*/ 387 h 10000"/>
              <a:gd name="connsiteX14" fmla="*/ 4756 w 9981"/>
              <a:gd name="connsiteY14" fmla="*/ 310 h 10000"/>
              <a:gd name="connsiteX15" fmla="*/ 4873 w 9981"/>
              <a:gd name="connsiteY15" fmla="*/ 155 h 10000"/>
              <a:gd name="connsiteX16" fmla="*/ 4756 w 9981"/>
              <a:gd name="connsiteY16" fmla="*/ 0 h 10000"/>
              <a:gd name="connsiteX17" fmla="*/ 4561 w 9981"/>
              <a:gd name="connsiteY17" fmla="*/ 387 h 10000"/>
              <a:gd name="connsiteX18" fmla="*/ 4561 w 9981"/>
              <a:gd name="connsiteY18" fmla="*/ 698 h 10000"/>
              <a:gd name="connsiteX19" fmla="*/ 4444 w 9981"/>
              <a:gd name="connsiteY19" fmla="*/ 698 h 10000"/>
              <a:gd name="connsiteX20" fmla="*/ 4094 w 9981"/>
              <a:gd name="connsiteY20" fmla="*/ 853 h 10000"/>
              <a:gd name="connsiteX21" fmla="*/ 3782 w 9981"/>
              <a:gd name="connsiteY21" fmla="*/ 1240 h 10000"/>
              <a:gd name="connsiteX22" fmla="*/ 3665 w 9981"/>
              <a:gd name="connsiteY22" fmla="*/ 1551 h 10000"/>
              <a:gd name="connsiteX23" fmla="*/ 3703 w 9981"/>
              <a:gd name="connsiteY23" fmla="*/ 1938 h 10000"/>
              <a:gd name="connsiteX24" fmla="*/ 3275 w 9981"/>
              <a:gd name="connsiteY24" fmla="*/ 2093 h 10000"/>
              <a:gd name="connsiteX25" fmla="*/ 3314 w 9981"/>
              <a:gd name="connsiteY25" fmla="*/ 2559 h 10000"/>
              <a:gd name="connsiteX26" fmla="*/ 3431 w 9981"/>
              <a:gd name="connsiteY26" fmla="*/ 2791 h 10000"/>
              <a:gd name="connsiteX27" fmla="*/ 3353 w 9981"/>
              <a:gd name="connsiteY27" fmla="*/ 2868 h 10000"/>
              <a:gd name="connsiteX28" fmla="*/ 3236 w 9981"/>
              <a:gd name="connsiteY28" fmla="*/ 2559 h 10000"/>
              <a:gd name="connsiteX29" fmla="*/ 3119 w 9981"/>
              <a:gd name="connsiteY29" fmla="*/ 2480 h 10000"/>
              <a:gd name="connsiteX30" fmla="*/ 3081 w 9981"/>
              <a:gd name="connsiteY30" fmla="*/ 2559 h 10000"/>
              <a:gd name="connsiteX31" fmla="*/ 3001 w 9981"/>
              <a:gd name="connsiteY31" fmla="*/ 2403 h 10000"/>
              <a:gd name="connsiteX32" fmla="*/ 2924 w 9981"/>
              <a:gd name="connsiteY32" fmla="*/ 2248 h 10000"/>
              <a:gd name="connsiteX33" fmla="*/ 2924 w 9981"/>
              <a:gd name="connsiteY33" fmla="*/ 2325 h 10000"/>
              <a:gd name="connsiteX34" fmla="*/ 2962 w 9981"/>
              <a:gd name="connsiteY34" fmla="*/ 2559 h 10000"/>
              <a:gd name="connsiteX35" fmla="*/ 2846 w 9981"/>
              <a:gd name="connsiteY35" fmla="*/ 2946 h 10000"/>
              <a:gd name="connsiteX36" fmla="*/ 2924 w 9981"/>
              <a:gd name="connsiteY36" fmla="*/ 3256 h 10000"/>
              <a:gd name="connsiteX37" fmla="*/ 2885 w 9981"/>
              <a:gd name="connsiteY37" fmla="*/ 3566 h 10000"/>
              <a:gd name="connsiteX38" fmla="*/ 2885 w 9981"/>
              <a:gd name="connsiteY38" fmla="*/ 3799 h 10000"/>
              <a:gd name="connsiteX39" fmla="*/ 3001 w 9981"/>
              <a:gd name="connsiteY39" fmla="*/ 3799 h 10000"/>
              <a:gd name="connsiteX40" fmla="*/ 2924 w 9981"/>
              <a:gd name="connsiteY40" fmla="*/ 3876 h 10000"/>
              <a:gd name="connsiteX41" fmla="*/ 2962 w 9981"/>
              <a:gd name="connsiteY41" fmla="*/ 4263 h 10000"/>
              <a:gd name="connsiteX42" fmla="*/ 2729 w 9981"/>
              <a:gd name="connsiteY42" fmla="*/ 4652 h 10000"/>
              <a:gd name="connsiteX43" fmla="*/ 2690 w 9981"/>
              <a:gd name="connsiteY43" fmla="*/ 4574 h 10000"/>
              <a:gd name="connsiteX44" fmla="*/ 2846 w 9981"/>
              <a:gd name="connsiteY44" fmla="*/ 4186 h 10000"/>
              <a:gd name="connsiteX45" fmla="*/ 2885 w 9981"/>
              <a:gd name="connsiteY45" fmla="*/ 3954 h 10000"/>
              <a:gd name="connsiteX46" fmla="*/ 2806 w 9981"/>
              <a:gd name="connsiteY46" fmla="*/ 3799 h 10000"/>
              <a:gd name="connsiteX47" fmla="*/ 2806 w 9981"/>
              <a:gd name="connsiteY47" fmla="*/ 3023 h 10000"/>
              <a:gd name="connsiteX48" fmla="*/ 2768 w 9981"/>
              <a:gd name="connsiteY48" fmla="*/ 2868 h 10000"/>
              <a:gd name="connsiteX49" fmla="*/ 2806 w 9981"/>
              <a:gd name="connsiteY49" fmla="*/ 2403 h 10000"/>
              <a:gd name="connsiteX50" fmla="*/ 2729 w 9981"/>
              <a:gd name="connsiteY50" fmla="*/ 2325 h 10000"/>
              <a:gd name="connsiteX51" fmla="*/ 2768 w 9981"/>
              <a:gd name="connsiteY51" fmla="*/ 2248 h 10000"/>
              <a:gd name="connsiteX52" fmla="*/ 2729 w 9981"/>
              <a:gd name="connsiteY52" fmla="*/ 2093 h 10000"/>
              <a:gd name="connsiteX53" fmla="*/ 2650 w 9981"/>
              <a:gd name="connsiteY53" fmla="*/ 2170 h 10000"/>
              <a:gd name="connsiteX54" fmla="*/ 2456 w 9981"/>
              <a:gd name="connsiteY54" fmla="*/ 3178 h 10000"/>
              <a:gd name="connsiteX55" fmla="*/ 2456 w 9981"/>
              <a:gd name="connsiteY55" fmla="*/ 3566 h 10000"/>
              <a:gd name="connsiteX56" fmla="*/ 2573 w 9981"/>
              <a:gd name="connsiteY56" fmla="*/ 3876 h 10000"/>
              <a:gd name="connsiteX57" fmla="*/ 2573 w 9981"/>
              <a:gd name="connsiteY57" fmla="*/ 4031 h 10000"/>
              <a:gd name="connsiteX58" fmla="*/ 2456 w 9981"/>
              <a:gd name="connsiteY58" fmla="*/ 3876 h 10000"/>
              <a:gd name="connsiteX59" fmla="*/ 1989 w 9981"/>
              <a:gd name="connsiteY59" fmla="*/ 3256 h 10000"/>
              <a:gd name="connsiteX60" fmla="*/ 1949 w 9981"/>
              <a:gd name="connsiteY60" fmla="*/ 3411 h 10000"/>
              <a:gd name="connsiteX61" fmla="*/ 2105 w 9981"/>
              <a:gd name="connsiteY61" fmla="*/ 3799 h 10000"/>
              <a:gd name="connsiteX62" fmla="*/ 2028 w 9981"/>
              <a:gd name="connsiteY62" fmla="*/ 3876 h 10000"/>
              <a:gd name="connsiteX63" fmla="*/ 1989 w 9981"/>
              <a:gd name="connsiteY63" fmla="*/ 3799 h 10000"/>
              <a:gd name="connsiteX64" fmla="*/ 1754 w 9981"/>
              <a:gd name="connsiteY64" fmla="*/ 3954 h 10000"/>
              <a:gd name="connsiteX65" fmla="*/ 1716 w 9981"/>
              <a:gd name="connsiteY65" fmla="*/ 4109 h 10000"/>
              <a:gd name="connsiteX66" fmla="*/ 1677 w 9981"/>
              <a:gd name="connsiteY66" fmla="*/ 3954 h 10000"/>
              <a:gd name="connsiteX67" fmla="*/ 1677 w 9981"/>
              <a:gd name="connsiteY67" fmla="*/ 3799 h 10000"/>
              <a:gd name="connsiteX68" fmla="*/ 1286 w 9981"/>
              <a:gd name="connsiteY68" fmla="*/ 4263 h 10000"/>
              <a:gd name="connsiteX69" fmla="*/ 1286 w 9981"/>
              <a:gd name="connsiteY69" fmla="*/ 4418 h 10000"/>
              <a:gd name="connsiteX70" fmla="*/ 1209 w 9981"/>
              <a:gd name="connsiteY70" fmla="*/ 4496 h 10000"/>
              <a:gd name="connsiteX71" fmla="*/ 1092 w 9981"/>
              <a:gd name="connsiteY71" fmla="*/ 4341 h 10000"/>
              <a:gd name="connsiteX72" fmla="*/ 1209 w 9981"/>
              <a:gd name="connsiteY72" fmla="*/ 4186 h 10000"/>
              <a:gd name="connsiteX73" fmla="*/ 1170 w 9981"/>
              <a:gd name="connsiteY73" fmla="*/ 3954 h 10000"/>
              <a:gd name="connsiteX74" fmla="*/ 1014 w 9981"/>
              <a:gd name="connsiteY74" fmla="*/ 3876 h 10000"/>
              <a:gd name="connsiteX75" fmla="*/ 1053 w 9981"/>
              <a:gd name="connsiteY75" fmla="*/ 4031 h 10000"/>
              <a:gd name="connsiteX76" fmla="*/ 1053 w 9981"/>
              <a:gd name="connsiteY76" fmla="*/ 4418 h 10000"/>
              <a:gd name="connsiteX77" fmla="*/ 1092 w 9981"/>
              <a:gd name="connsiteY77" fmla="*/ 4574 h 10000"/>
              <a:gd name="connsiteX78" fmla="*/ 1053 w 9981"/>
              <a:gd name="connsiteY78" fmla="*/ 4729 h 10000"/>
              <a:gd name="connsiteX79" fmla="*/ 935 w 9981"/>
              <a:gd name="connsiteY79" fmla="*/ 4652 h 10000"/>
              <a:gd name="connsiteX80" fmla="*/ 780 w 9981"/>
              <a:gd name="connsiteY80" fmla="*/ 4884 h 10000"/>
              <a:gd name="connsiteX81" fmla="*/ 857 w 9981"/>
              <a:gd name="connsiteY81" fmla="*/ 5194 h 10000"/>
              <a:gd name="connsiteX82" fmla="*/ 624 w 9981"/>
              <a:gd name="connsiteY82" fmla="*/ 5039 h 10000"/>
              <a:gd name="connsiteX83" fmla="*/ 584 w 9981"/>
              <a:gd name="connsiteY83" fmla="*/ 5116 h 10000"/>
              <a:gd name="connsiteX84" fmla="*/ 663 w 9981"/>
              <a:gd name="connsiteY84" fmla="*/ 5349 h 10000"/>
              <a:gd name="connsiteX85" fmla="*/ 584 w 9981"/>
              <a:gd name="connsiteY85" fmla="*/ 5349 h 10000"/>
              <a:gd name="connsiteX86" fmla="*/ 468 w 9981"/>
              <a:gd name="connsiteY86" fmla="*/ 5194 h 10000"/>
              <a:gd name="connsiteX87" fmla="*/ 468 w 9981"/>
              <a:gd name="connsiteY87" fmla="*/ 4729 h 10000"/>
              <a:gd name="connsiteX88" fmla="*/ 351 w 9981"/>
              <a:gd name="connsiteY88" fmla="*/ 4574 h 10000"/>
              <a:gd name="connsiteX89" fmla="*/ 312 w 9981"/>
              <a:gd name="connsiteY89" fmla="*/ 4418 h 10000"/>
              <a:gd name="connsiteX90" fmla="*/ 389 w 9981"/>
              <a:gd name="connsiteY90" fmla="*/ 4496 h 10000"/>
              <a:gd name="connsiteX91" fmla="*/ 701 w 9981"/>
              <a:gd name="connsiteY91" fmla="*/ 4729 h 10000"/>
              <a:gd name="connsiteX92" fmla="*/ 896 w 9981"/>
              <a:gd name="connsiteY92" fmla="*/ 4496 h 10000"/>
              <a:gd name="connsiteX93" fmla="*/ 857 w 9981"/>
              <a:gd name="connsiteY93" fmla="*/ 4263 h 10000"/>
              <a:gd name="connsiteX94" fmla="*/ 624 w 9981"/>
              <a:gd name="connsiteY94" fmla="*/ 3799 h 10000"/>
              <a:gd name="connsiteX95" fmla="*/ 389 w 9981"/>
              <a:gd name="connsiteY95" fmla="*/ 3644 h 10000"/>
              <a:gd name="connsiteX96" fmla="*/ 389 w 9981"/>
              <a:gd name="connsiteY96" fmla="*/ 3566 h 10000"/>
              <a:gd name="connsiteX97" fmla="*/ 312 w 9981"/>
              <a:gd name="connsiteY97" fmla="*/ 3488 h 10000"/>
              <a:gd name="connsiteX98" fmla="*/ 233 w 9981"/>
              <a:gd name="connsiteY98" fmla="*/ 3566 h 10000"/>
              <a:gd name="connsiteX99" fmla="*/ 233 w 9981"/>
              <a:gd name="connsiteY99" fmla="*/ 3644 h 10000"/>
              <a:gd name="connsiteX100" fmla="*/ 195 w 9981"/>
              <a:gd name="connsiteY100" fmla="*/ 3644 h 10000"/>
              <a:gd name="connsiteX101" fmla="*/ 117 w 9981"/>
              <a:gd name="connsiteY101" fmla="*/ 3799 h 10000"/>
              <a:gd name="connsiteX102" fmla="*/ 117 w 9981"/>
              <a:gd name="connsiteY102" fmla="*/ 4031 h 10000"/>
              <a:gd name="connsiteX103" fmla="*/ 195 w 9981"/>
              <a:gd name="connsiteY103" fmla="*/ 4186 h 10000"/>
              <a:gd name="connsiteX104" fmla="*/ 156 w 9981"/>
              <a:gd name="connsiteY104" fmla="*/ 4418 h 10000"/>
              <a:gd name="connsiteX105" fmla="*/ 195 w 9981"/>
              <a:gd name="connsiteY105" fmla="*/ 4807 h 10000"/>
              <a:gd name="connsiteX106" fmla="*/ 156 w 9981"/>
              <a:gd name="connsiteY106" fmla="*/ 5039 h 10000"/>
              <a:gd name="connsiteX107" fmla="*/ 233 w 9981"/>
              <a:gd name="connsiteY107" fmla="*/ 5271 h 10000"/>
              <a:gd name="connsiteX108" fmla="*/ 195 w 9981"/>
              <a:gd name="connsiteY108" fmla="*/ 5426 h 10000"/>
              <a:gd name="connsiteX109" fmla="*/ 273 w 9981"/>
              <a:gd name="connsiteY109" fmla="*/ 5582 h 10000"/>
              <a:gd name="connsiteX110" fmla="*/ 273 w 9981"/>
              <a:gd name="connsiteY110" fmla="*/ 5659 h 10000"/>
              <a:gd name="connsiteX111" fmla="*/ 156 w 9981"/>
              <a:gd name="connsiteY111" fmla="*/ 6047 h 10000"/>
              <a:gd name="connsiteX112" fmla="*/ 39 w 9981"/>
              <a:gd name="connsiteY112" fmla="*/ 6202 h 10000"/>
              <a:gd name="connsiteX113" fmla="*/ 77 w 9981"/>
              <a:gd name="connsiteY113" fmla="*/ 6202 h 10000"/>
              <a:gd name="connsiteX114" fmla="*/ 156 w 9981"/>
              <a:gd name="connsiteY114" fmla="*/ 6356 h 10000"/>
              <a:gd name="connsiteX115" fmla="*/ 77 w 9981"/>
              <a:gd name="connsiteY115" fmla="*/ 6512 h 10000"/>
              <a:gd name="connsiteX116" fmla="*/ 39 w 9981"/>
              <a:gd name="connsiteY116" fmla="*/ 6590 h 10000"/>
              <a:gd name="connsiteX117" fmla="*/ 0 w 9981"/>
              <a:gd name="connsiteY117" fmla="*/ 6590 h 10000"/>
              <a:gd name="connsiteX118" fmla="*/ 39 w 9981"/>
              <a:gd name="connsiteY118" fmla="*/ 6822 h 10000"/>
              <a:gd name="connsiteX119" fmla="*/ 39 w 9981"/>
              <a:gd name="connsiteY119" fmla="*/ 6900 h 10000"/>
              <a:gd name="connsiteX120" fmla="*/ 39 w 9981"/>
              <a:gd name="connsiteY120" fmla="*/ 6977 h 10000"/>
              <a:gd name="connsiteX121" fmla="*/ 39 w 9981"/>
              <a:gd name="connsiteY121" fmla="*/ 7054 h 10000"/>
              <a:gd name="connsiteX122" fmla="*/ 77 w 9981"/>
              <a:gd name="connsiteY122" fmla="*/ 7209 h 10000"/>
              <a:gd name="connsiteX123" fmla="*/ 195 w 9981"/>
              <a:gd name="connsiteY123" fmla="*/ 7287 h 10000"/>
              <a:gd name="connsiteX124" fmla="*/ 233 w 9981"/>
              <a:gd name="connsiteY124" fmla="*/ 7364 h 10000"/>
              <a:gd name="connsiteX125" fmla="*/ 233 w 9981"/>
              <a:gd name="connsiteY125" fmla="*/ 7520 h 10000"/>
              <a:gd name="connsiteX126" fmla="*/ 312 w 9981"/>
              <a:gd name="connsiteY126" fmla="*/ 7752 h 10000"/>
              <a:gd name="connsiteX127" fmla="*/ 351 w 9981"/>
              <a:gd name="connsiteY127" fmla="*/ 7752 h 10000"/>
              <a:gd name="connsiteX128" fmla="*/ 312 w 9981"/>
              <a:gd name="connsiteY128" fmla="*/ 7907 h 10000"/>
              <a:gd name="connsiteX129" fmla="*/ 273 w 9981"/>
              <a:gd name="connsiteY129" fmla="*/ 7830 h 10000"/>
              <a:gd name="connsiteX130" fmla="*/ 273 w 9981"/>
              <a:gd name="connsiteY130" fmla="*/ 7907 h 10000"/>
              <a:gd name="connsiteX131" fmla="*/ 312 w 9981"/>
              <a:gd name="connsiteY131" fmla="*/ 8062 h 10000"/>
              <a:gd name="connsiteX132" fmla="*/ 428 w 9981"/>
              <a:gd name="connsiteY132" fmla="*/ 8062 h 10000"/>
              <a:gd name="connsiteX133" fmla="*/ 468 w 9981"/>
              <a:gd name="connsiteY133" fmla="*/ 8140 h 10000"/>
              <a:gd name="connsiteX134" fmla="*/ 428 w 9981"/>
              <a:gd name="connsiteY134" fmla="*/ 8140 h 10000"/>
              <a:gd name="connsiteX135" fmla="*/ 468 w 9981"/>
              <a:gd name="connsiteY135" fmla="*/ 8217 h 10000"/>
              <a:gd name="connsiteX136" fmla="*/ 507 w 9981"/>
              <a:gd name="connsiteY136" fmla="*/ 8217 h 10000"/>
              <a:gd name="connsiteX137" fmla="*/ 545 w 9981"/>
              <a:gd name="connsiteY137" fmla="*/ 8372 h 10000"/>
              <a:gd name="connsiteX138" fmla="*/ 584 w 9981"/>
              <a:gd name="connsiteY138" fmla="*/ 8449 h 10000"/>
              <a:gd name="connsiteX139" fmla="*/ 624 w 9981"/>
              <a:gd name="connsiteY139" fmla="*/ 8372 h 10000"/>
              <a:gd name="connsiteX140" fmla="*/ 819 w 9981"/>
              <a:gd name="connsiteY140" fmla="*/ 8605 h 10000"/>
              <a:gd name="connsiteX141" fmla="*/ 780 w 9981"/>
              <a:gd name="connsiteY141" fmla="*/ 8915 h 10000"/>
              <a:gd name="connsiteX142" fmla="*/ 740 w 9981"/>
              <a:gd name="connsiteY142" fmla="*/ 8838 h 10000"/>
              <a:gd name="connsiteX143" fmla="*/ 701 w 9981"/>
              <a:gd name="connsiteY143" fmla="*/ 8915 h 10000"/>
              <a:gd name="connsiteX144" fmla="*/ 701 w 9981"/>
              <a:gd name="connsiteY144" fmla="*/ 9070 h 10000"/>
              <a:gd name="connsiteX145" fmla="*/ 740 w 9981"/>
              <a:gd name="connsiteY145" fmla="*/ 8993 h 10000"/>
              <a:gd name="connsiteX146" fmla="*/ 780 w 9981"/>
              <a:gd name="connsiteY146" fmla="*/ 9070 h 10000"/>
              <a:gd name="connsiteX147" fmla="*/ 663 w 9981"/>
              <a:gd name="connsiteY147" fmla="*/ 9147 h 10000"/>
              <a:gd name="connsiteX148" fmla="*/ 701 w 9981"/>
              <a:gd name="connsiteY148" fmla="*/ 9225 h 10000"/>
              <a:gd name="connsiteX149" fmla="*/ 624 w 9981"/>
              <a:gd name="connsiteY149" fmla="*/ 9380 h 10000"/>
              <a:gd name="connsiteX150" fmla="*/ 584 w 9981"/>
              <a:gd name="connsiteY150" fmla="*/ 9380 h 10000"/>
              <a:gd name="connsiteX151" fmla="*/ 624 w 9981"/>
              <a:gd name="connsiteY151" fmla="*/ 9380 h 10000"/>
              <a:gd name="connsiteX152" fmla="*/ 780 w 9981"/>
              <a:gd name="connsiteY152" fmla="*/ 9691 h 10000"/>
              <a:gd name="connsiteX153" fmla="*/ 975 w 9981"/>
              <a:gd name="connsiteY153" fmla="*/ 9691 h 10000"/>
              <a:gd name="connsiteX154" fmla="*/ 1053 w 9981"/>
              <a:gd name="connsiteY154" fmla="*/ 9768 h 10000"/>
              <a:gd name="connsiteX155" fmla="*/ 1131 w 9981"/>
              <a:gd name="connsiteY155" fmla="*/ 9768 h 10000"/>
              <a:gd name="connsiteX156" fmla="*/ 1209 w 9981"/>
              <a:gd name="connsiteY156" fmla="*/ 9923 h 10000"/>
              <a:gd name="connsiteX157" fmla="*/ 1248 w 9981"/>
              <a:gd name="connsiteY157" fmla="*/ 10000 h 10000"/>
              <a:gd name="connsiteX158" fmla="*/ 1286 w 9981"/>
              <a:gd name="connsiteY158" fmla="*/ 10000 h 10000"/>
              <a:gd name="connsiteX159" fmla="*/ 1326 w 9981"/>
              <a:gd name="connsiteY159" fmla="*/ 9923 h 10000"/>
              <a:gd name="connsiteX160" fmla="*/ 1248 w 9981"/>
              <a:gd name="connsiteY160" fmla="*/ 9768 h 10000"/>
              <a:gd name="connsiteX161" fmla="*/ 1248 w 9981"/>
              <a:gd name="connsiteY161" fmla="*/ 9613 h 10000"/>
              <a:gd name="connsiteX162" fmla="*/ 1209 w 9981"/>
              <a:gd name="connsiteY162" fmla="*/ 9457 h 10000"/>
              <a:gd name="connsiteX163" fmla="*/ 1286 w 9981"/>
              <a:gd name="connsiteY163" fmla="*/ 9225 h 10000"/>
              <a:gd name="connsiteX164" fmla="*/ 1326 w 9981"/>
              <a:gd name="connsiteY164" fmla="*/ 9302 h 10000"/>
              <a:gd name="connsiteX165" fmla="*/ 1365 w 9981"/>
              <a:gd name="connsiteY165" fmla="*/ 9225 h 10000"/>
              <a:gd name="connsiteX166" fmla="*/ 1365 w 9981"/>
              <a:gd name="connsiteY166" fmla="*/ 9147 h 10000"/>
              <a:gd name="connsiteX167" fmla="*/ 1326 w 9981"/>
              <a:gd name="connsiteY167" fmla="*/ 9147 h 10000"/>
              <a:gd name="connsiteX168" fmla="*/ 1365 w 9981"/>
              <a:gd name="connsiteY168" fmla="*/ 9070 h 10000"/>
              <a:gd name="connsiteX169" fmla="*/ 1326 w 9981"/>
              <a:gd name="connsiteY169" fmla="*/ 8915 h 10000"/>
              <a:gd name="connsiteX170" fmla="*/ 1248 w 9981"/>
              <a:gd name="connsiteY170" fmla="*/ 8915 h 10000"/>
              <a:gd name="connsiteX171" fmla="*/ 1209 w 9981"/>
              <a:gd name="connsiteY171" fmla="*/ 8760 h 10000"/>
              <a:gd name="connsiteX172" fmla="*/ 1248 w 9981"/>
              <a:gd name="connsiteY172" fmla="*/ 8372 h 10000"/>
              <a:gd name="connsiteX173" fmla="*/ 1326 w 9981"/>
              <a:gd name="connsiteY173" fmla="*/ 8528 h 10000"/>
              <a:gd name="connsiteX174" fmla="*/ 1365 w 9981"/>
              <a:gd name="connsiteY174" fmla="*/ 8528 h 10000"/>
              <a:gd name="connsiteX175" fmla="*/ 1326 w 9981"/>
              <a:gd name="connsiteY175" fmla="*/ 8372 h 10000"/>
              <a:gd name="connsiteX176" fmla="*/ 1442 w 9981"/>
              <a:gd name="connsiteY176" fmla="*/ 8140 h 10000"/>
              <a:gd name="connsiteX177" fmla="*/ 1521 w 9981"/>
              <a:gd name="connsiteY177" fmla="*/ 8217 h 10000"/>
              <a:gd name="connsiteX178" fmla="*/ 1560 w 9981"/>
              <a:gd name="connsiteY178" fmla="*/ 8140 h 10000"/>
              <a:gd name="connsiteX179" fmla="*/ 1637 w 9981"/>
              <a:gd name="connsiteY179" fmla="*/ 8217 h 10000"/>
              <a:gd name="connsiteX180" fmla="*/ 1754 w 9981"/>
              <a:gd name="connsiteY180" fmla="*/ 8372 h 10000"/>
              <a:gd name="connsiteX181" fmla="*/ 1833 w 9981"/>
              <a:gd name="connsiteY181" fmla="*/ 8295 h 10000"/>
              <a:gd name="connsiteX182" fmla="*/ 1910 w 9981"/>
              <a:gd name="connsiteY182" fmla="*/ 8295 h 10000"/>
              <a:gd name="connsiteX183" fmla="*/ 1949 w 9981"/>
              <a:gd name="connsiteY183" fmla="*/ 8372 h 10000"/>
              <a:gd name="connsiteX184" fmla="*/ 2105 w 9981"/>
              <a:gd name="connsiteY184" fmla="*/ 8372 h 10000"/>
              <a:gd name="connsiteX185" fmla="*/ 2144 w 9981"/>
              <a:gd name="connsiteY185" fmla="*/ 8217 h 10000"/>
              <a:gd name="connsiteX186" fmla="*/ 2028 w 9981"/>
              <a:gd name="connsiteY186" fmla="*/ 8140 h 10000"/>
              <a:gd name="connsiteX187" fmla="*/ 2105 w 9981"/>
              <a:gd name="connsiteY187" fmla="*/ 8062 h 10000"/>
              <a:gd name="connsiteX188" fmla="*/ 2066 w 9981"/>
              <a:gd name="connsiteY188" fmla="*/ 7985 h 10000"/>
              <a:gd name="connsiteX189" fmla="*/ 2105 w 9981"/>
              <a:gd name="connsiteY189" fmla="*/ 7907 h 10000"/>
              <a:gd name="connsiteX190" fmla="*/ 2105 w 9981"/>
              <a:gd name="connsiteY190" fmla="*/ 7675 h 10000"/>
              <a:gd name="connsiteX191" fmla="*/ 2183 w 9981"/>
              <a:gd name="connsiteY191" fmla="*/ 7752 h 10000"/>
              <a:gd name="connsiteX192" fmla="*/ 2534 w 9981"/>
              <a:gd name="connsiteY192" fmla="*/ 7520 h 10000"/>
              <a:gd name="connsiteX193" fmla="*/ 2534 w 9981"/>
              <a:gd name="connsiteY193" fmla="*/ 7442 h 10000"/>
              <a:gd name="connsiteX194" fmla="*/ 2573 w 9981"/>
              <a:gd name="connsiteY194" fmla="*/ 7442 h 10000"/>
              <a:gd name="connsiteX195" fmla="*/ 2690 w 9981"/>
              <a:gd name="connsiteY195" fmla="*/ 7442 h 10000"/>
              <a:gd name="connsiteX196" fmla="*/ 2729 w 9981"/>
              <a:gd name="connsiteY196" fmla="*/ 7598 h 10000"/>
              <a:gd name="connsiteX197" fmla="*/ 2729 w 9981"/>
              <a:gd name="connsiteY197" fmla="*/ 7675 h 10000"/>
              <a:gd name="connsiteX198" fmla="*/ 2768 w 9981"/>
              <a:gd name="connsiteY198" fmla="*/ 7675 h 10000"/>
              <a:gd name="connsiteX199" fmla="*/ 2846 w 9981"/>
              <a:gd name="connsiteY199" fmla="*/ 7752 h 10000"/>
              <a:gd name="connsiteX200" fmla="*/ 2846 w 9981"/>
              <a:gd name="connsiteY200" fmla="*/ 7830 h 10000"/>
              <a:gd name="connsiteX201" fmla="*/ 2924 w 9981"/>
              <a:gd name="connsiteY201" fmla="*/ 7830 h 10000"/>
              <a:gd name="connsiteX202" fmla="*/ 3001 w 9981"/>
              <a:gd name="connsiteY202" fmla="*/ 7675 h 10000"/>
              <a:gd name="connsiteX203" fmla="*/ 3081 w 9981"/>
              <a:gd name="connsiteY203" fmla="*/ 7598 h 10000"/>
              <a:gd name="connsiteX204" fmla="*/ 3119 w 9981"/>
              <a:gd name="connsiteY204" fmla="*/ 7830 h 10000"/>
              <a:gd name="connsiteX205" fmla="*/ 3275 w 9981"/>
              <a:gd name="connsiteY205" fmla="*/ 8372 h 10000"/>
              <a:gd name="connsiteX206" fmla="*/ 3314 w 9981"/>
              <a:gd name="connsiteY206" fmla="*/ 8217 h 10000"/>
              <a:gd name="connsiteX207" fmla="*/ 3353 w 9981"/>
              <a:gd name="connsiteY207" fmla="*/ 8372 h 10000"/>
              <a:gd name="connsiteX208" fmla="*/ 3470 w 9981"/>
              <a:gd name="connsiteY208" fmla="*/ 8295 h 10000"/>
              <a:gd name="connsiteX209" fmla="*/ 3587 w 9981"/>
              <a:gd name="connsiteY209" fmla="*/ 8528 h 10000"/>
              <a:gd name="connsiteX210" fmla="*/ 3665 w 9981"/>
              <a:gd name="connsiteY210" fmla="*/ 8605 h 10000"/>
              <a:gd name="connsiteX211" fmla="*/ 3665 w 9981"/>
              <a:gd name="connsiteY211" fmla="*/ 8528 h 10000"/>
              <a:gd name="connsiteX212" fmla="*/ 3703 w 9981"/>
              <a:gd name="connsiteY212" fmla="*/ 8683 h 10000"/>
              <a:gd name="connsiteX213" fmla="*/ 3665 w 9981"/>
              <a:gd name="connsiteY213" fmla="*/ 8760 h 10000"/>
              <a:gd name="connsiteX214" fmla="*/ 3743 w 9981"/>
              <a:gd name="connsiteY214" fmla="*/ 8683 h 10000"/>
              <a:gd name="connsiteX215" fmla="*/ 3782 w 9981"/>
              <a:gd name="connsiteY215" fmla="*/ 8605 h 10000"/>
              <a:gd name="connsiteX216" fmla="*/ 3977 w 9981"/>
              <a:gd name="connsiteY216" fmla="*/ 8372 h 10000"/>
              <a:gd name="connsiteX217" fmla="*/ 4133 w 9981"/>
              <a:gd name="connsiteY217" fmla="*/ 8449 h 10000"/>
              <a:gd name="connsiteX218" fmla="*/ 4210 w 9981"/>
              <a:gd name="connsiteY218" fmla="*/ 8528 h 10000"/>
              <a:gd name="connsiteX219" fmla="*/ 4366 w 9981"/>
              <a:gd name="connsiteY219" fmla="*/ 8528 h 10000"/>
              <a:gd name="connsiteX220" fmla="*/ 4366 w 9981"/>
              <a:gd name="connsiteY220" fmla="*/ 8372 h 10000"/>
              <a:gd name="connsiteX221" fmla="*/ 4366 w 9981"/>
              <a:gd name="connsiteY221" fmla="*/ 8217 h 10000"/>
              <a:gd name="connsiteX222" fmla="*/ 4444 w 9981"/>
              <a:gd name="connsiteY222" fmla="*/ 8140 h 10000"/>
              <a:gd name="connsiteX223" fmla="*/ 4600 w 9981"/>
              <a:gd name="connsiteY223" fmla="*/ 8217 h 10000"/>
              <a:gd name="connsiteX224" fmla="*/ 4678 w 9981"/>
              <a:gd name="connsiteY224" fmla="*/ 8449 h 10000"/>
              <a:gd name="connsiteX225" fmla="*/ 4717 w 9981"/>
              <a:gd name="connsiteY225" fmla="*/ 8449 h 10000"/>
              <a:gd name="connsiteX226" fmla="*/ 4795 w 9981"/>
              <a:gd name="connsiteY226" fmla="*/ 8372 h 10000"/>
              <a:gd name="connsiteX227" fmla="*/ 5030 w 9981"/>
              <a:gd name="connsiteY227" fmla="*/ 8605 h 10000"/>
              <a:gd name="connsiteX228" fmla="*/ 5147 w 9981"/>
              <a:gd name="connsiteY228" fmla="*/ 8683 h 10000"/>
              <a:gd name="connsiteX229" fmla="*/ 5303 w 9981"/>
              <a:gd name="connsiteY229" fmla="*/ 8605 h 10000"/>
              <a:gd name="connsiteX230" fmla="*/ 5380 w 9981"/>
              <a:gd name="connsiteY230" fmla="*/ 8449 h 10000"/>
              <a:gd name="connsiteX231" fmla="*/ 5497 w 9981"/>
              <a:gd name="connsiteY231" fmla="*/ 8528 h 10000"/>
              <a:gd name="connsiteX232" fmla="*/ 5575 w 9981"/>
              <a:gd name="connsiteY232" fmla="*/ 8605 h 10000"/>
              <a:gd name="connsiteX233" fmla="*/ 6900 w 9981"/>
              <a:gd name="connsiteY233" fmla="*/ 7675 h 10000"/>
              <a:gd name="connsiteX234" fmla="*/ 6823 w 9981"/>
              <a:gd name="connsiteY234" fmla="*/ 7675 h 10000"/>
              <a:gd name="connsiteX235" fmla="*/ 6783 w 9981"/>
              <a:gd name="connsiteY235" fmla="*/ 7675 h 10000"/>
              <a:gd name="connsiteX236" fmla="*/ 6744 w 9981"/>
              <a:gd name="connsiteY236" fmla="*/ 7598 h 10000"/>
              <a:gd name="connsiteX237" fmla="*/ 6667 w 9981"/>
              <a:gd name="connsiteY237" fmla="*/ 7598 h 10000"/>
              <a:gd name="connsiteX238" fmla="*/ 6667 w 9981"/>
              <a:gd name="connsiteY238" fmla="*/ 7520 h 10000"/>
              <a:gd name="connsiteX239" fmla="*/ 6783 w 9981"/>
              <a:gd name="connsiteY239" fmla="*/ 7287 h 10000"/>
              <a:gd name="connsiteX240" fmla="*/ 7135 w 9981"/>
              <a:gd name="connsiteY240" fmla="*/ 6590 h 10000"/>
              <a:gd name="connsiteX241" fmla="*/ 7291 w 9981"/>
              <a:gd name="connsiteY241" fmla="*/ 6512 h 10000"/>
              <a:gd name="connsiteX242" fmla="*/ 7330 w 9981"/>
              <a:gd name="connsiteY242" fmla="*/ 6590 h 10000"/>
              <a:gd name="connsiteX243" fmla="*/ 7369 w 9981"/>
              <a:gd name="connsiteY243" fmla="*/ 6512 h 10000"/>
              <a:gd name="connsiteX244" fmla="*/ 7485 w 9981"/>
              <a:gd name="connsiteY244" fmla="*/ 6590 h 10000"/>
              <a:gd name="connsiteX245" fmla="*/ 7525 w 9981"/>
              <a:gd name="connsiteY245" fmla="*/ 6434 h 10000"/>
              <a:gd name="connsiteX246" fmla="*/ 7641 w 9981"/>
              <a:gd name="connsiteY246" fmla="*/ 6512 h 10000"/>
              <a:gd name="connsiteX247" fmla="*/ 7681 w 9981"/>
              <a:gd name="connsiteY247" fmla="*/ 6512 h 10000"/>
              <a:gd name="connsiteX248" fmla="*/ 7641 w 9981"/>
              <a:gd name="connsiteY248" fmla="*/ 6590 h 10000"/>
              <a:gd name="connsiteX249" fmla="*/ 7641 w 9981"/>
              <a:gd name="connsiteY249" fmla="*/ 6667 h 10000"/>
              <a:gd name="connsiteX250" fmla="*/ 7876 w 9981"/>
              <a:gd name="connsiteY250" fmla="*/ 6590 h 10000"/>
              <a:gd name="connsiteX251" fmla="*/ 7836 w 9981"/>
              <a:gd name="connsiteY251" fmla="*/ 6512 h 10000"/>
              <a:gd name="connsiteX252" fmla="*/ 7992 w 9981"/>
              <a:gd name="connsiteY252" fmla="*/ 5969 h 10000"/>
              <a:gd name="connsiteX253" fmla="*/ 8187 w 9981"/>
              <a:gd name="connsiteY253" fmla="*/ 5892 h 10000"/>
              <a:gd name="connsiteX254" fmla="*/ 8187 w 9981"/>
              <a:gd name="connsiteY254" fmla="*/ 6047 h 10000"/>
              <a:gd name="connsiteX255" fmla="*/ 8187 w 9981"/>
              <a:gd name="connsiteY255" fmla="*/ 6202 h 10000"/>
              <a:gd name="connsiteX256" fmla="*/ 8382 w 9981"/>
              <a:gd name="connsiteY256" fmla="*/ 5969 h 10000"/>
              <a:gd name="connsiteX257" fmla="*/ 8382 w 9981"/>
              <a:gd name="connsiteY257" fmla="*/ 5737 h 10000"/>
              <a:gd name="connsiteX258" fmla="*/ 8460 w 9981"/>
              <a:gd name="connsiteY258" fmla="*/ 5737 h 10000"/>
              <a:gd name="connsiteX259" fmla="*/ 8421 w 9981"/>
              <a:gd name="connsiteY259" fmla="*/ 5814 h 10000"/>
              <a:gd name="connsiteX260" fmla="*/ 8382 w 9981"/>
              <a:gd name="connsiteY260" fmla="*/ 6202 h 10000"/>
              <a:gd name="connsiteX261" fmla="*/ 8304 w 9981"/>
              <a:gd name="connsiteY261" fmla="*/ 6279 h 10000"/>
              <a:gd name="connsiteX262" fmla="*/ 8382 w 9981"/>
              <a:gd name="connsiteY262" fmla="*/ 6590 h 10000"/>
              <a:gd name="connsiteX263" fmla="*/ 8382 w 9981"/>
              <a:gd name="connsiteY263" fmla="*/ 6434 h 10000"/>
              <a:gd name="connsiteX264" fmla="*/ 8460 w 9981"/>
              <a:gd name="connsiteY264" fmla="*/ 6434 h 10000"/>
              <a:gd name="connsiteX265" fmla="*/ 8577 w 9981"/>
              <a:gd name="connsiteY265" fmla="*/ 6279 h 10000"/>
              <a:gd name="connsiteX266" fmla="*/ 8577 w 9981"/>
              <a:gd name="connsiteY266" fmla="*/ 6434 h 10000"/>
              <a:gd name="connsiteX267" fmla="*/ 8616 w 9981"/>
              <a:gd name="connsiteY267" fmla="*/ 6356 h 10000"/>
              <a:gd name="connsiteX268" fmla="*/ 8733 w 9981"/>
              <a:gd name="connsiteY268" fmla="*/ 6279 h 10000"/>
              <a:gd name="connsiteX269" fmla="*/ 8810 w 9981"/>
              <a:gd name="connsiteY269" fmla="*/ 6434 h 10000"/>
              <a:gd name="connsiteX270" fmla="*/ 8849 w 9981"/>
              <a:gd name="connsiteY270" fmla="*/ 6279 h 10000"/>
              <a:gd name="connsiteX271" fmla="*/ 9241 w 9981"/>
              <a:gd name="connsiteY271" fmla="*/ 5737 h 10000"/>
              <a:gd name="connsiteX272" fmla="*/ 9357 w 9981"/>
              <a:gd name="connsiteY272" fmla="*/ 5814 h 10000"/>
              <a:gd name="connsiteX273" fmla="*/ 9396 w 9981"/>
              <a:gd name="connsiteY273" fmla="*/ 5737 h 10000"/>
              <a:gd name="connsiteX274" fmla="*/ 9318 w 9981"/>
              <a:gd name="connsiteY274" fmla="*/ 5271 h 10000"/>
              <a:gd name="connsiteX275" fmla="*/ 9279 w 9981"/>
              <a:gd name="connsiteY275" fmla="*/ 5271 h 10000"/>
              <a:gd name="connsiteX276" fmla="*/ 9279 w 9981"/>
              <a:gd name="connsiteY276" fmla="*/ 5116 h 10000"/>
              <a:gd name="connsiteX277" fmla="*/ 9318 w 9981"/>
              <a:gd name="connsiteY277" fmla="*/ 5116 h 10000"/>
              <a:gd name="connsiteX278" fmla="*/ 9396 w 9981"/>
              <a:gd name="connsiteY278" fmla="*/ 5039 h 10000"/>
              <a:gd name="connsiteX279" fmla="*/ 9474 w 9981"/>
              <a:gd name="connsiteY279" fmla="*/ 4884 h 10000"/>
              <a:gd name="connsiteX280" fmla="*/ 9435 w 9981"/>
              <a:gd name="connsiteY280" fmla="*/ 4729 h 10000"/>
              <a:gd name="connsiteX281" fmla="*/ 9474 w 9981"/>
              <a:gd name="connsiteY281" fmla="*/ 4652 h 10000"/>
              <a:gd name="connsiteX282" fmla="*/ 9513 w 9981"/>
              <a:gd name="connsiteY282" fmla="*/ 4884 h 10000"/>
              <a:gd name="connsiteX283" fmla="*/ 9591 w 9981"/>
              <a:gd name="connsiteY283" fmla="*/ 4884 h 10000"/>
              <a:gd name="connsiteX284" fmla="*/ 9669 w 9981"/>
              <a:gd name="connsiteY284" fmla="*/ 5039 h 10000"/>
              <a:gd name="connsiteX285" fmla="*/ 9863 w 9981"/>
              <a:gd name="connsiteY285" fmla="*/ 5271 h 10000"/>
              <a:gd name="connsiteX286" fmla="*/ 9902 w 9981"/>
              <a:gd name="connsiteY286" fmla="*/ 5039 h 10000"/>
              <a:gd name="connsiteX287" fmla="*/ 9902 w 9981"/>
              <a:gd name="connsiteY287" fmla="*/ 4884 h 10000"/>
              <a:gd name="connsiteX288" fmla="*/ 9981 w 9981"/>
              <a:gd name="connsiteY288" fmla="*/ 4884 h 10000"/>
              <a:gd name="connsiteX289" fmla="*/ 9396 w 9981"/>
              <a:gd name="connsiteY289" fmla="*/ 3799 h 10000"/>
              <a:gd name="connsiteX290" fmla="*/ 9162 w 9981"/>
              <a:gd name="connsiteY290" fmla="*/ 3488 h 10000"/>
              <a:gd name="connsiteX291" fmla="*/ 8849 w 9981"/>
              <a:gd name="connsiteY291" fmla="*/ 3411 h 10000"/>
              <a:gd name="connsiteX292" fmla="*/ 8849 w 9981"/>
              <a:gd name="connsiteY292" fmla="*/ 3799 h 10000"/>
              <a:gd name="connsiteX293" fmla="*/ 8772 w 9981"/>
              <a:gd name="connsiteY293" fmla="*/ 3876 h 10000"/>
              <a:gd name="connsiteX294" fmla="*/ 8693 w 9981"/>
              <a:gd name="connsiteY294" fmla="*/ 3721 h 10000"/>
              <a:gd name="connsiteX295" fmla="*/ 8693 w 9981"/>
              <a:gd name="connsiteY295" fmla="*/ 3566 h 10000"/>
              <a:gd name="connsiteX296" fmla="*/ 8733 w 9981"/>
              <a:gd name="connsiteY296" fmla="*/ 3566 h 10000"/>
              <a:gd name="connsiteX297" fmla="*/ 8772 w 9981"/>
              <a:gd name="connsiteY297" fmla="*/ 3488 h 10000"/>
              <a:gd name="connsiteX298" fmla="*/ 8693 w 9981"/>
              <a:gd name="connsiteY298" fmla="*/ 3488 h 10000"/>
              <a:gd name="connsiteX299" fmla="*/ 8616 w 9981"/>
              <a:gd name="connsiteY299" fmla="*/ 3644 h 10000"/>
              <a:gd name="connsiteX300" fmla="*/ 8421 w 9981"/>
              <a:gd name="connsiteY300" fmla="*/ 3566 h 10000"/>
              <a:gd name="connsiteX301" fmla="*/ 8226 w 9981"/>
              <a:gd name="connsiteY301" fmla="*/ 3566 h 10000"/>
              <a:gd name="connsiteX302" fmla="*/ 8148 w 9981"/>
              <a:gd name="connsiteY302" fmla="*/ 3488 h 10000"/>
              <a:gd name="connsiteX303" fmla="*/ 8187 w 9981"/>
              <a:gd name="connsiteY303" fmla="*/ 3333 h 10000"/>
              <a:gd name="connsiteX304" fmla="*/ 8109 w 9981"/>
              <a:gd name="connsiteY304" fmla="*/ 3101 h 10000"/>
              <a:gd name="connsiteX305" fmla="*/ 7953 w 9981"/>
              <a:gd name="connsiteY305" fmla="*/ 3023 h 10000"/>
              <a:gd name="connsiteX306" fmla="*/ 7720 w 9981"/>
              <a:gd name="connsiteY306" fmla="*/ 3178 h 10000"/>
              <a:gd name="connsiteX307" fmla="*/ 7681 w 9981"/>
              <a:gd name="connsiteY307" fmla="*/ 2946 h 10000"/>
              <a:gd name="connsiteX308" fmla="*/ 7602 w 9981"/>
              <a:gd name="connsiteY308" fmla="*/ 2946 h 10000"/>
              <a:gd name="connsiteX309" fmla="*/ 7564 w 9981"/>
              <a:gd name="connsiteY309" fmla="*/ 2868 h 10000"/>
              <a:gd name="connsiteX310" fmla="*/ 7564 w 9981"/>
              <a:gd name="connsiteY310" fmla="*/ 2636 h 10000"/>
              <a:gd name="connsiteX311" fmla="*/ 7291 w 9981"/>
              <a:gd name="connsiteY311" fmla="*/ 2480 h 10000"/>
              <a:gd name="connsiteX312" fmla="*/ 6978 w 9981"/>
              <a:gd name="connsiteY312" fmla="*/ 2325 h 10000"/>
              <a:gd name="connsiteX313" fmla="*/ 6900 w 9981"/>
              <a:gd name="connsiteY313" fmla="*/ 2636 h 10000"/>
              <a:gd name="connsiteX314" fmla="*/ 6978 w 9981"/>
              <a:gd name="connsiteY314" fmla="*/ 2868 h 10000"/>
              <a:gd name="connsiteX315" fmla="*/ 6744 w 9981"/>
              <a:gd name="connsiteY315" fmla="*/ 2868 h 10000"/>
              <a:gd name="connsiteX316" fmla="*/ 6705 w 9981"/>
              <a:gd name="connsiteY316" fmla="*/ 2868 h 10000"/>
              <a:gd name="connsiteX317" fmla="*/ 6627 w 9981"/>
              <a:gd name="connsiteY317" fmla="*/ 2946 h 10000"/>
              <a:gd name="connsiteX318" fmla="*/ 6511 w 9981"/>
              <a:gd name="connsiteY318" fmla="*/ 2714 h 10000"/>
              <a:gd name="connsiteX319" fmla="*/ 6432 w 9981"/>
              <a:gd name="connsiteY319" fmla="*/ 3178 h 10000"/>
              <a:gd name="connsiteX320" fmla="*/ 6355 w 9981"/>
              <a:gd name="connsiteY320" fmla="*/ 3101 h 10000"/>
              <a:gd name="connsiteX321" fmla="*/ 6276 w 9981"/>
              <a:gd name="connsiteY321" fmla="*/ 2791 h 10000"/>
              <a:gd name="connsiteX322" fmla="*/ 6316 w 9981"/>
              <a:gd name="connsiteY322" fmla="*/ 2403 h 10000"/>
              <a:gd name="connsiteX323" fmla="*/ 6238 w 9981"/>
              <a:gd name="connsiteY323" fmla="*/ 2170 h 10000"/>
              <a:gd name="connsiteX324" fmla="*/ 6004 w 9981"/>
              <a:gd name="connsiteY324" fmla="*/ 2016 h 10000"/>
              <a:gd name="connsiteX325" fmla="*/ 5926 w 9981"/>
              <a:gd name="connsiteY325" fmla="*/ 2016 h 10000"/>
              <a:gd name="connsiteX326" fmla="*/ 5887 w 9981"/>
              <a:gd name="connsiteY326" fmla="*/ 2170 h 10000"/>
              <a:gd name="connsiteX327" fmla="*/ 5926 w 9981"/>
              <a:gd name="connsiteY327" fmla="*/ 2325 h 10000"/>
              <a:gd name="connsiteX328" fmla="*/ 5615 w 9981"/>
              <a:gd name="connsiteY328" fmla="*/ 2248 h 10000"/>
              <a:gd name="connsiteX329" fmla="*/ 5653 w 9981"/>
              <a:gd name="connsiteY329" fmla="*/ 2016 h 10000"/>
              <a:gd name="connsiteX330" fmla="*/ 5459 w 9981"/>
              <a:gd name="connsiteY330" fmla="*/ 1938 h 10000"/>
              <a:gd name="connsiteX331" fmla="*/ 5342 w 9981"/>
              <a:gd name="connsiteY331" fmla="*/ 2093 h 10000"/>
              <a:gd name="connsiteX332" fmla="*/ 5108 w 9981"/>
              <a:gd name="connsiteY332" fmla="*/ 1861 h 10000"/>
              <a:gd name="connsiteX0" fmla="*/ 5118 w 9921"/>
              <a:gd name="connsiteY0" fmla="*/ 1861 h 10000"/>
              <a:gd name="connsiteX1" fmla="*/ 5118 w 9921"/>
              <a:gd name="connsiteY1" fmla="*/ 1861 h 10000"/>
              <a:gd name="connsiteX2" fmla="*/ 5078 w 9921"/>
              <a:gd name="connsiteY2" fmla="*/ 1938 h 10000"/>
              <a:gd name="connsiteX3" fmla="*/ 5118 w 9921"/>
              <a:gd name="connsiteY3" fmla="*/ 2093 h 10000"/>
              <a:gd name="connsiteX4" fmla="*/ 4960 w 9921"/>
              <a:gd name="connsiteY4" fmla="*/ 2248 h 10000"/>
              <a:gd name="connsiteX5" fmla="*/ 4920 w 9921"/>
              <a:gd name="connsiteY5" fmla="*/ 2248 h 10000"/>
              <a:gd name="connsiteX6" fmla="*/ 4960 w 9921"/>
              <a:gd name="connsiteY6" fmla="*/ 2016 h 10000"/>
              <a:gd name="connsiteX7" fmla="*/ 5352 w 9921"/>
              <a:gd name="connsiteY7" fmla="*/ 1318 h 10000"/>
              <a:gd name="connsiteX8" fmla="*/ 5352 w 9921"/>
              <a:gd name="connsiteY8" fmla="*/ 853 h 10000"/>
              <a:gd name="connsiteX9" fmla="*/ 5196 w 9921"/>
              <a:gd name="connsiteY9" fmla="*/ 543 h 10000"/>
              <a:gd name="connsiteX10" fmla="*/ 4999 w 9921"/>
              <a:gd name="connsiteY10" fmla="*/ 543 h 10000"/>
              <a:gd name="connsiteX11" fmla="*/ 4999 w 9921"/>
              <a:gd name="connsiteY11" fmla="*/ 698 h 10000"/>
              <a:gd name="connsiteX12" fmla="*/ 4882 w 9921"/>
              <a:gd name="connsiteY12" fmla="*/ 698 h 10000"/>
              <a:gd name="connsiteX13" fmla="*/ 4960 w 9921"/>
              <a:gd name="connsiteY13" fmla="*/ 387 h 10000"/>
              <a:gd name="connsiteX14" fmla="*/ 4765 w 9921"/>
              <a:gd name="connsiteY14" fmla="*/ 310 h 10000"/>
              <a:gd name="connsiteX15" fmla="*/ 4882 w 9921"/>
              <a:gd name="connsiteY15" fmla="*/ 155 h 10000"/>
              <a:gd name="connsiteX16" fmla="*/ 4765 w 9921"/>
              <a:gd name="connsiteY16" fmla="*/ 0 h 10000"/>
              <a:gd name="connsiteX17" fmla="*/ 4570 w 9921"/>
              <a:gd name="connsiteY17" fmla="*/ 387 h 10000"/>
              <a:gd name="connsiteX18" fmla="*/ 4570 w 9921"/>
              <a:gd name="connsiteY18" fmla="*/ 698 h 10000"/>
              <a:gd name="connsiteX19" fmla="*/ 4452 w 9921"/>
              <a:gd name="connsiteY19" fmla="*/ 698 h 10000"/>
              <a:gd name="connsiteX20" fmla="*/ 4102 w 9921"/>
              <a:gd name="connsiteY20" fmla="*/ 853 h 10000"/>
              <a:gd name="connsiteX21" fmla="*/ 3789 w 9921"/>
              <a:gd name="connsiteY21" fmla="*/ 1240 h 10000"/>
              <a:gd name="connsiteX22" fmla="*/ 3672 w 9921"/>
              <a:gd name="connsiteY22" fmla="*/ 1551 h 10000"/>
              <a:gd name="connsiteX23" fmla="*/ 3710 w 9921"/>
              <a:gd name="connsiteY23" fmla="*/ 1938 h 10000"/>
              <a:gd name="connsiteX24" fmla="*/ 3281 w 9921"/>
              <a:gd name="connsiteY24" fmla="*/ 2093 h 10000"/>
              <a:gd name="connsiteX25" fmla="*/ 3320 w 9921"/>
              <a:gd name="connsiteY25" fmla="*/ 2559 h 10000"/>
              <a:gd name="connsiteX26" fmla="*/ 3438 w 9921"/>
              <a:gd name="connsiteY26" fmla="*/ 2791 h 10000"/>
              <a:gd name="connsiteX27" fmla="*/ 3359 w 9921"/>
              <a:gd name="connsiteY27" fmla="*/ 2868 h 10000"/>
              <a:gd name="connsiteX28" fmla="*/ 3242 w 9921"/>
              <a:gd name="connsiteY28" fmla="*/ 2559 h 10000"/>
              <a:gd name="connsiteX29" fmla="*/ 3125 w 9921"/>
              <a:gd name="connsiteY29" fmla="*/ 2480 h 10000"/>
              <a:gd name="connsiteX30" fmla="*/ 3087 w 9921"/>
              <a:gd name="connsiteY30" fmla="*/ 2559 h 10000"/>
              <a:gd name="connsiteX31" fmla="*/ 3007 w 9921"/>
              <a:gd name="connsiteY31" fmla="*/ 2403 h 10000"/>
              <a:gd name="connsiteX32" fmla="*/ 2930 w 9921"/>
              <a:gd name="connsiteY32" fmla="*/ 2248 h 10000"/>
              <a:gd name="connsiteX33" fmla="*/ 2930 w 9921"/>
              <a:gd name="connsiteY33" fmla="*/ 2325 h 10000"/>
              <a:gd name="connsiteX34" fmla="*/ 2968 w 9921"/>
              <a:gd name="connsiteY34" fmla="*/ 2559 h 10000"/>
              <a:gd name="connsiteX35" fmla="*/ 2851 w 9921"/>
              <a:gd name="connsiteY35" fmla="*/ 2946 h 10000"/>
              <a:gd name="connsiteX36" fmla="*/ 2930 w 9921"/>
              <a:gd name="connsiteY36" fmla="*/ 3256 h 10000"/>
              <a:gd name="connsiteX37" fmla="*/ 2890 w 9921"/>
              <a:gd name="connsiteY37" fmla="*/ 3566 h 10000"/>
              <a:gd name="connsiteX38" fmla="*/ 2890 w 9921"/>
              <a:gd name="connsiteY38" fmla="*/ 3799 h 10000"/>
              <a:gd name="connsiteX39" fmla="*/ 3007 w 9921"/>
              <a:gd name="connsiteY39" fmla="*/ 3799 h 10000"/>
              <a:gd name="connsiteX40" fmla="*/ 2930 w 9921"/>
              <a:gd name="connsiteY40" fmla="*/ 3876 h 10000"/>
              <a:gd name="connsiteX41" fmla="*/ 2968 w 9921"/>
              <a:gd name="connsiteY41" fmla="*/ 4263 h 10000"/>
              <a:gd name="connsiteX42" fmla="*/ 2734 w 9921"/>
              <a:gd name="connsiteY42" fmla="*/ 4652 h 10000"/>
              <a:gd name="connsiteX43" fmla="*/ 2695 w 9921"/>
              <a:gd name="connsiteY43" fmla="*/ 4574 h 10000"/>
              <a:gd name="connsiteX44" fmla="*/ 2851 w 9921"/>
              <a:gd name="connsiteY44" fmla="*/ 4186 h 10000"/>
              <a:gd name="connsiteX45" fmla="*/ 2890 w 9921"/>
              <a:gd name="connsiteY45" fmla="*/ 3954 h 10000"/>
              <a:gd name="connsiteX46" fmla="*/ 2811 w 9921"/>
              <a:gd name="connsiteY46" fmla="*/ 3799 h 10000"/>
              <a:gd name="connsiteX47" fmla="*/ 2811 w 9921"/>
              <a:gd name="connsiteY47" fmla="*/ 3023 h 10000"/>
              <a:gd name="connsiteX48" fmla="*/ 2773 w 9921"/>
              <a:gd name="connsiteY48" fmla="*/ 2868 h 10000"/>
              <a:gd name="connsiteX49" fmla="*/ 2811 w 9921"/>
              <a:gd name="connsiteY49" fmla="*/ 2403 h 10000"/>
              <a:gd name="connsiteX50" fmla="*/ 2734 w 9921"/>
              <a:gd name="connsiteY50" fmla="*/ 2325 h 10000"/>
              <a:gd name="connsiteX51" fmla="*/ 2773 w 9921"/>
              <a:gd name="connsiteY51" fmla="*/ 2248 h 10000"/>
              <a:gd name="connsiteX52" fmla="*/ 2734 w 9921"/>
              <a:gd name="connsiteY52" fmla="*/ 2093 h 10000"/>
              <a:gd name="connsiteX53" fmla="*/ 2655 w 9921"/>
              <a:gd name="connsiteY53" fmla="*/ 2170 h 10000"/>
              <a:gd name="connsiteX54" fmla="*/ 2461 w 9921"/>
              <a:gd name="connsiteY54" fmla="*/ 3178 h 10000"/>
              <a:gd name="connsiteX55" fmla="*/ 2461 w 9921"/>
              <a:gd name="connsiteY55" fmla="*/ 3566 h 10000"/>
              <a:gd name="connsiteX56" fmla="*/ 2578 w 9921"/>
              <a:gd name="connsiteY56" fmla="*/ 3876 h 10000"/>
              <a:gd name="connsiteX57" fmla="*/ 2578 w 9921"/>
              <a:gd name="connsiteY57" fmla="*/ 4031 h 10000"/>
              <a:gd name="connsiteX58" fmla="*/ 2461 w 9921"/>
              <a:gd name="connsiteY58" fmla="*/ 3876 h 10000"/>
              <a:gd name="connsiteX59" fmla="*/ 1993 w 9921"/>
              <a:gd name="connsiteY59" fmla="*/ 3256 h 10000"/>
              <a:gd name="connsiteX60" fmla="*/ 1953 w 9921"/>
              <a:gd name="connsiteY60" fmla="*/ 3411 h 10000"/>
              <a:gd name="connsiteX61" fmla="*/ 2109 w 9921"/>
              <a:gd name="connsiteY61" fmla="*/ 3799 h 10000"/>
              <a:gd name="connsiteX62" fmla="*/ 2032 w 9921"/>
              <a:gd name="connsiteY62" fmla="*/ 3876 h 10000"/>
              <a:gd name="connsiteX63" fmla="*/ 1993 w 9921"/>
              <a:gd name="connsiteY63" fmla="*/ 3799 h 10000"/>
              <a:gd name="connsiteX64" fmla="*/ 1757 w 9921"/>
              <a:gd name="connsiteY64" fmla="*/ 3954 h 10000"/>
              <a:gd name="connsiteX65" fmla="*/ 1719 w 9921"/>
              <a:gd name="connsiteY65" fmla="*/ 4109 h 10000"/>
              <a:gd name="connsiteX66" fmla="*/ 1680 w 9921"/>
              <a:gd name="connsiteY66" fmla="*/ 3954 h 10000"/>
              <a:gd name="connsiteX67" fmla="*/ 1680 w 9921"/>
              <a:gd name="connsiteY67" fmla="*/ 3799 h 10000"/>
              <a:gd name="connsiteX68" fmla="*/ 1288 w 9921"/>
              <a:gd name="connsiteY68" fmla="*/ 4263 h 10000"/>
              <a:gd name="connsiteX69" fmla="*/ 1288 w 9921"/>
              <a:gd name="connsiteY69" fmla="*/ 4418 h 10000"/>
              <a:gd name="connsiteX70" fmla="*/ 1211 w 9921"/>
              <a:gd name="connsiteY70" fmla="*/ 4496 h 10000"/>
              <a:gd name="connsiteX71" fmla="*/ 1094 w 9921"/>
              <a:gd name="connsiteY71" fmla="*/ 4341 h 10000"/>
              <a:gd name="connsiteX72" fmla="*/ 1211 w 9921"/>
              <a:gd name="connsiteY72" fmla="*/ 4186 h 10000"/>
              <a:gd name="connsiteX73" fmla="*/ 1172 w 9921"/>
              <a:gd name="connsiteY73" fmla="*/ 3954 h 10000"/>
              <a:gd name="connsiteX74" fmla="*/ 1016 w 9921"/>
              <a:gd name="connsiteY74" fmla="*/ 3876 h 10000"/>
              <a:gd name="connsiteX75" fmla="*/ 1055 w 9921"/>
              <a:gd name="connsiteY75" fmla="*/ 4031 h 10000"/>
              <a:gd name="connsiteX76" fmla="*/ 1055 w 9921"/>
              <a:gd name="connsiteY76" fmla="*/ 4418 h 10000"/>
              <a:gd name="connsiteX77" fmla="*/ 1094 w 9921"/>
              <a:gd name="connsiteY77" fmla="*/ 4574 h 10000"/>
              <a:gd name="connsiteX78" fmla="*/ 1055 w 9921"/>
              <a:gd name="connsiteY78" fmla="*/ 4729 h 10000"/>
              <a:gd name="connsiteX79" fmla="*/ 937 w 9921"/>
              <a:gd name="connsiteY79" fmla="*/ 4652 h 10000"/>
              <a:gd name="connsiteX80" fmla="*/ 781 w 9921"/>
              <a:gd name="connsiteY80" fmla="*/ 4884 h 10000"/>
              <a:gd name="connsiteX81" fmla="*/ 859 w 9921"/>
              <a:gd name="connsiteY81" fmla="*/ 5194 h 10000"/>
              <a:gd name="connsiteX82" fmla="*/ 625 w 9921"/>
              <a:gd name="connsiteY82" fmla="*/ 5039 h 10000"/>
              <a:gd name="connsiteX83" fmla="*/ 585 w 9921"/>
              <a:gd name="connsiteY83" fmla="*/ 5116 h 10000"/>
              <a:gd name="connsiteX84" fmla="*/ 664 w 9921"/>
              <a:gd name="connsiteY84" fmla="*/ 5349 h 10000"/>
              <a:gd name="connsiteX85" fmla="*/ 585 w 9921"/>
              <a:gd name="connsiteY85" fmla="*/ 5349 h 10000"/>
              <a:gd name="connsiteX86" fmla="*/ 469 w 9921"/>
              <a:gd name="connsiteY86" fmla="*/ 5194 h 10000"/>
              <a:gd name="connsiteX87" fmla="*/ 469 w 9921"/>
              <a:gd name="connsiteY87" fmla="*/ 4729 h 10000"/>
              <a:gd name="connsiteX88" fmla="*/ 352 w 9921"/>
              <a:gd name="connsiteY88" fmla="*/ 4574 h 10000"/>
              <a:gd name="connsiteX89" fmla="*/ 313 w 9921"/>
              <a:gd name="connsiteY89" fmla="*/ 4418 h 10000"/>
              <a:gd name="connsiteX90" fmla="*/ 390 w 9921"/>
              <a:gd name="connsiteY90" fmla="*/ 4496 h 10000"/>
              <a:gd name="connsiteX91" fmla="*/ 702 w 9921"/>
              <a:gd name="connsiteY91" fmla="*/ 4729 h 10000"/>
              <a:gd name="connsiteX92" fmla="*/ 898 w 9921"/>
              <a:gd name="connsiteY92" fmla="*/ 4496 h 10000"/>
              <a:gd name="connsiteX93" fmla="*/ 859 w 9921"/>
              <a:gd name="connsiteY93" fmla="*/ 4263 h 10000"/>
              <a:gd name="connsiteX94" fmla="*/ 625 w 9921"/>
              <a:gd name="connsiteY94" fmla="*/ 3799 h 10000"/>
              <a:gd name="connsiteX95" fmla="*/ 390 w 9921"/>
              <a:gd name="connsiteY95" fmla="*/ 3644 h 10000"/>
              <a:gd name="connsiteX96" fmla="*/ 390 w 9921"/>
              <a:gd name="connsiteY96" fmla="*/ 3566 h 10000"/>
              <a:gd name="connsiteX97" fmla="*/ 313 w 9921"/>
              <a:gd name="connsiteY97" fmla="*/ 3488 h 10000"/>
              <a:gd name="connsiteX98" fmla="*/ 233 w 9921"/>
              <a:gd name="connsiteY98" fmla="*/ 3566 h 10000"/>
              <a:gd name="connsiteX99" fmla="*/ 233 w 9921"/>
              <a:gd name="connsiteY99" fmla="*/ 3644 h 10000"/>
              <a:gd name="connsiteX100" fmla="*/ 195 w 9921"/>
              <a:gd name="connsiteY100" fmla="*/ 3644 h 10000"/>
              <a:gd name="connsiteX101" fmla="*/ 117 w 9921"/>
              <a:gd name="connsiteY101" fmla="*/ 3799 h 10000"/>
              <a:gd name="connsiteX102" fmla="*/ 117 w 9921"/>
              <a:gd name="connsiteY102" fmla="*/ 4031 h 10000"/>
              <a:gd name="connsiteX103" fmla="*/ 195 w 9921"/>
              <a:gd name="connsiteY103" fmla="*/ 4186 h 10000"/>
              <a:gd name="connsiteX104" fmla="*/ 156 w 9921"/>
              <a:gd name="connsiteY104" fmla="*/ 4418 h 10000"/>
              <a:gd name="connsiteX105" fmla="*/ 195 w 9921"/>
              <a:gd name="connsiteY105" fmla="*/ 4807 h 10000"/>
              <a:gd name="connsiteX106" fmla="*/ 156 w 9921"/>
              <a:gd name="connsiteY106" fmla="*/ 5039 h 10000"/>
              <a:gd name="connsiteX107" fmla="*/ 233 w 9921"/>
              <a:gd name="connsiteY107" fmla="*/ 5271 h 10000"/>
              <a:gd name="connsiteX108" fmla="*/ 195 w 9921"/>
              <a:gd name="connsiteY108" fmla="*/ 5426 h 10000"/>
              <a:gd name="connsiteX109" fmla="*/ 274 w 9921"/>
              <a:gd name="connsiteY109" fmla="*/ 5582 h 10000"/>
              <a:gd name="connsiteX110" fmla="*/ 274 w 9921"/>
              <a:gd name="connsiteY110" fmla="*/ 5659 h 10000"/>
              <a:gd name="connsiteX111" fmla="*/ 156 w 9921"/>
              <a:gd name="connsiteY111" fmla="*/ 6047 h 10000"/>
              <a:gd name="connsiteX112" fmla="*/ 39 w 9921"/>
              <a:gd name="connsiteY112" fmla="*/ 6202 h 10000"/>
              <a:gd name="connsiteX113" fmla="*/ 77 w 9921"/>
              <a:gd name="connsiteY113" fmla="*/ 6202 h 10000"/>
              <a:gd name="connsiteX114" fmla="*/ 156 w 9921"/>
              <a:gd name="connsiteY114" fmla="*/ 6356 h 10000"/>
              <a:gd name="connsiteX115" fmla="*/ 77 w 9921"/>
              <a:gd name="connsiteY115" fmla="*/ 6512 h 10000"/>
              <a:gd name="connsiteX116" fmla="*/ 39 w 9921"/>
              <a:gd name="connsiteY116" fmla="*/ 6590 h 10000"/>
              <a:gd name="connsiteX117" fmla="*/ 0 w 9921"/>
              <a:gd name="connsiteY117" fmla="*/ 6590 h 10000"/>
              <a:gd name="connsiteX118" fmla="*/ 39 w 9921"/>
              <a:gd name="connsiteY118" fmla="*/ 6822 h 10000"/>
              <a:gd name="connsiteX119" fmla="*/ 39 w 9921"/>
              <a:gd name="connsiteY119" fmla="*/ 6900 h 10000"/>
              <a:gd name="connsiteX120" fmla="*/ 39 w 9921"/>
              <a:gd name="connsiteY120" fmla="*/ 6977 h 10000"/>
              <a:gd name="connsiteX121" fmla="*/ 39 w 9921"/>
              <a:gd name="connsiteY121" fmla="*/ 7054 h 10000"/>
              <a:gd name="connsiteX122" fmla="*/ 77 w 9921"/>
              <a:gd name="connsiteY122" fmla="*/ 7209 h 10000"/>
              <a:gd name="connsiteX123" fmla="*/ 195 w 9921"/>
              <a:gd name="connsiteY123" fmla="*/ 7287 h 10000"/>
              <a:gd name="connsiteX124" fmla="*/ 233 w 9921"/>
              <a:gd name="connsiteY124" fmla="*/ 7364 h 10000"/>
              <a:gd name="connsiteX125" fmla="*/ 233 w 9921"/>
              <a:gd name="connsiteY125" fmla="*/ 7520 h 10000"/>
              <a:gd name="connsiteX126" fmla="*/ 313 w 9921"/>
              <a:gd name="connsiteY126" fmla="*/ 7752 h 10000"/>
              <a:gd name="connsiteX127" fmla="*/ 352 w 9921"/>
              <a:gd name="connsiteY127" fmla="*/ 7752 h 10000"/>
              <a:gd name="connsiteX128" fmla="*/ 313 w 9921"/>
              <a:gd name="connsiteY128" fmla="*/ 7907 h 10000"/>
              <a:gd name="connsiteX129" fmla="*/ 274 w 9921"/>
              <a:gd name="connsiteY129" fmla="*/ 7830 h 10000"/>
              <a:gd name="connsiteX130" fmla="*/ 274 w 9921"/>
              <a:gd name="connsiteY130" fmla="*/ 7907 h 10000"/>
              <a:gd name="connsiteX131" fmla="*/ 313 w 9921"/>
              <a:gd name="connsiteY131" fmla="*/ 8062 h 10000"/>
              <a:gd name="connsiteX132" fmla="*/ 429 w 9921"/>
              <a:gd name="connsiteY132" fmla="*/ 8062 h 10000"/>
              <a:gd name="connsiteX133" fmla="*/ 469 w 9921"/>
              <a:gd name="connsiteY133" fmla="*/ 8140 h 10000"/>
              <a:gd name="connsiteX134" fmla="*/ 429 w 9921"/>
              <a:gd name="connsiteY134" fmla="*/ 8140 h 10000"/>
              <a:gd name="connsiteX135" fmla="*/ 469 w 9921"/>
              <a:gd name="connsiteY135" fmla="*/ 8217 h 10000"/>
              <a:gd name="connsiteX136" fmla="*/ 508 w 9921"/>
              <a:gd name="connsiteY136" fmla="*/ 8217 h 10000"/>
              <a:gd name="connsiteX137" fmla="*/ 546 w 9921"/>
              <a:gd name="connsiteY137" fmla="*/ 8372 h 10000"/>
              <a:gd name="connsiteX138" fmla="*/ 585 w 9921"/>
              <a:gd name="connsiteY138" fmla="*/ 8449 h 10000"/>
              <a:gd name="connsiteX139" fmla="*/ 625 w 9921"/>
              <a:gd name="connsiteY139" fmla="*/ 8372 h 10000"/>
              <a:gd name="connsiteX140" fmla="*/ 821 w 9921"/>
              <a:gd name="connsiteY140" fmla="*/ 8605 h 10000"/>
              <a:gd name="connsiteX141" fmla="*/ 781 w 9921"/>
              <a:gd name="connsiteY141" fmla="*/ 8915 h 10000"/>
              <a:gd name="connsiteX142" fmla="*/ 741 w 9921"/>
              <a:gd name="connsiteY142" fmla="*/ 8838 h 10000"/>
              <a:gd name="connsiteX143" fmla="*/ 702 w 9921"/>
              <a:gd name="connsiteY143" fmla="*/ 8915 h 10000"/>
              <a:gd name="connsiteX144" fmla="*/ 702 w 9921"/>
              <a:gd name="connsiteY144" fmla="*/ 9070 h 10000"/>
              <a:gd name="connsiteX145" fmla="*/ 741 w 9921"/>
              <a:gd name="connsiteY145" fmla="*/ 8993 h 10000"/>
              <a:gd name="connsiteX146" fmla="*/ 781 w 9921"/>
              <a:gd name="connsiteY146" fmla="*/ 9070 h 10000"/>
              <a:gd name="connsiteX147" fmla="*/ 664 w 9921"/>
              <a:gd name="connsiteY147" fmla="*/ 9147 h 10000"/>
              <a:gd name="connsiteX148" fmla="*/ 702 w 9921"/>
              <a:gd name="connsiteY148" fmla="*/ 9225 h 10000"/>
              <a:gd name="connsiteX149" fmla="*/ 625 w 9921"/>
              <a:gd name="connsiteY149" fmla="*/ 9380 h 10000"/>
              <a:gd name="connsiteX150" fmla="*/ 585 w 9921"/>
              <a:gd name="connsiteY150" fmla="*/ 9380 h 10000"/>
              <a:gd name="connsiteX151" fmla="*/ 625 w 9921"/>
              <a:gd name="connsiteY151" fmla="*/ 9380 h 10000"/>
              <a:gd name="connsiteX152" fmla="*/ 781 w 9921"/>
              <a:gd name="connsiteY152" fmla="*/ 9691 h 10000"/>
              <a:gd name="connsiteX153" fmla="*/ 977 w 9921"/>
              <a:gd name="connsiteY153" fmla="*/ 9691 h 10000"/>
              <a:gd name="connsiteX154" fmla="*/ 1055 w 9921"/>
              <a:gd name="connsiteY154" fmla="*/ 9768 h 10000"/>
              <a:gd name="connsiteX155" fmla="*/ 1133 w 9921"/>
              <a:gd name="connsiteY155" fmla="*/ 9768 h 10000"/>
              <a:gd name="connsiteX156" fmla="*/ 1211 w 9921"/>
              <a:gd name="connsiteY156" fmla="*/ 9923 h 10000"/>
              <a:gd name="connsiteX157" fmla="*/ 1250 w 9921"/>
              <a:gd name="connsiteY157" fmla="*/ 10000 h 10000"/>
              <a:gd name="connsiteX158" fmla="*/ 1288 w 9921"/>
              <a:gd name="connsiteY158" fmla="*/ 10000 h 10000"/>
              <a:gd name="connsiteX159" fmla="*/ 1329 w 9921"/>
              <a:gd name="connsiteY159" fmla="*/ 9923 h 10000"/>
              <a:gd name="connsiteX160" fmla="*/ 1250 w 9921"/>
              <a:gd name="connsiteY160" fmla="*/ 9768 h 10000"/>
              <a:gd name="connsiteX161" fmla="*/ 1250 w 9921"/>
              <a:gd name="connsiteY161" fmla="*/ 9613 h 10000"/>
              <a:gd name="connsiteX162" fmla="*/ 1211 w 9921"/>
              <a:gd name="connsiteY162" fmla="*/ 9457 h 10000"/>
              <a:gd name="connsiteX163" fmla="*/ 1288 w 9921"/>
              <a:gd name="connsiteY163" fmla="*/ 9225 h 10000"/>
              <a:gd name="connsiteX164" fmla="*/ 1329 w 9921"/>
              <a:gd name="connsiteY164" fmla="*/ 9302 h 10000"/>
              <a:gd name="connsiteX165" fmla="*/ 1368 w 9921"/>
              <a:gd name="connsiteY165" fmla="*/ 9225 h 10000"/>
              <a:gd name="connsiteX166" fmla="*/ 1368 w 9921"/>
              <a:gd name="connsiteY166" fmla="*/ 9147 h 10000"/>
              <a:gd name="connsiteX167" fmla="*/ 1329 w 9921"/>
              <a:gd name="connsiteY167" fmla="*/ 9147 h 10000"/>
              <a:gd name="connsiteX168" fmla="*/ 1368 w 9921"/>
              <a:gd name="connsiteY168" fmla="*/ 9070 h 10000"/>
              <a:gd name="connsiteX169" fmla="*/ 1329 w 9921"/>
              <a:gd name="connsiteY169" fmla="*/ 8915 h 10000"/>
              <a:gd name="connsiteX170" fmla="*/ 1250 w 9921"/>
              <a:gd name="connsiteY170" fmla="*/ 8915 h 10000"/>
              <a:gd name="connsiteX171" fmla="*/ 1211 w 9921"/>
              <a:gd name="connsiteY171" fmla="*/ 8760 h 10000"/>
              <a:gd name="connsiteX172" fmla="*/ 1250 w 9921"/>
              <a:gd name="connsiteY172" fmla="*/ 8372 h 10000"/>
              <a:gd name="connsiteX173" fmla="*/ 1329 w 9921"/>
              <a:gd name="connsiteY173" fmla="*/ 8528 h 10000"/>
              <a:gd name="connsiteX174" fmla="*/ 1368 w 9921"/>
              <a:gd name="connsiteY174" fmla="*/ 8528 h 10000"/>
              <a:gd name="connsiteX175" fmla="*/ 1329 w 9921"/>
              <a:gd name="connsiteY175" fmla="*/ 8372 h 10000"/>
              <a:gd name="connsiteX176" fmla="*/ 1445 w 9921"/>
              <a:gd name="connsiteY176" fmla="*/ 8140 h 10000"/>
              <a:gd name="connsiteX177" fmla="*/ 1524 w 9921"/>
              <a:gd name="connsiteY177" fmla="*/ 8217 h 10000"/>
              <a:gd name="connsiteX178" fmla="*/ 1563 w 9921"/>
              <a:gd name="connsiteY178" fmla="*/ 8140 h 10000"/>
              <a:gd name="connsiteX179" fmla="*/ 1640 w 9921"/>
              <a:gd name="connsiteY179" fmla="*/ 8217 h 10000"/>
              <a:gd name="connsiteX180" fmla="*/ 1757 w 9921"/>
              <a:gd name="connsiteY180" fmla="*/ 8372 h 10000"/>
              <a:gd name="connsiteX181" fmla="*/ 1836 w 9921"/>
              <a:gd name="connsiteY181" fmla="*/ 8295 h 10000"/>
              <a:gd name="connsiteX182" fmla="*/ 1914 w 9921"/>
              <a:gd name="connsiteY182" fmla="*/ 8295 h 10000"/>
              <a:gd name="connsiteX183" fmla="*/ 1953 w 9921"/>
              <a:gd name="connsiteY183" fmla="*/ 8372 h 10000"/>
              <a:gd name="connsiteX184" fmla="*/ 2109 w 9921"/>
              <a:gd name="connsiteY184" fmla="*/ 8372 h 10000"/>
              <a:gd name="connsiteX185" fmla="*/ 2148 w 9921"/>
              <a:gd name="connsiteY185" fmla="*/ 8217 h 10000"/>
              <a:gd name="connsiteX186" fmla="*/ 2032 w 9921"/>
              <a:gd name="connsiteY186" fmla="*/ 8140 h 10000"/>
              <a:gd name="connsiteX187" fmla="*/ 2109 w 9921"/>
              <a:gd name="connsiteY187" fmla="*/ 8062 h 10000"/>
              <a:gd name="connsiteX188" fmla="*/ 2070 w 9921"/>
              <a:gd name="connsiteY188" fmla="*/ 7985 h 10000"/>
              <a:gd name="connsiteX189" fmla="*/ 2109 w 9921"/>
              <a:gd name="connsiteY189" fmla="*/ 7907 h 10000"/>
              <a:gd name="connsiteX190" fmla="*/ 2109 w 9921"/>
              <a:gd name="connsiteY190" fmla="*/ 7675 h 10000"/>
              <a:gd name="connsiteX191" fmla="*/ 2187 w 9921"/>
              <a:gd name="connsiteY191" fmla="*/ 7752 h 10000"/>
              <a:gd name="connsiteX192" fmla="*/ 2539 w 9921"/>
              <a:gd name="connsiteY192" fmla="*/ 7520 h 10000"/>
              <a:gd name="connsiteX193" fmla="*/ 2539 w 9921"/>
              <a:gd name="connsiteY193" fmla="*/ 7442 h 10000"/>
              <a:gd name="connsiteX194" fmla="*/ 2578 w 9921"/>
              <a:gd name="connsiteY194" fmla="*/ 7442 h 10000"/>
              <a:gd name="connsiteX195" fmla="*/ 2695 w 9921"/>
              <a:gd name="connsiteY195" fmla="*/ 7442 h 10000"/>
              <a:gd name="connsiteX196" fmla="*/ 2734 w 9921"/>
              <a:gd name="connsiteY196" fmla="*/ 7598 h 10000"/>
              <a:gd name="connsiteX197" fmla="*/ 2734 w 9921"/>
              <a:gd name="connsiteY197" fmla="*/ 7675 h 10000"/>
              <a:gd name="connsiteX198" fmla="*/ 2773 w 9921"/>
              <a:gd name="connsiteY198" fmla="*/ 7675 h 10000"/>
              <a:gd name="connsiteX199" fmla="*/ 2851 w 9921"/>
              <a:gd name="connsiteY199" fmla="*/ 7752 h 10000"/>
              <a:gd name="connsiteX200" fmla="*/ 2851 w 9921"/>
              <a:gd name="connsiteY200" fmla="*/ 7830 h 10000"/>
              <a:gd name="connsiteX201" fmla="*/ 2930 w 9921"/>
              <a:gd name="connsiteY201" fmla="*/ 7830 h 10000"/>
              <a:gd name="connsiteX202" fmla="*/ 3007 w 9921"/>
              <a:gd name="connsiteY202" fmla="*/ 7675 h 10000"/>
              <a:gd name="connsiteX203" fmla="*/ 3087 w 9921"/>
              <a:gd name="connsiteY203" fmla="*/ 7598 h 10000"/>
              <a:gd name="connsiteX204" fmla="*/ 3125 w 9921"/>
              <a:gd name="connsiteY204" fmla="*/ 7830 h 10000"/>
              <a:gd name="connsiteX205" fmla="*/ 3281 w 9921"/>
              <a:gd name="connsiteY205" fmla="*/ 8372 h 10000"/>
              <a:gd name="connsiteX206" fmla="*/ 3320 w 9921"/>
              <a:gd name="connsiteY206" fmla="*/ 8217 h 10000"/>
              <a:gd name="connsiteX207" fmla="*/ 3359 w 9921"/>
              <a:gd name="connsiteY207" fmla="*/ 8372 h 10000"/>
              <a:gd name="connsiteX208" fmla="*/ 3477 w 9921"/>
              <a:gd name="connsiteY208" fmla="*/ 8295 h 10000"/>
              <a:gd name="connsiteX209" fmla="*/ 3594 w 9921"/>
              <a:gd name="connsiteY209" fmla="*/ 8528 h 10000"/>
              <a:gd name="connsiteX210" fmla="*/ 3672 w 9921"/>
              <a:gd name="connsiteY210" fmla="*/ 8605 h 10000"/>
              <a:gd name="connsiteX211" fmla="*/ 3672 w 9921"/>
              <a:gd name="connsiteY211" fmla="*/ 8528 h 10000"/>
              <a:gd name="connsiteX212" fmla="*/ 3710 w 9921"/>
              <a:gd name="connsiteY212" fmla="*/ 8683 h 10000"/>
              <a:gd name="connsiteX213" fmla="*/ 3672 w 9921"/>
              <a:gd name="connsiteY213" fmla="*/ 8760 h 10000"/>
              <a:gd name="connsiteX214" fmla="*/ 3750 w 9921"/>
              <a:gd name="connsiteY214" fmla="*/ 8683 h 10000"/>
              <a:gd name="connsiteX215" fmla="*/ 3789 w 9921"/>
              <a:gd name="connsiteY215" fmla="*/ 8605 h 10000"/>
              <a:gd name="connsiteX216" fmla="*/ 3985 w 9921"/>
              <a:gd name="connsiteY216" fmla="*/ 8372 h 10000"/>
              <a:gd name="connsiteX217" fmla="*/ 4141 w 9921"/>
              <a:gd name="connsiteY217" fmla="*/ 8449 h 10000"/>
              <a:gd name="connsiteX218" fmla="*/ 4218 w 9921"/>
              <a:gd name="connsiteY218" fmla="*/ 8528 h 10000"/>
              <a:gd name="connsiteX219" fmla="*/ 4374 w 9921"/>
              <a:gd name="connsiteY219" fmla="*/ 8528 h 10000"/>
              <a:gd name="connsiteX220" fmla="*/ 4374 w 9921"/>
              <a:gd name="connsiteY220" fmla="*/ 8372 h 10000"/>
              <a:gd name="connsiteX221" fmla="*/ 4374 w 9921"/>
              <a:gd name="connsiteY221" fmla="*/ 8217 h 10000"/>
              <a:gd name="connsiteX222" fmla="*/ 4452 w 9921"/>
              <a:gd name="connsiteY222" fmla="*/ 8140 h 10000"/>
              <a:gd name="connsiteX223" fmla="*/ 4609 w 9921"/>
              <a:gd name="connsiteY223" fmla="*/ 8217 h 10000"/>
              <a:gd name="connsiteX224" fmla="*/ 4687 w 9921"/>
              <a:gd name="connsiteY224" fmla="*/ 8449 h 10000"/>
              <a:gd name="connsiteX225" fmla="*/ 4726 w 9921"/>
              <a:gd name="connsiteY225" fmla="*/ 8449 h 10000"/>
              <a:gd name="connsiteX226" fmla="*/ 4804 w 9921"/>
              <a:gd name="connsiteY226" fmla="*/ 8372 h 10000"/>
              <a:gd name="connsiteX227" fmla="*/ 5040 w 9921"/>
              <a:gd name="connsiteY227" fmla="*/ 8605 h 10000"/>
              <a:gd name="connsiteX228" fmla="*/ 5157 w 9921"/>
              <a:gd name="connsiteY228" fmla="*/ 8683 h 10000"/>
              <a:gd name="connsiteX229" fmla="*/ 5313 w 9921"/>
              <a:gd name="connsiteY229" fmla="*/ 8605 h 10000"/>
              <a:gd name="connsiteX230" fmla="*/ 5390 w 9921"/>
              <a:gd name="connsiteY230" fmla="*/ 8449 h 10000"/>
              <a:gd name="connsiteX231" fmla="*/ 5507 w 9921"/>
              <a:gd name="connsiteY231" fmla="*/ 8528 h 10000"/>
              <a:gd name="connsiteX232" fmla="*/ 5586 w 9921"/>
              <a:gd name="connsiteY232" fmla="*/ 8605 h 10000"/>
              <a:gd name="connsiteX233" fmla="*/ 6913 w 9921"/>
              <a:gd name="connsiteY233" fmla="*/ 7675 h 10000"/>
              <a:gd name="connsiteX234" fmla="*/ 6836 w 9921"/>
              <a:gd name="connsiteY234" fmla="*/ 7675 h 10000"/>
              <a:gd name="connsiteX235" fmla="*/ 6796 w 9921"/>
              <a:gd name="connsiteY235" fmla="*/ 7675 h 10000"/>
              <a:gd name="connsiteX236" fmla="*/ 6757 w 9921"/>
              <a:gd name="connsiteY236" fmla="*/ 7598 h 10000"/>
              <a:gd name="connsiteX237" fmla="*/ 6680 w 9921"/>
              <a:gd name="connsiteY237" fmla="*/ 7598 h 10000"/>
              <a:gd name="connsiteX238" fmla="*/ 6680 w 9921"/>
              <a:gd name="connsiteY238" fmla="*/ 7520 h 10000"/>
              <a:gd name="connsiteX239" fmla="*/ 6796 w 9921"/>
              <a:gd name="connsiteY239" fmla="*/ 7287 h 10000"/>
              <a:gd name="connsiteX240" fmla="*/ 7149 w 9921"/>
              <a:gd name="connsiteY240" fmla="*/ 6590 h 10000"/>
              <a:gd name="connsiteX241" fmla="*/ 7305 w 9921"/>
              <a:gd name="connsiteY241" fmla="*/ 6512 h 10000"/>
              <a:gd name="connsiteX242" fmla="*/ 7344 w 9921"/>
              <a:gd name="connsiteY242" fmla="*/ 6590 h 10000"/>
              <a:gd name="connsiteX243" fmla="*/ 7383 w 9921"/>
              <a:gd name="connsiteY243" fmla="*/ 6512 h 10000"/>
              <a:gd name="connsiteX244" fmla="*/ 7499 w 9921"/>
              <a:gd name="connsiteY244" fmla="*/ 6590 h 10000"/>
              <a:gd name="connsiteX245" fmla="*/ 7539 w 9921"/>
              <a:gd name="connsiteY245" fmla="*/ 6434 h 10000"/>
              <a:gd name="connsiteX246" fmla="*/ 7656 w 9921"/>
              <a:gd name="connsiteY246" fmla="*/ 6512 h 10000"/>
              <a:gd name="connsiteX247" fmla="*/ 7696 w 9921"/>
              <a:gd name="connsiteY247" fmla="*/ 6512 h 10000"/>
              <a:gd name="connsiteX248" fmla="*/ 7656 w 9921"/>
              <a:gd name="connsiteY248" fmla="*/ 6590 h 10000"/>
              <a:gd name="connsiteX249" fmla="*/ 7656 w 9921"/>
              <a:gd name="connsiteY249" fmla="*/ 6667 h 10000"/>
              <a:gd name="connsiteX250" fmla="*/ 7891 w 9921"/>
              <a:gd name="connsiteY250" fmla="*/ 6590 h 10000"/>
              <a:gd name="connsiteX251" fmla="*/ 7851 w 9921"/>
              <a:gd name="connsiteY251" fmla="*/ 6512 h 10000"/>
              <a:gd name="connsiteX252" fmla="*/ 8007 w 9921"/>
              <a:gd name="connsiteY252" fmla="*/ 5969 h 10000"/>
              <a:gd name="connsiteX253" fmla="*/ 8203 w 9921"/>
              <a:gd name="connsiteY253" fmla="*/ 5892 h 10000"/>
              <a:gd name="connsiteX254" fmla="*/ 8203 w 9921"/>
              <a:gd name="connsiteY254" fmla="*/ 6047 h 10000"/>
              <a:gd name="connsiteX255" fmla="*/ 8203 w 9921"/>
              <a:gd name="connsiteY255" fmla="*/ 6202 h 10000"/>
              <a:gd name="connsiteX256" fmla="*/ 8398 w 9921"/>
              <a:gd name="connsiteY256" fmla="*/ 5969 h 10000"/>
              <a:gd name="connsiteX257" fmla="*/ 8398 w 9921"/>
              <a:gd name="connsiteY257" fmla="*/ 5737 h 10000"/>
              <a:gd name="connsiteX258" fmla="*/ 8476 w 9921"/>
              <a:gd name="connsiteY258" fmla="*/ 5737 h 10000"/>
              <a:gd name="connsiteX259" fmla="*/ 8437 w 9921"/>
              <a:gd name="connsiteY259" fmla="*/ 5814 h 10000"/>
              <a:gd name="connsiteX260" fmla="*/ 8398 w 9921"/>
              <a:gd name="connsiteY260" fmla="*/ 6202 h 10000"/>
              <a:gd name="connsiteX261" fmla="*/ 8320 w 9921"/>
              <a:gd name="connsiteY261" fmla="*/ 6279 h 10000"/>
              <a:gd name="connsiteX262" fmla="*/ 8398 w 9921"/>
              <a:gd name="connsiteY262" fmla="*/ 6590 h 10000"/>
              <a:gd name="connsiteX263" fmla="*/ 8398 w 9921"/>
              <a:gd name="connsiteY263" fmla="*/ 6434 h 10000"/>
              <a:gd name="connsiteX264" fmla="*/ 8476 w 9921"/>
              <a:gd name="connsiteY264" fmla="*/ 6434 h 10000"/>
              <a:gd name="connsiteX265" fmla="*/ 8593 w 9921"/>
              <a:gd name="connsiteY265" fmla="*/ 6279 h 10000"/>
              <a:gd name="connsiteX266" fmla="*/ 8593 w 9921"/>
              <a:gd name="connsiteY266" fmla="*/ 6434 h 10000"/>
              <a:gd name="connsiteX267" fmla="*/ 8632 w 9921"/>
              <a:gd name="connsiteY267" fmla="*/ 6356 h 10000"/>
              <a:gd name="connsiteX268" fmla="*/ 8750 w 9921"/>
              <a:gd name="connsiteY268" fmla="*/ 6279 h 10000"/>
              <a:gd name="connsiteX269" fmla="*/ 8827 w 9921"/>
              <a:gd name="connsiteY269" fmla="*/ 6434 h 10000"/>
              <a:gd name="connsiteX270" fmla="*/ 8866 w 9921"/>
              <a:gd name="connsiteY270" fmla="*/ 6279 h 10000"/>
              <a:gd name="connsiteX271" fmla="*/ 9259 w 9921"/>
              <a:gd name="connsiteY271" fmla="*/ 5737 h 10000"/>
              <a:gd name="connsiteX272" fmla="*/ 9375 w 9921"/>
              <a:gd name="connsiteY272" fmla="*/ 5814 h 10000"/>
              <a:gd name="connsiteX273" fmla="*/ 9414 w 9921"/>
              <a:gd name="connsiteY273" fmla="*/ 5737 h 10000"/>
              <a:gd name="connsiteX274" fmla="*/ 9336 w 9921"/>
              <a:gd name="connsiteY274" fmla="*/ 5271 h 10000"/>
              <a:gd name="connsiteX275" fmla="*/ 9297 w 9921"/>
              <a:gd name="connsiteY275" fmla="*/ 5271 h 10000"/>
              <a:gd name="connsiteX276" fmla="*/ 9297 w 9921"/>
              <a:gd name="connsiteY276" fmla="*/ 5116 h 10000"/>
              <a:gd name="connsiteX277" fmla="*/ 9336 w 9921"/>
              <a:gd name="connsiteY277" fmla="*/ 5116 h 10000"/>
              <a:gd name="connsiteX278" fmla="*/ 9414 w 9921"/>
              <a:gd name="connsiteY278" fmla="*/ 5039 h 10000"/>
              <a:gd name="connsiteX279" fmla="*/ 9492 w 9921"/>
              <a:gd name="connsiteY279" fmla="*/ 4884 h 10000"/>
              <a:gd name="connsiteX280" fmla="*/ 9453 w 9921"/>
              <a:gd name="connsiteY280" fmla="*/ 4729 h 10000"/>
              <a:gd name="connsiteX281" fmla="*/ 9492 w 9921"/>
              <a:gd name="connsiteY281" fmla="*/ 4652 h 10000"/>
              <a:gd name="connsiteX282" fmla="*/ 9531 w 9921"/>
              <a:gd name="connsiteY282" fmla="*/ 4884 h 10000"/>
              <a:gd name="connsiteX283" fmla="*/ 9609 w 9921"/>
              <a:gd name="connsiteY283" fmla="*/ 4884 h 10000"/>
              <a:gd name="connsiteX284" fmla="*/ 9687 w 9921"/>
              <a:gd name="connsiteY284" fmla="*/ 5039 h 10000"/>
              <a:gd name="connsiteX285" fmla="*/ 9882 w 9921"/>
              <a:gd name="connsiteY285" fmla="*/ 5271 h 10000"/>
              <a:gd name="connsiteX286" fmla="*/ 9921 w 9921"/>
              <a:gd name="connsiteY286" fmla="*/ 5039 h 10000"/>
              <a:gd name="connsiteX287" fmla="*/ 9921 w 9921"/>
              <a:gd name="connsiteY287" fmla="*/ 4884 h 10000"/>
              <a:gd name="connsiteX288" fmla="*/ 9414 w 9921"/>
              <a:gd name="connsiteY288" fmla="*/ 3799 h 10000"/>
              <a:gd name="connsiteX289" fmla="*/ 9179 w 9921"/>
              <a:gd name="connsiteY289" fmla="*/ 3488 h 10000"/>
              <a:gd name="connsiteX290" fmla="*/ 8866 w 9921"/>
              <a:gd name="connsiteY290" fmla="*/ 3411 h 10000"/>
              <a:gd name="connsiteX291" fmla="*/ 8866 w 9921"/>
              <a:gd name="connsiteY291" fmla="*/ 3799 h 10000"/>
              <a:gd name="connsiteX292" fmla="*/ 8789 w 9921"/>
              <a:gd name="connsiteY292" fmla="*/ 3876 h 10000"/>
              <a:gd name="connsiteX293" fmla="*/ 8710 w 9921"/>
              <a:gd name="connsiteY293" fmla="*/ 3721 h 10000"/>
              <a:gd name="connsiteX294" fmla="*/ 8710 w 9921"/>
              <a:gd name="connsiteY294" fmla="*/ 3566 h 10000"/>
              <a:gd name="connsiteX295" fmla="*/ 8750 w 9921"/>
              <a:gd name="connsiteY295" fmla="*/ 3566 h 10000"/>
              <a:gd name="connsiteX296" fmla="*/ 8789 w 9921"/>
              <a:gd name="connsiteY296" fmla="*/ 3488 h 10000"/>
              <a:gd name="connsiteX297" fmla="*/ 8710 w 9921"/>
              <a:gd name="connsiteY297" fmla="*/ 3488 h 10000"/>
              <a:gd name="connsiteX298" fmla="*/ 8632 w 9921"/>
              <a:gd name="connsiteY298" fmla="*/ 3644 h 10000"/>
              <a:gd name="connsiteX299" fmla="*/ 8437 w 9921"/>
              <a:gd name="connsiteY299" fmla="*/ 3566 h 10000"/>
              <a:gd name="connsiteX300" fmla="*/ 8242 w 9921"/>
              <a:gd name="connsiteY300" fmla="*/ 3566 h 10000"/>
              <a:gd name="connsiteX301" fmla="*/ 8164 w 9921"/>
              <a:gd name="connsiteY301" fmla="*/ 3488 h 10000"/>
              <a:gd name="connsiteX302" fmla="*/ 8203 w 9921"/>
              <a:gd name="connsiteY302" fmla="*/ 3333 h 10000"/>
              <a:gd name="connsiteX303" fmla="*/ 8124 w 9921"/>
              <a:gd name="connsiteY303" fmla="*/ 3101 h 10000"/>
              <a:gd name="connsiteX304" fmla="*/ 7968 w 9921"/>
              <a:gd name="connsiteY304" fmla="*/ 3023 h 10000"/>
              <a:gd name="connsiteX305" fmla="*/ 7735 w 9921"/>
              <a:gd name="connsiteY305" fmla="*/ 3178 h 10000"/>
              <a:gd name="connsiteX306" fmla="*/ 7696 w 9921"/>
              <a:gd name="connsiteY306" fmla="*/ 2946 h 10000"/>
              <a:gd name="connsiteX307" fmla="*/ 7616 w 9921"/>
              <a:gd name="connsiteY307" fmla="*/ 2946 h 10000"/>
              <a:gd name="connsiteX308" fmla="*/ 7578 w 9921"/>
              <a:gd name="connsiteY308" fmla="*/ 2868 h 10000"/>
              <a:gd name="connsiteX309" fmla="*/ 7578 w 9921"/>
              <a:gd name="connsiteY309" fmla="*/ 2636 h 10000"/>
              <a:gd name="connsiteX310" fmla="*/ 7305 w 9921"/>
              <a:gd name="connsiteY310" fmla="*/ 2480 h 10000"/>
              <a:gd name="connsiteX311" fmla="*/ 6991 w 9921"/>
              <a:gd name="connsiteY311" fmla="*/ 2325 h 10000"/>
              <a:gd name="connsiteX312" fmla="*/ 6913 w 9921"/>
              <a:gd name="connsiteY312" fmla="*/ 2636 h 10000"/>
              <a:gd name="connsiteX313" fmla="*/ 6991 w 9921"/>
              <a:gd name="connsiteY313" fmla="*/ 2868 h 10000"/>
              <a:gd name="connsiteX314" fmla="*/ 6757 w 9921"/>
              <a:gd name="connsiteY314" fmla="*/ 2868 h 10000"/>
              <a:gd name="connsiteX315" fmla="*/ 6718 w 9921"/>
              <a:gd name="connsiteY315" fmla="*/ 2868 h 10000"/>
              <a:gd name="connsiteX316" fmla="*/ 6640 w 9921"/>
              <a:gd name="connsiteY316" fmla="*/ 2946 h 10000"/>
              <a:gd name="connsiteX317" fmla="*/ 6523 w 9921"/>
              <a:gd name="connsiteY317" fmla="*/ 2714 h 10000"/>
              <a:gd name="connsiteX318" fmla="*/ 6444 w 9921"/>
              <a:gd name="connsiteY318" fmla="*/ 3178 h 10000"/>
              <a:gd name="connsiteX319" fmla="*/ 6367 w 9921"/>
              <a:gd name="connsiteY319" fmla="*/ 3101 h 10000"/>
              <a:gd name="connsiteX320" fmla="*/ 6288 w 9921"/>
              <a:gd name="connsiteY320" fmla="*/ 2791 h 10000"/>
              <a:gd name="connsiteX321" fmla="*/ 6328 w 9921"/>
              <a:gd name="connsiteY321" fmla="*/ 2403 h 10000"/>
              <a:gd name="connsiteX322" fmla="*/ 6250 w 9921"/>
              <a:gd name="connsiteY322" fmla="*/ 2170 h 10000"/>
              <a:gd name="connsiteX323" fmla="*/ 6015 w 9921"/>
              <a:gd name="connsiteY323" fmla="*/ 2016 h 10000"/>
              <a:gd name="connsiteX324" fmla="*/ 5937 w 9921"/>
              <a:gd name="connsiteY324" fmla="*/ 2016 h 10000"/>
              <a:gd name="connsiteX325" fmla="*/ 5898 w 9921"/>
              <a:gd name="connsiteY325" fmla="*/ 2170 h 10000"/>
              <a:gd name="connsiteX326" fmla="*/ 5937 w 9921"/>
              <a:gd name="connsiteY326" fmla="*/ 2325 h 10000"/>
              <a:gd name="connsiteX327" fmla="*/ 5626 w 9921"/>
              <a:gd name="connsiteY327" fmla="*/ 2248 h 10000"/>
              <a:gd name="connsiteX328" fmla="*/ 5664 w 9921"/>
              <a:gd name="connsiteY328" fmla="*/ 2016 h 10000"/>
              <a:gd name="connsiteX329" fmla="*/ 5469 w 9921"/>
              <a:gd name="connsiteY329" fmla="*/ 1938 h 10000"/>
              <a:gd name="connsiteX330" fmla="*/ 5352 w 9921"/>
              <a:gd name="connsiteY330" fmla="*/ 2093 h 10000"/>
              <a:gd name="connsiteX331" fmla="*/ 5118 w 9921"/>
              <a:gd name="connsiteY331" fmla="*/ 1861 h 10000"/>
              <a:gd name="connsiteX0" fmla="*/ 5159 w 10000"/>
              <a:gd name="connsiteY0" fmla="*/ 1861 h 10000"/>
              <a:gd name="connsiteX1" fmla="*/ 5159 w 10000"/>
              <a:gd name="connsiteY1" fmla="*/ 1861 h 10000"/>
              <a:gd name="connsiteX2" fmla="*/ 5118 w 10000"/>
              <a:gd name="connsiteY2" fmla="*/ 1938 h 10000"/>
              <a:gd name="connsiteX3" fmla="*/ 5159 w 10000"/>
              <a:gd name="connsiteY3" fmla="*/ 2093 h 10000"/>
              <a:gd name="connsiteX4" fmla="*/ 4999 w 10000"/>
              <a:gd name="connsiteY4" fmla="*/ 2248 h 10000"/>
              <a:gd name="connsiteX5" fmla="*/ 4959 w 10000"/>
              <a:gd name="connsiteY5" fmla="*/ 2248 h 10000"/>
              <a:gd name="connsiteX6" fmla="*/ 4999 w 10000"/>
              <a:gd name="connsiteY6" fmla="*/ 2016 h 10000"/>
              <a:gd name="connsiteX7" fmla="*/ 5395 w 10000"/>
              <a:gd name="connsiteY7" fmla="*/ 1318 h 10000"/>
              <a:gd name="connsiteX8" fmla="*/ 5395 w 10000"/>
              <a:gd name="connsiteY8" fmla="*/ 853 h 10000"/>
              <a:gd name="connsiteX9" fmla="*/ 5237 w 10000"/>
              <a:gd name="connsiteY9" fmla="*/ 543 h 10000"/>
              <a:gd name="connsiteX10" fmla="*/ 5039 w 10000"/>
              <a:gd name="connsiteY10" fmla="*/ 543 h 10000"/>
              <a:gd name="connsiteX11" fmla="*/ 5039 w 10000"/>
              <a:gd name="connsiteY11" fmla="*/ 698 h 10000"/>
              <a:gd name="connsiteX12" fmla="*/ 4921 w 10000"/>
              <a:gd name="connsiteY12" fmla="*/ 698 h 10000"/>
              <a:gd name="connsiteX13" fmla="*/ 4999 w 10000"/>
              <a:gd name="connsiteY13" fmla="*/ 387 h 10000"/>
              <a:gd name="connsiteX14" fmla="*/ 4803 w 10000"/>
              <a:gd name="connsiteY14" fmla="*/ 310 h 10000"/>
              <a:gd name="connsiteX15" fmla="*/ 4921 w 10000"/>
              <a:gd name="connsiteY15" fmla="*/ 155 h 10000"/>
              <a:gd name="connsiteX16" fmla="*/ 4803 w 10000"/>
              <a:gd name="connsiteY16" fmla="*/ 0 h 10000"/>
              <a:gd name="connsiteX17" fmla="*/ 4606 w 10000"/>
              <a:gd name="connsiteY17" fmla="*/ 387 h 10000"/>
              <a:gd name="connsiteX18" fmla="*/ 4606 w 10000"/>
              <a:gd name="connsiteY18" fmla="*/ 698 h 10000"/>
              <a:gd name="connsiteX19" fmla="*/ 4487 w 10000"/>
              <a:gd name="connsiteY19" fmla="*/ 698 h 10000"/>
              <a:gd name="connsiteX20" fmla="*/ 4135 w 10000"/>
              <a:gd name="connsiteY20" fmla="*/ 853 h 10000"/>
              <a:gd name="connsiteX21" fmla="*/ 3819 w 10000"/>
              <a:gd name="connsiteY21" fmla="*/ 1240 h 10000"/>
              <a:gd name="connsiteX22" fmla="*/ 3701 w 10000"/>
              <a:gd name="connsiteY22" fmla="*/ 1551 h 10000"/>
              <a:gd name="connsiteX23" fmla="*/ 3740 w 10000"/>
              <a:gd name="connsiteY23" fmla="*/ 1938 h 10000"/>
              <a:gd name="connsiteX24" fmla="*/ 3307 w 10000"/>
              <a:gd name="connsiteY24" fmla="*/ 2093 h 10000"/>
              <a:gd name="connsiteX25" fmla="*/ 3346 w 10000"/>
              <a:gd name="connsiteY25" fmla="*/ 2559 h 10000"/>
              <a:gd name="connsiteX26" fmla="*/ 3465 w 10000"/>
              <a:gd name="connsiteY26" fmla="*/ 2791 h 10000"/>
              <a:gd name="connsiteX27" fmla="*/ 3386 w 10000"/>
              <a:gd name="connsiteY27" fmla="*/ 2868 h 10000"/>
              <a:gd name="connsiteX28" fmla="*/ 3268 w 10000"/>
              <a:gd name="connsiteY28" fmla="*/ 2559 h 10000"/>
              <a:gd name="connsiteX29" fmla="*/ 3150 w 10000"/>
              <a:gd name="connsiteY29" fmla="*/ 2480 h 10000"/>
              <a:gd name="connsiteX30" fmla="*/ 3112 w 10000"/>
              <a:gd name="connsiteY30" fmla="*/ 2559 h 10000"/>
              <a:gd name="connsiteX31" fmla="*/ 3031 w 10000"/>
              <a:gd name="connsiteY31" fmla="*/ 2403 h 10000"/>
              <a:gd name="connsiteX32" fmla="*/ 2953 w 10000"/>
              <a:gd name="connsiteY32" fmla="*/ 2248 h 10000"/>
              <a:gd name="connsiteX33" fmla="*/ 2953 w 10000"/>
              <a:gd name="connsiteY33" fmla="*/ 2325 h 10000"/>
              <a:gd name="connsiteX34" fmla="*/ 2992 w 10000"/>
              <a:gd name="connsiteY34" fmla="*/ 2559 h 10000"/>
              <a:gd name="connsiteX35" fmla="*/ 2874 w 10000"/>
              <a:gd name="connsiteY35" fmla="*/ 2946 h 10000"/>
              <a:gd name="connsiteX36" fmla="*/ 2953 w 10000"/>
              <a:gd name="connsiteY36" fmla="*/ 3256 h 10000"/>
              <a:gd name="connsiteX37" fmla="*/ 2913 w 10000"/>
              <a:gd name="connsiteY37" fmla="*/ 3566 h 10000"/>
              <a:gd name="connsiteX38" fmla="*/ 2913 w 10000"/>
              <a:gd name="connsiteY38" fmla="*/ 3799 h 10000"/>
              <a:gd name="connsiteX39" fmla="*/ 3031 w 10000"/>
              <a:gd name="connsiteY39" fmla="*/ 3799 h 10000"/>
              <a:gd name="connsiteX40" fmla="*/ 2953 w 10000"/>
              <a:gd name="connsiteY40" fmla="*/ 3876 h 10000"/>
              <a:gd name="connsiteX41" fmla="*/ 2992 w 10000"/>
              <a:gd name="connsiteY41" fmla="*/ 4263 h 10000"/>
              <a:gd name="connsiteX42" fmla="*/ 2756 w 10000"/>
              <a:gd name="connsiteY42" fmla="*/ 4652 h 10000"/>
              <a:gd name="connsiteX43" fmla="*/ 2716 w 10000"/>
              <a:gd name="connsiteY43" fmla="*/ 4574 h 10000"/>
              <a:gd name="connsiteX44" fmla="*/ 2874 w 10000"/>
              <a:gd name="connsiteY44" fmla="*/ 4186 h 10000"/>
              <a:gd name="connsiteX45" fmla="*/ 2913 w 10000"/>
              <a:gd name="connsiteY45" fmla="*/ 3954 h 10000"/>
              <a:gd name="connsiteX46" fmla="*/ 2833 w 10000"/>
              <a:gd name="connsiteY46" fmla="*/ 3799 h 10000"/>
              <a:gd name="connsiteX47" fmla="*/ 2833 w 10000"/>
              <a:gd name="connsiteY47" fmla="*/ 3023 h 10000"/>
              <a:gd name="connsiteX48" fmla="*/ 2795 w 10000"/>
              <a:gd name="connsiteY48" fmla="*/ 2868 h 10000"/>
              <a:gd name="connsiteX49" fmla="*/ 2833 w 10000"/>
              <a:gd name="connsiteY49" fmla="*/ 2403 h 10000"/>
              <a:gd name="connsiteX50" fmla="*/ 2756 w 10000"/>
              <a:gd name="connsiteY50" fmla="*/ 2325 h 10000"/>
              <a:gd name="connsiteX51" fmla="*/ 2795 w 10000"/>
              <a:gd name="connsiteY51" fmla="*/ 2248 h 10000"/>
              <a:gd name="connsiteX52" fmla="*/ 2756 w 10000"/>
              <a:gd name="connsiteY52" fmla="*/ 2093 h 10000"/>
              <a:gd name="connsiteX53" fmla="*/ 2676 w 10000"/>
              <a:gd name="connsiteY53" fmla="*/ 2170 h 10000"/>
              <a:gd name="connsiteX54" fmla="*/ 2481 w 10000"/>
              <a:gd name="connsiteY54" fmla="*/ 3178 h 10000"/>
              <a:gd name="connsiteX55" fmla="*/ 2481 w 10000"/>
              <a:gd name="connsiteY55" fmla="*/ 3566 h 10000"/>
              <a:gd name="connsiteX56" fmla="*/ 2599 w 10000"/>
              <a:gd name="connsiteY56" fmla="*/ 3876 h 10000"/>
              <a:gd name="connsiteX57" fmla="*/ 2599 w 10000"/>
              <a:gd name="connsiteY57" fmla="*/ 4031 h 10000"/>
              <a:gd name="connsiteX58" fmla="*/ 2481 w 10000"/>
              <a:gd name="connsiteY58" fmla="*/ 3876 h 10000"/>
              <a:gd name="connsiteX59" fmla="*/ 2009 w 10000"/>
              <a:gd name="connsiteY59" fmla="*/ 3256 h 10000"/>
              <a:gd name="connsiteX60" fmla="*/ 1969 w 10000"/>
              <a:gd name="connsiteY60" fmla="*/ 3411 h 10000"/>
              <a:gd name="connsiteX61" fmla="*/ 2126 w 10000"/>
              <a:gd name="connsiteY61" fmla="*/ 3799 h 10000"/>
              <a:gd name="connsiteX62" fmla="*/ 2048 w 10000"/>
              <a:gd name="connsiteY62" fmla="*/ 3876 h 10000"/>
              <a:gd name="connsiteX63" fmla="*/ 2009 w 10000"/>
              <a:gd name="connsiteY63" fmla="*/ 3799 h 10000"/>
              <a:gd name="connsiteX64" fmla="*/ 1771 w 10000"/>
              <a:gd name="connsiteY64" fmla="*/ 3954 h 10000"/>
              <a:gd name="connsiteX65" fmla="*/ 1733 w 10000"/>
              <a:gd name="connsiteY65" fmla="*/ 4109 h 10000"/>
              <a:gd name="connsiteX66" fmla="*/ 1693 w 10000"/>
              <a:gd name="connsiteY66" fmla="*/ 3954 h 10000"/>
              <a:gd name="connsiteX67" fmla="*/ 1693 w 10000"/>
              <a:gd name="connsiteY67" fmla="*/ 3799 h 10000"/>
              <a:gd name="connsiteX68" fmla="*/ 1298 w 10000"/>
              <a:gd name="connsiteY68" fmla="*/ 4263 h 10000"/>
              <a:gd name="connsiteX69" fmla="*/ 1298 w 10000"/>
              <a:gd name="connsiteY69" fmla="*/ 4418 h 10000"/>
              <a:gd name="connsiteX70" fmla="*/ 1221 w 10000"/>
              <a:gd name="connsiteY70" fmla="*/ 4496 h 10000"/>
              <a:gd name="connsiteX71" fmla="*/ 1103 w 10000"/>
              <a:gd name="connsiteY71" fmla="*/ 4341 h 10000"/>
              <a:gd name="connsiteX72" fmla="*/ 1221 w 10000"/>
              <a:gd name="connsiteY72" fmla="*/ 4186 h 10000"/>
              <a:gd name="connsiteX73" fmla="*/ 1181 w 10000"/>
              <a:gd name="connsiteY73" fmla="*/ 3954 h 10000"/>
              <a:gd name="connsiteX74" fmla="*/ 1024 w 10000"/>
              <a:gd name="connsiteY74" fmla="*/ 3876 h 10000"/>
              <a:gd name="connsiteX75" fmla="*/ 1063 w 10000"/>
              <a:gd name="connsiteY75" fmla="*/ 4031 h 10000"/>
              <a:gd name="connsiteX76" fmla="*/ 1063 w 10000"/>
              <a:gd name="connsiteY76" fmla="*/ 4418 h 10000"/>
              <a:gd name="connsiteX77" fmla="*/ 1103 w 10000"/>
              <a:gd name="connsiteY77" fmla="*/ 4574 h 10000"/>
              <a:gd name="connsiteX78" fmla="*/ 1063 w 10000"/>
              <a:gd name="connsiteY78" fmla="*/ 4729 h 10000"/>
              <a:gd name="connsiteX79" fmla="*/ 944 w 10000"/>
              <a:gd name="connsiteY79" fmla="*/ 4652 h 10000"/>
              <a:gd name="connsiteX80" fmla="*/ 787 w 10000"/>
              <a:gd name="connsiteY80" fmla="*/ 4884 h 10000"/>
              <a:gd name="connsiteX81" fmla="*/ 866 w 10000"/>
              <a:gd name="connsiteY81" fmla="*/ 5194 h 10000"/>
              <a:gd name="connsiteX82" fmla="*/ 630 w 10000"/>
              <a:gd name="connsiteY82" fmla="*/ 5039 h 10000"/>
              <a:gd name="connsiteX83" fmla="*/ 590 w 10000"/>
              <a:gd name="connsiteY83" fmla="*/ 5116 h 10000"/>
              <a:gd name="connsiteX84" fmla="*/ 669 w 10000"/>
              <a:gd name="connsiteY84" fmla="*/ 5349 h 10000"/>
              <a:gd name="connsiteX85" fmla="*/ 590 w 10000"/>
              <a:gd name="connsiteY85" fmla="*/ 5349 h 10000"/>
              <a:gd name="connsiteX86" fmla="*/ 473 w 10000"/>
              <a:gd name="connsiteY86" fmla="*/ 5194 h 10000"/>
              <a:gd name="connsiteX87" fmla="*/ 473 w 10000"/>
              <a:gd name="connsiteY87" fmla="*/ 4729 h 10000"/>
              <a:gd name="connsiteX88" fmla="*/ 355 w 10000"/>
              <a:gd name="connsiteY88" fmla="*/ 4574 h 10000"/>
              <a:gd name="connsiteX89" fmla="*/ 315 w 10000"/>
              <a:gd name="connsiteY89" fmla="*/ 4418 h 10000"/>
              <a:gd name="connsiteX90" fmla="*/ 393 w 10000"/>
              <a:gd name="connsiteY90" fmla="*/ 4496 h 10000"/>
              <a:gd name="connsiteX91" fmla="*/ 708 w 10000"/>
              <a:gd name="connsiteY91" fmla="*/ 4729 h 10000"/>
              <a:gd name="connsiteX92" fmla="*/ 905 w 10000"/>
              <a:gd name="connsiteY92" fmla="*/ 4496 h 10000"/>
              <a:gd name="connsiteX93" fmla="*/ 866 w 10000"/>
              <a:gd name="connsiteY93" fmla="*/ 4263 h 10000"/>
              <a:gd name="connsiteX94" fmla="*/ 630 w 10000"/>
              <a:gd name="connsiteY94" fmla="*/ 3799 h 10000"/>
              <a:gd name="connsiteX95" fmla="*/ 393 w 10000"/>
              <a:gd name="connsiteY95" fmla="*/ 3644 h 10000"/>
              <a:gd name="connsiteX96" fmla="*/ 393 w 10000"/>
              <a:gd name="connsiteY96" fmla="*/ 3566 h 10000"/>
              <a:gd name="connsiteX97" fmla="*/ 315 w 10000"/>
              <a:gd name="connsiteY97" fmla="*/ 3488 h 10000"/>
              <a:gd name="connsiteX98" fmla="*/ 235 w 10000"/>
              <a:gd name="connsiteY98" fmla="*/ 3566 h 10000"/>
              <a:gd name="connsiteX99" fmla="*/ 235 w 10000"/>
              <a:gd name="connsiteY99" fmla="*/ 3644 h 10000"/>
              <a:gd name="connsiteX100" fmla="*/ 197 w 10000"/>
              <a:gd name="connsiteY100" fmla="*/ 3644 h 10000"/>
              <a:gd name="connsiteX101" fmla="*/ 118 w 10000"/>
              <a:gd name="connsiteY101" fmla="*/ 3799 h 10000"/>
              <a:gd name="connsiteX102" fmla="*/ 118 w 10000"/>
              <a:gd name="connsiteY102" fmla="*/ 4031 h 10000"/>
              <a:gd name="connsiteX103" fmla="*/ 197 w 10000"/>
              <a:gd name="connsiteY103" fmla="*/ 4186 h 10000"/>
              <a:gd name="connsiteX104" fmla="*/ 157 w 10000"/>
              <a:gd name="connsiteY104" fmla="*/ 4418 h 10000"/>
              <a:gd name="connsiteX105" fmla="*/ 197 w 10000"/>
              <a:gd name="connsiteY105" fmla="*/ 4807 h 10000"/>
              <a:gd name="connsiteX106" fmla="*/ 157 w 10000"/>
              <a:gd name="connsiteY106" fmla="*/ 5039 h 10000"/>
              <a:gd name="connsiteX107" fmla="*/ 235 w 10000"/>
              <a:gd name="connsiteY107" fmla="*/ 5271 h 10000"/>
              <a:gd name="connsiteX108" fmla="*/ 197 w 10000"/>
              <a:gd name="connsiteY108" fmla="*/ 5426 h 10000"/>
              <a:gd name="connsiteX109" fmla="*/ 276 w 10000"/>
              <a:gd name="connsiteY109" fmla="*/ 5582 h 10000"/>
              <a:gd name="connsiteX110" fmla="*/ 276 w 10000"/>
              <a:gd name="connsiteY110" fmla="*/ 5659 h 10000"/>
              <a:gd name="connsiteX111" fmla="*/ 157 w 10000"/>
              <a:gd name="connsiteY111" fmla="*/ 6047 h 10000"/>
              <a:gd name="connsiteX112" fmla="*/ 39 w 10000"/>
              <a:gd name="connsiteY112" fmla="*/ 6202 h 10000"/>
              <a:gd name="connsiteX113" fmla="*/ 78 w 10000"/>
              <a:gd name="connsiteY113" fmla="*/ 6202 h 10000"/>
              <a:gd name="connsiteX114" fmla="*/ 157 w 10000"/>
              <a:gd name="connsiteY114" fmla="*/ 6356 h 10000"/>
              <a:gd name="connsiteX115" fmla="*/ 78 w 10000"/>
              <a:gd name="connsiteY115" fmla="*/ 6512 h 10000"/>
              <a:gd name="connsiteX116" fmla="*/ 39 w 10000"/>
              <a:gd name="connsiteY116" fmla="*/ 6590 h 10000"/>
              <a:gd name="connsiteX117" fmla="*/ 0 w 10000"/>
              <a:gd name="connsiteY117" fmla="*/ 6590 h 10000"/>
              <a:gd name="connsiteX118" fmla="*/ 39 w 10000"/>
              <a:gd name="connsiteY118" fmla="*/ 6822 h 10000"/>
              <a:gd name="connsiteX119" fmla="*/ 39 w 10000"/>
              <a:gd name="connsiteY119" fmla="*/ 6900 h 10000"/>
              <a:gd name="connsiteX120" fmla="*/ 39 w 10000"/>
              <a:gd name="connsiteY120" fmla="*/ 6977 h 10000"/>
              <a:gd name="connsiteX121" fmla="*/ 39 w 10000"/>
              <a:gd name="connsiteY121" fmla="*/ 7054 h 10000"/>
              <a:gd name="connsiteX122" fmla="*/ 78 w 10000"/>
              <a:gd name="connsiteY122" fmla="*/ 7209 h 10000"/>
              <a:gd name="connsiteX123" fmla="*/ 197 w 10000"/>
              <a:gd name="connsiteY123" fmla="*/ 7287 h 10000"/>
              <a:gd name="connsiteX124" fmla="*/ 235 w 10000"/>
              <a:gd name="connsiteY124" fmla="*/ 7364 h 10000"/>
              <a:gd name="connsiteX125" fmla="*/ 235 w 10000"/>
              <a:gd name="connsiteY125" fmla="*/ 7520 h 10000"/>
              <a:gd name="connsiteX126" fmla="*/ 315 w 10000"/>
              <a:gd name="connsiteY126" fmla="*/ 7752 h 10000"/>
              <a:gd name="connsiteX127" fmla="*/ 355 w 10000"/>
              <a:gd name="connsiteY127" fmla="*/ 7752 h 10000"/>
              <a:gd name="connsiteX128" fmla="*/ 315 w 10000"/>
              <a:gd name="connsiteY128" fmla="*/ 7907 h 10000"/>
              <a:gd name="connsiteX129" fmla="*/ 276 w 10000"/>
              <a:gd name="connsiteY129" fmla="*/ 7830 h 10000"/>
              <a:gd name="connsiteX130" fmla="*/ 276 w 10000"/>
              <a:gd name="connsiteY130" fmla="*/ 7907 h 10000"/>
              <a:gd name="connsiteX131" fmla="*/ 315 w 10000"/>
              <a:gd name="connsiteY131" fmla="*/ 8062 h 10000"/>
              <a:gd name="connsiteX132" fmla="*/ 432 w 10000"/>
              <a:gd name="connsiteY132" fmla="*/ 8062 h 10000"/>
              <a:gd name="connsiteX133" fmla="*/ 473 w 10000"/>
              <a:gd name="connsiteY133" fmla="*/ 8140 h 10000"/>
              <a:gd name="connsiteX134" fmla="*/ 432 w 10000"/>
              <a:gd name="connsiteY134" fmla="*/ 8140 h 10000"/>
              <a:gd name="connsiteX135" fmla="*/ 473 w 10000"/>
              <a:gd name="connsiteY135" fmla="*/ 8217 h 10000"/>
              <a:gd name="connsiteX136" fmla="*/ 512 w 10000"/>
              <a:gd name="connsiteY136" fmla="*/ 8217 h 10000"/>
              <a:gd name="connsiteX137" fmla="*/ 550 w 10000"/>
              <a:gd name="connsiteY137" fmla="*/ 8372 h 10000"/>
              <a:gd name="connsiteX138" fmla="*/ 590 w 10000"/>
              <a:gd name="connsiteY138" fmla="*/ 8449 h 10000"/>
              <a:gd name="connsiteX139" fmla="*/ 630 w 10000"/>
              <a:gd name="connsiteY139" fmla="*/ 8372 h 10000"/>
              <a:gd name="connsiteX140" fmla="*/ 828 w 10000"/>
              <a:gd name="connsiteY140" fmla="*/ 8605 h 10000"/>
              <a:gd name="connsiteX141" fmla="*/ 787 w 10000"/>
              <a:gd name="connsiteY141" fmla="*/ 8915 h 10000"/>
              <a:gd name="connsiteX142" fmla="*/ 747 w 10000"/>
              <a:gd name="connsiteY142" fmla="*/ 8838 h 10000"/>
              <a:gd name="connsiteX143" fmla="*/ 708 w 10000"/>
              <a:gd name="connsiteY143" fmla="*/ 8915 h 10000"/>
              <a:gd name="connsiteX144" fmla="*/ 708 w 10000"/>
              <a:gd name="connsiteY144" fmla="*/ 9070 h 10000"/>
              <a:gd name="connsiteX145" fmla="*/ 747 w 10000"/>
              <a:gd name="connsiteY145" fmla="*/ 8993 h 10000"/>
              <a:gd name="connsiteX146" fmla="*/ 787 w 10000"/>
              <a:gd name="connsiteY146" fmla="*/ 9070 h 10000"/>
              <a:gd name="connsiteX147" fmla="*/ 669 w 10000"/>
              <a:gd name="connsiteY147" fmla="*/ 9147 h 10000"/>
              <a:gd name="connsiteX148" fmla="*/ 708 w 10000"/>
              <a:gd name="connsiteY148" fmla="*/ 9225 h 10000"/>
              <a:gd name="connsiteX149" fmla="*/ 630 w 10000"/>
              <a:gd name="connsiteY149" fmla="*/ 9380 h 10000"/>
              <a:gd name="connsiteX150" fmla="*/ 590 w 10000"/>
              <a:gd name="connsiteY150" fmla="*/ 9380 h 10000"/>
              <a:gd name="connsiteX151" fmla="*/ 630 w 10000"/>
              <a:gd name="connsiteY151" fmla="*/ 9380 h 10000"/>
              <a:gd name="connsiteX152" fmla="*/ 787 w 10000"/>
              <a:gd name="connsiteY152" fmla="*/ 9691 h 10000"/>
              <a:gd name="connsiteX153" fmla="*/ 985 w 10000"/>
              <a:gd name="connsiteY153" fmla="*/ 9691 h 10000"/>
              <a:gd name="connsiteX154" fmla="*/ 1063 w 10000"/>
              <a:gd name="connsiteY154" fmla="*/ 9768 h 10000"/>
              <a:gd name="connsiteX155" fmla="*/ 1142 w 10000"/>
              <a:gd name="connsiteY155" fmla="*/ 9768 h 10000"/>
              <a:gd name="connsiteX156" fmla="*/ 1221 w 10000"/>
              <a:gd name="connsiteY156" fmla="*/ 9923 h 10000"/>
              <a:gd name="connsiteX157" fmla="*/ 1260 w 10000"/>
              <a:gd name="connsiteY157" fmla="*/ 10000 h 10000"/>
              <a:gd name="connsiteX158" fmla="*/ 1298 w 10000"/>
              <a:gd name="connsiteY158" fmla="*/ 10000 h 10000"/>
              <a:gd name="connsiteX159" fmla="*/ 1340 w 10000"/>
              <a:gd name="connsiteY159" fmla="*/ 9923 h 10000"/>
              <a:gd name="connsiteX160" fmla="*/ 1260 w 10000"/>
              <a:gd name="connsiteY160" fmla="*/ 9768 h 10000"/>
              <a:gd name="connsiteX161" fmla="*/ 1260 w 10000"/>
              <a:gd name="connsiteY161" fmla="*/ 9613 h 10000"/>
              <a:gd name="connsiteX162" fmla="*/ 1221 w 10000"/>
              <a:gd name="connsiteY162" fmla="*/ 9457 h 10000"/>
              <a:gd name="connsiteX163" fmla="*/ 1298 w 10000"/>
              <a:gd name="connsiteY163" fmla="*/ 9225 h 10000"/>
              <a:gd name="connsiteX164" fmla="*/ 1340 w 10000"/>
              <a:gd name="connsiteY164" fmla="*/ 9302 h 10000"/>
              <a:gd name="connsiteX165" fmla="*/ 1379 w 10000"/>
              <a:gd name="connsiteY165" fmla="*/ 9225 h 10000"/>
              <a:gd name="connsiteX166" fmla="*/ 1379 w 10000"/>
              <a:gd name="connsiteY166" fmla="*/ 9147 h 10000"/>
              <a:gd name="connsiteX167" fmla="*/ 1340 w 10000"/>
              <a:gd name="connsiteY167" fmla="*/ 9147 h 10000"/>
              <a:gd name="connsiteX168" fmla="*/ 1379 w 10000"/>
              <a:gd name="connsiteY168" fmla="*/ 9070 h 10000"/>
              <a:gd name="connsiteX169" fmla="*/ 1340 w 10000"/>
              <a:gd name="connsiteY169" fmla="*/ 8915 h 10000"/>
              <a:gd name="connsiteX170" fmla="*/ 1260 w 10000"/>
              <a:gd name="connsiteY170" fmla="*/ 8915 h 10000"/>
              <a:gd name="connsiteX171" fmla="*/ 1221 w 10000"/>
              <a:gd name="connsiteY171" fmla="*/ 8760 h 10000"/>
              <a:gd name="connsiteX172" fmla="*/ 1260 w 10000"/>
              <a:gd name="connsiteY172" fmla="*/ 8372 h 10000"/>
              <a:gd name="connsiteX173" fmla="*/ 1340 w 10000"/>
              <a:gd name="connsiteY173" fmla="*/ 8528 h 10000"/>
              <a:gd name="connsiteX174" fmla="*/ 1379 w 10000"/>
              <a:gd name="connsiteY174" fmla="*/ 8528 h 10000"/>
              <a:gd name="connsiteX175" fmla="*/ 1340 w 10000"/>
              <a:gd name="connsiteY175" fmla="*/ 8372 h 10000"/>
              <a:gd name="connsiteX176" fmla="*/ 1457 w 10000"/>
              <a:gd name="connsiteY176" fmla="*/ 8140 h 10000"/>
              <a:gd name="connsiteX177" fmla="*/ 1536 w 10000"/>
              <a:gd name="connsiteY177" fmla="*/ 8217 h 10000"/>
              <a:gd name="connsiteX178" fmla="*/ 1575 w 10000"/>
              <a:gd name="connsiteY178" fmla="*/ 8140 h 10000"/>
              <a:gd name="connsiteX179" fmla="*/ 1653 w 10000"/>
              <a:gd name="connsiteY179" fmla="*/ 8217 h 10000"/>
              <a:gd name="connsiteX180" fmla="*/ 1771 w 10000"/>
              <a:gd name="connsiteY180" fmla="*/ 8372 h 10000"/>
              <a:gd name="connsiteX181" fmla="*/ 1851 w 10000"/>
              <a:gd name="connsiteY181" fmla="*/ 8295 h 10000"/>
              <a:gd name="connsiteX182" fmla="*/ 1929 w 10000"/>
              <a:gd name="connsiteY182" fmla="*/ 8295 h 10000"/>
              <a:gd name="connsiteX183" fmla="*/ 1969 w 10000"/>
              <a:gd name="connsiteY183" fmla="*/ 8372 h 10000"/>
              <a:gd name="connsiteX184" fmla="*/ 2126 w 10000"/>
              <a:gd name="connsiteY184" fmla="*/ 8372 h 10000"/>
              <a:gd name="connsiteX185" fmla="*/ 2165 w 10000"/>
              <a:gd name="connsiteY185" fmla="*/ 8217 h 10000"/>
              <a:gd name="connsiteX186" fmla="*/ 2048 w 10000"/>
              <a:gd name="connsiteY186" fmla="*/ 8140 h 10000"/>
              <a:gd name="connsiteX187" fmla="*/ 2126 w 10000"/>
              <a:gd name="connsiteY187" fmla="*/ 8062 h 10000"/>
              <a:gd name="connsiteX188" fmla="*/ 2086 w 10000"/>
              <a:gd name="connsiteY188" fmla="*/ 7985 h 10000"/>
              <a:gd name="connsiteX189" fmla="*/ 2126 w 10000"/>
              <a:gd name="connsiteY189" fmla="*/ 7907 h 10000"/>
              <a:gd name="connsiteX190" fmla="*/ 2126 w 10000"/>
              <a:gd name="connsiteY190" fmla="*/ 7675 h 10000"/>
              <a:gd name="connsiteX191" fmla="*/ 2204 w 10000"/>
              <a:gd name="connsiteY191" fmla="*/ 7752 h 10000"/>
              <a:gd name="connsiteX192" fmla="*/ 2559 w 10000"/>
              <a:gd name="connsiteY192" fmla="*/ 7520 h 10000"/>
              <a:gd name="connsiteX193" fmla="*/ 2559 w 10000"/>
              <a:gd name="connsiteY193" fmla="*/ 7442 h 10000"/>
              <a:gd name="connsiteX194" fmla="*/ 2599 w 10000"/>
              <a:gd name="connsiteY194" fmla="*/ 7442 h 10000"/>
              <a:gd name="connsiteX195" fmla="*/ 2716 w 10000"/>
              <a:gd name="connsiteY195" fmla="*/ 7442 h 10000"/>
              <a:gd name="connsiteX196" fmla="*/ 2756 w 10000"/>
              <a:gd name="connsiteY196" fmla="*/ 7598 h 10000"/>
              <a:gd name="connsiteX197" fmla="*/ 2756 w 10000"/>
              <a:gd name="connsiteY197" fmla="*/ 7675 h 10000"/>
              <a:gd name="connsiteX198" fmla="*/ 2795 w 10000"/>
              <a:gd name="connsiteY198" fmla="*/ 7675 h 10000"/>
              <a:gd name="connsiteX199" fmla="*/ 2874 w 10000"/>
              <a:gd name="connsiteY199" fmla="*/ 7752 h 10000"/>
              <a:gd name="connsiteX200" fmla="*/ 2874 w 10000"/>
              <a:gd name="connsiteY200" fmla="*/ 7830 h 10000"/>
              <a:gd name="connsiteX201" fmla="*/ 2953 w 10000"/>
              <a:gd name="connsiteY201" fmla="*/ 7830 h 10000"/>
              <a:gd name="connsiteX202" fmla="*/ 3031 w 10000"/>
              <a:gd name="connsiteY202" fmla="*/ 7675 h 10000"/>
              <a:gd name="connsiteX203" fmla="*/ 3112 w 10000"/>
              <a:gd name="connsiteY203" fmla="*/ 7598 h 10000"/>
              <a:gd name="connsiteX204" fmla="*/ 3150 w 10000"/>
              <a:gd name="connsiteY204" fmla="*/ 7830 h 10000"/>
              <a:gd name="connsiteX205" fmla="*/ 3307 w 10000"/>
              <a:gd name="connsiteY205" fmla="*/ 8372 h 10000"/>
              <a:gd name="connsiteX206" fmla="*/ 3346 w 10000"/>
              <a:gd name="connsiteY206" fmla="*/ 8217 h 10000"/>
              <a:gd name="connsiteX207" fmla="*/ 3386 w 10000"/>
              <a:gd name="connsiteY207" fmla="*/ 8372 h 10000"/>
              <a:gd name="connsiteX208" fmla="*/ 3505 w 10000"/>
              <a:gd name="connsiteY208" fmla="*/ 8295 h 10000"/>
              <a:gd name="connsiteX209" fmla="*/ 3623 w 10000"/>
              <a:gd name="connsiteY209" fmla="*/ 8528 h 10000"/>
              <a:gd name="connsiteX210" fmla="*/ 3701 w 10000"/>
              <a:gd name="connsiteY210" fmla="*/ 8605 h 10000"/>
              <a:gd name="connsiteX211" fmla="*/ 3701 w 10000"/>
              <a:gd name="connsiteY211" fmla="*/ 8528 h 10000"/>
              <a:gd name="connsiteX212" fmla="*/ 3740 w 10000"/>
              <a:gd name="connsiteY212" fmla="*/ 8683 h 10000"/>
              <a:gd name="connsiteX213" fmla="*/ 3701 w 10000"/>
              <a:gd name="connsiteY213" fmla="*/ 8760 h 10000"/>
              <a:gd name="connsiteX214" fmla="*/ 3780 w 10000"/>
              <a:gd name="connsiteY214" fmla="*/ 8683 h 10000"/>
              <a:gd name="connsiteX215" fmla="*/ 3819 w 10000"/>
              <a:gd name="connsiteY215" fmla="*/ 8605 h 10000"/>
              <a:gd name="connsiteX216" fmla="*/ 4017 w 10000"/>
              <a:gd name="connsiteY216" fmla="*/ 8372 h 10000"/>
              <a:gd name="connsiteX217" fmla="*/ 4174 w 10000"/>
              <a:gd name="connsiteY217" fmla="*/ 8449 h 10000"/>
              <a:gd name="connsiteX218" fmla="*/ 4252 w 10000"/>
              <a:gd name="connsiteY218" fmla="*/ 8528 h 10000"/>
              <a:gd name="connsiteX219" fmla="*/ 4409 w 10000"/>
              <a:gd name="connsiteY219" fmla="*/ 8528 h 10000"/>
              <a:gd name="connsiteX220" fmla="*/ 4409 w 10000"/>
              <a:gd name="connsiteY220" fmla="*/ 8372 h 10000"/>
              <a:gd name="connsiteX221" fmla="*/ 4409 w 10000"/>
              <a:gd name="connsiteY221" fmla="*/ 8217 h 10000"/>
              <a:gd name="connsiteX222" fmla="*/ 4487 w 10000"/>
              <a:gd name="connsiteY222" fmla="*/ 8140 h 10000"/>
              <a:gd name="connsiteX223" fmla="*/ 4646 w 10000"/>
              <a:gd name="connsiteY223" fmla="*/ 8217 h 10000"/>
              <a:gd name="connsiteX224" fmla="*/ 4724 w 10000"/>
              <a:gd name="connsiteY224" fmla="*/ 8449 h 10000"/>
              <a:gd name="connsiteX225" fmla="*/ 4764 w 10000"/>
              <a:gd name="connsiteY225" fmla="*/ 8449 h 10000"/>
              <a:gd name="connsiteX226" fmla="*/ 4842 w 10000"/>
              <a:gd name="connsiteY226" fmla="*/ 8372 h 10000"/>
              <a:gd name="connsiteX227" fmla="*/ 5080 w 10000"/>
              <a:gd name="connsiteY227" fmla="*/ 8605 h 10000"/>
              <a:gd name="connsiteX228" fmla="*/ 5198 w 10000"/>
              <a:gd name="connsiteY228" fmla="*/ 8683 h 10000"/>
              <a:gd name="connsiteX229" fmla="*/ 5355 w 10000"/>
              <a:gd name="connsiteY229" fmla="*/ 8605 h 10000"/>
              <a:gd name="connsiteX230" fmla="*/ 5433 w 10000"/>
              <a:gd name="connsiteY230" fmla="*/ 8449 h 10000"/>
              <a:gd name="connsiteX231" fmla="*/ 5551 w 10000"/>
              <a:gd name="connsiteY231" fmla="*/ 8528 h 10000"/>
              <a:gd name="connsiteX232" fmla="*/ 5630 w 10000"/>
              <a:gd name="connsiteY232" fmla="*/ 8605 h 10000"/>
              <a:gd name="connsiteX233" fmla="*/ 6968 w 10000"/>
              <a:gd name="connsiteY233" fmla="*/ 7675 h 10000"/>
              <a:gd name="connsiteX234" fmla="*/ 6890 w 10000"/>
              <a:gd name="connsiteY234" fmla="*/ 7675 h 10000"/>
              <a:gd name="connsiteX235" fmla="*/ 6850 w 10000"/>
              <a:gd name="connsiteY235" fmla="*/ 7675 h 10000"/>
              <a:gd name="connsiteX236" fmla="*/ 6811 w 10000"/>
              <a:gd name="connsiteY236" fmla="*/ 7598 h 10000"/>
              <a:gd name="connsiteX237" fmla="*/ 6733 w 10000"/>
              <a:gd name="connsiteY237" fmla="*/ 7598 h 10000"/>
              <a:gd name="connsiteX238" fmla="*/ 6733 w 10000"/>
              <a:gd name="connsiteY238" fmla="*/ 7520 h 10000"/>
              <a:gd name="connsiteX239" fmla="*/ 6850 w 10000"/>
              <a:gd name="connsiteY239" fmla="*/ 7287 h 10000"/>
              <a:gd name="connsiteX240" fmla="*/ 7206 w 10000"/>
              <a:gd name="connsiteY240" fmla="*/ 6590 h 10000"/>
              <a:gd name="connsiteX241" fmla="*/ 7363 w 10000"/>
              <a:gd name="connsiteY241" fmla="*/ 6512 h 10000"/>
              <a:gd name="connsiteX242" fmla="*/ 7402 w 10000"/>
              <a:gd name="connsiteY242" fmla="*/ 6590 h 10000"/>
              <a:gd name="connsiteX243" fmla="*/ 7442 w 10000"/>
              <a:gd name="connsiteY243" fmla="*/ 6512 h 10000"/>
              <a:gd name="connsiteX244" fmla="*/ 7559 w 10000"/>
              <a:gd name="connsiteY244" fmla="*/ 6590 h 10000"/>
              <a:gd name="connsiteX245" fmla="*/ 7599 w 10000"/>
              <a:gd name="connsiteY245" fmla="*/ 6434 h 10000"/>
              <a:gd name="connsiteX246" fmla="*/ 7717 w 10000"/>
              <a:gd name="connsiteY246" fmla="*/ 6512 h 10000"/>
              <a:gd name="connsiteX247" fmla="*/ 7757 w 10000"/>
              <a:gd name="connsiteY247" fmla="*/ 6512 h 10000"/>
              <a:gd name="connsiteX248" fmla="*/ 7717 w 10000"/>
              <a:gd name="connsiteY248" fmla="*/ 6590 h 10000"/>
              <a:gd name="connsiteX249" fmla="*/ 7717 w 10000"/>
              <a:gd name="connsiteY249" fmla="*/ 6667 h 10000"/>
              <a:gd name="connsiteX250" fmla="*/ 7954 w 10000"/>
              <a:gd name="connsiteY250" fmla="*/ 6590 h 10000"/>
              <a:gd name="connsiteX251" fmla="*/ 7914 w 10000"/>
              <a:gd name="connsiteY251" fmla="*/ 6512 h 10000"/>
              <a:gd name="connsiteX252" fmla="*/ 8071 w 10000"/>
              <a:gd name="connsiteY252" fmla="*/ 5969 h 10000"/>
              <a:gd name="connsiteX253" fmla="*/ 8268 w 10000"/>
              <a:gd name="connsiteY253" fmla="*/ 5892 h 10000"/>
              <a:gd name="connsiteX254" fmla="*/ 8268 w 10000"/>
              <a:gd name="connsiteY254" fmla="*/ 6047 h 10000"/>
              <a:gd name="connsiteX255" fmla="*/ 8268 w 10000"/>
              <a:gd name="connsiteY255" fmla="*/ 6202 h 10000"/>
              <a:gd name="connsiteX256" fmla="*/ 8465 w 10000"/>
              <a:gd name="connsiteY256" fmla="*/ 5969 h 10000"/>
              <a:gd name="connsiteX257" fmla="*/ 8465 w 10000"/>
              <a:gd name="connsiteY257" fmla="*/ 5737 h 10000"/>
              <a:gd name="connsiteX258" fmla="*/ 8543 w 10000"/>
              <a:gd name="connsiteY258" fmla="*/ 5737 h 10000"/>
              <a:gd name="connsiteX259" fmla="*/ 8504 w 10000"/>
              <a:gd name="connsiteY259" fmla="*/ 5814 h 10000"/>
              <a:gd name="connsiteX260" fmla="*/ 8465 w 10000"/>
              <a:gd name="connsiteY260" fmla="*/ 6202 h 10000"/>
              <a:gd name="connsiteX261" fmla="*/ 8386 w 10000"/>
              <a:gd name="connsiteY261" fmla="*/ 6279 h 10000"/>
              <a:gd name="connsiteX262" fmla="*/ 8465 w 10000"/>
              <a:gd name="connsiteY262" fmla="*/ 6590 h 10000"/>
              <a:gd name="connsiteX263" fmla="*/ 8465 w 10000"/>
              <a:gd name="connsiteY263" fmla="*/ 6434 h 10000"/>
              <a:gd name="connsiteX264" fmla="*/ 8543 w 10000"/>
              <a:gd name="connsiteY264" fmla="*/ 6434 h 10000"/>
              <a:gd name="connsiteX265" fmla="*/ 8661 w 10000"/>
              <a:gd name="connsiteY265" fmla="*/ 6279 h 10000"/>
              <a:gd name="connsiteX266" fmla="*/ 8661 w 10000"/>
              <a:gd name="connsiteY266" fmla="*/ 6434 h 10000"/>
              <a:gd name="connsiteX267" fmla="*/ 8701 w 10000"/>
              <a:gd name="connsiteY267" fmla="*/ 6356 h 10000"/>
              <a:gd name="connsiteX268" fmla="*/ 8820 w 10000"/>
              <a:gd name="connsiteY268" fmla="*/ 6279 h 10000"/>
              <a:gd name="connsiteX269" fmla="*/ 8897 w 10000"/>
              <a:gd name="connsiteY269" fmla="*/ 6434 h 10000"/>
              <a:gd name="connsiteX270" fmla="*/ 8937 w 10000"/>
              <a:gd name="connsiteY270" fmla="*/ 6279 h 10000"/>
              <a:gd name="connsiteX271" fmla="*/ 9333 w 10000"/>
              <a:gd name="connsiteY271" fmla="*/ 5737 h 10000"/>
              <a:gd name="connsiteX272" fmla="*/ 9450 w 10000"/>
              <a:gd name="connsiteY272" fmla="*/ 5814 h 10000"/>
              <a:gd name="connsiteX273" fmla="*/ 9489 w 10000"/>
              <a:gd name="connsiteY273" fmla="*/ 5737 h 10000"/>
              <a:gd name="connsiteX274" fmla="*/ 9410 w 10000"/>
              <a:gd name="connsiteY274" fmla="*/ 5271 h 10000"/>
              <a:gd name="connsiteX275" fmla="*/ 9371 w 10000"/>
              <a:gd name="connsiteY275" fmla="*/ 5271 h 10000"/>
              <a:gd name="connsiteX276" fmla="*/ 9371 w 10000"/>
              <a:gd name="connsiteY276" fmla="*/ 5116 h 10000"/>
              <a:gd name="connsiteX277" fmla="*/ 9410 w 10000"/>
              <a:gd name="connsiteY277" fmla="*/ 5116 h 10000"/>
              <a:gd name="connsiteX278" fmla="*/ 9489 w 10000"/>
              <a:gd name="connsiteY278" fmla="*/ 5039 h 10000"/>
              <a:gd name="connsiteX279" fmla="*/ 9568 w 10000"/>
              <a:gd name="connsiteY279" fmla="*/ 4884 h 10000"/>
              <a:gd name="connsiteX280" fmla="*/ 9528 w 10000"/>
              <a:gd name="connsiteY280" fmla="*/ 4729 h 10000"/>
              <a:gd name="connsiteX281" fmla="*/ 9568 w 10000"/>
              <a:gd name="connsiteY281" fmla="*/ 4652 h 10000"/>
              <a:gd name="connsiteX282" fmla="*/ 9607 w 10000"/>
              <a:gd name="connsiteY282" fmla="*/ 4884 h 10000"/>
              <a:gd name="connsiteX283" fmla="*/ 9686 w 10000"/>
              <a:gd name="connsiteY283" fmla="*/ 4884 h 10000"/>
              <a:gd name="connsiteX284" fmla="*/ 9764 w 10000"/>
              <a:gd name="connsiteY284" fmla="*/ 5039 h 10000"/>
              <a:gd name="connsiteX285" fmla="*/ 9961 w 10000"/>
              <a:gd name="connsiteY285" fmla="*/ 5271 h 10000"/>
              <a:gd name="connsiteX286" fmla="*/ 10000 w 10000"/>
              <a:gd name="connsiteY286" fmla="*/ 5039 h 10000"/>
              <a:gd name="connsiteX287" fmla="*/ 9489 w 10000"/>
              <a:gd name="connsiteY287" fmla="*/ 3799 h 10000"/>
              <a:gd name="connsiteX288" fmla="*/ 9252 w 10000"/>
              <a:gd name="connsiteY288" fmla="*/ 3488 h 10000"/>
              <a:gd name="connsiteX289" fmla="*/ 8937 w 10000"/>
              <a:gd name="connsiteY289" fmla="*/ 3411 h 10000"/>
              <a:gd name="connsiteX290" fmla="*/ 8937 w 10000"/>
              <a:gd name="connsiteY290" fmla="*/ 3799 h 10000"/>
              <a:gd name="connsiteX291" fmla="*/ 8859 w 10000"/>
              <a:gd name="connsiteY291" fmla="*/ 3876 h 10000"/>
              <a:gd name="connsiteX292" fmla="*/ 8779 w 10000"/>
              <a:gd name="connsiteY292" fmla="*/ 3721 h 10000"/>
              <a:gd name="connsiteX293" fmla="*/ 8779 w 10000"/>
              <a:gd name="connsiteY293" fmla="*/ 3566 h 10000"/>
              <a:gd name="connsiteX294" fmla="*/ 8820 w 10000"/>
              <a:gd name="connsiteY294" fmla="*/ 3566 h 10000"/>
              <a:gd name="connsiteX295" fmla="*/ 8859 w 10000"/>
              <a:gd name="connsiteY295" fmla="*/ 3488 h 10000"/>
              <a:gd name="connsiteX296" fmla="*/ 8779 w 10000"/>
              <a:gd name="connsiteY296" fmla="*/ 3488 h 10000"/>
              <a:gd name="connsiteX297" fmla="*/ 8701 w 10000"/>
              <a:gd name="connsiteY297" fmla="*/ 3644 h 10000"/>
              <a:gd name="connsiteX298" fmla="*/ 8504 w 10000"/>
              <a:gd name="connsiteY298" fmla="*/ 3566 h 10000"/>
              <a:gd name="connsiteX299" fmla="*/ 8308 w 10000"/>
              <a:gd name="connsiteY299" fmla="*/ 3566 h 10000"/>
              <a:gd name="connsiteX300" fmla="*/ 8229 w 10000"/>
              <a:gd name="connsiteY300" fmla="*/ 3488 h 10000"/>
              <a:gd name="connsiteX301" fmla="*/ 8268 w 10000"/>
              <a:gd name="connsiteY301" fmla="*/ 3333 h 10000"/>
              <a:gd name="connsiteX302" fmla="*/ 8189 w 10000"/>
              <a:gd name="connsiteY302" fmla="*/ 3101 h 10000"/>
              <a:gd name="connsiteX303" fmla="*/ 8031 w 10000"/>
              <a:gd name="connsiteY303" fmla="*/ 3023 h 10000"/>
              <a:gd name="connsiteX304" fmla="*/ 7797 w 10000"/>
              <a:gd name="connsiteY304" fmla="*/ 3178 h 10000"/>
              <a:gd name="connsiteX305" fmla="*/ 7757 w 10000"/>
              <a:gd name="connsiteY305" fmla="*/ 2946 h 10000"/>
              <a:gd name="connsiteX306" fmla="*/ 7677 w 10000"/>
              <a:gd name="connsiteY306" fmla="*/ 2946 h 10000"/>
              <a:gd name="connsiteX307" fmla="*/ 7638 w 10000"/>
              <a:gd name="connsiteY307" fmla="*/ 2868 h 10000"/>
              <a:gd name="connsiteX308" fmla="*/ 7638 w 10000"/>
              <a:gd name="connsiteY308" fmla="*/ 2636 h 10000"/>
              <a:gd name="connsiteX309" fmla="*/ 7363 w 10000"/>
              <a:gd name="connsiteY309" fmla="*/ 2480 h 10000"/>
              <a:gd name="connsiteX310" fmla="*/ 7047 w 10000"/>
              <a:gd name="connsiteY310" fmla="*/ 2325 h 10000"/>
              <a:gd name="connsiteX311" fmla="*/ 6968 w 10000"/>
              <a:gd name="connsiteY311" fmla="*/ 2636 h 10000"/>
              <a:gd name="connsiteX312" fmla="*/ 7047 w 10000"/>
              <a:gd name="connsiteY312" fmla="*/ 2868 h 10000"/>
              <a:gd name="connsiteX313" fmla="*/ 6811 w 10000"/>
              <a:gd name="connsiteY313" fmla="*/ 2868 h 10000"/>
              <a:gd name="connsiteX314" fmla="*/ 6771 w 10000"/>
              <a:gd name="connsiteY314" fmla="*/ 2868 h 10000"/>
              <a:gd name="connsiteX315" fmla="*/ 6693 w 10000"/>
              <a:gd name="connsiteY315" fmla="*/ 2946 h 10000"/>
              <a:gd name="connsiteX316" fmla="*/ 6575 w 10000"/>
              <a:gd name="connsiteY316" fmla="*/ 2714 h 10000"/>
              <a:gd name="connsiteX317" fmla="*/ 6495 w 10000"/>
              <a:gd name="connsiteY317" fmla="*/ 3178 h 10000"/>
              <a:gd name="connsiteX318" fmla="*/ 6418 w 10000"/>
              <a:gd name="connsiteY318" fmla="*/ 3101 h 10000"/>
              <a:gd name="connsiteX319" fmla="*/ 6338 w 10000"/>
              <a:gd name="connsiteY319" fmla="*/ 2791 h 10000"/>
              <a:gd name="connsiteX320" fmla="*/ 6378 w 10000"/>
              <a:gd name="connsiteY320" fmla="*/ 2403 h 10000"/>
              <a:gd name="connsiteX321" fmla="*/ 6300 w 10000"/>
              <a:gd name="connsiteY321" fmla="*/ 2170 h 10000"/>
              <a:gd name="connsiteX322" fmla="*/ 6063 w 10000"/>
              <a:gd name="connsiteY322" fmla="*/ 2016 h 10000"/>
              <a:gd name="connsiteX323" fmla="*/ 5984 w 10000"/>
              <a:gd name="connsiteY323" fmla="*/ 2016 h 10000"/>
              <a:gd name="connsiteX324" fmla="*/ 5945 w 10000"/>
              <a:gd name="connsiteY324" fmla="*/ 2170 h 10000"/>
              <a:gd name="connsiteX325" fmla="*/ 5984 w 10000"/>
              <a:gd name="connsiteY325" fmla="*/ 2325 h 10000"/>
              <a:gd name="connsiteX326" fmla="*/ 5671 w 10000"/>
              <a:gd name="connsiteY326" fmla="*/ 2248 h 10000"/>
              <a:gd name="connsiteX327" fmla="*/ 5709 w 10000"/>
              <a:gd name="connsiteY327" fmla="*/ 2016 h 10000"/>
              <a:gd name="connsiteX328" fmla="*/ 5513 w 10000"/>
              <a:gd name="connsiteY328" fmla="*/ 1938 h 10000"/>
              <a:gd name="connsiteX329" fmla="*/ 5395 w 10000"/>
              <a:gd name="connsiteY329" fmla="*/ 2093 h 10000"/>
              <a:gd name="connsiteX330" fmla="*/ 5159 w 10000"/>
              <a:gd name="connsiteY330" fmla="*/ 1861 h 10000"/>
              <a:gd name="connsiteX0" fmla="*/ 5159 w 9961"/>
              <a:gd name="connsiteY0" fmla="*/ 1861 h 10000"/>
              <a:gd name="connsiteX1" fmla="*/ 5159 w 9961"/>
              <a:gd name="connsiteY1" fmla="*/ 1861 h 10000"/>
              <a:gd name="connsiteX2" fmla="*/ 5118 w 9961"/>
              <a:gd name="connsiteY2" fmla="*/ 1938 h 10000"/>
              <a:gd name="connsiteX3" fmla="*/ 5159 w 9961"/>
              <a:gd name="connsiteY3" fmla="*/ 2093 h 10000"/>
              <a:gd name="connsiteX4" fmla="*/ 4999 w 9961"/>
              <a:gd name="connsiteY4" fmla="*/ 2248 h 10000"/>
              <a:gd name="connsiteX5" fmla="*/ 4959 w 9961"/>
              <a:gd name="connsiteY5" fmla="*/ 2248 h 10000"/>
              <a:gd name="connsiteX6" fmla="*/ 4999 w 9961"/>
              <a:gd name="connsiteY6" fmla="*/ 2016 h 10000"/>
              <a:gd name="connsiteX7" fmla="*/ 5395 w 9961"/>
              <a:gd name="connsiteY7" fmla="*/ 1318 h 10000"/>
              <a:gd name="connsiteX8" fmla="*/ 5395 w 9961"/>
              <a:gd name="connsiteY8" fmla="*/ 853 h 10000"/>
              <a:gd name="connsiteX9" fmla="*/ 5237 w 9961"/>
              <a:gd name="connsiteY9" fmla="*/ 543 h 10000"/>
              <a:gd name="connsiteX10" fmla="*/ 5039 w 9961"/>
              <a:gd name="connsiteY10" fmla="*/ 543 h 10000"/>
              <a:gd name="connsiteX11" fmla="*/ 5039 w 9961"/>
              <a:gd name="connsiteY11" fmla="*/ 698 h 10000"/>
              <a:gd name="connsiteX12" fmla="*/ 4921 w 9961"/>
              <a:gd name="connsiteY12" fmla="*/ 698 h 10000"/>
              <a:gd name="connsiteX13" fmla="*/ 4999 w 9961"/>
              <a:gd name="connsiteY13" fmla="*/ 387 h 10000"/>
              <a:gd name="connsiteX14" fmla="*/ 4803 w 9961"/>
              <a:gd name="connsiteY14" fmla="*/ 310 h 10000"/>
              <a:gd name="connsiteX15" fmla="*/ 4921 w 9961"/>
              <a:gd name="connsiteY15" fmla="*/ 155 h 10000"/>
              <a:gd name="connsiteX16" fmla="*/ 4803 w 9961"/>
              <a:gd name="connsiteY16" fmla="*/ 0 h 10000"/>
              <a:gd name="connsiteX17" fmla="*/ 4606 w 9961"/>
              <a:gd name="connsiteY17" fmla="*/ 387 h 10000"/>
              <a:gd name="connsiteX18" fmla="*/ 4606 w 9961"/>
              <a:gd name="connsiteY18" fmla="*/ 698 h 10000"/>
              <a:gd name="connsiteX19" fmla="*/ 4487 w 9961"/>
              <a:gd name="connsiteY19" fmla="*/ 698 h 10000"/>
              <a:gd name="connsiteX20" fmla="*/ 4135 w 9961"/>
              <a:gd name="connsiteY20" fmla="*/ 853 h 10000"/>
              <a:gd name="connsiteX21" fmla="*/ 3819 w 9961"/>
              <a:gd name="connsiteY21" fmla="*/ 1240 h 10000"/>
              <a:gd name="connsiteX22" fmla="*/ 3701 w 9961"/>
              <a:gd name="connsiteY22" fmla="*/ 1551 h 10000"/>
              <a:gd name="connsiteX23" fmla="*/ 3740 w 9961"/>
              <a:gd name="connsiteY23" fmla="*/ 1938 h 10000"/>
              <a:gd name="connsiteX24" fmla="*/ 3307 w 9961"/>
              <a:gd name="connsiteY24" fmla="*/ 2093 h 10000"/>
              <a:gd name="connsiteX25" fmla="*/ 3346 w 9961"/>
              <a:gd name="connsiteY25" fmla="*/ 2559 h 10000"/>
              <a:gd name="connsiteX26" fmla="*/ 3465 w 9961"/>
              <a:gd name="connsiteY26" fmla="*/ 2791 h 10000"/>
              <a:gd name="connsiteX27" fmla="*/ 3386 w 9961"/>
              <a:gd name="connsiteY27" fmla="*/ 2868 h 10000"/>
              <a:gd name="connsiteX28" fmla="*/ 3268 w 9961"/>
              <a:gd name="connsiteY28" fmla="*/ 2559 h 10000"/>
              <a:gd name="connsiteX29" fmla="*/ 3150 w 9961"/>
              <a:gd name="connsiteY29" fmla="*/ 2480 h 10000"/>
              <a:gd name="connsiteX30" fmla="*/ 3112 w 9961"/>
              <a:gd name="connsiteY30" fmla="*/ 2559 h 10000"/>
              <a:gd name="connsiteX31" fmla="*/ 3031 w 9961"/>
              <a:gd name="connsiteY31" fmla="*/ 2403 h 10000"/>
              <a:gd name="connsiteX32" fmla="*/ 2953 w 9961"/>
              <a:gd name="connsiteY32" fmla="*/ 2248 h 10000"/>
              <a:gd name="connsiteX33" fmla="*/ 2953 w 9961"/>
              <a:gd name="connsiteY33" fmla="*/ 2325 h 10000"/>
              <a:gd name="connsiteX34" fmla="*/ 2992 w 9961"/>
              <a:gd name="connsiteY34" fmla="*/ 2559 h 10000"/>
              <a:gd name="connsiteX35" fmla="*/ 2874 w 9961"/>
              <a:gd name="connsiteY35" fmla="*/ 2946 h 10000"/>
              <a:gd name="connsiteX36" fmla="*/ 2953 w 9961"/>
              <a:gd name="connsiteY36" fmla="*/ 3256 h 10000"/>
              <a:gd name="connsiteX37" fmla="*/ 2913 w 9961"/>
              <a:gd name="connsiteY37" fmla="*/ 3566 h 10000"/>
              <a:gd name="connsiteX38" fmla="*/ 2913 w 9961"/>
              <a:gd name="connsiteY38" fmla="*/ 3799 h 10000"/>
              <a:gd name="connsiteX39" fmla="*/ 3031 w 9961"/>
              <a:gd name="connsiteY39" fmla="*/ 3799 h 10000"/>
              <a:gd name="connsiteX40" fmla="*/ 2953 w 9961"/>
              <a:gd name="connsiteY40" fmla="*/ 3876 h 10000"/>
              <a:gd name="connsiteX41" fmla="*/ 2992 w 9961"/>
              <a:gd name="connsiteY41" fmla="*/ 4263 h 10000"/>
              <a:gd name="connsiteX42" fmla="*/ 2756 w 9961"/>
              <a:gd name="connsiteY42" fmla="*/ 4652 h 10000"/>
              <a:gd name="connsiteX43" fmla="*/ 2716 w 9961"/>
              <a:gd name="connsiteY43" fmla="*/ 4574 h 10000"/>
              <a:gd name="connsiteX44" fmla="*/ 2874 w 9961"/>
              <a:gd name="connsiteY44" fmla="*/ 4186 h 10000"/>
              <a:gd name="connsiteX45" fmla="*/ 2913 w 9961"/>
              <a:gd name="connsiteY45" fmla="*/ 3954 h 10000"/>
              <a:gd name="connsiteX46" fmla="*/ 2833 w 9961"/>
              <a:gd name="connsiteY46" fmla="*/ 3799 h 10000"/>
              <a:gd name="connsiteX47" fmla="*/ 2833 w 9961"/>
              <a:gd name="connsiteY47" fmla="*/ 3023 h 10000"/>
              <a:gd name="connsiteX48" fmla="*/ 2795 w 9961"/>
              <a:gd name="connsiteY48" fmla="*/ 2868 h 10000"/>
              <a:gd name="connsiteX49" fmla="*/ 2833 w 9961"/>
              <a:gd name="connsiteY49" fmla="*/ 2403 h 10000"/>
              <a:gd name="connsiteX50" fmla="*/ 2756 w 9961"/>
              <a:gd name="connsiteY50" fmla="*/ 2325 h 10000"/>
              <a:gd name="connsiteX51" fmla="*/ 2795 w 9961"/>
              <a:gd name="connsiteY51" fmla="*/ 2248 h 10000"/>
              <a:gd name="connsiteX52" fmla="*/ 2756 w 9961"/>
              <a:gd name="connsiteY52" fmla="*/ 2093 h 10000"/>
              <a:gd name="connsiteX53" fmla="*/ 2676 w 9961"/>
              <a:gd name="connsiteY53" fmla="*/ 2170 h 10000"/>
              <a:gd name="connsiteX54" fmla="*/ 2481 w 9961"/>
              <a:gd name="connsiteY54" fmla="*/ 3178 h 10000"/>
              <a:gd name="connsiteX55" fmla="*/ 2481 w 9961"/>
              <a:gd name="connsiteY55" fmla="*/ 3566 h 10000"/>
              <a:gd name="connsiteX56" fmla="*/ 2599 w 9961"/>
              <a:gd name="connsiteY56" fmla="*/ 3876 h 10000"/>
              <a:gd name="connsiteX57" fmla="*/ 2599 w 9961"/>
              <a:gd name="connsiteY57" fmla="*/ 4031 h 10000"/>
              <a:gd name="connsiteX58" fmla="*/ 2481 w 9961"/>
              <a:gd name="connsiteY58" fmla="*/ 3876 h 10000"/>
              <a:gd name="connsiteX59" fmla="*/ 2009 w 9961"/>
              <a:gd name="connsiteY59" fmla="*/ 3256 h 10000"/>
              <a:gd name="connsiteX60" fmla="*/ 1969 w 9961"/>
              <a:gd name="connsiteY60" fmla="*/ 3411 h 10000"/>
              <a:gd name="connsiteX61" fmla="*/ 2126 w 9961"/>
              <a:gd name="connsiteY61" fmla="*/ 3799 h 10000"/>
              <a:gd name="connsiteX62" fmla="*/ 2048 w 9961"/>
              <a:gd name="connsiteY62" fmla="*/ 3876 h 10000"/>
              <a:gd name="connsiteX63" fmla="*/ 2009 w 9961"/>
              <a:gd name="connsiteY63" fmla="*/ 3799 h 10000"/>
              <a:gd name="connsiteX64" fmla="*/ 1771 w 9961"/>
              <a:gd name="connsiteY64" fmla="*/ 3954 h 10000"/>
              <a:gd name="connsiteX65" fmla="*/ 1733 w 9961"/>
              <a:gd name="connsiteY65" fmla="*/ 4109 h 10000"/>
              <a:gd name="connsiteX66" fmla="*/ 1693 w 9961"/>
              <a:gd name="connsiteY66" fmla="*/ 3954 h 10000"/>
              <a:gd name="connsiteX67" fmla="*/ 1693 w 9961"/>
              <a:gd name="connsiteY67" fmla="*/ 3799 h 10000"/>
              <a:gd name="connsiteX68" fmla="*/ 1298 w 9961"/>
              <a:gd name="connsiteY68" fmla="*/ 4263 h 10000"/>
              <a:gd name="connsiteX69" fmla="*/ 1298 w 9961"/>
              <a:gd name="connsiteY69" fmla="*/ 4418 h 10000"/>
              <a:gd name="connsiteX70" fmla="*/ 1221 w 9961"/>
              <a:gd name="connsiteY70" fmla="*/ 4496 h 10000"/>
              <a:gd name="connsiteX71" fmla="*/ 1103 w 9961"/>
              <a:gd name="connsiteY71" fmla="*/ 4341 h 10000"/>
              <a:gd name="connsiteX72" fmla="*/ 1221 w 9961"/>
              <a:gd name="connsiteY72" fmla="*/ 4186 h 10000"/>
              <a:gd name="connsiteX73" fmla="*/ 1181 w 9961"/>
              <a:gd name="connsiteY73" fmla="*/ 3954 h 10000"/>
              <a:gd name="connsiteX74" fmla="*/ 1024 w 9961"/>
              <a:gd name="connsiteY74" fmla="*/ 3876 h 10000"/>
              <a:gd name="connsiteX75" fmla="*/ 1063 w 9961"/>
              <a:gd name="connsiteY75" fmla="*/ 4031 h 10000"/>
              <a:gd name="connsiteX76" fmla="*/ 1063 w 9961"/>
              <a:gd name="connsiteY76" fmla="*/ 4418 h 10000"/>
              <a:gd name="connsiteX77" fmla="*/ 1103 w 9961"/>
              <a:gd name="connsiteY77" fmla="*/ 4574 h 10000"/>
              <a:gd name="connsiteX78" fmla="*/ 1063 w 9961"/>
              <a:gd name="connsiteY78" fmla="*/ 4729 h 10000"/>
              <a:gd name="connsiteX79" fmla="*/ 944 w 9961"/>
              <a:gd name="connsiteY79" fmla="*/ 4652 h 10000"/>
              <a:gd name="connsiteX80" fmla="*/ 787 w 9961"/>
              <a:gd name="connsiteY80" fmla="*/ 4884 h 10000"/>
              <a:gd name="connsiteX81" fmla="*/ 866 w 9961"/>
              <a:gd name="connsiteY81" fmla="*/ 5194 h 10000"/>
              <a:gd name="connsiteX82" fmla="*/ 630 w 9961"/>
              <a:gd name="connsiteY82" fmla="*/ 5039 h 10000"/>
              <a:gd name="connsiteX83" fmla="*/ 590 w 9961"/>
              <a:gd name="connsiteY83" fmla="*/ 5116 h 10000"/>
              <a:gd name="connsiteX84" fmla="*/ 669 w 9961"/>
              <a:gd name="connsiteY84" fmla="*/ 5349 h 10000"/>
              <a:gd name="connsiteX85" fmla="*/ 590 w 9961"/>
              <a:gd name="connsiteY85" fmla="*/ 5349 h 10000"/>
              <a:gd name="connsiteX86" fmla="*/ 473 w 9961"/>
              <a:gd name="connsiteY86" fmla="*/ 5194 h 10000"/>
              <a:gd name="connsiteX87" fmla="*/ 473 w 9961"/>
              <a:gd name="connsiteY87" fmla="*/ 4729 h 10000"/>
              <a:gd name="connsiteX88" fmla="*/ 355 w 9961"/>
              <a:gd name="connsiteY88" fmla="*/ 4574 h 10000"/>
              <a:gd name="connsiteX89" fmla="*/ 315 w 9961"/>
              <a:gd name="connsiteY89" fmla="*/ 4418 h 10000"/>
              <a:gd name="connsiteX90" fmla="*/ 393 w 9961"/>
              <a:gd name="connsiteY90" fmla="*/ 4496 h 10000"/>
              <a:gd name="connsiteX91" fmla="*/ 708 w 9961"/>
              <a:gd name="connsiteY91" fmla="*/ 4729 h 10000"/>
              <a:gd name="connsiteX92" fmla="*/ 905 w 9961"/>
              <a:gd name="connsiteY92" fmla="*/ 4496 h 10000"/>
              <a:gd name="connsiteX93" fmla="*/ 866 w 9961"/>
              <a:gd name="connsiteY93" fmla="*/ 4263 h 10000"/>
              <a:gd name="connsiteX94" fmla="*/ 630 w 9961"/>
              <a:gd name="connsiteY94" fmla="*/ 3799 h 10000"/>
              <a:gd name="connsiteX95" fmla="*/ 393 w 9961"/>
              <a:gd name="connsiteY95" fmla="*/ 3644 h 10000"/>
              <a:gd name="connsiteX96" fmla="*/ 393 w 9961"/>
              <a:gd name="connsiteY96" fmla="*/ 3566 h 10000"/>
              <a:gd name="connsiteX97" fmla="*/ 315 w 9961"/>
              <a:gd name="connsiteY97" fmla="*/ 3488 h 10000"/>
              <a:gd name="connsiteX98" fmla="*/ 235 w 9961"/>
              <a:gd name="connsiteY98" fmla="*/ 3566 h 10000"/>
              <a:gd name="connsiteX99" fmla="*/ 235 w 9961"/>
              <a:gd name="connsiteY99" fmla="*/ 3644 h 10000"/>
              <a:gd name="connsiteX100" fmla="*/ 197 w 9961"/>
              <a:gd name="connsiteY100" fmla="*/ 3644 h 10000"/>
              <a:gd name="connsiteX101" fmla="*/ 118 w 9961"/>
              <a:gd name="connsiteY101" fmla="*/ 3799 h 10000"/>
              <a:gd name="connsiteX102" fmla="*/ 118 w 9961"/>
              <a:gd name="connsiteY102" fmla="*/ 4031 h 10000"/>
              <a:gd name="connsiteX103" fmla="*/ 197 w 9961"/>
              <a:gd name="connsiteY103" fmla="*/ 4186 h 10000"/>
              <a:gd name="connsiteX104" fmla="*/ 157 w 9961"/>
              <a:gd name="connsiteY104" fmla="*/ 4418 h 10000"/>
              <a:gd name="connsiteX105" fmla="*/ 197 w 9961"/>
              <a:gd name="connsiteY105" fmla="*/ 4807 h 10000"/>
              <a:gd name="connsiteX106" fmla="*/ 157 w 9961"/>
              <a:gd name="connsiteY106" fmla="*/ 5039 h 10000"/>
              <a:gd name="connsiteX107" fmla="*/ 235 w 9961"/>
              <a:gd name="connsiteY107" fmla="*/ 5271 h 10000"/>
              <a:gd name="connsiteX108" fmla="*/ 197 w 9961"/>
              <a:gd name="connsiteY108" fmla="*/ 5426 h 10000"/>
              <a:gd name="connsiteX109" fmla="*/ 276 w 9961"/>
              <a:gd name="connsiteY109" fmla="*/ 5582 h 10000"/>
              <a:gd name="connsiteX110" fmla="*/ 276 w 9961"/>
              <a:gd name="connsiteY110" fmla="*/ 5659 h 10000"/>
              <a:gd name="connsiteX111" fmla="*/ 157 w 9961"/>
              <a:gd name="connsiteY111" fmla="*/ 6047 h 10000"/>
              <a:gd name="connsiteX112" fmla="*/ 39 w 9961"/>
              <a:gd name="connsiteY112" fmla="*/ 6202 h 10000"/>
              <a:gd name="connsiteX113" fmla="*/ 78 w 9961"/>
              <a:gd name="connsiteY113" fmla="*/ 6202 h 10000"/>
              <a:gd name="connsiteX114" fmla="*/ 157 w 9961"/>
              <a:gd name="connsiteY114" fmla="*/ 6356 h 10000"/>
              <a:gd name="connsiteX115" fmla="*/ 78 w 9961"/>
              <a:gd name="connsiteY115" fmla="*/ 6512 h 10000"/>
              <a:gd name="connsiteX116" fmla="*/ 39 w 9961"/>
              <a:gd name="connsiteY116" fmla="*/ 6590 h 10000"/>
              <a:gd name="connsiteX117" fmla="*/ 0 w 9961"/>
              <a:gd name="connsiteY117" fmla="*/ 6590 h 10000"/>
              <a:gd name="connsiteX118" fmla="*/ 39 w 9961"/>
              <a:gd name="connsiteY118" fmla="*/ 6822 h 10000"/>
              <a:gd name="connsiteX119" fmla="*/ 39 w 9961"/>
              <a:gd name="connsiteY119" fmla="*/ 6900 h 10000"/>
              <a:gd name="connsiteX120" fmla="*/ 39 w 9961"/>
              <a:gd name="connsiteY120" fmla="*/ 6977 h 10000"/>
              <a:gd name="connsiteX121" fmla="*/ 39 w 9961"/>
              <a:gd name="connsiteY121" fmla="*/ 7054 h 10000"/>
              <a:gd name="connsiteX122" fmla="*/ 78 w 9961"/>
              <a:gd name="connsiteY122" fmla="*/ 7209 h 10000"/>
              <a:gd name="connsiteX123" fmla="*/ 197 w 9961"/>
              <a:gd name="connsiteY123" fmla="*/ 7287 h 10000"/>
              <a:gd name="connsiteX124" fmla="*/ 235 w 9961"/>
              <a:gd name="connsiteY124" fmla="*/ 7364 h 10000"/>
              <a:gd name="connsiteX125" fmla="*/ 235 w 9961"/>
              <a:gd name="connsiteY125" fmla="*/ 7520 h 10000"/>
              <a:gd name="connsiteX126" fmla="*/ 315 w 9961"/>
              <a:gd name="connsiteY126" fmla="*/ 7752 h 10000"/>
              <a:gd name="connsiteX127" fmla="*/ 355 w 9961"/>
              <a:gd name="connsiteY127" fmla="*/ 7752 h 10000"/>
              <a:gd name="connsiteX128" fmla="*/ 315 w 9961"/>
              <a:gd name="connsiteY128" fmla="*/ 7907 h 10000"/>
              <a:gd name="connsiteX129" fmla="*/ 276 w 9961"/>
              <a:gd name="connsiteY129" fmla="*/ 7830 h 10000"/>
              <a:gd name="connsiteX130" fmla="*/ 276 w 9961"/>
              <a:gd name="connsiteY130" fmla="*/ 7907 h 10000"/>
              <a:gd name="connsiteX131" fmla="*/ 315 w 9961"/>
              <a:gd name="connsiteY131" fmla="*/ 8062 h 10000"/>
              <a:gd name="connsiteX132" fmla="*/ 432 w 9961"/>
              <a:gd name="connsiteY132" fmla="*/ 8062 h 10000"/>
              <a:gd name="connsiteX133" fmla="*/ 473 w 9961"/>
              <a:gd name="connsiteY133" fmla="*/ 8140 h 10000"/>
              <a:gd name="connsiteX134" fmla="*/ 432 w 9961"/>
              <a:gd name="connsiteY134" fmla="*/ 8140 h 10000"/>
              <a:gd name="connsiteX135" fmla="*/ 473 w 9961"/>
              <a:gd name="connsiteY135" fmla="*/ 8217 h 10000"/>
              <a:gd name="connsiteX136" fmla="*/ 512 w 9961"/>
              <a:gd name="connsiteY136" fmla="*/ 8217 h 10000"/>
              <a:gd name="connsiteX137" fmla="*/ 550 w 9961"/>
              <a:gd name="connsiteY137" fmla="*/ 8372 h 10000"/>
              <a:gd name="connsiteX138" fmla="*/ 590 w 9961"/>
              <a:gd name="connsiteY138" fmla="*/ 8449 h 10000"/>
              <a:gd name="connsiteX139" fmla="*/ 630 w 9961"/>
              <a:gd name="connsiteY139" fmla="*/ 8372 h 10000"/>
              <a:gd name="connsiteX140" fmla="*/ 828 w 9961"/>
              <a:gd name="connsiteY140" fmla="*/ 8605 h 10000"/>
              <a:gd name="connsiteX141" fmla="*/ 787 w 9961"/>
              <a:gd name="connsiteY141" fmla="*/ 8915 h 10000"/>
              <a:gd name="connsiteX142" fmla="*/ 747 w 9961"/>
              <a:gd name="connsiteY142" fmla="*/ 8838 h 10000"/>
              <a:gd name="connsiteX143" fmla="*/ 708 w 9961"/>
              <a:gd name="connsiteY143" fmla="*/ 8915 h 10000"/>
              <a:gd name="connsiteX144" fmla="*/ 708 w 9961"/>
              <a:gd name="connsiteY144" fmla="*/ 9070 h 10000"/>
              <a:gd name="connsiteX145" fmla="*/ 747 w 9961"/>
              <a:gd name="connsiteY145" fmla="*/ 8993 h 10000"/>
              <a:gd name="connsiteX146" fmla="*/ 787 w 9961"/>
              <a:gd name="connsiteY146" fmla="*/ 9070 h 10000"/>
              <a:gd name="connsiteX147" fmla="*/ 669 w 9961"/>
              <a:gd name="connsiteY147" fmla="*/ 9147 h 10000"/>
              <a:gd name="connsiteX148" fmla="*/ 708 w 9961"/>
              <a:gd name="connsiteY148" fmla="*/ 9225 h 10000"/>
              <a:gd name="connsiteX149" fmla="*/ 630 w 9961"/>
              <a:gd name="connsiteY149" fmla="*/ 9380 h 10000"/>
              <a:gd name="connsiteX150" fmla="*/ 590 w 9961"/>
              <a:gd name="connsiteY150" fmla="*/ 9380 h 10000"/>
              <a:gd name="connsiteX151" fmla="*/ 630 w 9961"/>
              <a:gd name="connsiteY151" fmla="*/ 9380 h 10000"/>
              <a:gd name="connsiteX152" fmla="*/ 787 w 9961"/>
              <a:gd name="connsiteY152" fmla="*/ 9691 h 10000"/>
              <a:gd name="connsiteX153" fmla="*/ 985 w 9961"/>
              <a:gd name="connsiteY153" fmla="*/ 9691 h 10000"/>
              <a:gd name="connsiteX154" fmla="*/ 1063 w 9961"/>
              <a:gd name="connsiteY154" fmla="*/ 9768 h 10000"/>
              <a:gd name="connsiteX155" fmla="*/ 1142 w 9961"/>
              <a:gd name="connsiteY155" fmla="*/ 9768 h 10000"/>
              <a:gd name="connsiteX156" fmla="*/ 1221 w 9961"/>
              <a:gd name="connsiteY156" fmla="*/ 9923 h 10000"/>
              <a:gd name="connsiteX157" fmla="*/ 1260 w 9961"/>
              <a:gd name="connsiteY157" fmla="*/ 10000 h 10000"/>
              <a:gd name="connsiteX158" fmla="*/ 1298 w 9961"/>
              <a:gd name="connsiteY158" fmla="*/ 10000 h 10000"/>
              <a:gd name="connsiteX159" fmla="*/ 1340 w 9961"/>
              <a:gd name="connsiteY159" fmla="*/ 9923 h 10000"/>
              <a:gd name="connsiteX160" fmla="*/ 1260 w 9961"/>
              <a:gd name="connsiteY160" fmla="*/ 9768 h 10000"/>
              <a:gd name="connsiteX161" fmla="*/ 1260 w 9961"/>
              <a:gd name="connsiteY161" fmla="*/ 9613 h 10000"/>
              <a:gd name="connsiteX162" fmla="*/ 1221 w 9961"/>
              <a:gd name="connsiteY162" fmla="*/ 9457 h 10000"/>
              <a:gd name="connsiteX163" fmla="*/ 1298 w 9961"/>
              <a:gd name="connsiteY163" fmla="*/ 9225 h 10000"/>
              <a:gd name="connsiteX164" fmla="*/ 1340 w 9961"/>
              <a:gd name="connsiteY164" fmla="*/ 9302 h 10000"/>
              <a:gd name="connsiteX165" fmla="*/ 1379 w 9961"/>
              <a:gd name="connsiteY165" fmla="*/ 9225 h 10000"/>
              <a:gd name="connsiteX166" fmla="*/ 1379 w 9961"/>
              <a:gd name="connsiteY166" fmla="*/ 9147 h 10000"/>
              <a:gd name="connsiteX167" fmla="*/ 1340 w 9961"/>
              <a:gd name="connsiteY167" fmla="*/ 9147 h 10000"/>
              <a:gd name="connsiteX168" fmla="*/ 1379 w 9961"/>
              <a:gd name="connsiteY168" fmla="*/ 9070 h 10000"/>
              <a:gd name="connsiteX169" fmla="*/ 1340 w 9961"/>
              <a:gd name="connsiteY169" fmla="*/ 8915 h 10000"/>
              <a:gd name="connsiteX170" fmla="*/ 1260 w 9961"/>
              <a:gd name="connsiteY170" fmla="*/ 8915 h 10000"/>
              <a:gd name="connsiteX171" fmla="*/ 1221 w 9961"/>
              <a:gd name="connsiteY171" fmla="*/ 8760 h 10000"/>
              <a:gd name="connsiteX172" fmla="*/ 1260 w 9961"/>
              <a:gd name="connsiteY172" fmla="*/ 8372 h 10000"/>
              <a:gd name="connsiteX173" fmla="*/ 1340 w 9961"/>
              <a:gd name="connsiteY173" fmla="*/ 8528 h 10000"/>
              <a:gd name="connsiteX174" fmla="*/ 1379 w 9961"/>
              <a:gd name="connsiteY174" fmla="*/ 8528 h 10000"/>
              <a:gd name="connsiteX175" fmla="*/ 1340 w 9961"/>
              <a:gd name="connsiteY175" fmla="*/ 8372 h 10000"/>
              <a:gd name="connsiteX176" fmla="*/ 1457 w 9961"/>
              <a:gd name="connsiteY176" fmla="*/ 8140 h 10000"/>
              <a:gd name="connsiteX177" fmla="*/ 1536 w 9961"/>
              <a:gd name="connsiteY177" fmla="*/ 8217 h 10000"/>
              <a:gd name="connsiteX178" fmla="*/ 1575 w 9961"/>
              <a:gd name="connsiteY178" fmla="*/ 8140 h 10000"/>
              <a:gd name="connsiteX179" fmla="*/ 1653 w 9961"/>
              <a:gd name="connsiteY179" fmla="*/ 8217 h 10000"/>
              <a:gd name="connsiteX180" fmla="*/ 1771 w 9961"/>
              <a:gd name="connsiteY180" fmla="*/ 8372 h 10000"/>
              <a:gd name="connsiteX181" fmla="*/ 1851 w 9961"/>
              <a:gd name="connsiteY181" fmla="*/ 8295 h 10000"/>
              <a:gd name="connsiteX182" fmla="*/ 1929 w 9961"/>
              <a:gd name="connsiteY182" fmla="*/ 8295 h 10000"/>
              <a:gd name="connsiteX183" fmla="*/ 1969 w 9961"/>
              <a:gd name="connsiteY183" fmla="*/ 8372 h 10000"/>
              <a:gd name="connsiteX184" fmla="*/ 2126 w 9961"/>
              <a:gd name="connsiteY184" fmla="*/ 8372 h 10000"/>
              <a:gd name="connsiteX185" fmla="*/ 2165 w 9961"/>
              <a:gd name="connsiteY185" fmla="*/ 8217 h 10000"/>
              <a:gd name="connsiteX186" fmla="*/ 2048 w 9961"/>
              <a:gd name="connsiteY186" fmla="*/ 8140 h 10000"/>
              <a:gd name="connsiteX187" fmla="*/ 2126 w 9961"/>
              <a:gd name="connsiteY187" fmla="*/ 8062 h 10000"/>
              <a:gd name="connsiteX188" fmla="*/ 2086 w 9961"/>
              <a:gd name="connsiteY188" fmla="*/ 7985 h 10000"/>
              <a:gd name="connsiteX189" fmla="*/ 2126 w 9961"/>
              <a:gd name="connsiteY189" fmla="*/ 7907 h 10000"/>
              <a:gd name="connsiteX190" fmla="*/ 2126 w 9961"/>
              <a:gd name="connsiteY190" fmla="*/ 7675 h 10000"/>
              <a:gd name="connsiteX191" fmla="*/ 2204 w 9961"/>
              <a:gd name="connsiteY191" fmla="*/ 7752 h 10000"/>
              <a:gd name="connsiteX192" fmla="*/ 2559 w 9961"/>
              <a:gd name="connsiteY192" fmla="*/ 7520 h 10000"/>
              <a:gd name="connsiteX193" fmla="*/ 2559 w 9961"/>
              <a:gd name="connsiteY193" fmla="*/ 7442 h 10000"/>
              <a:gd name="connsiteX194" fmla="*/ 2599 w 9961"/>
              <a:gd name="connsiteY194" fmla="*/ 7442 h 10000"/>
              <a:gd name="connsiteX195" fmla="*/ 2716 w 9961"/>
              <a:gd name="connsiteY195" fmla="*/ 7442 h 10000"/>
              <a:gd name="connsiteX196" fmla="*/ 2756 w 9961"/>
              <a:gd name="connsiteY196" fmla="*/ 7598 h 10000"/>
              <a:gd name="connsiteX197" fmla="*/ 2756 w 9961"/>
              <a:gd name="connsiteY197" fmla="*/ 7675 h 10000"/>
              <a:gd name="connsiteX198" fmla="*/ 2795 w 9961"/>
              <a:gd name="connsiteY198" fmla="*/ 7675 h 10000"/>
              <a:gd name="connsiteX199" fmla="*/ 2874 w 9961"/>
              <a:gd name="connsiteY199" fmla="*/ 7752 h 10000"/>
              <a:gd name="connsiteX200" fmla="*/ 2874 w 9961"/>
              <a:gd name="connsiteY200" fmla="*/ 7830 h 10000"/>
              <a:gd name="connsiteX201" fmla="*/ 2953 w 9961"/>
              <a:gd name="connsiteY201" fmla="*/ 7830 h 10000"/>
              <a:gd name="connsiteX202" fmla="*/ 3031 w 9961"/>
              <a:gd name="connsiteY202" fmla="*/ 7675 h 10000"/>
              <a:gd name="connsiteX203" fmla="*/ 3112 w 9961"/>
              <a:gd name="connsiteY203" fmla="*/ 7598 h 10000"/>
              <a:gd name="connsiteX204" fmla="*/ 3150 w 9961"/>
              <a:gd name="connsiteY204" fmla="*/ 7830 h 10000"/>
              <a:gd name="connsiteX205" fmla="*/ 3307 w 9961"/>
              <a:gd name="connsiteY205" fmla="*/ 8372 h 10000"/>
              <a:gd name="connsiteX206" fmla="*/ 3346 w 9961"/>
              <a:gd name="connsiteY206" fmla="*/ 8217 h 10000"/>
              <a:gd name="connsiteX207" fmla="*/ 3386 w 9961"/>
              <a:gd name="connsiteY207" fmla="*/ 8372 h 10000"/>
              <a:gd name="connsiteX208" fmla="*/ 3505 w 9961"/>
              <a:gd name="connsiteY208" fmla="*/ 8295 h 10000"/>
              <a:gd name="connsiteX209" fmla="*/ 3623 w 9961"/>
              <a:gd name="connsiteY209" fmla="*/ 8528 h 10000"/>
              <a:gd name="connsiteX210" fmla="*/ 3701 w 9961"/>
              <a:gd name="connsiteY210" fmla="*/ 8605 h 10000"/>
              <a:gd name="connsiteX211" fmla="*/ 3701 w 9961"/>
              <a:gd name="connsiteY211" fmla="*/ 8528 h 10000"/>
              <a:gd name="connsiteX212" fmla="*/ 3740 w 9961"/>
              <a:gd name="connsiteY212" fmla="*/ 8683 h 10000"/>
              <a:gd name="connsiteX213" fmla="*/ 3701 w 9961"/>
              <a:gd name="connsiteY213" fmla="*/ 8760 h 10000"/>
              <a:gd name="connsiteX214" fmla="*/ 3780 w 9961"/>
              <a:gd name="connsiteY214" fmla="*/ 8683 h 10000"/>
              <a:gd name="connsiteX215" fmla="*/ 3819 w 9961"/>
              <a:gd name="connsiteY215" fmla="*/ 8605 h 10000"/>
              <a:gd name="connsiteX216" fmla="*/ 4017 w 9961"/>
              <a:gd name="connsiteY216" fmla="*/ 8372 h 10000"/>
              <a:gd name="connsiteX217" fmla="*/ 4174 w 9961"/>
              <a:gd name="connsiteY217" fmla="*/ 8449 h 10000"/>
              <a:gd name="connsiteX218" fmla="*/ 4252 w 9961"/>
              <a:gd name="connsiteY218" fmla="*/ 8528 h 10000"/>
              <a:gd name="connsiteX219" fmla="*/ 4409 w 9961"/>
              <a:gd name="connsiteY219" fmla="*/ 8528 h 10000"/>
              <a:gd name="connsiteX220" fmla="*/ 4409 w 9961"/>
              <a:gd name="connsiteY220" fmla="*/ 8372 h 10000"/>
              <a:gd name="connsiteX221" fmla="*/ 4409 w 9961"/>
              <a:gd name="connsiteY221" fmla="*/ 8217 h 10000"/>
              <a:gd name="connsiteX222" fmla="*/ 4487 w 9961"/>
              <a:gd name="connsiteY222" fmla="*/ 8140 h 10000"/>
              <a:gd name="connsiteX223" fmla="*/ 4646 w 9961"/>
              <a:gd name="connsiteY223" fmla="*/ 8217 h 10000"/>
              <a:gd name="connsiteX224" fmla="*/ 4724 w 9961"/>
              <a:gd name="connsiteY224" fmla="*/ 8449 h 10000"/>
              <a:gd name="connsiteX225" fmla="*/ 4764 w 9961"/>
              <a:gd name="connsiteY225" fmla="*/ 8449 h 10000"/>
              <a:gd name="connsiteX226" fmla="*/ 4842 w 9961"/>
              <a:gd name="connsiteY226" fmla="*/ 8372 h 10000"/>
              <a:gd name="connsiteX227" fmla="*/ 5080 w 9961"/>
              <a:gd name="connsiteY227" fmla="*/ 8605 h 10000"/>
              <a:gd name="connsiteX228" fmla="*/ 5198 w 9961"/>
              <a:gd name="connsiteY228" fmla="*/ 8683 h 10000"/>
              <a:gd name="connsiteX229" fmla="*/ 5355 w 9961"/>
              <a:gd name="connsiteY229" fmla="*/ 8605 h 10000"/>
              <a:gd name="connsiteX230" fmla="*/ 5433 w 9961"/>
              <a:gd name="connsiteY230" fmla="*/ 8449 h 10000"/>
              <a:gd name="connsiteX231" fmla="*/ 5551 w 9961"/>
              <a:gd name="connsiteY231" fmla="*/ 8528 h 10000"/>
              <a:gd name="connsiteX232" fmla="*/ 5630 w 9961"/>
              <a:gd name="connsiteY232" fmla="*/ 8605 h 10000"/>
              <a:gd name="connsiteX233" fmla="*/ 6968 w 9961"/>
              <a:gd name="connsiteY233" fmla="*/ 7675 h 10000"/>
              <a:gd name="connsiteX234" fmla="*/ 6890 w 9961"/>
              <a:gd name="connsiteY234" fmla="*/ 7675 h 10000"/>
              <a:gd name="connsiteX235" fmla="*/ 6850 w 9961"/>
              <a:gd name="connsiteY235" fmla="*/ 7675 h 10000"/>
              <a:gd name="connsiteX236" fmla="*/ 6811 w 9961"/>
              <a:gd name="connsiteY236" fmla="*/ 7598 h 10000"/>
              <a:gd name="connsiteX237" fmla="*/ 6733 w 9961"/>
              <a:gd name="connsiteY237" fmla="*/ 7598 h 10000"/>
              <a:gd name="connsiteX238" fmla="*/ 6733 w 9961"/>
              <a:gd name="connsiteY238" fmla="*/ 7520 h 10000"/>
              <a:gd name="connsiteX239" fmla="*/ 6850 w 9961"/>
              <a:gd name="connsiteY239" fmla="*/ 7287 h 10000"/>
              <a:gd name="connsiteX240" fmla="*/ 7206 w 9961"/>
              <a:gd name="connsiteY240" fmla="*/ 6590 h 10000"/>
              <a:gd name="connsiteX241" fmla="*/ 7363 w 9961"/>
              <a:gd name="connsiteY241" fmla="*/ 6512 h 10000"/>
              <a:gd name="connsiteX242" fmla="*/ 7402 w 9961"/>
              <a:gd name="connsiteY242" fmla="*/ 6590 h 10000"/>
              <a:gd name="connsiteX243" fmla="*/ 7442 w 9961"/>
              <a:gd name="connsiteY243" fmla="*/ 6512 h 10000"/>
              <a:gd name="connsiteX244" fmla="*/ 7559 w 9961"/>
              <a:gd name="connsiteY244" fmla="*/ 6590 h 10000"/>
              <a:gd name="connsiteX245" fmla="*/ 7599 w 9961"/>
              <a:gd name="connsiteY245" fmla="*/ 6434 h 10000"/>
              <a:gd name="connsiteX246" fmla="*/ 7717 w 9961"/>
              <a:gd name="connsiteY246" fmla="*/ 6512 h 10000"/>
              <a:gd name="connsiteX247" fmla="*/ 7757 w 9961"/>
              <a:gd name="connsiteY247" fmla="*/ 6512 h 10000"/>
              <a:gd name="connsiteX248" fmla="*/ 7717 w 9961"/>
              <a:gd name="connsiteY248" fmla="*/ 6590 h 10000"/>
              <a:gd name="connsiteX249" fmla="*/ 7717 w 9961"/>
              <a:gd name="connsiteY249" fmla="*/ 6667 h 10000"/>
              <a:gd name="connsiteX250" fmla="*/ 7954 w 9961"/>
              <a:gd name="connsiteY250" fmla="*/ 6590 h 10000"/>
              <a:gd name="connsiteX251" fmla="*/ 7914 w 9961"/>
              <a:gd name="connsiteY251" fmla="*/ 6512 h 10000"/>
              <a:gd name="connsiteX252" fmla="*/ 8071 w 9961"/>
              <a:gd name="connsiteY252" fmla="*/ 5969 h 10000"/>
              <a:gd name="connsiteX253" fmla="*/ 8268 w 9961"/>
              <a:gd name="connsiteY253" fmla="*/ 5892 h 10000"/>
              <a:gd name="connsiteX254" fmla="*/ 8268 w 9961"/>
              <a:gd name="connsiteY254" fmla="*/ 6047 h 10000"/>
              <a:gd name="connsiteX255" fmla="*/ 8268 w 9961"/>
              <a:gd name="connsiteY255" fmla="*/ 6202 h 10000"/>
              <a:gd name="connsiteX256" fmla="*/ 8465 w 9961"/>
              <a:gd name="connsiteY256" fmla="*/ 5969 h 10000"/>
              <a:gd name="connsiteX257" fmla="*/ 8465 w 9961"/>
              <a:gd name="connsiteY257" fmla="*/ 5737 h 10000"/>
              <a:gd name="connsiteX258" fmla="*/ 8543 w 9961"/>
              <a:gd name="connsiteY258" fmla="*/ 5737 h 10000"/>
              <a:gd name="connsiteX259" fmla="*/ 8504 w 9961"/>
              <a:gd name="connsiteY259" fmla="*/ 5814 h 10000"/>
              <a:gd name="connsiteX260" fmla="*/ 8465 w 9961"/>
              <a:gd name="connsiteY260" fmla="*/ 6202 h 10000"/>
              <a:gd name="connsiteX261" fmla="*/ 8386 w 9961"/>
              <a:gd name="connsiteY261" fmla="*/ 6279 h 10000"/>
              <a:gd name="connsiteX262" fmla="*/ 8465 w 9961"/>
              <a:gd name="connsiteY262" fmla="*/ 6590 h 10000"/>
              <a:gd name="connsiteX263" fmla="*/ 8465 w 9961"/>
              <a:gd name="connsiteY263" fmla="*/ 6434 h 10000"/>
              <a:gd name="connsiteX264" fmla="*/ 8543 w 9961"/>
              <a:gd name="connsiteY264" fmla="*/ 6434 h 10000"/>
              <a:gd name="connsiteX265" fmla="*/ 8661 w 9961"/>
              <a:gd name="connsiteY265" fmla="*/ 6279 h 10000"/>
              <a:gd name="connsiteX266" fmla="*/ 8661 w 9961"/>
              <a:gd name="connsiteY266" fmla="*/ 6434 h 10000"/>
              <a:gd name="connsiteX267" fmla="*/ 8701 w 9961"/>
              <a:gd name="connsiteY267" fmla="*/ 6356 h 10000"/>
              <a:gd name="connsiteX268" fmla="*/ 8820 w 9961"/>
              <a:gd name="connsiteY268" fmla="*/ 6279 h 10000"/>
              <a:gd name="connsiteX269" fmla="*/ 8897 w 9961"/>
              <a:gd name="connsiteY269" fmla="*/ 6434 h 10000"/>
              <a:gd name="connsiteX270" fmla="*/ 8937 w 9961"/>
              <a:gd name="connsiteY270" fmla="*/ 6279 h 10000"/>
              <a:gd name="connsiteX271" fmla="*/ 9333 w 9961"/>
              <a:gd name="connsiteY271" fmla="*/ 5737 h 10000"/>
              <a:gd name="connsiteX272" fmla="*/ 9450 w 9961"/>
              <a:gd name="connsiteY272" fmla="*/ 5814 h 10000"/>
              <a:gd name="connsiteX273" fmla="*/ 9489 w 9961"/>
              <a:gd name="connsiteY273" fmla="*/ 5737 h 10000"/>
              <a:gd name="connsiteX274" fmla="*/ 9410 w 9961"/>
              <a:gd name="connsiteY274" fmla="*/ 5271 h 10000"/>
              <a:gd name="connsiteX275" fmla="*/ 9371 w 9961"/>
              <a:gd name="connsiteY275" fmla="*/ 5271 h 10000"/>
              <a:gd name="connsiteX276" fmla="*/ 9371 w 9961"/>
              <a:gd name="connsiteY276" fmla="*/ 5116 h 10000"/>
              <a:gd name="connsiteX277" fmla="*/ 9410 w 9961"/>
              <a:gd name="connsiteY277" fmla="*/ 5116 h 10000"/>
              <a:gd name="connsiteX278" fmla="*/ 9489 w 9961"/>
              <a:gd name="connsiteY278" fmla="*/ 5039 h 10000"/>
              <a:gd name="connsiteX279" fmla="*/ 9568 w 9961"/>
              <a:gd name="connsiteY279" fmla="*/ 4884 h 10000"/>
              <a:gd name="connsiteX280" fmla="*/ 9528 w 9961"/>
              <a:gd name="connsiteY280" fmla="*/ 4729 h 10000"/>
              <a:gd name="connsiteX281" fmla="*/ 9568 w 9961"/>
              <a:gd name="connsiteY281" fmla="*/ 4652 h 10000"/>
              <a:gd name="connsiteX282" fmla="*/ 9607 w 9961"/>
              <a:gd name="connsiteY282" fmla="*/ 4884 h 10000"/>
              <a:gd name="connsiteX283" fmla="*/ 9686 w 9961"/>
              <a:gd name="connsiteY283" fmla="*/ 4884 h 10000"/>
              <a:gd name="connsiteX284" fmla="*/ 9764 w 9961"/>
              <a:gd name="connsiteY284" fmla="*/ 5039 h 10000"/>
              <a:gd name="connsiteX285" fmla="*/ 9961 w 9961"/>
              <a:gd name="connsiteY285" fmla="*/ 5271 h 10000"/>
              <a:gd name="connsiteX286" fmla="*/ 9489 w 9961"/>
              <a:gd name="connsiteY286" fmla="*/ 3799 h 10000"/>
              <a:gd name="connsiteX287" fmla="*/ 9252 w 9961"/>
              <a:gd name="connsiteY287" fmla="*/ 3488 h 10000"/>
              <a:gd name="connsiteX288" fmla="*/ 8937 w 9961"/>
              <a:gd name="connsiteY288" fmla="*/ 3411 h 10000"/>
              <a:gd name="connsiteX289" fmla="*/ 8937 w 9961"/>
              <a:gd name="connsiteY289" fmla="*/ 3799 h 10000"/>
              <a:gd name="connsiteX290" fmla="*/ 8859 w 9961"/>
              <a:gd name="connsiteY290" fmla="*/ 3876 h 10000"/>
              <a:gd name="connsiteX291" fmla="*/ 8779 w 9961"/>
              <a:gd name="connsiteY291" fmla="*/ 3721 h 10000"/>
              <a:gd name="connsiteX292" fmla="*/ 8779 w 9961"/>
              <a:gd name="connsiteY292" fmla="*/ 3566 h 10000"/>
              <a:gd name="connsiteX293" fmla="*/ 8820 w 9961"/>
              <a:gd name="connsiteY293" fmla="*/ 3566 h 10000"/>
              <a:gd name="connsiteX294" fmla="*/ 8859 w 9961"/>
              <a:gd name="connsiteY294" fmla="*/ 3488 h 10000"/>
              <a:gd name="connsiteX295" fmla="*/ 8779 w 9961"/>
              <a:gd name="connsiteY295" fmla="*/ 3488 h 10000"/>
              <a:gd name="connsiteX296" fmla="*/ 8701 w 9961"/>
              <a:gd name="connsiteY296" fmla="*/ 3644 h 10000"/>
              <a:gd name="connsiteX297" fmla="*/ 8504 w 9961"/>
              <a:gd name="connsiteY297" fmla="*/ 3566 h 10000"/>
              <a:gd name="connsiteX298" fmla="*/ 8308 w 9961"/>
              <a:gd name="connsiteY298" fmla="*/ 3566 h 10000"/>
              <a:gd name="connsiteX299" fmla="*/ 8229 w 9961"/>
              <a:gd name="connsiteY299" fmla="*/ 3488 h 10000"/>
              <a:gd name="connsiteX300" fmla="*/ 8268 w 9961"/>
              <a:gd name="connsiteY300" fmla="*/ 3333 h 10000"/>
              <a:gd name="connsiteX301" fmla="*/ 8189 w 9961"/>
              <a:gd name="connsiteY301" fmla="*/ 3101 h 10000"/>
              <a:gd name="connsiteX302" fmla="*/ 8031 w 9961"/>
              <a:gd name="connsiteY302" fmla="*/ 3023 h 10000"/>
              <a:gd name="connsiteX303" fmla="*/ 7797 w 9961"/>
              <a:gd name="connsiteY303" fmla="*/ 3178 h 10000"/>
              <a:gd name="connsiteX304" fmla="*/ 7757 w 9961"/>
              <a:gd name="connsiteY304" fmla="*/ 2946 h 10000"/>
              <a:gd name="connsiteX305" fmla="*/ 7677 w 9961"/>
              <a:gd name="connsiteY305" fmla="*/ 2946 h 10000"/>
              <a:gd name="connsiteX306" fmla="*/ 7638 w 9961"/>
              <a:gd name="connsiteY306" fmla="*/ 2868 h 10000"/>
              <a:gd name="connsiteX307" fmla="*/ 7638 w 9961"/>
              <a:gd name="connsiteY307" fmla="*/ 2636 h 10000"/>
              <a:gd name="connsiteX308" fmla="*/ 7363 w 9961"/>
              <a:gd name="connsiteY308" fmla="*/ 2480 h 10000"/>
              <a:gd name="connsiteX309" fmla="*/ 7047 w 9961"/>
              <a:gd name="connsiteY309" fmla="*/ 2325 h 10000"/>
              <a:gd name="connsiteX310" fmla="*/ 6968 w 9961"/>
              <a:gd name="connsiteY310" fmla="*/ 2636 h 10000"/>
              <a:gd name="connsiteX311" fmla="*/ 7047 w 9961"/>
              <a:gd name="connsiteY311" fmla="*/ 2868 h 10000"/>
              <a:gd name="connsiteX312" fmla="*/ 6811 w 9961"/>
              <a:gd name="connsiteY312" fmla="*/ 2868 h 10000"/>
              <a:gd name="connsiteX313" fmla="*/ 6771 w 9961"/>
              <a:gd name="connsiteY313" fmla="*/ 2868 h 10000"/>
              <a:gd name="connsiteX314" fmla="*/ 6693 w 9961"/>
              <a:gd name="connsiteY314" fmla="*/ 2946 h 10000"/>
              <a:gd name="connsiteX315" fmla="*/ 6575 w 9961"/>
              <a:gd name="connsiteY315" fmla="*/ 2714 h 10000"/>
              <a:gd name="connsiteX316" fmla="*/ 6495 w 9961"/>
              <a:gd name="connsiteY316" fmla="*/ 3178 h 10000"/>
              <a:gd name="connsiteX317" fmla="*/ 6418 w 9961"/>
              <a:gd name="connsiteY317" fmla="*/ 3101 h 10000"/>
              <a:gd name="connsiteX318" fmla="*/ 6338 w 9961"/>
              <a:gd name="connsiteY318" fmla="*/ 2791 h 10000"/>
              <a:gd name="connsiteX319" fmla="*/ 6378 w 9961"/>
              <a:gd name="connsiteY319" fmla="*/ 2403 h 10000"/>
              <a:gd name="connsiteX320" fmla="*/ 6300 w 9961"/>
              <a:gd name="connsiteY320" fmla="*/ 2170 h 10000"/>
              <a:gd name="connsiteX321" fmla="*/ 6063 w 9961"/>
              <a:gd name="connsiteY321" fmla="*/ 2016 h 10000"/>
              <a:gd name="connsiteX322" fmla="*/ 5984 w 9961"/>
              <a:gd name="connsiteY322" fmla="*/ 2016 h 10000"/>
              <a:gd name="connsiteX323" fmla="*/ 5945 w 9961"/>
              <a:gd name="connsiteY323" fmla="*/ 2170 h 10000"/>
              <a:gd name="connsiteX324" fmla="*/ 5984 w 9961"/>
              <a:gd name="connsiteY324" fmla="*/ 2325 h 10000"/>
              <a:gd name="connsiteX325" fmla="*/ 5671 w 9961"/>
              <a:gd name="connsiteY325" fmla="*/ 2248 h 10000"/>
              <a:gd name="connsiteX326" fmla="*/ 5709 w 9961"/>
              <a:gd name="connsiteY326" fmla="*/ 2016 h 10000"/>
              <a:gd name="connsiteX327" fmla="*/ 5513 w 9961"/>
              <a:gd name="connsiteY327" fmla="*/ 1938 h 10000"/>
              <a:gd name="connsiteX328" fmla="*/ 5395 w 9961"/>
              <a:gd name="connsiteY328" fmla="*/ 2093 h 10000"/>
              <a:gd name="connsiteX329" fmla="*/ 5159 w 9961"/>
              <a:gd name="connsiteY329" fmla="*/ 1861 h 10000"/>
              <a:gd name="connsiteX0" fmla="*/ 5179 w 9802"/>
              <a:gd name="connsiteY0" fmla="*/ 1861 h 10000"/>
              <a:gd name="connsiteX1" fmla="*/ 5179 w 9802"/>
              <a:gd name="connsiteY1" fmla="*/ 1861 h 10000"/>
              <a:gd name="connsiteX2" fmla="*/ 5138 w 9802"/>
              <a:gd name="connsiteY2" fmla="*/ 1938 h 10000"/>
              <a:gd name="connsiteX3" fmla="*/ 5179 w 9802"/>
              <a:gd name="connsiteY3" fmla="*/ 2093 h 10000"/>
              <a:gd name="connsiteX4" fmla="*/ 5019 w 9802"/>
              <a:gd name="connsiteY4" fmla="*/ 2248 h 10000"/>
              <a:gd name="connsiteX5" fmla="*/ 4978 w 9802"/>
              <a:gd name="connsiteY5" fmla="*/ 2248 h 10000"/>
              <a:gd name="connsiteX6" fmla="*/ 5019 w 9802"/>
              <a:gd name="connsiteY6" fmla="*/ 2016 h 10000"/>
              <a:gd name="connsiteX7" fmla="*/ 5416 w 9802"/>
              <a:gd name="connsiteY7" fmla="*/ 1318 h 10000"/>
              <a:gd name="connsiteX8" fmla="*/ 5416 w 9802"/>
              <a:gd name="connsiteY8" fmla="*/ 853 h 10000"/>
              <a:gd name="connsiteX9" fmla="*/ 5258 w 9802"/>
              <a:gd name="connsiteY9" fmla="*/ 543 h 10000"/>
              <a:gd name="connsiteX10" fmla="*/ 5059 w 9802"/>
              <a:gd name="connsiteY10" fmla="*/ 543 h 10000"/>
              <a:gd name="connsiteX11" fmla="*/ 5059 w 9802"/>
              <a:gd name="connsiteY11" fmla="*/ 698 h 10000"/>
              <a:gd name="connsiteX12" fmla="*/ 4940 w 9802"/>
              <a:gd name="connsiteY12" fmla="*/ 698 h 10000"/>
              <a:gd name="connsiteX13" fmla="*/ 5019 w 9802"/>
              <a:gd name="connsiteY13" fmla="*/ 387 h 10000"/>
              <a:gd name="connsiteX14" fmla="*/ 4822 w 9802"/>
              <a:gd name="connsiteY14" fmla="*/ 310 h 10000"/>
              <a:gd name="connsiteX15" fmla="*/ 4940 w 9802"/>
              <a:gd name="connsiteY15" fmla="*/ 155 h 10000"/>
              <a:gd name="connsiteX16" fmla="*/ 4822 w 9802"/>
              <a:gd name="connsiteY16" fmla="*/ 0 h 10000"/>
              <a:gd name="connsiteX17" fmla="*/ 4624 w 9802"/>
              <a:gd name="connsiteY17" fmla="*/ 387 h 10000"/>
              <a:gd name="connsiteX18" fmla="*/ 4624 w 9802"/>
              <a:gd name="connsiteY18" fmla="*/ 698 h 10000"/>
              <a:gd name="connsiteX19" fmla="*/ 4505 w 9802"/>
              <a:gd name="connsiteY19" fmla="*/ 698 h 10000"/>
              <a:gd name="connsiteX20" fmla="*/ 4151 w 9802"/>
              <a:gd name="connsiteY20" fmla="*/ 853 h 10000"/>
              <a:gd name="connsiteX21" fmla="*/ 3834 w 9802"/>
              <a:gd name="connsiteY21" fmla="*/ 1240 h 10000"/>
              <a:gd name="connsiteX22" fmla="*/ 3715 w 9802"/>
              <a:gd name="connsiteY22" fmla="*/ 1551 h 10000"/>
              <a:gd name="connsiteX23" fmla="*/ 3755 w 9802"/>
              <a:gd name="connsiteY23" fmla="*/ 1938 h 10000"/>
              <a:gd name="connsiteX24" fmla="*/ 3320 w 9802"/>
              <a:gd name="connsiteY24" fmla="*/ 2093 h 10000"/>
              <a:gd name="connsiteX25" fmla="*/ 3359 w 9802"/>
              <a:gd name="connsiteY25" fmla="*/ 2559 h 10000"/>
              <a:gd name="connsiteX26" fmla="*/ 3479 w 9802"/>
              <a:gd name="connsiteY26" fmla="*/ 2791 h 10000"/>
              <a:gd name="connsiteX27" fmla="*/ 3399 w 9802"/>
              <a:gd name="connsiteY27" fmla="*/ 2868 h 10000"/>
              <a:gd name="connsiteX28" fmla="*/ 3281 w 9802"/>
              <a:gd name="connsiteY28" fmla="*/ 2559 h 10000"/>
              <a:gd name="connsiteX29" fmla="*/ 3162 w 9802"/>
              <a:gd name="connsiteY29" fmla="*/ 2480 h 10000"/>
              <a:gd name="connsiteX30" fmla="*/ 3124 w 9802"/>
              <a:gd name="connsiteY30" fmla="*/ 2559 h 10000"/>
              <a:gd name="connsiteX31" fmla="*/ 3043 w 9802"/>
              <a:gd name="connsiteY31" fmla="*/ 2403 h 10000"/>
              <a:gd name="connsiteX32" fmla="*/ 2965 w 9802"/>
              <a:gd name="connsiteY32" fmla="*/ 2248 h 10000"/>
              <a:gd name="connsiteX33" fmla="*/ 2965 w 9802"/>
              <a:gd name="connsiteY33" fmla="*/ 2325 h 10000"/>
              <a:gd name="connsiteX34" fmla="*/ 3004 w 9802"/>
              <a:gd name="connsiteY34" fmla="*/ 2559 h 10000"/>
              <a:gd name="connsiteX35" fmla="*/ 2885 w 9802"/>
              <a:gd name="connsiteY35" fmla="*/ 2946 h 10000"/>
              <a:gd name="connsiteX36" fmla="*/ 2965 w 9802"/>
              <a:gd name="connsiteY36" fmla="*/ 3256 h 10000"/>
              <a:gd name="connsiteX37" fmla="*/ 2924 w 9802"/>
              <a:gd name="connsiteY37" fmla="*/ 3566 h 10000"/>
              <a:gd name="connsiteX38" fmla="*/ 2924 w 9802"/>
              <a:gd name="connsiteY38" fmla="*/ 3799 h 10000"/>
              <a:gd name="connsiteX39" fmla="*/ 3043 w 9802"/>
              <a:gd name="connsiteY39" fmla="*/ 3799 h 10000"/>
              <a:gd name="connsiteX40" fmla="*/ 2965 w 9802"/>
              <a:gd name="connsiteY40" fmla="*/ 3876 h 10000"/>
              <a:gd name="connsiteX41" fmla="*/ 3004 w 9802"/>
              <a:gd name="connsiteY41" fmla="*/ 4263 h 10000"/>
              <a:gd name="connsiteX42" fmla="*/ 2767 w 9802"/>
              <a:gd name="connsiteY42" fmla="*/ 4652 h 10000"/>
              <a:gd name="connsiteX43" fmla="*/ 2727 w 9802"/>
              <a:gd name="connsiteY43" fmla="*/ 4574 h 10000"/>
              <a:gd name="connsiteX44" fmla="*/ 2885 w 9802"/>
              <a:gd name="connsiteY44" fmla="*/ 4186 h 10000"/>
              <a:gd name="connsiteX45" fmla="*/ 2924 w 9802"/>
              <a:gd name="connsiteY45" fmla="*/ 3954 h 10000"/>
              <a:gd name="connsiteX46" fmla="*/ 2844 w 9802"/>
              <a:gd name="connsiteY46" fmla="*/ 3799 h 10000"/>
              <a:gd name="connsiteX47" fmla="*/ 2844 w 9802"/>
              <a:gd name="connsiteY47" fmla="*/ 3023 h 10000"/>
              <a:gd name="connsiteX48" fmla="*/ 2806 w 9802"/>
              <a:gd name="connsiteY48" fmla="*/ 2868 h 10000"/>
              <a:gd name="connsiteX49" fmla="*/ 2844 w 9802"/>
              <a:gd name="connsiteY49" fmla="*/ 2403 h 10000"/>
              <a:gd name="connsiteX50" fmla="*/ 2767 w 9802"/>
              <a:gd name="connsiteY50" fmla="*/ 2325 h 10000"/>
              <a:gd name="connsiteX51" fmla="*/ 2806 w 9802"/>
              <a:gd name="connsiteY51" fmla="*/ 2248 h 10000"/>
              <a:gd name="connsiteX52" fmla="*/ 2767 w 9802"/>
              <a:gd name="connsiteY52" fmla="*/ 2093 h 10000"/>
              <a:gd name="connsiteX53" fmla="*/ 2686 w 9802"/>
              <a:gd name="connsiteY53" fmla="*/ 2170 h 10000"/>
              <a:gd name="connsiteX54" fmla="*/ 2491 w 9802"/>
              <a:gd name="connsiteY54" fmla="*/ 3178 h 10000"/>
              <a:gd name="connsiteX55" fmla="*/ 2491 w 9802"/>
              <a:gd name="connsiteY55" fmla="*/ 3566 h 10000"/>
              <a:gd name="connsiteX56" fmla="*/ 2609 w 9802"/>
              <a:gd name="connsiteY56" fmla="*/ 3876 h 10000"/>
              <a:gd name="connsiteX57" fmla="*/ 2609 w 9802"/>
              <a:gd name="connsiteY57" fmla="*/ 4031 h 10000"/>
              <a:gd name="connsiteX58" fmla="*/ 2491 w 9802"/>
              <a:gd name="connsiteY58" fmla="*/ 3876 h 10000"/>
              <a:gd name="connsiteX59" fmla="*/ 2017 w 9802"/>
              <a:gd name="connsiteY59" fmla="*/ 3256 h 10000"/>
              <a:gd name="connsiteX60" fmla="*/ 1977 w 9802"/>
              <a:gd name="connsiteY60" fmla="*/ 3411 h 10000"/>
              <a:gd name="connsiteX61" fmla="*/ 2134 w 9802"/>
              <a:gd name="connsiteY61" fmla="*/ 3799 h 10000"/>
              <a:gd name="connsiteX62" fmla="*/ 2056 w 9802"/>
              <a:gd name="connsiteY62" fmla="*/ 3876 h 10000"/>
              <a:gd name="connsiteX63" fmla="*/ 2017 w 9802"/>
              <a:gd name="connsiteY63" fmla="*/ 3799 h 10000"/>
              <a:gd name="connsiteX64" fmla="*/ 1778 w 9802"/>
              <a:gd name="connsiteY64" fmla="*/ 3954 h 10000"/>
              <a:gd name="connsiteX65" fmla="*/ 1740 w 9802"/>
              <a:gd name="connsiteY65" fmla="*/ 4109 h 10000"/>
              <a:gd name="connsiteX66" fmla="*/ 1700 w 9802"/>
              <a:gd name="connsiteY66" fmla="*/ 3954 h 10000"/>
              <a:gd name="connsiteX67" fmla="*/ 1700 w 9802"/>
              <a:gd name="connsiteY67" fmla="*/ 3799 h 10000"/>
              <a:gd name="connsiteX68" fmla="*/ 1303 w 9802"/>
              <a:gd name="connsiteY68" fmla="*/ 4263 h 10000"/>
              <a:gd name="connsiteX69" fmla="*/ 1303 w 9802"/>
              <a:gd name="connsiteY69" fmla="*/ 4418 h 10000"/>
              <a:gd name="connsiteX70" fmla="*/ 1226 w 9802"/>
              <a:gd name="connsiteY70" fmla="*/ 4496 h 10000"/>
              <a:gd name="connsiteX71" fmla="*/ 1107 w 9802"/>
              <a:gd name="connsiteY71" fmla="*/ 4341 h 10000"/>
              <a:gd name="connsiteX72" fmla="*/ 1226 w 9802"/>
              <a:gd name="connsiteY72" fmla="*/ 4186 h 10000"/>
              <a:gd name="connsiteX73" fmla="*/ 1186 w 9802"/>
              <a:gd name="connsiteY73" fmla="*/ 3954 h 10000"/>
              <a:gd name="connsiteX74" fmla="*/ 1028 w 9802"/>
              <a:gd name="connsiteY74" fmla="*/ 3876 h 10000"/>
              <a:gd name="connsiteX75" fmla="*/ 1067 w 9802"/>
              <a:gd name="connsiteY75" fmla="*/ 4031 h 10000"/>
              <a:gd name="connsiteX76" fmla="*/ 1067 w 9802"/>
              <a:gd name="connsiteY76" fmla="*/ 4418 h 10000"/>
              <a:gd name="connsiteX77" fmla="*/ 1107 w 9802"/>
              <a:gd name="connsiteY77" fmla="*/ 4574 h 10000"/>
              <a:gd name="connsiteX78" fmla="*/ 1067 w 9802"/>
              <a:gd name="connsiteY78" fmla="*/ 4729 h 10000"/>
              <a:gd name="connsiteX79" fmla="*/ 948 w 9802"/>
              <a:gd name="connsiteY79" fmla="*/ 4652 h 10000"/>
              <a:gd name="connsiteX80" fmla="*/ 790 w 9802"/>
              <a:gd name="connsiteY80" fmla="*/ 4884 h 10000"/>
              <a:gd name="connsiteX81" fmla="*/ 869 w 9802"/>
              <a:gd name="connsiteY81" fmla="*/ 5194 h 10000"/>
              <a:gd name="connsiteX82" fmla="*/ 632 w 9802"/>
              <a:gd name="connsiteY82" fmla="*/ 5039 h 10000"/>
              <a:gd name="connsiteX83" fmla="*/ 592 w 9802"/>
              <a:gd name="connsiteY83" fmla="*/ 5116 h 10000"/>
              <a:gd name="connsiteX84" fmla="*/ 672 w 9802"/>
              <a:gd name="connsiteY84" fmla="*/ 5349 h 10000"/>
              <a:gd name="connsiteX85" fmla="*/ 592 w 9802"/>
              <a:gd name="connsiteY85" fmla="*/ 5349 h 10000"/>
              <a:gd name="connsiteX86" fmla="*/ 475 w 9802"/>
              <a:gd name="connsiteY86" fmla="*/ 5194 h 10000"/>
              <a:gd name="connsiteX87" fmla="*/ 475 w 9802"/>
              <a:gd name="connsiteY87" fmla="*/ 4729 h 10000"/>
              <a:gd name="connsiteX88" fmla="*/ 356 w 9802"/>
              <a:gd name="connsiteY88" fmla="*/ 4574 h 10000"/>
              <a:gd name="connsiteX89" fmla="*/ 316 w 9802"/>
              <a:gd name="connsiteY89" fmla="*/ 4418 h 10000"/>
              <a:gd name="connsiteX90" fmla="*/ 395 w 9802"/>
              <a:gd name="connsiteY90" fmla="*/ 4496 h 10000"/>
              <a:gd name="connsiteX91" fmla="*/ 711 w 9802"/>
              <a:gd name="connsiteY91" fmla="*/ 4729 h 10000"/>
              <a:gd name="connsiteX92" fmla="*/ 909 w 9802"/>
              <a:gd name="connsiteY92" fmla="*/ 4496 h 10000"/>
              <a:gd name="connsiteX93" fmla="*/ 869 w 9802"/>
              <a:gd name="connsiteY93" fmla="*/ 4263 h 10000"/>
              <a:gd name="connsiteX94" fmla="*/ 632 w 9802"/>
              <a:gd name="connsiteY94" fmla="*/ 3799 h 10000"/>
              <a:gd name="connsiteX95" fmla="*/ 395 w 9802"/>
              <a:gd name="connsiteY95" fmla="*/ 3644 h 10000"/>
              <a:gd name="connsiteX96" fmla="*/ 395 w 9802"/>
              <a:gd name="connsiteY96" fmla="*/ 3566 h 10000"/>
              <a:gd name="connsiteX97" fmla="*/ 316 w 9802"/>
              <a:gd name="connsiteY97" fmla="*/ 3488 h 10000"/>
              <a:gd name="connsiteX98" fmla="*/ 236 w 9802"/>
              <a:gd name="connsiteY98" fmla="*/ 3566 h 10000"/>
              <a:gd name="connsiteX99" fmla="*/ 236 w 9802"/>
              <a:gd name="connsiteY99" fmla="*/ 3644 h 10000"/>
              <a:gd name="connsiteX100" fmla="*/ 198 w 9802"/>
              <a:gd name="connsiteY100" fmla="*/ 3644 h 10000"/>
              <a:gd name="connsiteX101" fmla="*/ 118 w 9802"/>
              <a:gd name="connsiteY101" fmla="*/ 3799 h 10000"/>
              <a:gd name="connsiteX102" fmla="*/ 118 w 9802"/>
              <a:gd name="connsiteY102" fmla="*/ 4031 h 10000"/>
              <a:gd name="connsiteX103" fmla="*/ 198 w 9802"/>
              <a:gd name="connsiteY103" fmla="*/ 4186 h 10000"/>
              <a:gd name="connsiteX104" fmla="*/ 158 w 9802"/>
              <a:gd name="connsiteY104" fmla="*/ 4418 h 10000"/>
              <a:gd name="connsiteX105" fmla="*/ 198 w 9802"/>
              <a:gd name="connsiteY105" fmla="*/ 4807 h 10000"/>
              <a:gd name="connsiteX106" fmla="*/ 158 w 9802"/>
              <a:gd name="connsiteY106" fmla="*/ 5039 h 10000"/>
              <a:gd name="connsiteX107" fmla="*/ 236 w 9802"/>
              <a:gd name="connsiteY107" fmla="*/ 5271 h 10000"/>
              <a:gd name="connsiteX108" fmla="*/ 198 w 9802"/>
              <a:gd name="connsiteY108" fmla="*/ 5426 h 10000"/>
              <a:gd name="connsiteX109" fmla="*/ 277 w 9802"/>
              <a:gd name="connsiteY109" fmla="*/ 5582 h 10000"/>
              <a:gd name="connsiteX110" fmla="*/ 277 w 9802"/>
              <a:gd name="connsiteY110" fmla="*/ 5659 h 10000"/>
              <a:gd name="connsiteX111" fmla="*/ 158 w 9802"/>
              <a:gd name="connsiteY111" fmla="*/ 6047 h 10000"/>
              <a:gd name="connsiteX112" fmla="*/ 39 w 9802"/>
              <a:gd name="connsiteY112" fmla="*/ 6202 h 10000"/>
              <a:gd name="connsiteX113" fmla="*/ 78 w 9802"/>
              <a:gd name="connsiteY113" fmla="*/ 6202 h 10000"/>
              <a:gd name="connsiteX114" fmla="*/ 158 w 9802"/>
              <a:gd name="connsiteY114" fmla="*/ 6356 h 10000"/>
              <a:gd name="connsiteX115" fmla="*/ 78 w 9802"/>
              <a:gd name="connsiteY115" fmla="*/ 6512 h 10000"/>
              <a:gd name="connsiteX116" fmla="*/ 39 w 9802"/>
              <a:gd name="connsiteY116" fmla="*/ 6590 h 10000"/>
              <a:gd name="connsiteX117" fmla="*/ 0 w 9802"/>
              <a:gd name="connsiteY117" fmla="*/ 6590 h 10000"/>
              <a:gd name="connsiteX118" fmla="*/ 39 w 9802"/>
              <a:gd name="connsiteY118" fmla="*/ 6822 h 10000"/>
              <a:gd name="connsiteX119" fmla="*/ 39 w 9802"/>
              <a:gd name="connsiteY119" fmla="*/ 6900 h 10000"/>
              <a:gd name="connsiteX120" fmla="*/ 39 w 9802"/>
              <a:gd name="connsiteY120" fmla="*/ 6977 h 10000"/>
              <a:gd name="connsiteX121" fmla="*/ 39 w 9802"/>
              <a:gd name="connsiteY121" fmla="*/ 7054 h 10000"/>
              <a:gd name="connsiteX122" fmla="*/ 78 w 9802"/>
              <a:gd name="connsiteY122" fmla="*/ 7209 h 10000"/>
              <a:gd name="connsiteX123" fmla="*/ 198 w 9802"/>
              <a:gd name="connsiteY123" fmla="*/ 7287 h 10000"/>
              <a:gd name="connsiteX124" fmla="*/ 236 w 9802"/>
              <a:gd name="connsiteY124" fmla="*/ 7364 h 10000"/>
              <a:gd name="connsiteX125" fmla="*/ 236 w 9802"/>
              <a:gd name="connsiteY125" fmla="*/ 7520 h 10000"/>
              <a:gd name="connsiteX126" fmla="*/ 316 w 9802"/>
              <a:gd name="connsiteY126" fmla="*/ 7752 h 10000"/>
              <a:gd name="connsiteX127" fmla="*/ 356 w 9802"/>
              <a:gd name="connsiteY127" fmla="*/ 7752 h 10000"/>
              <a:gd name="connsiteX128" fmla="*/ 316 w 9802"/>
              <a:gd name="connsiteY128" fmla="*/ 7907 h 10000"/>
              <a:gd name="connsiteX129" fmla="*/ 277 w 9802"/>
              <a:gd name="connsiteY129" fmla="*/ 7830 h 10000"/>
              <a:gd name="connsiteX130" fmla="*/ 277 w 9802"/>
              <a:gd name="connsiteY130" fmla="*/ 7907 h 10000"/>
              <a:gd name="connsiteX131" fmla="*/ 316 w 9802"/>
              <a:gd name="connsiteY131" fmla="*/ 8062 h 10000"/>
              <a:gd name="connsiteX132" fmla="*/ 434 w 9802"/>
              <a:gd name="connsiteY132" fmla="*/ 8062 h 10000"/>
              <a:gd name="connsiteX133" fmla="*/ 475 w 9802"/>
              <a:gd name="connsiteY133" fmla="*/ 8140 h 10000"/>
              <a:gd name="connsiteX134" fmla="*/ 434 w 9802"/>
              <a:gd name="connsiteY134" fmla="*/ 8140 h 10000"/>
              <a:gd name="connsiteX135" fmla="*/ 475 w 9802"/>
              <a:gd name="connsiteY135" fmla="*/ 8217 h 10000"/>
              <a:gd name="connsiteX136" fmla="*/ 514 w 9802"/>
              <a:gd name="connsiteY136" fmla="*/ 8217 h 10000"/>
              <a:gd name="connsiteX137" fmla="*/ 552 w 9802"/>
              <a:gd name="connsiteY137" fmla="*/ 8372 h 10000"/>
              <a:gd name="connsiteX138" fmla="*/ 592 w 9802"/>
              <a:gd name="connsiteY138" fmla="*/ 8449 h 10000"/>
              <a:gd name="connsiteX139" fmla="*/ 632 w 9802"/>
              <a:gd name="connsiteY139" fmla="*/ 8372 h 10000"/>
              <a:gd name="connsiteX140" fmla="*/ 831 w 9802"/>
              <a:gd name="connsiteY140" fmla="*/ 8605 h 10000"/>
              <a:gd name="connsiteX141" fmla="*/ 790 w 9802"/>
              <a:gd name="connsiteY141" fmla="*/ 8915 h 10000"/>
              <a:gd name="connsiteX142" fmla="*/ 750 w 9802"/>
              <a:gd name="connsiteY142" fmla="*/ 8838 h 10000"/>
              <a:gd name="connsiteX143" fmla="*/ 711 w 9802"/>
              <a:gd name="connsiteY143" fmla="*/ 8915 h 10000"/>
              <a:gd name="connsiteX144" fmla="*/ 711 w 9802"/>
              <a:gd name="connsiteY144" fmla="*/ 9070 h 10000"/>
              <a:gd name="connsiteX145" fmla="*/ 750 w 9802"/>
              <a:gd name="connsiteY145" fmla="*/ 8993 h 10000"/>
              <a:gd name="connsiteX146" fmla="*/ 790 w 9802"/>
              <a:gd name="connsiteY146" fmla="*/ 9070 h 10000"/>
              <a:gd name="connsiteX147" fmla="*/ 672 w 9802"/>
              <a:gd name="connsiteY147" fmla="*/ 9147 h 10000"/>
              <a:gd name="connsiteX148" fmla="*/ 711 w 9802"/>
              <a:gd name="connsiteY148" fmla="*/ 9225 h 10000"/>
              <a:gd name="connsiteX149" fmla="*/ 632 w 9802"/>
              <a:gd name="connsiteY149" fmla="*/ 9380 h 10000"/>
              <a:gd name="connsiteX150" fmla="*/ 592 w 9802"/>
              <a:gd name="connsiteY150" fmla="*/ 9380 h 10000"/>
              <a:gd name="connsiteX151" fmla="*/ 632 w 9802"/>
              <a:gd name="connsiteY151" fmla="*/ 9380 h 10000"/>
              <a:gd name="connsiteX152" fmla="*/ 790 w 9802"/>
              <a:gd name="connsiteY152" fmla="*/ 9691 h 10000"/>
              <a:gd name="connsiteX153" fmla="*/ 989 w 9802"/>
              <a:gd name="connsiteY153" fmla="*/ 9691 h 10000"/>
              <a:gd name="connsiteX154" fmla="*/ 1067 w 9802"/>
              <a:gd name="connsiteY154" fmla="*/ 9768 h 10000"/>
              <a:gd name="connsiteX155" fmla="*/ 1146 w 9802"/>
              <a:gd name="connsiteY155" fmla="*/ 9768 h 10000"/>
              <a:gd name="connsiteX156" fmla="*/ 1226 w 9802"/>
              <a:gd name="connsiteY156" fmla="*/ 9923 h 10000"/>
              <a:gd name="connsiteX157" fmla="*/ 1265 w 9802"/>
              <a:gd name="connsiteY157" fmla="*/ 10000 h 10000"/>
              <a:gd name="connsiteX158" fmla="*/ 1303 w 9802"/>
              <a:gd name="connsiteY158" fmla="*/ 10000 h 10000"/>
              <a:gd name="connsiteX159" fmla="*/ 1345 w 9802"/>
              <a:gd name="connsiteY159" fmla="*/ 9923 h 10000"/>
              <a:gd name="connsiteX160" fmla="*/ 1265 w 9802"/>
              <a:gd name="connsiteY160" fmla="*/ 9768 h 10000"/>
              <a:gd name="connsiteX161" fmla="*/ 1265 w 9802"/>
              <a:gd name="connsiteY161" fmla="*/ 9613 h 10000"/>
              <a:gd name="connsiteX162" fmla="*/ 1226 w 9802"/>
              <a:gd name="connsiteY162" fmla="*/ 9457 h 10000"/>
              <a:gd name="connsiteX163" fmla="*/ 1303 w 9802"/>
              <a:gd name="connsiteY163" fmla="*/ 9225 h 10000"/>
              <a:gd name="connsiteX164" fmla="*/ 1345 w 9802"/>
              <a:gd name="connsiteY164" fmla="*/ 9302 h 10000"/>
              <a:gd name="connsiteX165" fmla="*/ 1384 w 9802"/>
              <a:gd name="connsiteY165" fmla="*/ 9225 h 10000"/>
              <a:gd name="connsiteX166" fmla="*/ 1384 w 9802"/>
              <a:gd name="connsiteY166" fmla="*/ 9147 h 10000"/>
              <a:gd name="connsiteX167" fmla="*/ 1345 w 9802"/>
              <a:gd name="connsiteY167" fmla="*/ 9147 h 10000"/>
              <a:gd name="connsiteX168" fmla="*/ 1384 w 9802"/>
              <a:gd name="connsiteY168" fmla="*/ 9070 h 10000"/>
              <a:gd name="connsiteX169" fmla="*/ 1345 w 9802"/>
              <a:gd name="connsiteY169" fmla="*/ 8915 h 10000"/>
              <a:gd name="connsiteX170" fmla="*/ 1265 w 9802"/>
              <a:gd name="connsiteY170" fmla="*/ 8915 h 10000"/>
              <a:gd name="connsiteX171" fmla="*/ 1226 w 9802"/>
              <a:gd name="connsiteY171" fmla="*/ 8760 h 10000"/>
              <a:gd name="connsiteX172" fmla="*/ 1265 w 9802"/>
              <a:gd name="connsiteY172" fmla="*/ 8372 h 10000"/>
              <a:gd name="connsiteX173" fmla="*/ 1345 w 9802"/>
              <a:gd name="connsiteY173" fmla="*/ 8528 h 10000"/>
              <a:gd name="connsiteX174" fmla="*/ 1384 w 9802"/>
              <a:gd name="connsiteY174" fmla="*/ 8528 h 10000"/>
              <a:gd name="connsiteX175" fmla="*/ 1345 w 9802"/>
              <a:gd name="connsiteY175" fmla="*/ 8372 h 10000"/>
              <a:gd name="connsiteX176" fmla="*/ 1463 w 9802"/>
              <a:gd name="connsiteY176" fmla="*/ 8140 h 10000"/>
              <a:gd name="connsiteX177" fmla="*/ 1542 w 9802"/>
              <a:gd name="connsiteY177" fmla="*/ 8217 h 10000"/>
              <a:gd name="connsiteX178" fmla="*/ 1581 w 9802"/>
              <a:gd name="connsiteY178" fmla="*/ 8140 h 10000"/>
              <a:gd name="connsiteX179" fmla="*/ 1659 w 9802"/>
              <a:gd name="connsiteY179" fmla="*/ 8217 h 10000"/>
              <a:gd name="connsiteX180" fmla="*/ 1778 w 9802"/>
              <a:gd name="connsiteY180" fmla="*/ 8372 h 10000"/>
              <a:gd name="connsiteX181" fmla="*/ 1858 w 9802"/>
              <a:gd name="connsiteY181" fmla="*/ 8295 h 10000"/>
              <a:gd name="connsiteX182" fmla="*/ 1937 w 9802"/>
              <a:gd name="connsiteY182" fmla="*/ 8295 h 10000"/>
              <a:gd name="connsiteX183" fmla="*/ 1977 w 9802"/>
              <a:gd name="connsiteY183" fmla="*/ 8372 h 10000"/>
              <a:gd name="connsiteX184" fmla="*/ 2134 w 9802"/>
              <a:gd name="connsiteY184" fmla="*/ 8372 h 10000"/>
              <a:gd name="connsiteX185" fmla="*/ 2173 w 9802"/>
              <a:gd name="connsiteY185" fmla="*/ 8217 h 10000"/>
              <a:gd name="connsiteX186" fmla="*/ 2056 w 9802"/>
              <a:gd name="connsiteY186" fmla="*/ 8140 h 10000"/>
              <a:gd name="connsiteX187" fmla="*/ 2134 w 9802"/>
              <a:gd name="connsiteY187" fmla="*/ 8062 h 10000"/>
              <a:gd name="connsiteX188" fmla="*/ 2094 w 9802"/>
              <a:gd name="connsiteY188" fmla="*/ 7985 h 10000"/>
              <a:gd name="connsiteX189" fmla="*/ 2134 w 9802"/>
              <a:gd name="connsiteY189" fmla="*/ 7907 h 10000"/>
              <a:gd name="connsiteX190" fmla="*/ 2134 w 9802"/>
              <a:gd name="connsiteY190" fmla="*/ 7675 h 10000"/>
              <a:gd name="connsiteX191" fmla="*/ 2213 w 9802"/>
              <a:gd name="connsiteY191" fmla="*/ 7752 h 10000"/>
              <a:gd name="connsiteX192" fmla="*/ 2569 w 9802"/>
              <a:gd name="connsiteY192" fmla="*/ 7520 h 10000"/>
              <a:gd name="connsiteX193" fmla="*/ 2569 w 9802"/>
              <a:gd name="connsiteY193" fmla="*/ 7442 h 10000"/>
              <a:gd name="connsiteX194" fmla="*/ 2609 w 9802"/>
              <a:gd name="connsiteY194" fmla="*/ 7442 h 10000"/>
              <a:gd name="connsiteX195" fmla="*/ 2727 w 9802"/>
              <a:gd name="connsiteY195" fmla="*/ 7442 h 10000"/>
              <a:gd name="connsiteX196" fmla="*/ 2767 w 9802"/>
              <a:gd name="connsiteY196" fmla="*/ 7598 h 10000"/>
              <a:gd name="connsiteX197" fmla="*/ 2767 w 9802"/>
              <a:gd name="connsiteY197" fmla="*/ 7675 h 10000"/>
              <a:gd name="connsiteX198" fmla="*/ 2806 w 9802"/>
              <a:gd name="connsiteY198" fmla="*/ 7675 h 10000"/>
              <a:gd name="connsiteX199" fmla="*/ 2885 w 9802"/>
              <a:gd name="connsiteY199" fmla="*/ 7752 h 10000"/>
              <a:gd name="connsiteX200" fmla="*/ 2885 w 9802"/>
              <a:gd name="connsiteY200" fmla="*/ 7830 h 10000"/>
              <a:gd name="connsiteX201" fmla="*/ 2965 w 9802"/>
              <a:gd name="connsiteY201" fmla="*/ 7830 h 10000"/>
              <a:gd name="connsiteX202" fmla="*/ 3043 w 9802"/>
              <a:gd name="connsiteY202" fmla="*/ 7675 h 10000"/>
              <a:gd name="connsiteX203" fmla="*/ 3124 w 9802"/>
              <a:gd name="connsiteY203" fmla="*/ 7598 h 10000"/>
              <a:gd name="connsiteX204" fmla="*/ 3162 w 9802"/>
              <a:gd name="connsiteY204" fmla="*/ 7830 h 10000"/>
              <a:gd name="connsiteX205" fmla="*/ 3320 w 9802"/>
              <a:gd name="connsiteY205" fmla="*/ 8372 h 10000"/>
              <a:gd name="connsiteX206" fmla="*/ 3359 w 9802"/>
              <a:gd name="connsiteY206" fmla="*/ 8217 h 10000"/>
              <a:gd name="connsiteX207" fmla="*/ 3399 w 9802"/>
              <a:gd name="connsiteY207" fmla="*/ 8372 h 10000"/>
              <a:gd name="connsiteX208" fmla="*/ 3519 w 9802"/>
              <a:gd name="connsiteY208" fmla="*/ 8295 h 10000"/>
              <a:gd name="connsiteX209" fmla="*/ 3637 w 9802"/>
              <a:gd name="connsiteY209" fmla="*/ 8528 h 10000"/>
              <a:gd name="connsiteX210" fmla="*/ 3715 w 9802"/>
              <a:gd name="connsiteY210" fmla="*/ 8605 h 10000"/>
              <a:gd name="connsiteX211" fmla="*/ 3715 w 9802"/>
              <a:gd name="connsiteY211" fmla="*/ 8528 h 10000"/>
              <a:gd name="connsiteX212" fmla="*/ 3755 w 9802"/>
              <a:gd name="connsiteY212" fmla="*/ 8683 h 10000"/>
              <a:gd name="connsiteX213" fmla="*/ 3715 w 9802"/>
              <a:gd name="connsiteY213" fmla="*/ 8760 h 10000"/>
              <a:gd name="connsiteX214" fmla="*/ 3795 w 9802"/>
              <a:gd name="connsiteY214" fmla="*/ 8683 h 10000"/>
              <a:gd name="connsiteX215" fmla="*/ 3834 w 9802"/>
              <a:gd name="connsiteY215" fmla="*/ 8605 h 10000"/>
              <a:gd name="connsiteX216" fmla="*/ 4033 w 9802"/>
              <a:gd name="connsiteY216" fmla="*/ 8372 h 10000"/>
              <a:gd name="connsiteX217" fmla="*/ 4190 w 9802"/>
              <a:gd name="connsiteY217" fmla="*/ 8449 h 10000"/>
              <a:gd name="connsiteX218" fmla="*/ 4269 w 9802"/>
              <a:gd name="connsiteY218" fmla="*/ 8528 h 10000"/>
              <a:gd name="connsiteX219" fmla="*/ 4426 w 9802"/>
              <a:gd name="connsiteY219" fmla="*/ 8528 h 10000"/>
              <a:gd name="connsiteX220" fmla="*/ 4426 w 9802"/>
              <a:gd name="connsiteY220" fmla="*/ 8372 h 10000"/>
              <a:gd name="connsiteX221" fmla="*/ 4426 w 9802"/>
              <a:gd name="connsiteY221" fmla="*/ 8217 h 10000"/>
              <a:gd name="connsiteX222" fmla="*/ 4505 w 9802"/>
              <a:gd name="connsiteY222" fmla="*/ 8140 h 10000"/>
              <a:gd name="connsiteX223" fmla="*/ 4664 w 9802"/>
              <a:gd name="connsiteY223" fmla="*/ 8217 h 10000"/>
              <a:gd name="connsiteX224" fmla="*/ 4742 w 9802"/>
              <a:gd name="connsiteY224" fmla="*/ 8449 h 10000"/>
              <a:gd name="connsiteX225" fmla="*/ 4783 w 9802"/>
              <a:gd name="connsiteY225" fmla="*/ 8449 h 10000"/>
              <a:gd name="connsiteX226" fmla="*/ 4861 w 9802"/>
              <a:gd name="connsiteY226" fmla="*/ 8372 h 10000"/>
              <a:gd name="connsiteX227" fmla="*/ 5100 w 9802"/>
              <a:gd name="connsiteY227" fmla="*/ 8605 h 10000"/>
              <a:gd name="connsiteX228" fmla="*/ 5218 w 9802"/>
              <a:gd name="connsiteY228" fmla="*/ 8683 h 10000"/>
              <a:gd name="connsiteX229" fmla="*/ 5376 w 9802"/>
              <a:gd name="connsiteY229" fmla="*/ 8605 h 10000"/>
              <a:gd name="connsiteX230" fmla="*/ 5454 w 9802"/>
              <a:gd name="connsiteY230" fmla="*/ 8449 h 10000"/>
              <a:gd name="connsiteX231" fmla="*/ 5573 w 9802"/>
              <a:gd name="connsiteY231" fmla="*/ 8528 h 10000"/>
              <a:gd name="connsiteX232" fmla="*/ 5652 w 9802"/>
              <a:gd name="connsiteY232" fmla="*/ 8605 h 10000"/>
              <a:gd name="connsiteX233" fmla="*/ 6995 w 9802"/>
              <a:gd name="connsiteY233" fmla="*/ 7675 h 10000"/>
              <a:gd name="connsiteX234" fmla="*/ 6917 w 9802"/>
              <a:gd name="connsiteY234" fmla="*/ 7675 h 10000"/>
              <a:gd name="connsiteX235" fmla="*/ 6877 w 9802"/>
              <a:gd name="connsiteY235" fmla="*/ 7675 h 10000"/>
              <a:gd name="connsiteX236" fmla="*/ 6838 w 9802"/>
              <a:gd name="connsiteY236" fmla="*/ 7598 h 10000"/>
              <a:gd name="connsiteX237" fmla="*/ 6759 w 9802"/>
              <a:gd name="connsiteY237" fmla="*/ 7598 h 10000"/>
              <a:gd name="connsiteX238" fmla="*/ 6759 w 9802"/>
              <a:gd name="connsiteY238" fmla="*/ 7520 h 10000"/>
              <a:gd name="connsiteX239" fmla="*/ 6877 w 9802"/>
              <a:gd name="connsiteY239" fmla="*/ 7287 h 10000"/>
              <a:gd name="connsiteX240" fmla="*/ 7234 w 9802"/>
              <a:gd name="connsiteY240" fmla="*/ 6590 h 10000"/>
              <a:gd name="connsiteX241" fmla="*/ 7392 w 9802"/>
              <a:gd name="connsiteY241" fmla="*/ 6512 h 10000"/>
              <a:gd name="connsiteX242" fmla="*/ 7431 w 9802"/>
              <a:gd name="connsiteY242" fmla="*/ 6590 h 10000"/>
              <a:gd name="connsiteX243" fmla="*/ 7471 w 9802"/>
              <a:gd name="connsiteY243" fmla="*/ 6512 h 10000"/>
              <a:gd name="connsiteX244" fmla="*/ 7589 w 9802"/>
              <a:gd name="connsiteY244" fmla="*/ 6590 h 10000"/>
              <a:gd name="connsiteX245" fmla="*/ 7629 w 9802"/>
              <a:gd name="connsiteY245" fmla="*/ 6434 h 10000"/>
              <a:gd name="connsiteX246" fmla="*/ 7747 w 9802"/>
              <a:gd name="connsiteY246" fmla="*/ 6512 h 10000"/>
              <a:gd name="connsiteX247" fmla="*/ 7787 w 9802"/>
              <a:gd name="connsiteY247" fmla="*/ 6512 h 10000"/>
              <a:gd name="connsiteX248" fmla="*/ 7747 w 9802"/>
              <a:gd name="connsiteY248" fmla="*/ 6590 h 10000"/>
              <a:gd name="connsiteX249" fmla="*/ 7747 w 9802"/>
              <a:gd name="connsiteY249" fmla="*/ 6667 h 10000"/>
              <a:gd name="connsiteX250" fmla="*/ 7985 w 9802"/>
              <a:gd name="connsiteY250" fmla="*/ 6590 h 10000"/>
              <a:gd name="connsiteX251" fmla="*/ 7945 w 9802"/>
              <a:gd name="connsiteY251" fmla="*/ 6512 h 10000"/>
              <a:gd name="connsiteX252" fmla="*/ 8103 w 9802"/>
              <a:gd name="connsiteY252" fmla="*/ 5969 h 10000"/>
              <a:gd name="connsiteX253" fmla="*/ 8300 w 9802"/>
              <a:gd name="connsiteY253" fmla="*/ 5892 h 10000"/>
              <a:gd name="connsiteX254" fmla="*/ 8300 w 9802"/>
              <a:gd name="connsiteY254" fmla="*/ 6047 h 10000"/>
              <a:gd name="connsiteX255" fmla="*/ 8300 w 9802"/>
              <a:gd name="connsiteY255" fmla="*/ 6202 h 10000"/>
              <a:gd name="connsiteX256" fmla="*/ 8498 w 9802"/>
              <a:gd name="connsiteY256" fmla="*/ 5969 h 10000"/>
              <a:gd name="connsiteX257" fmla="*/ 8498 w 9802"/>
              <a:gd name="connsiteY257" fmla="*/ 5737 h 10000"/>
              <a:gd name="connsiteX258" fmla="*/ 8576 w 9802"/>
              <a:gd name="connsiteY258" fmla="*/ 5737 h 10000"/>
              <a:gd name="connsiteX259" fmla="*/ 8537 w 9802"/>
              <a:gd name="connsiteY259" fmla="*/ 5814 h 10000"/>
              <a:gd name="connsiteX260" fmla="*/ 8498 w 9802"/>
              <a:gd name="connsiteY260" fmla="*/ 6202 h 10000"/>
              <a:gd name="connsiteX261" fmla="*/ 8419 w 9802"/>
              <a:gd name="connsiteY261" fmla="*/ 6279 h 10000"/>
              <a:gd name="connsiteX262" fmla="*/ 8498 w 9802"/>
              <a:gd name="connsiteY262" fmla="*/ 6590 h 10000"/>
              <a:gd name="connsiteX263" fmla="*/ 8498 w 9802"/>
              <a:gd name="connsiteY263" fmla="*/ 6434 h 10000"/>
              <a:gd name="connsiteX264" fmla="*/ 8576 w 9802"/>
              <a:gd name="connsiteY264" fmla="*/ 6434 h 10000"/>
              <a:gd name="connsiteX265" fmla="*/ 8695 w 9802"/>
              <a:gd name="connsiteY265" fmla="*/ 6279 h 10000"/>
              <a:gd name="connsiteX266" fmla="*/ 8695 w 9802"/>
              <a:gd name="connsiteY266" fmla="*/ 6434 h 10000"/>
              <a:gd name="connsiteX267" fmla="*/ 8735 w 9802"/>
              <a:gd name="connsiteY267" fmla="*/ 6356 h 10000"/>
              <a:gd name="connsiteX268" fmla="*/ 8855 w 9802"/>
              <a:gd name="connsiteY268" fmla="*/ 6279 h 10000"/>
              <a:gd name="connsiteX269" fmla="*/ 8932 w 9802"/>
              <a:gd name="connsiteY269" fmla="*/ 6434 h 10000"/>
              <a:gd name="connsiteX270" fmla="*/ 8972 w 9802"/>
              <a:gd name="connsiteY270" fmla="*/ 6279 h 10000"/>
              <a:gd name="connsiteX271" fmla="*/ 9370 w 9802"/>
              <a:gd name="connsiteY271" fmla="*/ 5737 h 10000"/>
              <a:gd name="connsiteX272" fmla="*/ 9487 w 9802"/>
              <a:gd name="connsiteY272" fmla="*/ 5814 h 10000"/>
              <a:gd name="connsiteX273" fmla="*/ 9526 w 9802"/>
              <a:gd name="connsiteY273" fmla="*/ 5737 h 10000"/>
              <a:gd name="connsiteX274" fmla="*/ 9447 w 9802"/>
              <a:gd name="connsiteY274" fmla="*/ 5271 h 10000"/>
              <a:gd name="connsiteX275" fmla="*/ 9408 w 9802"/>
              <a:gd name="connsiteY275" fmla="*/ 5271 h 10000"/>
              <a:gd name="connsiteX276" fmla="*/ 9408 w 9802"/>
              <a:gd name="connsiteY276" fmla="*/ 5116 h 10000"/>
              <a:gd name="connsiteX277" fmla="*/ 9447 w 9802"/>
              <a:gd name="connsiteY277" fmla="*/ 5116 h 10000"/>
              <a:gd name="connsiteX278" fmla="*/ 9526 w 9802"/>
              <a:gd name="connsiteY278" fmla="*/ 5039 h 10000"/>
              <a:gd name="connsiteX279" fmla="*/ 9605 w 9802"/>
              <a:gd name="connsiteY279" fmla="*/ 4884 h 10000"/>
              <a:gd name="connsiteX280" fmla="*/ 9565 w 9802"/>
              <a:gd name="connsiteY280" fmla="*/ 4729 h 10000"/>
              <a:gd name="connsiteX281" fmla="*/ 9605 w 9802"/>
              <a:gd name="connsiteY281" fmla="*/ 4652 h 10000"/>
              <a:gd name="connsiteX282" fmla="*/ 9645 w 9802"/>
              <a:gd name="connsiteY282" fmla="*/ 4884 h 10000"/>
              <a:gd name="connsiteX283" fmla="*/ 9724 w 9802"/>
              <a:gd name="connsiteY283" fmla="*/ 4884 h 10000"/>
              <a:gd name="connsiteX284" fmla="*/ 9802 w 9802"/>
              <a:gd name="connsiteY284" fmla="*/ 5039 h 10000"/>
              <a:gd name="connsiteX285" fmla="*/ 9526 w 9802"/>
              <a:gd name="connsiteY285" fmla="*/ 3799 h 10000"/>
              <a:gd name="connsiteX286" fmla="*/ 9288 w 9802"/>
              <a:gd name="connsiteY286" fmla="*/ 3488 h 10000"/>
              <a:gd name="connsiteX287" fmla="*/ 8972 w 9802"/>
              <a:gd name="connsiteY287" fmla="*/ 3411 h 10000"/>
              <a:gd name="connsiteX288" fmla="*/ 8972 w 9802"/>
              <a:gd name="connsiteY288" fmla="*/ 3799 h 10000"/>
              <a:gd name="connsiteX289" fmla="*/ 8894 w 9802"/>
              <a:gd name="connsiteY289" fmla="*/ 3876 h 10000"/>
              <a:gd name="connsiteX290" fmla="*/ 8813 w 9802"/>
              <a:gd name="connsiteY290" fmla="*/ 3721 h 10000"/>
              <a:gd name="connsiteX291" fmla="*/ 8813 w 9802"/>
              <a:gd name="connsiteY291" fmla="*/ 3566 h 10000"/>
              <a:gd name="connsiteX292" fmla="*/ 8855 w 9802"/>
              <a:gd name="connsiteY292" fmla="*/ 3566 h 10000"/>
              <a:gd name="connsiteX293" fmla="*/ 8894 w 9802"/>
              <a:gd name="connsiteY293" fmla="*/ 3488 h 10000"/>
              <a:gd name="connsiteX294" fmla="*/ 8813 w 9802"/>
              <a:gd name="connsiteY294" fmla="*/ 3488 h 10000"/>
              <a:gd name="connsiteX295" fmla="*/ 8735 w 9802"/>
              <a:gd name="connsiteY295" fmla="*/ 3644 h 10000"/>
              <a:gd name="connsiteX296" fmla="*/ 8537 w 9802"/>
              <a:gd name="connsiteY296" fmla="*/ 3566 h 10000"/>
              <a:gd name="connsiteX297" fmla="*/ 8341 w 9802"/>
              <a:gd name="connsiteY297" fmla="*/ 3566 h 10000"/>
              <a:gd name="connsiteX298" fmla="*/ 8261 w 9802"/>
              <a:gd name="connsiteY298" fmla="*/ 3488 h 10000"/>
              <a:gd name="connsiteX299" fmla="*/ 8300 w 9802"/>
              <a:gd name="connsiteY299" fmla="*/ 3333 h 10000"/>
              <a:gd name="connsiteX300" fmla="*/ 8221 w 9802"/>
              <a:gd name="connsiteY300" fmla="*/ 3101 h 10000"/>
              <a:gd name="connsiteX301" fmla="*/ 8062 w 9802"/>
              <a:gd name="connsiteY301" fmla="*/ 3023 h 10000"/>
              <a:gd name="connsiteX302" fmla="*/ 7828 w 9802"/>
              <a:gd name="connsiteY302" fmla="*/ 3178 h 10000"/>
              <a:gd name="connsiteX303" fmla="*/ 7787 w 9802"/>
              <a:gd name="connsiteY303" fmla="*/ 2946 h 10000"/>
              <a:gd name="connsiteX304" fmla="*/ 7707 w 9802"/>
              <a:gd name="connsiteY304" fmla="*/ 2946 h 10000"/>
              <a:gd name="connsiteX305" fmla="*/ 7668 w 9802"/>
              <a:gd name="connsiteY305" fmla="*/ 2868 h 10000"/>
              <a:gd name="connsiteX306" fmla="*/ 7668 w 9802"/>
              <a:gd name="connsiteY306" fmla="*/ 2636 h 10000"/>
              <a:gd name="connsiteX307" fmla="*/ 7392 w 9802"/>
              <a:gd name="connsiteY307" fmla="*/ 2480 h 10000"/>
              <a:gd name="connsiteX308" fmla="*/ 7075 w 9802"/>
              <a:gd name="connsiteY308" fmla="*/ 2325 h 10000"/>
              <a:gd name="connsiteX309" fmla="*/ 6995 w 9802"/>
              <a:gd name="connsiteY309" fmla="*/ 2636 h 10000"/>
              <a:gd name="connsiteX310" fmla="*/ 7075 w 9802"/>
              <a:gd name="connsiteY310" fmla="*/ 2868 h 10000"/>
              <a:gd name="connsiteX311" fmla="*/ 6838 w 9802"/>
              <a:gd name="connsiteY311" fmla="*/ 2868 h 10000"/>
              <a:gd name="connsiteX312" fmla="*/ 6798 w 9802"/>
              <a:gd name="connsiteY312" fmla="*/ 2868 h 10000"/>
              <a:gd name="connsiteX313" fmla="*/ 6719 w 9802"/>
              <a:gd name="connsiteY313" fmla="*/ 2946 h 10000"/>
              <a:gd name="connsiteX314" fmla="*/ 6601 w 9802"/>
              <a:gd name="connsiteY314" fmla="*/ 2714 h 10000"/>
              <a:gd name="connsiteX315" fmla="*/ 6520 w 9802"/>
              <a:gd name="connsiteY315" fmla="*/ 3178 h 10000"/>
              <a:gd name="connsiteX316" fmla="*/ 6443 w 9802"/>
              <a:gd name="connsiteY316" fmla="*/ 3101 h 10000"/>
              <a:gd name="connsiteX317" fmla="*/ 6363 w 9802"/>
              <a:gd name="connsiteY317" fmla="*/ 2791 h 10000"/>
              <a:gd name="connsiteX318" fmla="*/ 6403 w 9802"/>
              <a:gd name="connsiteY318" fmla="*/ 2403 h 10000"/>
              <a:gd name="connsiteX319" fmla="*/ 6325 w 9802"/>
              <a:gd name="connsiteY319" fmla="*/ 2170 h 10000"/>
              <a:gd name="connsiteX320" fmla="*/ 6087 w 9802"/>
              <a:gd name="connsiteY320" fmla="*/ 2016 h 10000"/>
              <a:gd name="connsiteX321" fmla="*/ 6007 w 9802"/>
              <a:gd name="connsiteY321" fmla="*/ 2016 h 10000"/>
              <a:gd name="connsiteX322" fmla="*/ 5968 w 9802"/>
              <a:gd name="connsiteY322" fmla="*/ 2170 h 10000"/>
              <a:gd name="connsiteX323" fmla="*/ 6007 w 9802"/>
              <a:gd name="connsiteY323" fmla="*/ 2325 h 10000"/>
              <a:gd name="connsiteX324" fmla="*/ 5693 w 9802"/>
              <a:gd name="connsiteY324" fmla="*/ 2248 h 10000"/>
              <a:gd name="connsiteX325" fmla="*/ 5731 w 9802"/>
              <a:gd name="connsiteY325" fmla="*/ 2016 h 10000"/>
              <a:gd name="connsiteX326" fmla="*/ 5535 w 9802"/>
              <a:gd name="connsiteY326" fmla="*/ 1938 h 10000"/>
              <a:gd name="connsiteX327" fmla="*/ 5416 w 9802"/>
              <a:gd name="connsiteY327" fmla="*/ 2093 h 10000"/>
              <a:gd name="connsiteX328" fmla="*/ 5179 w 9802"/>
              <a:gd name="connsiteY328" fmla="*/ 1861 h 10000"/>
              <a:gd name="connsiteX0" fmla="*/ 5284 w 9920"/>
              <a:gd name="connsiteY0" fmla="*/ 1861 h 10000"/>
              <a:gd name="connsiteX1" fmla="*/ 5284 w 9920"/>
              <a:gd name="connsiteY1" fmla="*/ 1861 h 10000"/>
              <a:gd name="connsiteX2" fmla="*/ 5242 w 9920"/>
              <a:gd name="connsiteY2" fmla="*/ 1938 h 10000"/>
              <a:gd name="connsiteX3" fmla="*/ 5284 w 9920"/>
              <a:gd name="connsiteY3" fmla="*/ 2093 h 10000"/>
              <a:gd name="connsiteX4" fmla="*/ 5120 w 9920"/>
              <a:gd name="connsiteY4" fmla="*/ 2248 h 10000"/>
              <a:gd name="connsiteX5" fmla="*/ 5079 w 9920"/>
              <a:gd name="connsiteY5" fmla="*/ 2248 h 10000"/>
              <a:gd name="connsiteX6" fmla="*/ 5120 w 9920"/>
              <a:gd name="connsiteY6" fmla="*/ 2016 h 10000"/>
              <a:gd name="connsiteX7" fmla="*/ 5525 w 9920"/>
              <a:gd name="connsiteY7" fmla="*/ 1318 h 10000"/>
              <a:gd name="connsiteX8" fmla="*/ 5525 w 9920"/>
              <a:gd name="connsiteY8" fmla="*/ 853 h 10000"/>
              <a:gd name="connsiteX9" fmla="*/ 5364 w 9920"/>
              <a:gd name="connsiteY9" fmla="*/ 543 h 10000"/>
              <a:gd name="connsiteX10" fmla="*/ 5161 w 9920"/>
              <a:gd name="connsiteY10" fmla="*/ 543 h 10000"/>
              <a:gd name="connsiteX11" fmla="*/ 5161 w 9920"/>
              <a:gd name="connsiteY11" fmla="*/ 698 h 10000"/>
              <a:gd name="connsiteX12" fmla="*/ 5040 w 9920"/>
              <a:gd name="connsiteY12" fmla="*/ 698 h 10000"/>
              <a:gd name="connsiteX13" fmla="*/ 5120 w 9920"/>
              <a:gd name="connsiteY13" fmla="*/ 387 h 10000"/>
              <a:gd name="connsiteX14" fmla="*/ 4919 w 9920"/>
              <a:gd name="connsiteY14" fmla="*/ 310 h 10000"/>
              <a:gd name="connsiteX15" fmla="*/ 5040 w 9920"/>
              <a:gd name="connsiteY15" fmla="*/ 155 h 10000"/>
              <a:gd name="connsiteX16" fmla="*/ 4919 w 9920"/>
              <a:gd name="connsiteY16" fmla="*/ 0 h 10000"/>
              <a:gd name="connsiteX17" fmla="*/ 4717 w 9920"/>
              <a:gd name="connsiteY17" fmla="*/ 387 h 10000"/>
              <a:gd name="connsiteX18" fmla="*/ 4717 w 9920"/>
              <a:gd name="connsiteY18" fmla="*/ 698 h 10000"/>
              <a:gd name="connsiteX19" fmla="*/ 4596 w 9920"/>
              <a:gd name="connsiteY19" fmla="*/ 698 h 10000"/>
              <a:gd name="connsiteX20" fmla="*/ 4235 w 9920"/>
              <a:gd name="connsiteY20" fmla="*/ 853 h 10000"/>
              <a:gd name="connsiteX21" fmla="*/ 3911 w 9920"/>
              <a:gd name="connsiteY21" fmla="*/ 1240 h 10000"/>
              <a:gd name="connsiteX22" fmla="*/ 3790 w 9920"/>
              <a:gd name="connsiteY22" fmla="*/ 1551 h 10000"/>
              <a:gd name="connsiteX23" fmla="*/ 3831 w 9920"/>
              <a:gd name="connsiteY23" fmla="*/ 1938 h 10000"/>
              <a:gd name="connsiteX24" fmla="*/ 3387 w 9920"/>
              <a:gd name="connsiteY24" fmla="*/ 2093 h 10000"/>
              <a:gd name="connsiteX25" fmla="*/ 3427 w 9920"/>
              <a:gd name="connsiteY25" fmla="*/ 2559 h 10000"/>
              <a:gd name="connsiteX26" fmla="*/ 3549 w 9920"/>
              <a:gd name="connsiteY26" fmla="*/ 2791 h 10000"/>
              <a:gd name="connsiteX27" fmla="*/ 3468 w 9920"/>
              <a:gd name="connsiteY27" fmla="*/ 2868 h 10000"/>
              <a:gd name="connsiteX28" fmla="*/ 3347 w 9920"/>
              <a:gd name="connsiteY28" fmla="*/ 2559 h 10000"/>
              <a:gd name="connsiteX29" fmla="*/ 3226 w 9920"/>
              <a:gd name="connsiteY29" fmla="*/ 2480 h 10000"/>
              <a:gd name="connsiteX30" fmla="*/ 3187 w 9920"/>
              <a:gd name="connsiteY30" fmla="*/ 2559 h 10000"/>
              <a:gd name="connsiteX31" fmla="*/ 3104 w 9920"/>
              <a:gd name="connsiteY31" fmla="*/ 2403 h 10000"/>
              <a:gd name="connsiteX32" fmla="*/ 3025 w 9920"/>
              <a:gd name="connsiteY32" fmla="*/ 2248 h 10000"/>
              <a:gd name="connsiteX33" fmla="*/ 3025 w 9920"/>
              <a:gd name="connsiteY33" fmla="*/ 2325 h 10000"/>
              <a:gd name="connsiteX34" fmla="*/ 3065 w 9920"/>
              <a:gd name="connsiteY34" fmla="*/ 2559 h 10000"/>
              <a:gd name="connsiteX35" fmla="*/ 2943 w 9920"/>
              <a:gd name="connsiteY35" fmla="*/ 2946 h 10000"/>
              <a:gd name="connsiteX36" fmla="*/ 3025 w 9920"/>
              <a:gd name="connsiteY36" fmla="*/ 3256 h 10000"/>
              <a:gd name="connsiteX37" fmla="*/ 2983 w 9920"/>
              <a:gd name="connsiteY37" fmla="*/ 3566 h 10000"/>
              <a:gd name="connsiteX38" fmla="*/ 2983 w 9920"/>
              <a:gd name="connsiteY38" fmla="*/ 3799 h 10000"/>
              <a:gd name="connsiteX39" fmla="*/ 3104 w 9920"/>
              <a:gd name="connsiteY39" fmla="*/ 3799 h 10000"/>
              <a:gd name="connsiteX40" fmla="*/ 3025 w 9920"/>
              <a:gd name="connsiteY40" fmla="*/ 3876 h 10000"/>
              <a:gd name="connsiteX41" fmla="*/ 3065 w 9920"/>
              <a:gd name="connsiteY41" fmla="*/ 4263 h 10000"/>
              <a:gd name="connsiteX42" fmla="*/ 2823 w 9920"/>
              <a:gd name="connsiteY42" fmla="*/ 4652 h 10000"/>
              <a:gd name="connsiteX43" fmla="*/ 2782 w 9920"/>
              <a:gd name="connsiteY43" fmla="*/ 4574 h 10000"/>
              <a:gd name="connsiteX44" fmla="*/ 2943 w 9920"/>
              <a:gd name="connsiteY44" fmla="*/ 4186 h 10000"/>
              <a:gd name="connsiteX45" fmla="*/ 2983 w 9920"/>
              <a:gd name="connsiteY45" fmla="*/ 3954 h 10000"/>
              <a:gd name="connsiteX46" fmla="*/ 2901 w 9920"/>
              <a:gd name="connsiteY46" fmla="*/ 3799 h 10000"/>
              <a:gd name="connsiteX47" fmla="*/ 2901 w 9920"/>
              <a:gd name="connsiteY47" fmla="*/ 3023 h 10000"/>
              <a:gd name="connsiteX48" fmla="*/ 2863 w 9920"/>
              <a:gd name="connsiteY48" fmla="*/ 2868 h 10000"/>
              <a:gd name="connsiteX49" fmla="*/ 2901 w 9920"/>
              <a:gd name="connsiteY49" fmla="*/ 2403 h 10000"/>
              <a:gd name="connsiteX50" fmla="*/ 2823 w 9920"/>
              <a:gd name="connsiteY50" fmla="*/ 2325 h 10000"/>
              <a:gd name="connsiteX51" fmla="*/ 2863 w 9920"/>
              <a:gd name="connsiteY51" fmla="*/ 2248 h 10000"/>
              <a:gd name="connsiteX52" fmla="*/ 2823 w 9920"/>
              <a:gd name="connsiteY52" fmla="*/ 2093 h 10000"/>
              <a:gd name="connsiteX53" fmla="*/ 2740 w 9920"/>
              <a:gd name="connsiteY53" fmla="*/ 2170 h 10000"/>
              <a:gd name="connsiteX54" fmla="*/ 2541 w 9920"/>
              <a:gd name="connsiteY54" fmla="*/ 3178 h 10000"/>
              <a:gd name="connsiteX55" fmla="*/ 2541 w 9920"/>
              <a:gd name="connsiteY55" fmla="*/ 3566 h 10000"/>
              <a:gd name="connsiteX56" fmla="*/ 2662 w 9920"/>
              <a:gd name="connsiteY56" fmla="*/ 3876 h 10000"/>
              <a:gd name="connsiteX57" fmla="*/ 2662 w 9920"/>
              <a:gd name="connsiteY57" fmla="*/ 4031 h 10000"/>
              <a:gd name="connsiteX58" fmla="*/ 2541 w 9920"/>
              <a:gd name="connsiteY58" fmla="*/ 3876 h 10000"/>
              <a:gd name="connsiteX59" fmla="*/ 2058 w 9920"/>
              <a:gd name="connsiteY59" fmla="*/ 3256 h 10000"/>
              <a:gd name="connsiteX60" fmla="*/ 2017 w 9920"/>
              <a:gd name="connsiteY60" fmla="*/ 3411 h 10000"/>
              <a:gd name="connsiteX61" fmla="*/ 2177 w 9920"/>
              <a:gd name="connsiteY61" fmla="*/ 3799 h 10000"/>
              <a:gd name="connsiteX62" fmla="*/ 2098 w 9920"/>
              <a:gd name="connsiteY62" fmla="*/ 3876 h 10000"/>
              <a:gd name="connsiteX63" fmla="*/ 2058 w 9920"/>
              <a:gd name="connsiteY63" fmla="*/ 3799 h 10000"/>
              <a:gd name="connsiteX64" fmla="*/ 1814 w 9920"/>
              <a:gd name="connsiteY64" fmla="*/ 3954 h 10000"/>
              <a:gd name="connsiteX65" fmla="*/ 1775 w 9920"/>
              <a:gd name="connsiteY65" fmla="*/ 4109 h 10000"/>
              <a:gd name="connsiteX66" fmla="*/ 1734 w 9920"/>
              <a:gd name="connsiteY66" fmla="*/ 3954 h 10000"/>
              <a:gd name="connsiteX67" fmla="*/ 1734 w 9920"/>
              <a:gd name="connsiteY67" fmla="*/ 3799 h 10000"/>
              <a:gd name="connsiteX68" fmla="*/ 1329 w 9920"/>
              <a:gd name="connsiteY68" fmla="*/ 4263 h 10000"/>
              <a:gd name="connsiteX69" fmla="*/ 1329 w 9920"/>
              <a:gd name="connsiteY69" fmla="*/ 4418 h 10000"/>
              <a:gd name="connsiteX70" fmla="*/ 1251 w 9920"/>
              <a:gd name="connsiteY70" fmla="*/ 4496 h 10000"/>
              <a:gd name="connsiteX71" fmla="*/ 1129 w 9920"/>
              <a:gd name="connsiteY71" fmla="*/ 4341 h 10000"/>
              <a:gd name="connsiteX72" fmla="*/ 1251 w 9920"/>
              <a:gd name="connsiteY72" fmla="*/ 4186 h 10000"/>
              <a:gd name="connsiteX73" fmla="*/ 1210 w 9920"/>
              <a:gd name="connsiteY73" fmla="*/ 3954 h 10000"/>
              <a:gd name="connsiteX74" fmla="*/ 1049 w 9920"/>
              <a:gd name="connsiteY74" fmla="*/ 3876 h 10000"/>
              <a:gd name="connsiteX75" fmla="*/ 1089 w 9920"/>
              <a:gd name="connsiteY75" fmla="*/ 4031 h 10000"/>
              <a:gd name="connsiteX76" fmla="*/ 1089 w 9920"/>
              <a:gd name="connsiteY76" fmla="*/ 4418 h 10000"/>
              <a:gd name="connsiteX77" fmla="*/ 1129 w 9920"/>
              <a:gd name="connsiteY77" fmla="*/ 4574 h 10000"/>
              <a:gd name="connsiteX78" fmla="*/ 1089 w 9920"/>
              <a:gd name="connsiteY78" fmla="*/ 4729 h 10000"/>
              <a:gd name="connsiteX79" fmla="*/ 967 w 9920"/>
              <a:gd name="connsiteY79" fmla="*/ 4652 h 10000"/>
              <a:gd name="connsiteX80" fmla="*/ 806 w 9920"/>
              <a:gd name="connsiteY80" fmla="*/ 4884 h 10000"/>
              <a:gd name="connsiteX81" fmla="*/ 887 w 9920"/>
              <a:gd name="connsiteY81" fmla="*/ 5194 h 10000"/>
              <a:gd name="connsiteX82" fmla="*/ 645 w 9920"/>
              <a:gd name="connsiteY82" fmla="*/ 5039 h 10000"/>
              <a:gd name="connsiteX83" fmla="*/ 604 w 9920"/>
              <a:gd name="connsiteY83" fmla="*/ 5116 h 10000"/>
              <a:gd name="connsiteX84" fmla="*/ 686 w 9920"/>
              <a:gd name="connsiteY84" fmla="*/ 5349 h 10000"/>
              <a:gd name="connsiteX85" fmla="*/ 604 w 9920"/>
              <a:gd name="connsiteY85" fmla="*/ 5349 h 10000"/>
              <a:gd name="connsiteX86" fmla="*/ 485 w 9920"/>
              <a:gd name="connsiteY86" fmla="*/ 5194 h 10000"/>
              <a:gd name="connsiteX87" fmla="*/ 485 w 9920"/>
              <a:gd name="connsiteY87" fmla="*/ 4729 h 10000"/>
              <a:gd name="connsiteX88" fmla="*/ 363 w 9920"/>
              <a:gd name="connsiteY88" fmla="*/ 4574 h 10000"/>
              <a:gd name="connsiteX89" fmla="*/ 322 w 9920"/>
              <a:gd name="connsiteY89" fmla="*/ 4418 h 10000"/>
              <a:gd name="connsiteX90" fmla="*/ 403 w 9920"/>
              <a:gd name="connsiteY90" fmla="*/ 4496 h 10000"/>
              <a:gd name="connsiteX91" fmla="*/ 725 w 9920"/>
              <a:gd name="connsiteY91" fmla="*/ 4729 h 10000"/>
              <a:gd name="connsiteX92" fmla="*/ 927 w 9920"/>
              <a:gd name="connsiteY92" fmla="*/ 4496 h 10000"/>
              <a:gd name="connsiteX93" fmla="*/ 887 w 9920"/>
              <a:gd name="connsiteY93" fmla="*/ 4263 h 10000"/>
              <a:gd name="connsiteX94" fmla="*/ 645 w 9920"/>
              <a:gd name="connsiteY94" fmla="*/ 3799 h 10000"/>
              <a:gd name="connsiteX95" fmla="*/ 403 w 9920"/>
              <a:gd name="connsiteY95" fmla="*/ 3644 h 10000"/>
              <a:gd name="connsiteX96" fmla="*/ 403 w 9920"/>
              <a:gd name="connsiteY96" fmla="*/ 3566 h 10000"/>
              <a:gd name="connsiteX97" fmla="*/ 322 w 9920"/>
              <a:gd name="connsiteY97" fmla="*/ 3488 h 10000"/>
              <a:gd name="connsiteX98" fmla="*/ 241 w 9920"/>
              <a:gd name="connsiteY98" fmla="*/ 3566 h 10000"/>
              <a:gd name="connsiteX99" fmla="*/ 241 w 9920"/>
              <a:gd name="connsiteY99" fmla="*/ 3644 h 10000"/>
              <a:gd name="connsiteX100" fmla="*/ 202 w 9920"/>
              <a:gd name="connsiteY100" fmla="*/ 3644 h 10000"/>
              <a:gd name="connsiteX101" fmla="*/ 120 w 9920"/>
              <a:gd name="connsiteY101" fmla="*/ 3799 h 10000"/>
              <a:gd name="connsiteX102" fmla="*/ 120 w 9920"/>
              <a:gd name="connsiteY102" fmla="*/ 4031 h 10000"/>
              <a:gd name="connsiteX103" fmla="*/ 202 w 9920"/>
              <a:gd name="connsiteY103" fmla="*/ 4186 h 10000"/>
              <a:gd name="connsiteX104" fmla="*/ 161 w 9920"/>
              <a:gd name="connsiteY104" fmla="*/ 4418 h 10000"/>
              <a:gd name="connsiteX105" fmla="*/ 202 w 9920"/>
              <a:gd name="connsiteY105" fmla="*/ 4807 h 10000"/>
              <a:gd name="connsiteX106" fmla="*/ 161 w 9920"/>
              <a:gd name="connsiteY106" fmla="*/ 5039 h 10000"/>
              <a:gd name="connsiteX107" fmla="*/ 241 w 9920"/>
              <a:gd name="connsiteY107" fmla="*/ 5271 h 10000"/>
              <a:gd name="connsiteX108" fmla="*/ 202 w 9920"/>
              <a:gd name="connsiteY108" fmla="*/ 5426 h 10000"/>
              <a:gd name="connsiteX109" fmla="*/ 283 w 9920"/>
              <a:gd name="connsiteY109" fmla="*/ 5582 h 10000"/>
              <a:gd name="connsiteX110" fmla="*/ 283 w 9920"/>
              <a:gd name="connsiteY110" fmla="*/ 5659 h 10000"/>
              <a:gd name="connsiteX111" fmla="*/ 161 w 9920"/>
              <a:gd name="connsiteY111" fmla="*/ 6047 h 10000"/>
              <a:gd name="connsiteX112" fmla="*/ 40 w 9920"/>
              <a:gd name="connsiteY112" fmla="*/ 6202 h 10000"/>
              <a:gd name="connsiteX113" fmla="*/ 80 w 9920"/>
              <a:gd name="connsiteY113" fmla="*/ 6202 h 10000"/>
              <a:gd name="connsiteX114" fmla="*/ 161 w 9920"/>
              <a:gd name="connsiteY114" fmla="*/ 6356 h 10000"/>
              <a:gd name="connsiteX115" fmla="*/ 80 w 9920"/>
              <a:gd name="connsiteY115" fmla="*/ 6512 h 10000"/>
              <a:gd name="connsiteX116" fmla="*/ 40 w 9920"/>
              <a:gd name="connsiteY116" fmla="*/ 6590 h 10000"/>
              <a:gd name="connsiteX117" fmla="*/ 0 w 9920"/>
              <a:gd name="connsiteY117" fmla="*/ 6590 h 10000"/>
              <a:gd name="connsiteX118" fmla="*/ 40 w 9920"/>
              <a:gd name="connsiteY118" fmla="*/ 6822 h 10000"/>
              <a:gd name="connsiteX119" fmla="*/ 40 w 9920"/>
              <a:gd name="connsiteY119" fmla="*/ 6900 h 10000"/>
              <a:gd name="connsiteX120" fmla="*/ 40 w 9920"/>
              <a:gd name="connsiteY120" fmla="*/ 6977 h 10000"/>
              <a:gd name="connsiteX121" fmla="*/ 40 w 9920"/>
              <a:gd name="connsiteY121" fmla="*/ 7054 h 10000"/>
              <a:gd name="connsiteX122" fmla="*/ 80 w 9920"/>
              <a:gd name="connsiteY122" fmla="*/ 7209 h 10000"/>
              <a:gd name="connsiteX123" fmla="*/ 202 w 9920"/>
              <a:gd name="connsiteY123" fmla="*/ 7287 h 10000"/>
              <a:gd name="connsiteX124" fmla="*/ 241 w 9920"/>
              <a:gd name="connsiteY124" fmla="*/ 7364 h 10000"/>
              <a:gd name="connsiteX125" fmla="*/ 241 w 9920"/>
              <a:gd name="connsiteY125" fmla="*/ 7520 h 10000"/>
              <a:gd name="connsiteX126" fmla="*/ 322 w 9920"/>
              <a:gd name="connsiteY126" fmla="*/ 7752 h 10000"/>
              <a:gd name="connsiteX127" fmla="*/ 363 w 9920"/>
              <a:gd name="connsiteY127" fmla="*/ 7752 h 10000"/>
              <a:gd name="connsiteX128" fmla="*/ 322 w 9920"/>
              <a:gd name="connsiteY128" fmla="*/ 7907 h 10000"/>
              <a:gd name="connsiteX129" fmla="*/ 283 w 9920"/>
              <a:gd name="connsiteY129" fmla="*/ 7830 h 10000"/>
              <a:gd name="connsiteX130" fmla="*/ 283 w 9920"/>
              <a:gd name="connsiteY130" fmla="*/ 7907 h 10000"/>
              <a:gd name="connsiteX131" fmla="*/ 322 w 9920"/>
              <a:gd name="connsiteY131" fmla="*/ 8062 h 10000"/>
              <a:gd name="connsiteX132" fmla="*/ 443 w 9920"/>
              <a:gd name="connsiteY132" fmla="*/ 8062 h 10000"/>
              <a:gd name="connsiteX133" fmla="*/ 485 w 9920"/>
              <a:gd name="connsiteY133" fmla="*/ 8140 h 10000"/>
              <a:gd name="connsiteX134" fmla="*/ 443 w 9920"/>
              <a:gd name="connsiteY134" fmla="*/ 8140 h 10000"/>
              <a:gd name="connsiteX135" fmla="*/ 485 w 9920"/>
              <a:gd name="connsiteY135" fmla="*/ 8217 h 10000"/>
              <a:gd name="connsiteX136" fmla="*/ 524 w 9920"/>
              <a:gd name="connsiteY136" fmla="*/ 8217 h 10000"/>
              <a:gd name="connsiteX137" fmla="*/ 563 w 9920"/>
              <a:gd name="connsiteY137" fmla="*/ 8372 h 10000"/>
              <a:gd name="connsiteX138" fmla="*/ 604 w 9920"/>
              <a:gd name="connsiteY138" fmla="*/ 8449 h 10000"/>
              <a:gd name="connsiteX139" fmla="*/ 645 w 9920"/>
              <a:gd name="connsiteY139" fmla="*/ 8372 h 10000"/>
              <a:gd name="connsiteX140" fmla="*/ 848 w 9920"/>
              <a:gd name="connsiteY140" fmla="*/ 8605 h 10000"/>
              <a:gd name="connsiteX141" fmla="*/ 806 w 9920"/>
              <a:gd name="connsiteY141" fmla="*/ 8915 h 10000"/>
              <a:gd name="connsiteX142" fmla="*/ 765 w 9920"/>
              <a:gd name="connsiteY142" fmla="*/ 8838 h 10000"/>
              <a:gd name="connsiteX143" fmla="*/ 725 w 9920"/>
              <a:gd name="connsiteY143" fmla="*/ 8915 h 10000"/>
              <a:gd name="connsiteX144" fmla="*/ 725 w 9920"/>
              <a:gd name="connsiteY144" fmla="*/ 9070 h 10000"/>
              <a:gd name="connsiteX145" fmla="*/ 765 w 9920"/>
              <a:gd name="connsiteY145" fmla="*/ 8993 h 10000"/>
              <a:gd name="connsiteX146" fmla="*/ 806 w 9920"/>
              <a:gd name="connsiteY146" fmla="*/ 9070 h 10000"/>
              <a:gd name="connsiteX147" fmla="*/ 686 w 9920"/>
              <a:gd name="connsiteY147" fmla="*/ 9147 h 10000"/>
              <a:gd name="connsiteX148" fmla="*/ 725 w 9920"/>
              <a:gd name="connsiteY148" fmla="*/ 9225 h 10000"/>
              <a:gd name="connsiteX149" fmla="*/ 645 w 9920"/>
              <a:gd name="connsiteY149" fmla="*/ 9380 h 10000"/>
              <a:gd name="connsiteX150" fmla="*/ 604 w 9920"/>
              <a:gd name="connsiteY150" fmla="*/ 9380 h 10000"/>
              <a:gd name="connsiteX151" fmla="*/ 645 w 9920"/>
              <a:gd name="connsiteY151" fmla="*/ 9380 h 10000"/>
              <a:gd name="connsiteX152" fmla="*/ 806 w 9920"/>
              <a:gd name="connsiteY152" fmla="*/ 9691 h 10000"/>
              <a:gd name="connsiteX153" fmla="*/ 1009 w 9920"/>
              <a:gd name="connsiteY153" fmla="*/ 9691 h 10000"/>
              <a:gd name="connsiteX154" fmla="*/ 1089 w 9920"/>
              <a:gd name="connsiteY154" fmla="*/ 9768 h 10000"/>
              <a:gd name="connsiteX155" fmla="*/ 1169 w 9920"/>
              <a:gd name="connsiteY155" fmla="*/ 9768 h 10000"/>
              <a:gd name="connsiteX156" fmla="*/ 1251 w 9920"/>
              <a:gd name="connsiteY156" fmla="*/ 9923 h 10000"/>
              <a:gd name="connsiteX157" fmla="*/ 1291 w 9920"/>
              <a:gd name="connsiteY157" fmla="*/ 10000 h 10000"/>
              <a:gd name="connsiteX158" fmla="*/ 1329 w 9920"/>
              <a:gd name="connsiteY158" fmla="*/ 10000 h 10000"/>
              <a:gd name="connsiteX159" fmla="*/ 1372 w 9920"/>
              <a:gd name="connsiteY159" fmla="*/ 9923 h 10000"/>
              <a:gd name="connsiteX160" fmla="*/ 1291 w 9920"/>
              <a:gd name="connsiteY160" fmla="*/ 9768 h 10000"/>
              <a:gd name="connsiteX161" fmla="*/ 1291 w 9920"/>
              <a:gd name="connsiteY161" fmla="*/ 9613 h 10000"/>
              <a:gd name="connsiteX162" fmla="*/ 1251 w 9920"/>
              <a:gd name="connsiteY162" fmla="*/ 9457 h 10000"/>
              <a:gd name="connsiteX163" fmla="*/ 1329 w 9920"/>
              <a:gd name="connsiteY163" fmla="*/ 9225 h 10000"/>
              <a:gd name="connsiteX164" fmla="*/ 1372 w 9920"/>
              <a:gd name="connsiteY164" fmla="*/ 9302 h 10000"/>
              <a:gd name="connsiteX165" fmla="*/ 1412 w 9920"/>
              <a:gd name="connsiteY165" fmla="*/ 9225 h 10000"/>
              <a:gd name="connsiteX166" fmla="*/ 1412 w 9920"/>
              <a:gd name="connsiteY166" fmla="*/ 9147 h 10000"/>
              <a:gd name="connsiteX167" fmla="*/ 1372 w 9920"/>
              <a:gd name="connsiteY167" fmla="*/ 9147 h 10000"/>
              <a:gd name="connsiteX168" fmla="*/ 1412 w 9920"/>
              <a:gd name="connsiteY168" fmla="*/ 9070 h 10000"/>
              <a:gd name="connsiteX169" fmla="*/ 1372 w 9920"/>
              <a:gd name="connsiteY169" fmla="*/ 8915 h 10000"/>
              <a:gd name="connsiteX170" fmla="*/ 1291 w 9920"/>
              <a:gd name="connsiteY170" fmla="*/ 8915 h 10000"/>
              <a:gd name="connsiteX171" fmla="*/ 1251 w 9920"/>
              <a:gd name="connsiteY171" fmla="*/ 8760 h 10000"/>
              <a:gd name="connsiteX172" fmla="*/ 1291 w 9920"/>
              <a:gd name="connsiteY172" fmla="*/ 8372 h 10000"/>
              <a:gd name="connsiteX173" fmla="*/ 1372 w 9920"/>
              <a:gd name="connsiteY173" fmla="*/ 8528 h 10000"/>
              <a:gd name="connsiteX174" fmla="*/ 1412 w 9920"/>
              <a:gd name="connsiteY174" fmla="*/ 8528 h 10000"/>
              <a:gd name="connsiteX175" fmla="*/ 1372 w 9920"/>
              <a:gd name="connsiteY175" fmla="*/ 8372 h 10000"/>
              <a:gd name="connsiteX176" fmla="*/ 1493 w 9920"/>
              <a:gd name="connsiteY176" fmla="*/ 8140 h 10000"/>
              <a:gd name="connsiteX177" fmla="*/ 1573 w 9920"/>
              <a:gd name="connsiteY177" fmla="*/ 8217 h 10000"/>
              <a:gd name="connsiteX178" fmla="*/ 1613 w 9920"/>
              <a:gd name="connsiteY178" fmla="*/ 8140 h 10000"/>
              <a:gd name="connsiteX179" fmla="*/ 1693 w 9920"/>
              <a:gd name="connsiteY179" fmla="*/ 8217 h 10000"/>
              <a:gd name="connsiteX180" fmla="*/ 1814 w 9920"/>
              <a:gd name="connsiteY180" fmla="*/ 8372 h 10000"/>
              <a:gd name="connsiteX181" fmla="*/ 1896 w 9920"/>
              <a:gd name="connsiteY181" fmla="*/ 8295 h 10000"/>
              <a:gd name="connsiteX182" fmla="*/ 1976 w 9920"/>
              <a:gd name="connsiteY182" fmla="*/ 8295 h 10000"/>
              <a:gd name="connsiteX183" fmla="*/ 2017 w 9920"/>
              <a:gd name="connsiteY183" fmla="*/ 8372 h 10000"/>
              <a:gd name="connsiteX184" fmla="*/ 2177 w 9920"/>
              <a:gd name="connsiteY184" fmla="*/ 8372 h 10000"/>
              <a:gd name="connsiteX185" fmla="*/ 2217 w 9920"/>
              <a:gd name="connsiteY185" fmla="*/ 8217 h 10000"/>
              <a:gd name="connsiteX186" fmla="*/ 2098 w 9920"/>
              <a:gd name="connsiteY186" fmla="*/ 8140 h 10000"/>
              <a:gd name="connsiteX187" fmla="*/ 2177 w 9920"/>
              <a:gd name="connsiteY187" fmla="*/ 8062 h 10000"/>
              <a:gd name="connsiteX188" fmla="*/ 2136 w 9920"/>
              <a:gd name="connsiteY188" fmla="*/ 7985 h 10000"/>
              <a:gd name="connsiteX189" fmla="*/ 2177 w 9920"/>
              <a:gd name="connsiteY189" fmla="*/ 7907 h 10000"/>
              <a:gd name="connsiteX190" fmla="*/ 2177 w 9920"/>
              <a:gd name="connsiteY190" fmla="*/ 7675 h 10000"/>
              <a:gd name="connsiteX191" fmla="*/ 2258 w 9920"/>
              <a:gd name="connsiteY191" fmla="*/ 7752 h 10000"/>
              <a:gd name="connsiteX192" fmla="*/ 2621 w 9920"/>
              <a:gd name="connsiteY192" fmla="*/ 7520 h 10000"/>
              <a:gd name="connsiteX193" fmla="*/ 2621 w 9920"/>
              <a:gd name="connsiteY193" fmla="*/ 7442 h 10000"/>
              <a:gd name="connsiteX194" fmla="*/ 2662 w 9920"/>
              <a:gd name="connsiteY194" fmla="*/ 7442 h 10000"/>
              <a:gd name="connsiteX195" fmla="*/ 2782 w 9920"/>
              <a:gd name="connsiteY195" fmla="*/ 7442 h 10000"/>
              <a:gd name="connsiteX196" fmla="*/ 2823 w 9920"/>
              <a:gd name="connsiteY196" fmla="*/ 7598 h 10000"/>
              <a:gd name="connsiteX197" fmla="*/ 2823 w 9920"/>
              <a:gd name="connsiteY197" fmla="*/ 7675 h 10000"/>
              <a:gd name="connsiteX198" fmla="*/ 2863 w 9920"/>
              <a:gd name="connsiteY198" fmla="*/ 7675 h 10000"/>
              <a:gd name="connsiteX199" fmla="*/ 2943 w 9920"/>
              <a:gd name="connsiteY199" fmla="*/ 7752 h 10000"/>
              <a:gd name="connsiteX200" fmla="*/ 2943 w 9920"/>
              <a:gd name="connsiteY200" fmla="*/ 7830 h 10000"/>
              <a:gd name="connsiteX201" fmla="*/ 3025 w 9920"/>
              <a:gd name="connsiteY201" fmla="*/ 7830 h 10000"/>
              <a:gd name="connsiteX202" fmla="*/ 3104 w 9920"/>
              <a:gd name="connsiteY202" fmla="*/ 7675 h 10000"/>
              <a:gd name="connsiteX203" fmla="*/ 3187 w 9920"/>
              <a:gd name="connsiteY203" fmla="*/ 7598 h 10000"/>
              <a:gd name="connsiteX204" fmla="*/ 3226 w 9920"/>
              <a:gd name="connsiteY204" fmla="*/ 7830 h 10000"/>
              <a:gd name="connsiteX205" fmla="*/ 3387 w 9920"/>
              <a:gd name="connsiteY205" fmla="*/ 8372 h 10000"/>
              <a:gd name="connsiteX206" fmla="*/ 3427 w 9920"/>
              <a:gd name="connsiteY206" fmla="*/ 8217 h 10000"/>
              <a:gd name="connsiteX207" fmla="*/ 3468 w 9920"/>
              <a:gd name="connsiteY207" fmla="*/ 8372 h 10000"/>
              <a:gd name="connsiteX208" fmla="*/ 3590 w 9920"/>
              <a:gd name="connsiteY208" fmla="*/ 8295 h 10000"/>
              <a:gd name="connsiteX209" fmla="*/ 3710 w 9920"/>
              <a:gd name="connsiteY209" fmla="*/ 8528 h 10000"/>
              <a:gd name="connsiteX210" fmla="*/ 3790 w 9920"/>
              <a:gd name="connsiteY210" fmla="*/ 8605 h 10000"/>
              <a:gd name="connsiteX211" fmla="*/ 3790 w 9920"/>
              <a:gd name="connsiteY211" fmla="*/ 8528 h 10000"/>
              <a:gd name="connsiteX212" fmla="*/ 3831 w 9920"/>
              <a:gd name="connsiteY212" fmla="*/ 8683 h 10000"/>
              <a:gd name="connsiteX213" fmla="*/ 3790 w 9920"/>
              <a:gd name="connsiteY213" fmla="*/ 8760 h 10000"/>
              <a:gd name="connsiteX214" fmla="*/ 3872 w 9920"/>
              <a:gd name="connsiteY214" fmla="*/ 8683 h 10000"/>
              <a:gd name="connsiteX215" fmla="*/ 3911 w 9920"/>
              <a:gd name="connsiteY215" fmla="*/ 8605 h 10000"/>
              <a:gd name="connsiteX216" fmla="*/ 4114 w 9920"/>
              <a:gd name="connsiteY216" fmla="*/ 8372 h 10000"/>
              <a:gd name="connsiteX217" fmla="*/ 4275 w 9920"/>
              <a:gd name="connsiteY217" fmla="*/ 8449 h 10000"/>
              <a:gd name="connsiteX218" fmla="*/ 4355 w 9920"/>
              <a:gd name="connsiteY218" fmla="*/ 8528 h 10000"/>
              <a:gd name="connsiteX219" fmla="*/ 4515 w 9920"/>
              <a:gd name="connsiteY219" fmla="*/ 8528 h 10000"/>
              <a:gd name="connsiteX220" fmla="*/ 4515 w 9920"/>
              <a:gd name="connsiteY220" fmla="*/ 8372 h 10000"/>
              <a:gd name="connsiteX221" fmla="*/ 4515 w 9920"/>
              <a:gd name="connsiteY221" fmla="*/ 8217 h 10000"/>
              <a:gd name="connsiteX222" fmla="*/ 4596 w 9920"/>
              <a:gd name="connsiteY222" fmla="*/ 8140 h 10000"/>
              <a:gd name="connsiteX223" fmla="*/ 4758 w 9920"/>
              <a:gd name="connsiteY223" fmla="*/ 8217 h 10000"/>
              <a:gd name="connsiteX224" fmla="*/ 4838 w 9920"/>
              <a:gd name="connsiteY224" fmla="*/ 8449 h 10000"/>
              <a:gd name="connsiteX225" fmla="*/ 4880 w 9920"/>
              <a:gd name="connsiteY225" fmla="*/ 8449 h 10000"/>
              <a:gd name="connsiteX226" fmla="*/ 4959 w 9920"/>
              <a:gd name="connsiteY226" fmla="*/ 8372 h 10000"/>
              <a:gd name="connsiteX227" fmla="*/ 5203 w 9920"/>
              <a:gd name="connsiteY227" fmla="*/ 8605 h 10000"/>
              <a:gd name="connsiteX228" fmla="*/ 5323 w 9920"/>
              <a:gd name="connsiteY228" fmla="*/ 8683 h 10000"/>
              <a:gd name="connsiteX229" fmla="*/ 5485 w 9920"/>
              <a:gd name="connsiteY229" fmla="*/ 8605 h 10000"/>
              <a:gd name="connsiteX230" fmla="*/ 5564 w 9920"/>
              <a:gd name="connsiteY230" fmla="*/ 8449 h 10000"/>
              <a:gd name="connsiteX231" fmla="*/ 5686 w 9920"/>
              <a:gd name="connsiteY231" fmla="*/ 8528 h 10000"/>
              <a:gd name="connsiteX232" fmla="*/ 5766 w 9920"/>
              <a:gd name="connsiteY232" fmla="*/ 8605 h 10000"/>
              <a:gd name="connsiteX233" fmla="*/ 7136 w 9920"/>
              <a:gd name="connsiteY233" fmla="*/ 7675 h 10000"/>
              <a:gd name="connsiteX234" fmla="*/ 7057 w 9920"/>
              <a:gd name="connsiteY234" fmla="*/ 7675 h 10000"/>
              <a:gd name="connsiteX235" fmla="*/ 7016 w 9920"/>
              <a:gd name="connsiteY235" fmla="*/ 7675 h 10000"/>
              <a:gd name="connsiteX236" fmla="*/ 6976 w 9920"/>
              <a:gd name="connsiteY236" fmla="*/ 7598 h 10000"/>
              <a:gd name="connsiteX237" fmla="*/ 6896 w 9920"/>
              <a:gd name="connsiteY237" fmla="*/ 7598 h 10000"/>
              <a:gd name="connsiteX238" fmla="*/ 6896 w 9920"/>
              <a:gd name="connsiteY238" fmla="*/ 7520 h 10000"/>
              <a:gd name="connsiteX239" fmla="*/ 7016 w 9920"/>
              <a:gd name="connsiteY239" fmla="*/ 7287 h 10000"/>
              <a:gd name="connsiteX240" fmla="*/ 7380 w 9920"/>
              <a:gd name="connsiteY240" fmla="*/ 6590 h 10000"/>
              <a:gd name="connsiteX241" fmla="*/ 7541 w 9920"/>
              <a:gd name="connsiteY241" fmla="*/ 6512 h 10000"/>
              <a:gd name="connsiteX242" fmla="*/ 7581 w 9920"/>
              <a:gd name="connsiteY242" fmla="*/ 6590 h 10000"/>
              <a:gd name="connsiteX243" fmla="*/ 7622 w 9920"/>
              <a:gd name="connsiteY243" fmla="*/ 6512 h 10000"/>
              <a:gd name="connsiteX244" fmla="*/ 7742 w 9920"/>
              <a:gd name="connsiteY244" fmla="*/ 6590 h 10000"/>
              <a:gd name="connsiteX245" fmla="*/ 7783 w 9920"/>
              <a:gd name="connsiteY245" fmla="*/ 6434 h 10000"/>
              <a:gd name="connsiteX246" fmla="*/ 7903 w 9920"/>
              <a:gd name="connsiteY246" fmla="*/ 6512 h 10000"/>
              <a:gd name="connsiteX247" fmla="*/ 7944 w 9920"/>
              <a:gd name="connsiteY247" fmla="*/ 6512 h 10000"/>
              <a:gd name="connsiteX248" fmla="*/ 7903 w 9920"/>
              <a:gd name="connsiteY248" fmla="*/ 6590 h 10000"/>
              <a:gd name="connsiteX249" fmla="*/ 7903 w 9920"/>
              <a:gd name="connsiteY249" fmla="*/ 6667 h 10000"/>
              <a:gd name="connsiteX250" fmla="*/ 8146 w 9920"/>
              <a:gd name="connsiteY250" fmla="*/ 6590 h 10000"/>
              <a:gd name="connsiteX251" fmla="*/ 8105 w 9920"/>
              <a:gd name="connsiteY251" fmla="*/ 6512 h 10000"/>
              <a:gd name="connsiteX252" fmla="*/ 8267 w 9920"/>
              <a:gd name="connsiteY252" fmla="*/ 5969 h 10000"/>
              <a:gd name="connsiteX253" fmla="*/ 8468 w 9920"/>
              <a:gd name="connsiteY253" fmla="*/ 5892 h 10000"/>
              <a:gd name="connsiteX254" fmla="*/ 8468 w 9920"/>
              <a:gd name="connsiteY254" fmla="*/ 6047 h 10000"/>
              <a:gd name="connsiteX255" fmla="*/ 8468 w 9920"/>
              <a:gd name="connsiteY255" fmla="*/ 6202 h 10000"/>
              <a:gd name="connsiteX256" fmla="*/ 8670 w 9920"/>
              <a:gd name="connsiteY256" fmla="*/ 5969 h 10000"/>
              <a:gd name="connsiteX257" fmla="*/ 8670 w 9920"/>
              <a:gd name="connsiteY257" fmla="*/ 5737 h 10000"/>
              <a:gd name="connsiteX258" fmla="*/ 8749 w 9920"/>
              <a:gd name="connsiteY258" fmla="*/ 5737 h 10000"/>
              <a:gd name="connsiteX259" fmla="*/ 8709 w 9920"/>
              <a:gd name="connsiteY259" fmla="*/ 5814 h 10000"/>
              <a:gd name="connsiteX260" fmla="*/ 8670 w 9920"/>
              <a:gd name="connsiteY260" fmla="*/ 6202 h 10000"/>
              <a:gd name="connsiteX261" fmla="*/ 8589 w 9920"/>
              <a:gd name="connsiteY261" fmla="*/ 6279 h 10000"/>
              <a:gd name="connsiteX262" fmla="*/ 8670 w 9920"/>
              <a:gd name="connsiteY262" fmla="*/ 6590 h 10000"/>
              <a:gd name="connsiteX263" fmla="*/ 8670 w 9920"/>
              <a:gd name="connsiteY263" fmla="*/ 6434 h 10000"/>
              <a:gd name="connsiteX264" fmla="*/ 8749 w 9920"/>
              <a:gd name="connsiteY264" fmla="*/ 6434 h 10000"/>
              <a:gd name="connsiteX265" fmla="*/ 8871 w 9920"/>
              <a:gd name="connsiteY265" fmla="*/ 6279 h 10000"/>
              <a:gd name="connsiteX266" fmla="*/ 8871 w 9920"/>
              <a:gd name="connsiteY266" fmla="*/ 6434 h 10000"/>
              <a:gd name="connsiteX267" fmla="*/ 8911 w 9920"/>
              <a:gd name="connsiteY267" fmla="*/ 6356 h 10000"/>
              <a:gd name="connsiteX268" fmla="*/ 9034 w 9920"/>
              <a:gd name="connsiteY268" fmla="*/ 6279 h 10000"/>
              <a:gd name="connsiteX269" fmla="*/ 9112 w 9920"/>
              <a:gd name="connsiteY269" fmla="*/ 6434 h 10000"/>
              <a:gd name="connsiteX270" fmla="*/ 9153 w 9920"/>
              <a:gd name="connsiteY270" fmla="*/ 6279 h 10000"/>
              <a:gd name="connsiteX271" fmla="*/ 9559 w 9920"/>
              <a:gd name="connsiteY271" fmla="*/ 5737 h 10000"/>
              <a:gd name="connsiteX272" fmla="*/ 9679 w 9920"/>
              <a:gd name="connsiteY272" fmla="*/ 5814 h 10000"/>
              <a:gd name="connsiteX273" fmla="*/ 9718 w 9920"/>
              <a:gd name="connsiteY273" fmla="*/ 5737 h 10000"/>
              <a:gd name="connsiteX274" fmla="*/ 9638 w 9920"/>
              <a:gd name="connsiteY274" fmla="*/ 5271 h 10000"/>
              <a:gd name="connsiteX275" fmla="*/ 9598 w 9920"/>
              <a:gd name="connsiteY275" fmla="*/ 5271 h 10000"/>
              <a:gd name="connsiteX276" fmla="*/ 9598 w 9920"/>
              <a:gd name="connsiteY276" fmla="*/ 5116 h 10000"/>
              <a:gd name="connsiteX277" fmla="*/ 9638 w 9920"/>
              <a:gd name="connsiteY277" fmla="*/ 5116 h 10000"/>
              <a:gd name="connsiteX278" fmla="*/ 9718 w 9920"/>
              <a:gd name="connsiteY278" fmla="*/ 5039 h 10000"/>
              <a:gd name="connsiteX279" fmla="*/ 9799 w 9920"/>
              <a:gd name="connsiteY279" fmla="*/ 4884 h 10000"/>
              <a:gd name="connsiteX280" fmla="*/ 9758 w 9920"/>
              <a:gd name="connsiteY280" fmla="*/ 4729 h 10000"/>
              <a:gd name="connsiteX281" fmla="*/ 9799 w 9920"/>
              <a:gd name="connsiteY281" fmla="*/ 4652 h 10000"/>
              <a:gd name="connsiteX282" fmla="*/ 9840 w 9920"/>
              <a:gd name="connsiteY282" fmla="*/ 4884 h 10000"/>
              <a:gd name="connsiteX283" fmla="*/ 9920 w 9920"/>
              <a:gd name="connsiteY283" fmla="*/ 4884 h 10000"/>
              <a:gd name="connsiteX284" fmla="*/ 9718 w 9920"/>
              <a:gd name="connsiteY284" fmla="*/ 3799 h 10000"/>
              <a:gd name="connsiteX285" fmla="*/ 9476 w 9920"/>
              <a:gd name="connsiteY285" fmla="*/ 3488 h 10000"/>
              <a:gd name="connsiteX286" fmla="*/ 9153 w 9920"/>
              <a:gd name="connsiteY286" fmla="*/ 3411 h 10000"/>
              <a:gd name="connsiteX287" fmla="*/ 9153 w 9920"/>
              <a:gd name="connsiteY287" fmla="*/ 3799 h 10000"/>
              <a:gd name="connsiteX288" fmla="*/ 9074 w 9920"/>
              <a:gd name="connsiteY288" fmla="*/ 3876 h 10000"/>
              <a:gd name="connsiteX289" fmla="*/ 8991 w 9920"/>
              <a:gd name="connsiteY289" fmla="*/ 3721 h 10000"/>
              <a:gd name="connsiteX290" fmla="*/ 8991 w 9920"/>
              <a:gd name="connsiteY290" fmla="*/ 3566 h 10000"/>
              <a:gd name="connsiteX291" fmla="*/ 9034 w 9920"/>
              <a:gd name="connsiteY291" fmla="*/ 3566 h 10000"/>
              <a:gd name="connsiteX292" fmla="*/ 9074 w 9920"/>
              <a:gd name="connsiteY292" fmla="*/ 3488 h 10000"/>
              <a:gd name="connsiteX293" fmla="*/ 8991 w 9920"/>
              <a:gd name="connsiteY293" fmla="*/ 3488 h 10000"/>
              <a:gd name="connsiteX294" fmla="*/ 8911 w 9920"/>
              <a:gd name="connsiteY294" fmla="*/ 3644 h 10000"/>
              <a:gd name="connsiteX295" fmla="*/ 8709 w 9920"/>
              <a:gd name="connsiteY295" fmla="*/ 3566 h 10000"/>
              <a:gd name="connsiteX296" fmla="*/ 8509 w 9920"/>
              <a:gd name="connsiteY296" fmla="*/ 3566 h 10000"/>
              <a:gd name="connsiteX297" fmla="*/ 8428 w 9920"/>
              <a:gd name="connsiteY297" fmla="*/ 3488 h 10000"/>
              <a:gd name="connsiteX298" fmla="*/ 8468 w 9920"/>
              <a:gd name="connsiteY298" fmla="*/ 3333 h 10000"/>
              <a:gd name="connsiteX299" fmla="*/ 8387 w 9920"/>
              <a:gd name="connsiteY299" fmla="*/ 3101 h 10000"/>
              <a:gd name="connsiteX300" fmla="*/ 8225 w 9920"/>
              <a:gd name="connsiteY300" fmla="*/ 3023 h 10000"/>
              <a:gd name="connsiteX301" fmla="*/ 7986 w 9920"/>
              <a:gd name="connsiteY301" fmla="*/ 3178 h 10000"/>
              <a:gd name="connsiteX302" fmla="*/ 7944 w 9920"/>
              <a:gd name="connsiteY302" fmla="*/ 2946 h 10000"/>
              <a:gd name="connsiteX303" fmla="*/ 7863 w 9920"/>
              <a:gd name="connsiteY303" fmla="*/ 2946 h 10000"/>
              <a:gd name="connsiteX304" fmla="*/ 7823 w 9920"/>
              <a:gd name="connsiteY304" fmla="*/ 2868 h 10000"/>
              <a:gd name="connsiteX305" fmla="*/ 7823 w 9920"/>
              <a:gd name="connsiteY305" fmla="*/ 2636 h 10000"/>
              <a:gd name="connsiteX306" fmla="*/ 7541 w 9920"/>
              <a:gd name="connsiteY306" fmla="*/ 2480 h 10000"/>
              <a:gd name="connsiteX307" fmla="*/ 7218 w 9920"/>
              <a:gd name="connsiteY307" fmla="*/ 2325 h 10000"/>
              <a:gd name="connsiteX308" fmla="*/ 7136 w 9920"/>
              <a:gd name="connsiteY308" fmla="*/ 2636 h 10000"/>
              <a:gd name="connsiteX309" fmla="*/ 7218 w 9920"/>
              <a:gd name="connsiteY309" fmla="*/ 2868 h 10000"/>
              <a:gd name="connsiteX310" fmla="*/ 6976 w 9920"/>
              <a:gd name="connsiteY310" fmla="*/ 2868 h 10000"/>
              <a:gd name="connsiteX311" fmla="*/ 6935 w 9920"/>
              <a:gd name="connsiteY311" fmla="*/ 2868 h 10000"/>
              <a:gd name="connsiteX312" fmla="*/ 6855 w 9920"/>
              <a:gd name="connsiteY312" fmla="*/ 2946 h 10000"/>
              <a:gd name="connsiteX313" fmla="*/ 6734 w 9920"/>
              <a:gd name="connsiteY313" fmla="*/ 2714 h 10000"/>
              <a:gd name="connsiteX314" fmla="*/ 6652 w 9920"/>
              <a:gd name="connsiteY314" fmla="*/ 3178 h 10000"/>
              <a:gd name="connsiteX315" fmla="*/ 6573 w 9920"/>
              <a:gd name="connsiteY315" fmla="*/ 3101 h 10000"/>
              <a:gd name="connsiteX316" fmla="*/ 6492 w 9920"/>
              <a:gd name="connsiteY316" fmla="*/ 2791 h 10000"/>
              <a:gd name="connsiteX317" fmla="*/ 6532 w 9920"/>
              <a:gd name="connsiteY317" fmla="*/ 2403 h 10000"/>
              <a:gd name="connsiteX318" fmla="*/ 6453 w 9920"/>
              <a:gd name="connsiteY318" fmla="*/ 2170 h 10000"/>
              <a:gd name="connsiteX319" fmla="*/ 6210 w 9920"/>
              <a:gd name="connsiteY319" fmla="*/ 2016 h 10000"/>
              <a:gd name="connsiteX320" fmla="*/ 6128 w 9920"/>
              <a:gd name="connsiteY320" fmla="*/ 2016 h 10000"/>
              <a:gd name="connsiteX321" fmla="*/ 6089 w 9920"/>
              <a:gd name="connsiteY321" fmla="*/ 2170 h 10000"/>
              <a:gd name="connsiteX322" fmla="*/ 6128 w 9920"/>
              <a:gd name="connsiteY322" fmla="*/ 2325 h 10000"/>
              <a:gd name="connsiteX323" fmla="*/ 5808 w 9920"/>
              <a:gd name="connsiteY323" fmla="*/ 2248 h 10000"/>
              <a:gd name="connsiteX324" fmla="*/ 5847 w 9920"/>
              <a:gd name="connsiteY324" fmla="*/ 2016 h 10000"/>
              <a:gd name="connsiteX325" fmla="*/ 5647 w 9920"/>
              <a:gd name="connsiteY325" fmla="*/ 1938 h 10000"/>
              <a:gd name="connsiteX326" fmla="*/ 5525 w 9920"/>
              <a:gd name="connsiteY326" fmla="*/ 2093 h 10000"/>
              <a:gd name="connsiteX327" fmla="*/ 5284 w 9920"/>
              <a:gd name="connsiteY327" fmla="*/ 1861 h 10000"/>
              <a:gd name="connsiteX0" fmla="*/ 5327 w 9919"/>
              <a:gd name="connsiteY0" fmla="*/ 1861 h 10000"/>
              <a:gd name="connsiteX1" fmla="*/ 5327 w 9919"/>
              <a:gd name="connsiteY1" fmla="*/ 1861 h 10000"/>
              <a:gd name="connsiteX2" fmla="*/ 5284 w 9919"/>
              <a:gd name="connsiteY2" fmla="*/ 1938 h 10000"/>
              <a:gd name="connsiteX3" fmla="*/ 5327 w 9919"/>
              <a:gd name="connsiteY3" fmla="*/ 2093 h 10000"/>
              <a:gd name="connsiteX4" fmla="*/ 5161 w 9919"/>
              <a:gd name="connsiteY4" fmla="*/ 2248 h 10000"/>
              <a:gd name="connsiteX5" fmla="*/ 5120 w 9919"/>
              <a:gd name="connsiteY5" fmla="*/ 2248 h 10000"/>
              <a:gd name="connsiteX6" fmla="*/ 5161 w 9919"/>
              <a:gd name="connsiteY6" fmla="*/ 2016 h 10000"/>
              <a:gd name="connsiteX7" fmla="*/ 5570 w 9919"/>
              <a:gd name="connsiteY7" fmla="*/ 1318 h 10000"/>
              <a:gd name="connsiteX8" fmla="*/ 5570 w 9919"/>
              <a:gd name="connsiteY8" fmla="*/ 853 h 10000"/>
              <a:gd name="connsiteX9" fmla="*/ 5407 w 9919"/>
              <a:gd name="connsiteY9" fmla="*/ 543 h 10000"/>
              <a:gd name="connsiteX10" fmla="*/ 5203 w 9919"/>
              <a:gd name="connsiteY10" fmla="*/ 543 h 10000"/>
              <a:gd name="connsiteX11" fmla="*/ 5203 w 9919"/>
              <a:gd name="connsiteY11" fmla="*/ 698 h 10000"/>
              <a:gd name="connsiteX12" fmla="*/ 5081 w 9919"/>
              <a:gd name="connsiteY12" fmla="*/ 698 h 10000"/>
              <a:gd name="connsiteX13" fmla="*/ 5161 w 9919"/>
              <a:gd name="connsiteY13" fmla="*/ 387 h 10000"/>
              <a:gd name="connsiteX14" fmla="*/ 4959 w 9919"/>
              <a:gd name="connsiteY14" fmla="*/ 310 h 10000"/>
              <a:gd name="connsiteX15" fmla="*/ 5081 w 9919"/>
              <a:gd name="connsiteY15" fmla="*/ 155 h 10000"/>
              <a:gd name="connsiteX16" fmla="*/ 4959 w 9919"/>
              <a:gd name="connsiteY16" fmla="*/ 0 h 10000"/>
              <a:gd name="connsiteX17" fmla="*/ 4755 w 9919"/>
              <a:gd name="connsiteY17" fmla="*/ 387 h 10000"/>
              <a:gd name="connsiteX18" fmla="*/ 4755 w 9919"/>
              <a:gd name="connsiteY18" fmla="*/ 698 h 10000"/>
              <a:gd name="connsiteX19" fmla="*/ 4633 w 9919"/>
              <a:gd name="connsiteY19" fmla="*/ 698 h 10000"/>
              <a:gd name="connsiteX20" fmla="*/ 4269 w 9919"/>
              <a:gd name="connsiteY20" fmla="*/ 853 h 10000"/>
              <a:gd name="connsiteX21" fmla="*/ 3943 w 9919"/>
              <a:gd name="connsiteY21" fmla="*/ 1240 h 10000"/>
              <a:gd name="connsiteX22" fmla="*/ 3821 w 9919"/>
              <a:gd name="connsiteY22" fmla="*/ 1551 h 10000"/>
              <a:gd name="connsiteX23" fmla="*/ 3862 w 9919"/>
              <a:gd name="connsiteY23" fmla="*/ 1938 h 10000"/>
              <a:gd name="connsiteX24" fmla="*/ 3414 w 9919"/>
              <a:gd name="connsiteY24" fmla="*/ 2093 h 10000"/>
              <a:gd name="connsiteX25" fmla="*/ 3455 w 9919"/>
              <a:gd name="connsiteY25" fmla="*/ 2559 h 10000"/>
              <a:gd name="connsiteX26" fmla="*/ 3578 w 9919"/>
              <a:gd name="connsiteY26" fmla="*/ 2791 h 10000"/>
              <a:gd name="connsiteX27" fmla="*/ 3496 w 9919"/>
              <a:gd name="connsiteY27" fmla="*/ 2868 h 10000"/>
              <a:gd name="connsiteX28" fmla="*/ 3374 w 9919"/>
              <a:gd name="connsiteY28" fmla="*/ 2559 h 10000"/>
              <a:gd name="connsiteX29" fmla="*/ 3252 w 9919"/>
              <a:gd name="connsiteY29" fmla="*/ 2480 h 10000"/>
              <a:gd name="connsiteX30" fmla="*/ 3213 w 9919"/>
              <a:gd name="connsiteY30" fmla="*/ 2559 h 10000"/>
              <a:gd name="connsiteX31" fmla="*/ 3129 w 9919"/>
              <a:gd name="connsiteY31" fmla="*/ 2403 h 10000"/>
              <a:gd name="connsiteX32" fmla="*/ 3049 w 9919"/>
              <a:gd name="connsiteY32" fmla="*/ 2248 h 10000"/>
              <a:gd name="connsiteX33" fmla="*/ 3049 w 9919"/>
              <a:gd name="connsiteY33" fmla="*/ 2325 h 10000"/>
              <a:gd name="connsiteX34" fmla="*/ 3090 w 9919"/>
              <a:gd name="connsiteY34" fmla="*/ 2559 h 10000"/>
              <a:gd name="connsiteX35" fmla="*/ 2967 w 9919"/>
              <a:gd name="connsiteY35" fmla="*/ 2946 h 10000"/>
              <a:gd name="connsiteX36" fmla="*/ 3049 w 9919"/>
              <a:gd name="connsiteY36" fmla="*/ 3256 h 10000"/>
              <a:gd name="connsiteX37" fmla="*/ 3007 w 9919"/>
              <a:gd name="connsiteY37" fmla="*/ 3566 h 10000"/>
              <a:gd name="connsiteX38" fmla="*/ 3007 w 9919"/>
              <a:gd name="connsiteY38" fmla="*/ 3799 h 10000"/>
              <a:gd name="connsiteX39" fmla="*/ 3129 w 9919"/>
              <a:gd name="connsiteY39" fmla="*/ 3799 h 10000"/>
              <a:gd name="connsiteX40" fmla="*/ 3049 w 9919"/>
              <a:gd name="connsiteY40" fmla="*/ 3876 h 10000"/>
              <a:gd name="connsiteX41" fmla="*/ 3090 w 9919"/>
              <a:gd name="connsiteY41" fmla="*/ 4263 h 10000"/>
              <a:gd name="connsiteX42" fmla="*/ 2846 w 9919"/>
              <a:gd name="connsiteY42" fmla="*/ 4652 h 10000"/>
              <a:gd name="connsiteX43" fmla="*/ 2804 w 9919"/>
              <a:gd name="connsiteY43" fmla="*/ 4574 h 10000"/>
              <a:gd name="connsiteX44" fmla="*/ 2967 w 9919"/>
              <a:gd name="connsiteY44" fmla="*/ 4186 h 10000"/>
              <a:gd name="connsiteX45" fmla="*/ 3007 w 9919"/>
              <a:gd name="connsiteY45" fmla="*/ 3954 h 10000"/>
              <a:gd name="connsiteX46" fmla="*/ 2924 w 9919"/>
              <a:gd name="connsiteY46" fmla="*/ 3799 h 10000"/>
              <a:gd name="connsiteX47" fmla="*/ 2924 w 9919"/>
              <a:gd name="connsiteY47" fmla="*/ 3023 h 10000"/>
              <a:gd name="connsiteX48" fmla="*/ 2886 w 9919"/>
              <a:gd name="connsiteY48" fmla="*/ 2868 h 10000"/>
              <a:gd name="connsiteX49" fmla="*/ 2924 w 9919"/>
              <a:gd name="connsiteY49" fmla="*/ 2403 h 10000"/>
              <a:gd name="connsiteX50" fmla="*/ 2846 w 9919"/>
              <a:gd name="connsiteY50" fmla="*/ 2325 h 10000"/>
              <a:gd name="connsiteX51" fmla="*/ 2886 w 9919"/>
              <a:gd name="connsiteY51" fmla="*/ 2248 h 10000"/>
              <a:gd name="connsiteX52" fmla="*/ 2846 w 9919"/>
              <a:gd name="connsiteY52" fmla="*/ 2093 h 10000"/>
              <a:gd name="connsiteX53" fmla="*/ 2762 w 9919"/>
              <a:gd name="connsiteY53" fmla="*/ 2170 h 10000"/>
              <a:gd name="connsiteX54" fmla="*/ 2561 w 9919"/>
              <a:gd name="connsiteY54" fmla="*/ 3178 h 10000"/>
              <a:gd name="connsiteX55" fmla="*/ 2561 w 9919"/>
              <a:gd name="connsiteY55" fmla="*/ 3566 h 10000"/>
              <a:gd name="connsiteX56" fmla="*/ 2683 w 9919"/>
              <a:gd name="connsiteY56" fmla="*/ 3876 h 10000"/>
              <a:gd name="connsiteX57" fmla="*/ 2683 w 9919"/>
              <a:gd name="connsiteY57" fmla="*/ 4031 h 10000"/>
              <a:gd name="connsiteX58" fmla="*/ 2561 w 9919"/>
              <a:gd name="connsiteY58" fmla="*/ 3876 h 10000"/>
              <a:gd name="connsiteX59" fmla="*/ 2075 w 9919"/>
              <a:gd name="connsiteY59" fmla="*/ 3256 h 10000"/>
              <a:gd name="connsiteX60" fmla="*/ 2033 w 9919"/>
              <a:gd name="connsiteY60" fmla="*/ 3411 h 10000"/>
              <a:gd name="connsiteX61" fmla="*/ 2195 w 9919"/>
              <a:gd name="connsiteY61" fmla="*/ 3799 h 10000"/>
              <a:gd name="connsiteX62" fmla="*/ 2115 w 9919"/>
              <a:gd name="connsiteY62" fmla="*/ 3876 h 10000"/>
              <a:gd name="connsiteX63" fmla="*/ 2075 w 9919"/>
              <a:gd name="connsiteY63" fmla="*/ 3799 h 10000"/>
              <a:gd name="connsiteX64" fmla="*/ 1829 w 9919"/>
              <a:gd name="connsiteY64" fmla="*/ 3954 h 10000"/>
              <a:gd name="connsiteX65" fmla="*/ 1789 w 9919"/>
              <a:gd name="connsiteY65" fmla="*/ 4109 h 10000"/>
              <a:gd name="connsiteX66" fmla="*/ 1748 w 9919"/>
              <a:gd name="connsiteY66" fmla="*/ 3954 h 10000"/>
              <a:gd name="connsiteX67" fmla="*/ 1748 w 9919"/>
              <a:gd name="connsiteY67" fmla="*/ 3799 h 10000"/>
              <a:gd name="connsiteX68" fmla="*/ 1340 w 9919"/>
              <a:gd name="connsiteY68" fmla="*/ 4263 h 10000"/>
              <a:gd name="connsiteX69" fmla="*/ 1340 w 9919"/>
              <a:gd name="connsiteY69" fmla="*/ 4418 h 10000"/>
              <a:gd name="connsiteX70" fmla="*/ 1261 w 9919"/>
              <a:gd name="connsiteY70" fmla="*/ 4496 h 10000"/>
              <a:gd name="connsiteX71" fmla="*/ 1138 w 9919"/>
              <a:gd name="connsiteY71" fmla="*/ 4341 h 10000"/>
              <a:gd name="connsiteX72" fmla="*/ 1261 w 9919"/>
              <a:gd name="connsiteY72" fmla="*/ 4186 h 10000"/>
              <a:gd name="connsiteX73" fmla="*/ 1220 w 9919"/>
              <a:gd name="connsiteY73" fmla="*/ 3954 h 10000"/>
              <a:gd name="connsiteX74" fmla="*/ 1057 w 9919"/>
              <a:gd name="connsiteY74" fmla="*/ 3876 h 10000"/>
              <a:gd name="connsiteX75" fmla="*/ 1098 w 9919"/>
              <a:gd name="connsiteY75" fmla="*/ 4031 h 10000"/>
              <a:gd name="connsiteX76" fmla="*/ 1098 w 9919"/>
              <a:gd name="connsiteY76" fmla="*/ 4418 h 10000"/>
              <a:gd name="connsiteX77" fmla="*/ 1138 w 9919"/>
              <a:gd name="connsiteY77" fmla="*/ 4574 h 10000"/>
              <a:gd name="connsiteX78" fmla="*/ 1098 w 9919"/>
              <a:gd name="connsiteY78" fmla="*/ 4729 h 10000"/>
              <a:gd name="connsiteX79" fmla="*/ 975 w 9919"/>
              <a:gd name="connsiteY79" fmla="*/ 4652 h 10000"/>
              <a:gd name="connsiteX80" fmla="*/ 813 w 9919"/>
              <a:gd name="connsiteY80" fmla="*/ 4884 h 10000"/>
              <a:gd name="connsiteX81" fmla="*/ 894 w 9919"/>
              <a:gd name="connsiteY81" fmla="*/ 5194 h 10000"/>
              <a:gd name="connsiteX82" fmla="*/ 650 w 9919"/>
              <a:gd name="connsiteY82" fmla="*/ 5039 h 10000"/>
              <a:gd name="connsiteX83" fmla="*/ 609 w 9919"/>
              <a:gd name="connsiteY83" fmla="*/ 5116 h 10000"/>
              <a:gd name="connsiteX84" fmla="*/ 692 w 9919"/>
              <a:gd name="connsiteY84" fmla="*/ 5349 h 10000"/>
              <a:gd name="connsiteX85" fmla="*/ 609 w 9919"/>
              <a:gd name="connsiteY85" fmla="*/ 5349 h 10000"/>
              <a:gd name="connsiteX86" fmla="*/ 489 w 9919"/>
              <a:gd name="connsiteY86" fmla="*/ 5194 h 10000"/>
              <a:gd name="connsiteX87" fmla="*/ 489 w 9919"/>
              <a:gd name="connsiteY87" fmla="*/ 4729 h 10000"/>
              <a:gd name="connsiteX88" fmla="*/ 366 w 9919"/>
              <a:gd name="connsiteY88" fmla="*/ 4574 h 10000"/>
              <a:gd name="connsiteX89" fmla="*/ 325 w 9919"/>
              <a:gd name="connsiteY89" fmla="*/ 4418 h 10000"/>
              <a:gd name="connsiteX90" fmla="*/ 406 w 9919"/>
              <a:gd name="connsiteY90" fmla="*/ 4496 h 10000"/>
              <a:gd name="connsiteX91" fmla="*/ 731 w 9919"/>
              <a:gd name="connsiteY91" fmla="*/ 4729 h 10000"/>
              <a:gd name="connsiteX92" fmla="*/ 934 w 9919"/>
              <a:gd name="connsiteY92" fmla="*/ 4496 h 10000"/>
              <a:gd name="connsiteX93" fmla="*/ 894 w 9919"/>
              <a:gd name="connsiteY93" fmla="*/ 4263 h 10000"/>
              <a:gd name="connsiteX94" fmla="*/ 650 w 9919"/>
              <a:gd name="connsiteY94" fmla="*/ 3799 h 10000"/>
              <a:gd name="connsiteX95" fmla="*/ 406 w 9919"/>
              <a:gd name="connsiteY95" fmla="*/ 3644 h 10000"/>
              <a:gd name="connsiteX96" fmla="*/ 406 w 9919"/>
              <a:gd name="connsiteY96" fmla="*/ 3566 h 10000"/>
              <a:gd name="connsiteX97" fmla="*/ 325 w 9919"/>
              <a:gd name="connsiteY97" fmla="*/ 3488 h 10000"/>
              <a:gd name="connsiteX98" fmla="*/ 243 w 9919"/>
              <a:gd name="connsiteY98" fmla="*/ 3566 h 10000"/>
              <a:gd name="connsiteX99" fmla="*/ 243 w 9919"/>
              <a:gd name="connsiteY99" fmla="*/ 3644 h 10000"/>
              <a:gd name="connsiteX100" fmla="*/ 204 w 9919"/>
              <a:gd name="connsiteY100" fmla="*/ 3644 h 10000"/>
              <a:gd name="connsiteX101" fmla="*/ 121 w 9919"/>
              <a:gd name="connsiteY101" fmla="*/ 3799 h 10000"/>
              <a:gd name="connsiteX102" fmla="*/ 121 w 9919"/>
              <a:gd name="connsiteY102" fmla="*/ 4031 h 10000"/>
              <a:gd name="connsiteX103" fmla="*/ 204 w 9919"/>
              <a:gd name="connsiteY103" fmla="*/ 4186 h 10000"/>
              <a:gd name="connsiteX104" fmla="*/ 162 w 9919"/>
              <a:gd name="connsiteY104" fmla="*/ 4418 h 10000"/>
              <a:gd name="connsiteX105" fmla="*/ 204 w 9919"/>
              <a:gd name="connsiteY105" fmla="*/ 4807 h 10000"/>
              <a:gd name="connsiteX106" fmla="*/ 162 w 9919"/>
              <a:gd name="connsiteY106" fmla="*/ 5039 h 10000"/>
              <a:gd name="connsiteX107" fmla="*/ 243 w 9919"/>
              <a:gd name="connsiteY107" fmla="*/ 5271 h 10000"/>
              <a:gd name="connsiteX108" fmla="*/ 204 w 9919"/>
              <a:gd name="connsiteY108" fmla="*/ 5426 h 10000"/>
              <a:gd name="connsiteX109" fmla="*/ 285 w 9919"/>
              <a:gd name="connsiteY109" fmla="*/ 5582 h 10000"/>
              <a:gd name="connsiteX110" fmla="*/ 285 w 9919"/>
              <a:gd name="connsiteY110" fmla="*/ 5659 h 10000"/>
              <a:gd name="connsiteX111" fmla="*/ 162 w 9919"/>
              <a:gd name="connsiteY111" fmla="*/ 6047 h 10000"/>
              <a:gd name="connsiteX112" fmla="*/ 40 w 9919"/>
              <a:gd name="connsiteY112" fmla="*/ 6202 h 10000"/>
              <a:gd name="connsiteX113" fmla="*/ 81 w 9919"/>
              <a:gd name="connsiteY113" fmla="*/ 6202 h 10000"/>
              <a:gd name="connsiteX114" fmla="*/ 162 w 9919"/>
              <a:gd name="connsiteY114" fmla="*/ 6356 h 10000"/>
              <a:gd name="connsiteX115" fmla="*/ 81 w 9919"/>
              <a:gd name="connsiteY115" fmla="*/ 6512 h 10000"/>
              <a:gd name="connsiteX116" fmla="*/ 40 w 9919"/>
              <a:gd name="connsiteY116" fmla="*/ 6590 h 10000"/>
              <a:gd name="connsiteX117" fmla="*/ 0 w 9919"/>
              <a:gd name="connsiteY117" fmla="*/ 6590 h 10000"/>
              <a:gd name="connsiteX118" fmla="*/ 40 w 9919"/>
              <a:gd name="connsiteY118" fmla="*/ 6822 h 10000"/>
              <a:gd name="connsiteX119" fmla="*/ 40 w 9919"/>
              <a:gd name="connsiteY119" fmla="*/ 6900 h 10000"/>
              <a:gd name="connsiteX120" fmla="*/ 40 w 9919"/>
              <a:gd name="connsiteY120" fmla="*/ 6977 h 10000"/>
              <a:gd name="connsiteX121" fmla="*/ 40 w 9919"/>
              <a:gd name="connsiteY121" fmla="*/ 7054 h 10000"/>
              <a:gd name="connsiteX122" fmla="*/ 81 w 9919"/>
              <a:gd name="connsiteY122" fmla="*/ 7209 h 10000"/>
              <a:gd name="connsiteX123" fmla="*/ 204 w 9919"/>
              <a:gd name="connsiteY123" fmla="*/ 7287 h 10000"/>
              <a:gd name="connsiteX124" fmla="*/ 243 w 9919"/>
              <a:gd name="connsiteY124" fmla="*/ 7364 h 10000"/>
              <a:gd name="connsiteX125" fmla="*/ 243 w 9919"/>
              <a:gd name="connsiteY125" fmla="*/ 7520 h 10000"/>
              <a:gd name="connsiteX126" fmla="*/ 325 w 9919"/>
              <a:gd name="connsiteY126" fmla="*/ 7752 h 10000"/>
              <a:gd name="connsiteX127" fmla="*/ 366 w 9919"/>
              <a:gd name="connsiteY127" fmla="*/ 7752 h 10000"/>
              <a:gd name="connsiteX128" fmla="*/ 325 w 9919"/>
              <a:gd name="connsiteY128" fmla="*/ 7907 h 10000"/>
              <a:gd name="connsiteX129" fmla="*/ 285 w 9919"/>
              <a:gd name="connsiteY129" fmla="*/ 7830 h 10000"/>
              <a:gd name="connsiteX130" fmla="*/ 285 w 9919"/>
              <a:gd name="connsiteY130" fmla="*/ 7907 h 10000"/>
              <a:gd name="connsiteX131" fmla="*/ 325 w 9919"/>
              <a:gd name="connsiteY131" fmla="*/ 8062 h 10000"/>
              <a:gd name="connsiteX132" fmla="*/ 447 w 9919"/>
              <a:gd name="connsiteY132" fmla="*/ 8062 h 10000"/>
              <a:gd name="connsiteX133" fmla="*/ 489 w 9919"/>
              <a:gd name="connsiteY133" fmla="*/ 8140 h 10000"/>
              <a:gd name="connsiteX134" fmla="*/ 447 w 9919"/>
              <a:gd name="connsiteY134" fmla="*/ 8140 h 10000"/>
              <a:gd name="connsiteX135" fmla="*/ 489 w 9919"/>
              <a:gd name="connsiteY135" fmla="*/ 8217 h 10000"/>
              <a:gd name="connsiteX136" fmla="*/ 528 w 9919"/>
              <a:gd name="connsiteY136" fmla="*/ 8217 h 10000"/>
              <a:gd name="connsiteX137" fmla="*/ 568 w 9919"/>
              <a:gd name="connsiteY137" fmla="*/ 8372 h 10000"/>
              <a:gd name="connsiteX138" fmla="*/ 609 w 9919"/>
              <a:gd name="connsiteY138" fmla="*/ 8449 h 10000"/>
              <a:gd name="connsiteX139" fmla="*/ 650 w 9919"/>
              <a:gd name="connsiteY139" fmla="*/ 8372 h 10000"/>
              <a:gd name="connsiteX140" fmla="*/ 855 w 9919"/>
              <a:gd name="connsiteY140" fmla="*/ 8605 h 10000"/>
              <a:gd name="connsiteX141" fmla="*/ 813 w 9919"/>
              <a:gd name="connsiteY141" fmla="*/ 8915 h 10000"/>
              <a:gd name="connsiteX142" fmla="*/ 771 w 9919"/>
              <a:gd name="connsiteY142" fmla="*/ 8838 h 10000"/>
              <a:gd name="connsiteX143" fmla="*/ 731 w 9919"/>
              <a:gd name="connsiteY143" fmla="*/ 8915 h 10000"/>
              <a:gd name="connsiteX144" fmla="*/ 731 w 9919"/>
              <a:gd name="connsiteY144" fmla="*/ 9070 h 10000"/>
              <a:gd name="connsiteX145" fmla="*/ 771 w 9919"/>
              <a:gd name="connsiteY145" fmla="*/ 8993 h 10000"/>
              <a:gd name="connsiteX146" fmla="*/ 813 w 9919"/>
              <a:gd name="connsiteY146" fmla="*/ 9070 h 10000"/>
              <a:gd name="connsiteX147" fmla="*/ 692 w 9919"/>
              <a:gd name="connsiteY147" fmla="*/ 9147 h 10000"/>
              <a:gd name="connsiteX148" fmla="*/ 731 w 9919"/>
              <a:gd name="connsiteY148" fmla="*/ 9225 h 10000"/>
              <a:gd name="connsiteX149" fmla="*/ 650 w 9919"/>
              <a:gd name="connsiteY149" fmla="*/ 9380 h 10000"/>
              <a:gd name="connsiteX150" fmla="*/ 609 w 9919"/>
              <a:gd name="connsiteY150" fmla="*/ 9380 h 10000"/>
              <a:gd name="connsiteX151" fmla="*/ 650 w 9919"/>
              <a:gd name="connsiteY151" fmla="*/ 9380 h 10000"/>
              <a:gd name="connsiteX152" fmla="*/ 813 w 9919"/>
              <a:gd name="connsiteY152" fmla="*/ 9691 h 10000"/>
              <a:gd name="connsiteX153" fmla="*/ 1017 w 9919"/>
              <a:gd name="connsiteY153" fmla="*/ 9691 h 10000"/>
              <a:gd name="connsiteX154" fmla="*/ 1098 w 9919"/>
              <a:gd name="connsiteY154" fmla="*/ 9768 h 10000"/>
              <a:gd name="connsiteX155" fmla="*/ 1178 w 9919"/>
              <a:gd name="connsiteY155" fmla="*/ 9768 h 10000"/>
              <a:gd name="connsiteX156" fmla="*/ 1261 w 9919"/>
              <a:gd name="connsiteY156" fmla="*/ 9923 h 10000"/>
              <a:gd name="connsiteX157" fmla="*/ 1301 w 9919"/>
              <a:gd name="connsiteY157" fmla="*/ 10000 h 10000"/>
              <a:gd name="connsiteX158" fmla="*/ 1340 w 9919"/>
              <a:gd name="connsiteY158" fmla="*/ 10000 h 10000"/>
              <a:gd name="connsiteX159" fmla="*/ 1383 w 9919"/>
              <a:gd name="connsiteY159" fmla="*/ 9923 h 10000"/>
              <a:gd name="connsiteX160" fmla="*/ 1301 w 9919"/>
              <a:gd name="connsiteY160" fmla="*/ 9768 h 10000"/>
              <a:gd name="connsiteX161" fmla="*/ 1301 w 9919"/>
              <a:gd name="connsiteY161" fmla="*/ 9613 h 10000"/>
              <a:gd name="connsiteX162" fmla="*/ 1261 w 9919"/>
              <a:gd name="connsiteY162" fmla="*/ 9457 h 10000"/>
              <a:gd name="connsiteX163" fmla="*/ 1340 w 9919"/>
              <a:gd name="connsiteY163" fmla="*/ 9225 h 10000"/>
              <a:gd name="connsiteX164" fmla="*/ 1383 w 9919"/>
              <a:gd name="connsiteY164" fmla="*/ 9302 h 10000"/>
              <a:gd name="connsiteX165" fmla="*/ 1423 w 9919"/>
              <a:gd name="connsiteY165" fmla="*/ 9225 h 10000"/>
              <a:gd name="connsiteX166" fmla="*/ 1423 w 9919"/>
              <a:gd name="connsiteY166" fmla="*/ 9147 h 10000"/>
              <a:gd name="connsiteX167" fmla="*/ 1383 w 9919"/>
              <a:gd name="connsiteY167" fmla="*/ 9147 h 10000"/>
              <a:gd name="connsiteX168" fmla="*/ 1423 w 9919"/>
              <a:gd name="connsiteY168" fmla="*/ 9070 h 10000"/>
              <a:gd name="connsiteX169" fmla="*/ 1383 w 9919"/>
              <a:gd name="connsiteY169" fmla="*/ 8915 h 10000"/>
              <a:gd name="connsiteX170" fmla="*/ 1301 w 9919"/>
              <a:gd name="connsiteY170" fmla="*/ 8915 h 10000"/>
              <a:gd name="connsiteX171" fmla="*/ 1261 w 9919"/>
              <a:gd name="connsiteY171" fmla="*/ 8760 h 10000"/>
              <a:gd name="connsiteX172" fmla="*/ 1301 w 9919"/>
              <a:gd name="connsiteY172" fmla="*/ 8372 h 10000"/>
              <a:gd name="connsiteX173" fmla="*/ 1383 w 9919"/>
              <a:gd name="connsiteY173" fmla="*/ 8528 h 10000"/>
              <a:gd name="connsiteX174" fmla="*/ 1423 w 9919"/>
              <a:gd name="connsiteY174" fmla="*/ 8528 h 10000"/>
              <a:gd name="connsiteX175" fmla="*/ 1383 w 9919"/>
              <a:gd name="connsiteY175" fmla="*/ 8372 h 10000"/>
              <a:gd name="connsiteX176" fmla="*/ 1505 w 9919"/>
              <a:gd name="connsiteY176" fmla="*/ 8140 h 10000"/>
              <a:gd name="connsiteX177" fmla="*/ 1586 w 9919"/>
              <a:gd name="connsiteY177" fmla="*/ 8217 h 10000"/>
              <a:gd name="connsiteX178" fmla="*/ 1626 w 9919"/>
              <a:gd name="connsiteY178" fmla="*/ 8140 h 10000"/>
              <a:gd name="connsiteX179" fmla="*/ 1707 w 9919"/>
              <a:gd name="connsiteY179" fmla="*/ 8217 h 10000"/>
              <a:gd name="connsiteX180" fmla="*/ 1829 w 9919"/>
              <a:gd name="connsiteY180" fmla="*/ 8372 h 10000"/>
              <a:gd name="connsiteX181" fmla="*/ 1911 w 9919"/>
              <a:gd name="connsiteY181" fmla="*/ 8295 h 10000"/>
              <a:gd name="connsiteX182" fmla="*/ 1992 w 9919"/>
              <a:gd name="connsiteY182" fmla="*/ 8295 h 10000"/>
              <a:gd name="connsiteX183" fmla="*/ 2033 w 9919"/>
              <a:gd name="connsiteY183" fmla="*/ 8372 h 10000"/>
              <a:gd name="connsiteX184" fmla="*/ 2195 w 9919"/>
              <a:gd name="connsiteY184" fmla="*/ 8372 h 10000"/>
              <a:gd name="connsiteX185" fmla="*/ 2235 w 9919"/>
              <a:gd name="connsiteY185" fmla="*/ 8217 h 10000"/>
              <a:gd name="connsiteX186" fmla="*/ 2115 w 9919"/>
              <a:gd name="connsiteY186" fmla="*/ 8140 h 10000"/>
              <a:gd name="connsiteX187" fmla="*/ 2195 w 9919"/>
              <a:gd name="connsiteY187" fmla="*/ 8062 h 10000"/>
              <a:gd name="connsiteX188" fmla="*/ 2153 w 9919"/>
              <a:gd name="connsiteY188" fmla="*/ 7985 h 10000"/>
              <a:gd name="connsiteX189" fmla="*/ 2195 w 9919"/>
              <a:gd name="connsiteY189" fmla="*/ 7907 h 10000"/>
              <a:gd name="connsiteX190" fmla="*/ 2195 w 9919"/>
              <a:gd name="connsiteY190" fmla="*/ 7675 h 10000"/>
              <a:gd name="connsiteX191" fmla="*/ 2276 w 9919"/>
              <a:gd name="connsiteY191" fmla="*/ 7752 h 10000"/>
              <a:gd name="connsiteX192" fmla="*/ 2642 w 9919"/>
              <a:gd name="connsiteY192" fmla="*/ 7520 h 10000"/>
              <a:gd name="connsiteX193" fmla="*/ 2642 w 9919"/>
              <a:gd name="connsiteY193" fmla="*/ 7442 h 10000"/>
              <a:gd name="connsiteX194" fmla="*/ 2683 w 9919"/>
              <a:gd name="connsiteY194" fmla="*/ 7442 h 10000"/>
              <a:gd name="connsiteX195" fmla="*/ 2804 w 9919"/>
              <a:gd name="connsiteY195" fmla="*/ 7442 h 10000"/>
              <a:gd name="connsiteX196" fmla="*/ 2846 w 9919"/>
              <a:gd name="connsiteY196" fmla="*/ 7598 h 10000"/>
              <a:gd name="connsiteX197" fmla="*/ 2846 w 9919"/>
              <a:gd name="connsiteY197" fmla="*/ 7675 h 10000"/>
              <a:gd name="connsiteX198" fmla="*/ 2886 w 9919"/>
              <a:gd name="connsiteY198" fmla="*/ 7675 h 10000"/>
              <a:gd name="connsiteX199" fmla="*/ 2967 w 9919"/>
              <a:gd name="connsiteY199" fmla="*/ 7752 h 10000"/>
              <a:gd name="connsiteX200" fmla="*/ 2967 w 9919"/>
              <a:gd name="connsiteY200" fmla="*/ 7830 h 10000"/>
              <a:gd name="connsiteX201" fmla="*/ 3049 w 9919"/>
              <a:gd name="connsiteY201" fmla="*/ 7830 h 10000"/>
              <a:gd name="connsiteX202" fmla="*/ 3129 w 9919"/>
              <a:gd name="connsiteY202" fmla="*/ 7675 h 10000"/>
              <a:gd name="connsiteX203" fmla="*/ 3213 w 9919"/>
              <a:gd name="connsiteY203" fmla="*/ 7598 h 10000"/>
              <a:gd name="connsiteX204" fmla="*/ 3252 w 9919"/>
              <a:gd name="connsiteY204" fmla="*/ 7830 h 10000"/>
              <a:gd name="connsiteX205" fmla="*/ 3414 w 9919"/>
              <a:gd name="connsiteY205" fmla="*/ 8372 h 10000"/>
              <a:gd name="connsiteX206" fmla="*/ 3455 w 9919"/>
              <a:gd name="connsiteY206" fmla="*/ 8217 h 10000"/>
              <a:gd name="connsiteX207" fmla="*/ 3496 w 9919"/>
              <a:gd name="connsiteY207" fmla="*/ 8372 h 10000"/>
              <a:gd name="connsiteX208" fmla="*/ 3619 w 9919"/>
              <a:gd name="connsiteY208" fmla="*/ 8295 h 10000"/>
              <a:gd name="connsiteX209" fmla="*/ 3740 w 9919"/>
              <a:gd name="connsiteY209" fmla="*/ 8528 h 10000"/>
              <a:gd name="connsiteX210" fmla="*/ 3821 w 9919"/>
              <a:gd name="connsiteY210" fmla="*/ 8605 h 10000"/>
              <a:gd name="connsiteX211" fmla="*/ 3821 w 9919"/>
              <a:gd name="connsiteY211" fmla="*/ 8528 h 10000"/>
              <a:gd name="connsiteX212" fmla="*/ 3862 w 9919"/>
              <a:gd name="connsiteY212" fmla="*/ 8683 h 10000"/>
              <a:gd name="connsiteX213" fmla="*/ 3821 w 9919"/>
              <a:gd name="connsiteY213" fmla="*/ 8760 h 10000"/>
              <a:gd name="connsiteX214" fmla="*/ 3903 w 9919"/>
              <a:gd name="connsiteY214" fmla="*/ 8683 h 10000"/>
              <a:gd name="connsiteX215" fmla="*/ 3943 w 9919"/>
              <a:gd name="connsiteY215" fmla="*/ 8605 h 10000"/>
              <a:gd name="connsiteX216" fmla="*/ 4147 w 9919"/>
              <a:gd name="connsiteY216" fmla="*/ 8372 h 10000"/>
              <a:gd name="connsiteX217" fmla="*/ 4309 w 9919"/>
              <a:gd name="connsiteY217" fmla="*/ 8449 h 10000"/>
              <a:gd name="connsiteX218" fmla="*/ 4390 w 9919"/>
              <a:gd name="connsiteY218" fmla="*/ 8528 h 10000"/>
              <a:gd name="connsiteX219" fmla="*/ 4551 w 9919"/>
              <a:gd name="connsiteY219" fmla="*/ 8528 h 10000"/>
              <a:gd name="connsiteX220" fmla="*/ 4551 w 9919"/>
              <a:gd name="connsiteY220" fmla="*/ 8372 h 10000"/>
              <a:gd name="connsiteX221" fmla="*/ 4551 w 9919"/>
              <a:gd name="connsiteY221" fmla="*/ 8217 h 10000"/>
              <a:gd name="connsiteX222" fmla="*/ 4633 w 9919"/>
              <a:gd name="connsiteY222" fmla="*/ 8140 h 10000"/>
              <a:gd name="connsiteX223" fmla="*/ 4796 w 9919"/>
              <a:gd name="connsiteY223" fmla="*/ 8217 h 10000"/>
              <a:gd name="connsiteX224" fmla="*/ 4877 w 9919"/>
              <a:gd name="connsiteY224" fmla="*/ 8449 h 10000"/>
              <a:gd name="connsiteX225" fmla="*/ 4919 w 9919"/>
              <a:gd name="connsiteY225" fmla="*/ 8449 h 10000"/>
              <a:gd name="connsiteX226" fmla="*/ 4999 w 9919"/>
              <a:gd name="connsiteY226" fmla="*/ 8372 h 10000"/>
              <a:gd name="connsiteX227" fmla="*/ 5245 w 9919"/>
              <a:gd name="connsiteY227" fmla="*/ 8605 h 10000"/>
              <a:gd name="connsiteX228" fmla="*/ 5366 w 9919"/>
              <a:gd name="connsiteY228" fmla="*/ 8683 h 10000"/>
              <a:gd name="connsiteX229" fmla="*/ 5529 w 9919"/>
              <a:gd name="connsiteY229" fmla="*/ 8605 h 10000"/>
              <a:gd name="connsiteX230" fmla="*/ 5609 w 9919"/>
              <a:gd name="connsiteY230" fmla="*/ 8449 h 10000"/>
              <a:gd name="connsiteX231" fmla="*/ 5732 w 9919"/>
              <a:gd name="connsiteY231" fmla="*/ 8528 h 10000"/>
              <a:gd name="connsiteX232" fmla="*/ 5813 w 9919"/>
              <a:gd name="connsiteY232" fmla="*/ 8605 h 10000"/>
              <a:gd name="connsiteX233" fmla="*/ 7194 w 9919"/>
              <a:gd name="connsiteY233" fmla="*/ 7675 h 10000"/>
              <a:gd name="connsiteX234" fmla="*/ 7114 w 9919"/>
              <a:gd name="connsiteY234" fmla="*/ 7675 h 10000"/>
              <a:gd name="connsiteX235" fmla="*/ 7073 w 9919"/>
              <a:gd name="connsiteY235" fmla="*/ 7675 h 10000"/>
              <a:gd name="connsiteX236" fmla="*/ 7032 w 9919"/>
              <a:gd name="connsiteY236" fmla="*/ 7598 h 10000"/>
              <a:gd name="connsiteX237" fmla="*/ 6952 w 9919"/>
              <a:gd name="connsiteY237" fmla="*/ 7598 h 10000"/>
              <a:gd name="connsiteX238" fmla="*/ 6952 w 9919"/>
              <a:gd name="connsiteY238" fmla="*/ 7520 h 10000"/>
              <a:gd name="connsiteX239" fmla="*/ 7073 w 9919"/>
              <a:gd name="connsiteY239" fmla="*/ 7287 h 10000"/>
              <a:gd name="connsiteX240" fmla="*/ 7440 w 9919"/>
              <a:gd name="connsiteY240" fmla="*/ 6590 h 10000"/>
              <a:gd name="connsiteX241" fmla="*/ 7602 w 9919"/>
              <a:gd name="connsiteY241" fmla="*/ 6512 h 10000"/>
              <a:gd name="connsiteX242" fmla="*/ 7642 w 9919"/>
              <a:gd name="connsiteY242" fmla="*/ 6590 h 10000"/>
              <a:gd name="connsiteX243" fmla="*/ 7683 w 9919"/>
              <a:gd name="connsiteY243" fmla="*/ 6512 h 10000"/>
              <a:gd name="connsiteX244" fmla="*/ 7804 w 9919"/>
              <a:gd name="connsiteY244" fmla="*/ 6590 h 10000"/>
              <a:gd name="connsiteX245" fmla="*/ 7846 w 9919"/>
              <a:gd name="connsiteY245" fmla="*/ 6434 h 10000"/>
              <a:gd name="connsiteX246" fmla="*/ 7967 w 9919"/>
              <a:gd name="connsiteY246" fmla="*/ 6512 h 10000"/>
              <a:gd name="connsiteX247" fmla="*/ 8008 w 9919"/>
              <a:gd name="connsiteY247" fmla="*/ 6512 h 10000"/>
              <a:gd name="connsiteX248" fmla="*/ 7967 w 9919"/>
              <a:gd name="connsiteY248" fmla="*/ 6590 h 10000"/>
              <a:gd name="connsiteX249" fmla="*/ 7967 w 9919"/>
              <a:gd name="connsiteY249" fmla="*/ 6667 h 10000"/>
              <a:gd name="connsiteX250" fmla="*/ 8212 w 9919"/>
              <a:gd name="connsiteY250" fmla="*/ 6590 h 10000"/>
              <a:gd name="connsiteX251" fmla="*/ 8170 w 9919"/>
              <a:gd name="connsiteY251" fmla="*/ 6512 h 10000"/>
              <a:gd name="connsiteX252" fmla="*/ 8334 w 9919"/>
              <a:gd name="connsiteY252" fmla="*/ 5969 h 10000"/>
              <a:gd name="connsiteX253" fmla="*/ 8536 w 9919"/>
              <a:gd name="connsiteY253" fmla="*/ 5892 h 10000"/>
              <a:gd name="connsiteX254" fmla="*/ 8536 w 9919"/>
              <a:gd name="connsiteY254" fmla="*/ 6047 h 10000"/>
              <a:gd name="connsiteX255" fmla="*/ 8536 w 9919"/>
              <a:gd name="connsiteY255" fmla="*/ 6202 h 10000"/>
              <a:gd name="connsiteX256" fmla="*/ 8740 w 9919"/>
              <a:gd name="connsiteY256" fmla="*/ 5969 h 10000"/>
              <a:gd name="connsiteX257" fmla="*/ 8740 w 9919"/>
              <a:gd name="connsiteY257" fmla="*/ 5737 h 10000"/>
              <a:gd name="connsiteX258" fmla="*/ 8820 w 9919"/>
              <a:gd name="connsiteY258" fmla="*/ 5737 h 10000"/>
              <a:gd name="connsiteX259" fmla="*/ 8779 w 9919"/>
              <a:gd name="connsiteY259" fmla="*/ 5814 h 10000"/>
              <a:gd name="connsiteX260" fmla="*/ 8740 w 9919"/>
              <a:gd name="connsiteY260" fmla="*/ 6202 h 10000"/>
              <a:gd name="connsiteX261" fmla="*/ 8658 w 9919"/>
              <a:gd name="connsiteY261" fmla="*/ 6279 h 10000"/>
              <a:gd name="connsiteX262" fmla="*/ 8740 w 9919"/>
              <a:gd name="connsiteY262" fmla="*/ 6590 h 10000"/>
              <a:gd name="connsiteX263" fmla="*/ 8740 w 9919"/>
              <a:gd name="connsiteY263" fmla="*/ 6434 h 10000"/>
              <a:gd name="connsiteX264" fmla="*/ 8820 w 9919"/>
              <a:gd name="connsiteY264" fmla="*/ 6434 h 10000"/>
              <a:gd name="connsiteX265" fmla="*/ 8943 w 9919"/>
              <a:gd name="connsiteY265" fmla="*/ 6279 h 10000"/>
              <a:gd name="connsiteX266" fmla="*/ 8943 w 9919"/>
              <a:gd name="connsiteY266" fmla="*/ 6434 h 10000"/>
              <a:gd name="connsiteX267" fmla="*/ 8983 w 9919"/>
              <a:gd name="connsiteY267" fmla="*/ 6356 h 10000"/>
              <a:gd name="connsiteX268" fmla="*/ 9107 w 9919"/>
              <a:gd name="connsiteY268" fmla="*/ 6279 h 10000"/>
              <a:gd name="connsiteX269" fmla="*/ 9185 w 9919"/>
              <a:gd name="connsiteY269" fmla="*/ 6434 h 10000"/>
              <a:gd name="connsiteX270" fmla="*/ 9227 w 9919"/>
              <a:gd name="connsiteY270" fmla="*/ 6279 h 10000"/>
              <a:gd name="connsiteX271" fmla="*/ 9636 w 9919"/>
              <a:gd name="connsiteY271" fmla="*/ 5737 h 10000"/>
              <a:gd name="connsiteX272" fmla="*/ 9757 w 9919"/>
              <a:gd name="connsiteY272" fmla="*/ 5814 h 10000"/>
              <a:gd name="connsiteX273" fmla="*/ 9796 w 9919"/>
              <a:gd name="connsiteY273" fmla="*/ 5737 h 10000"/>
              <a:gd name="connsiteX274" fmla="*/ 9716 w 9919"/>
              <a:gd name="connsiteY274" fmla="*/ 5271 h 10000"/>
              <a:gd name="connsiteX275" fmla="*/ 9675 w 9919"/>
              <a:gd name="connsiteY275" fmla="*/ 5271 h 10000"/>
              <a:gd name="connsiteX276" fmla="*/ 9675 w 9919"/>
              <a:gd name="connsiteY276" fmla="*/ 5116 h 10000"/>
              <a:gd name="connsiteX277" fmla="*/ 9716 w 9919"/>
              <a:gd name="connsiteY277" fmla="*/ 5116 h 10000"/>
              <a:gd name="connsiteX278" fmla="*/ 9796 w 9919"/>
              <a:gd name="connsiteY278" fmla="*/ 5039 h 10000"/>
              <a:gd name="connsiteX279" fmla="*/ 9878 w 9919"/>
              <a:gd name="connsiteY279" fmla="*/ 4884 h 10000"/>
              <a:gd name="connsiteX280" fmla="*/ 9837 w 9919"/>
              <a:gd name="connsiteY280" fmla="*/ 4729 h 10000"/>
              <a:gd name="connsiteX281" fmla="*/ 9878 w 9919"/>
              <a:gd name="connsiteY281" fmla="*/ 4652 h 10000"/>
              <a:gd name="connsiteX282" fmla="*/ 9919 w 9919"/>
              <a:gd name="connsiteY282" fmla="*/ 4884 h 10000"/>
              <a:gd name="connsiteX283" fmla="*/ 9796 w 9919"/>
              <a:gd name="connsiteY283" fmla="*/ 3799 h 10000"/>
              <a:gd name="connsiteX284" fmla="*/ 9552 w 9919"/>
              <a:gd name="connsiteY284" fmla="*/ 3488 h 10000"/>
              <a:gd name="connsiteX285" fmla="*/ 9227 w 9919"/>
              <a:gd name="connsiteY285" fmla="*/ 3411 h 10000"/>
              <a:gd name="connsiteX286" fmla="*/ 9227 w 9919"/>
              <a:gd name="connsiteY286" fmla="*/ 3799 h 10000"/>
              <a:gd name="connsiteX287" fmla="*/ 9147 w 9919"/>
              <a:gd name="connsiteY287" fmla="*/ 3876 h 10000"/>
              <a:gd name="connsiteX288" fmla="*/ 9064 w 9919"/>
              <a:gd name="connsiteY288" fmla="*/ 3721 h 10000"/>
              <a:gd name="connsiteX289" fmla="*/ 9064 w 9919"/>
              <a:gd name="connsiteY289" fmla="*/ 3566 h 10000"/>
              <a:gd name="connsiteX290" fmla="*/ 9107 w 9919"/>
              <a:gd name="connsiteY290" fmla="*/ 3566 h 10000"/>
              <a:gd name="connsiteX291" fmla="*/ 9147 w 9919"/>
              <a:gd name="connsiteY291" fmla="*/ 3488 h 10000"/>
              <a:gd name="connsiteX292" fmla="*/ 9064 w 9919"/>
              <a:gd name="connsiteY292" fmla="*/ 3488 h 10000"/>
              <a:gd name="connsiteX293" fmla="*/ 8983 w 9919"/>
              <a:gd name="connsiteY293" fmla="*/ 3644 h 10000"/>
              <a:gd name="connsiteX294" fmla="*/ 8779 w 9919"/>
              <a:gd name="connsiteY294" fmla="*/ 3566 h 10000"/>
              <a:gd name="connsiteX295" fmla="*/ 8578 w 9919"/>
              <a:gd name="connsiteY295" fmla="*/ 3566 h 10000"/>
              <a:gd name="connsiteX296" fmla="*/ 8496 w 9919"/>
              <a:gd name="connsiteY296" fmla="*/ 3488 h 10000"/>
              <a:gd name="connsiteX297" fmla="*/ 8536 w 9919"/>
              <a:gd name="connsiteY297" fmla="*/ 3333 h 10000"/>
              <a:gd name="connsiteX298" fmla="*/ 8455 w 9919"/>
              <a:gd name="connsiteY298" fmla="*/ 3101 h 10000"/>
              <a:gd name="connsiteX299" fmla="*/ 8291 w 9919"/>
              <a:gd name="connsiteY299" fmla="*/ 3023 h 10000"/>
              <a:gd name="connsiteX300" fmla="*/ 8050 w 9919"/>
              <a:gd name="connsiteY300" fmla="*/ 3178 h 10000"/>
              <a:gd name="connsiteX301" fmla="*/ 8008 w 9919"/>
              <a:gd name="connsiteY301" fmla="*/ 2946 h 10000"/>
              <a:gd name="connsiteX302" fmla="*/ 7926 w 9919"/>
              <a:gd name="connsiteY302" fmla="*/ 2946 h 10000"/>
              <a:gd name="connsiteX303" fmla="*/ 7886 w 9919"/>
              <a:gd name="connsiteY303" fmla="*/ 2868 h 10000"/>
              <a:gd name="connsiteX304" fmla="*/ 7886 w 9919"/>
              <a:gd name="connsiteY304" fmla="*/ 2636 h 10000"/>
              <a:gd name="connsiteX305" fmla="*/ 7602 w 9919"/>
              <a:gd name="connsiteY305" fmla="*/ 2480 h 10000"/>
              <a:gd name="connsiteX306" fmla="*/ 7276 w 9919"/>
              <a:gd name="connsiteY306" fmla="*/ 2325 h 10000"/>
              <a:gd name="connsiteX307" fmla="*/ 7194 w 9919"/>
              <a:gd name="connsiteY307" fmla="*/ 2636 h 10000"/>
              <a:gd name="connsiteX308" fmla="*/ 7276 w 9919"/>
              <a:gd name="connsiteY308" fmla="*/ 2868 h 10000"/>
              <a:gd name="connsiteX309" fmla="*/ 7032 w 9919"/>
              <a:gd name="connsiteY309" fmla="*/ 2868 h 10000"/>
              <a:gd name="connsiteX310" fmla="*/ 6991 w 9919"/>
              <a:gd name="connsiteY310" fmla="*/ 2868 h 10000"/>
              <a:gd name="connsiteX311" fmla="*/ 6910 w 9919"/>
              <a:gd name="connsiteY311" fmla="*/ 2946 h 10000"/>
              <a:gd name="connsiteX312" fmla="*/ 6788 w 9919"/>
              <a:gd name="connsiteY312" fmla="*/ 2714 h 10000"/>
              <a:gd name="connsiteX313" fmla="*/ 6706 w 9919"/>
              <a:gd name="connsiteY313" fmla="*/ 3178 h 10000"/>
              <a:gd name="connsiteX314" fmla="*/ 6626 w 9919"/>
              <a:gd name="connsiteY314" fmla="*/ 3101 h 10000"/>
              <a:gd name="connsiteX315" fmla="*/ 6544 w 9919"/>
              <a:gd name="connsiteY315" fmla="*/ 2791 h 10000"/>
              <a:gd name="connsiteX316" fmla="*/ 6585 w 9919"/>
              <a:gd name="connsiteY316" fmla="*/ 2403 h 10000"/>
              <a:gd name="connsiteX317" fmla="*/ 6505 w 9919"/>
              <a:gd name="connsiteY317" fmla="*/ 2170 h 10000"/>
              <a:gd name="connsiteX318" fmla="*/ 6260 w 9919"/>
              <a:gd name="connsiteY318" fmla="*/ 2016 h 10000"/>
              <a:gd name="connsiteX319" fmla="*/ 6177 w 9919"/>
              <a:gd name="connsiteY319" fmla="*/ 2016 h 10000"/>
              <a:gd name="connsiteX320" fmla="*/ 6138 w 9919"/>
              <a:gd name="connsiteY320" fmla="*/ 2170 h 10000"/>
              <a:gd name="connsiteX321" fmla="*/ 6177 w 9919"/>
              <a:gd name="connsiteY321" fmla="*/ 2325 h 10000"/>
              <a:gd name="connsiteX322" fmla="*/ 5855 w 9919"/>
              <a:gd name="connsiteY322" fmla="*/ 2248 h 10000"/>
              <a:gd name="connsiteX323" fmla="*/ 5894 w 9919"/>
              <a:gd name="connsiteY323" fmla="*/ 2016 h 10000"/>
              <a:gd name="connsiteX324" fmla="*/ 5693 w 9919"/>
              <a:gd name="connsiteY324" fmla="*/ 1938 h 10000"/>
              <a:gd name="connsiteX325" fmla="*/ 5570 w 9919"/>
              <a:gd name="connsiteY325" fmla="*/ 2093 h 10000"/>
              <a:gd name="connsiteX326" fmla="*/ 5327 w 9919"/>
              <a:gd name="connsiteY326" fmla="*/ 1861 h 10000"/>
              <a:gd name="connsiteX0" fmla="*/ 5371 w 9959"/>
              <a:gd name="connsiteY0" fmla="*/ 1861 h 10000"/>
              <a:gd name="connsiteX1" fmla="*/ 5371 w 9959"/>
              <a:gd name="connsiteY1" fmla="*/ 1861 h 10000"/>
              <a:gd name="connsiteX2" fmla="*/ 5327 w 9959"/>
              <a:gd name="connsiteY2" fmla="*/ 1938 h 10000"/>
              <a:gd name="connsiteX3" fmla="*/ 5371 w 9959"/>
              <a:gd name="connsiteY3" fmla="*/ 2093 h 10000"/>
              <a:gd name="connsiteX4" fmla="*/ 5203 w 9959"/>
              <a:gd name="connsiteY4" fmla="*/ 2248 h 10000"/>
              <a:gd name="connsiteX5" fmla="*/ 5162 w 9959"/>
              <a:gd name="connsiteY5" fmla="*/ 2248 h 10000"/>
              <a:gd name="connsiteX6" fmla="*/ 5203 w 9959"/>
              <a:gd name="connsiteY6" fmla="*/ 2016 h 10000"/>
              <a:gd name="connsiteX7" fmla="*/ 5615 w 9959"/>
              <a:gd name="connsiteY7" fmla="*/ 1318 h 10000"/>
              <a:gd name="connsiteX8" fmla="*/ 5615 w 9959"/>
              <a:gd name="connsiteY8" fmla="*/ 853 h 10000"/>
              <a:gd name="connsiteX9" fmla="*/ 5451 w 9959"/>
              <a:gd name="connsiteY9" fmla="*/ 543 h 10000"/>
              <a:gd name="connsiteX10" fmla="*/ 5245 w 9959"/>
              <a:gd name="connsiteY10" fmla="*/ 543 h 10000"/>
              <a:gd name="connsiteX11" fmla="*/ 5245 w 9959"/>
              <a:gd name="connsiteY11" fmla="*/ 698 h 10000"/>
              <a:gd name="connsiteX12" fmla="*/ 5122 w 9959"/>
              <a:gd name="connsiteY12" fmla="*/ 698 h 10000"/>
              <a:gd name="connsiteX13" fmla="*/ 5203 w 9959"/>
              <a:gd name="connsiteY13" fmla="*/ 387 h 10000"/>
              <a:gd name="connsiteX14" fmla="*/ 4999 w 9959"/>
              <a:gd name="connsiteY14" fmla="*/ 310 h 10000"/>
              <a:gd name="connsiteX15" fmla="*/ 5122 w 9959"/>
              <a:gd name="connsiteY15" fmla="*/ 155 h 10000"/>
              <a:gd name="connsiteX16" fmla="*/ 4999 w 9959"/>
              <a:gd name="connsiteY16" fmla="*/ 0 h 10000"/>
              <a:gd name="connsiteX17" fmla="*/ 4794 w 9959"/>
              <a:gd name="connsiteY17" fmla="*/ 387 h 10000"/>
              <a:gd name="connsiteX18" fmla="*/ 4794 w 9959"/>
              <a:gd name="connsiteY18" fmla="*/ 698 h 10000"/>
              <a:gd name="connsiteX19" fmla="*/ 4671 w 9959"/>
              <a:gd name="connsiteY19" fmla="*/ 698 h 10000"/>
              <a:gd name="connsiteX20" fmla="*/ 4304 w 9959"/>
              <a:gd name="connsiteY20" fmla="*/ 853 h 10000"/>
              <a:gd name="connsiteX21" fmla="*/ 3975 w 9959"/>
              <a:gd name="connsiteY21" fmla="*/ 1240 h 10000"/>
              <a:gd name="connsiteX22" fmla="*/ 3852 w 9959"/>
              <a:gd name="connsiteY22" fmla="*/ 1551 h 10000"/>
              <a:gd name="connsiteX23" fmla="*/ 3894 w 9959"/>
              <a:gd name="connsiteY23" fmla="*/ 1938 h 10000"/>
              <a:gd name="connsiteX24" fmla="*/ 3442 w 9959"/>
              <a:gd name="connsiteY24" fmla="*/ 2093 h 10000"/>
              <a:gd name="connsiteX25" fmla="*/ 3483 w 9959"/>
              <a:gd name="connsiteY25" fmla="*/ 2559 h 10000"/>
              <a:gd name="connsiteX26" fmla="*/ 3607 w 9959"/>
              <a:gd name="connsiteY26" fmla="*/ 2791 h 10000"/>
              <a:gd name="connsiteX27" fmla="*/ 3525 w 9959"/>
              <a:gd name="connsiteY27" fmla="*/ 2868 h 10000"/>
              <a:gd name="connsiteX28" fmla="*/ 3402 w 9959"/>
              <a:gd name="connsiteY28" fmla="*/ 2559 h 10000"/>
              <a:gd name="connsiteX29" fmla="*/ 3279 w 9959"/>
              <a:gd name="connsiteY29" fmla="*/ 2480 h 10000"/>
              <a:gd name="connsiteX30" fmla="*/ 3239 w 9959"/>
              <a:gd name="connsiteY30" fmla="*/ 2559 h 10000"/>
              <a:gd name="connsiteX31" fmla="*/ 3155 w 9959"/>
              <a:gd name="connsiteY31" fmla="*/ 2403 h 10000"/>
              <a:gd name="connsiteX32" fmla="*/ 3074 w 9959"/>
              <a:gd name="connsiteY32" fmla="*/ 2248 h 10000"/>
              <a:gd name="connsiteX33" fmla="*/ 3074 w 9959"/>
              <a:gd name="connsiteY33" fmla="*/ 2325 h 10000"/>
              <a:gd name="connsiteX34" fmla="*/ 3115 w 9959"/>
              <a:gd name="connsiteY34" fmla="*/ 2559 h 10000"/>
              <a:gd name="connsiteX35" fmla="*/ 2991 w 9959"/>
              <a:gd name="connsiteY35" fmla="*/ 2946 h 10000"/>
              <a:gd name="connsiteX36" fmla="*/ 3074 w 9959"/>
              <a:gd name="connsiteY36" fmla="*/ 3256 h 10000"/>
              <a:gd name="connsiteX37" fmla="*/ 3032 w 9959"/>
              <a:gd name="connsiteY37" fmla="*/ 3566 h 10000"/>
              <a:gd name="connsiteX38" fmla="*/ 3032 w 9959"/>
              <a:gd name="connsiteY38" fmla="*/ 3799 h 10000"/>
              <a:gd name="connsiteX39" fmla="*/ 3155 w 9959"/>
              <a:gd name="connsiteY39" fmla="*/ 3799 h 10000"/>
              <a:gd name="connsiteX40" fmla="*/ 3074 w 9959"/>
              <a:gd name="connsiteY40" fmla="*/ 3876 h 10000"/>
              <a:gd name="connsiteX41" fmla="*/ 3115 w 9959"/>
              <a:gd name="connsiteY41" fmla="*/ 4263 h 10000"/>
              <a:gd name="connsiteX42" fmla="*/ 2869 w 9959"/>
              <a:gd name="connsiteY42" fmla="*/ 4652 h 10000"/>
              <a:gd name="connsiteX43" fmla="*/ 2827 w 9959"/>
              <a:gd name="connsiteY43" fmla="*/ 4574 h 10000"/>
              <a:gd name="connsiteX44" fmla="*/ 2991 w 9959"/>
              <a:gd name="connsiteY44" fmla="*/ 4186 h 10000"/>
              <a:gd name="connsiteX45" fmla="*/ 3032 w 9959"/>
              <a:gd name="connsiteY45" fmla="*/ 3954 h 10000"/>
              <a:gd name="connsiteX46" fmla="*/ 2948 w 9959"/>
              <a:gd name="connsiteY46" fmla="*/ 3799 h 10000"/>
              <a:gd name="connsiteX47" fmla="*/ 2948 w 9959"/>
              <a:gd name="connsiteY47" fmla="*/ 3023 h 10000"/>
              <a:gd name="connsiteX48" fmla="*/ 2910 w 9959"/>
              <a:gd name="connsiteY48" fmla="*/ 2868 h 10000"/>
              <a:gd name="connsiteX49" fmla="*/ 2948 w 9959"/>
              <a:gd name="connsiteY49" fmla="*/ 2403 h 10000"/>
              <a:gd name="connsiteX50" fmla="*/ 2869 w 9959"/>
              <a:gd name="connsiteY50" fmla="*/ 2325 h 10000"/>
              <a:gd name="connsiteX51" fmla="*/ 2910 w 9959"/>
              <a:gd name="connsiteY51" fmla="*/ 2248 h 10000"/>
              <a:gd name="connsiteX52" fmla="*/ 2869 w 9959"/>
              <a:gd name="connsiteY52" fmla="*/ 2093 h 10000"/>
              <a:gd name="connsiteX53" fmla="*/ 2785 w 9959"/>
              <a:gd name="connsiteY53" fmla="*/ 2170 h 10000"/>
              <a:gd name="connsiteX54" fmla="*/ 2582 w 9959"/>
              <a:gd name="connsiteY54" fmla="*/ 3178 h 10000"/>
              <a:gd name="connsiteX55" fmla="*/ 2582 w 9959"/>
              <a:gd name="connsiteY55" fmla="*/ 3566 h 10000"/>
              <a:gd name="connsiteX56" fmla="*/ 2705 w 9959"/>
              <a:gd name="connsiteY56" fmla="*/ 3876 h 10000"/>
              <a:gd name="connsiteX57" fmla="*/ 2705 w 9959"/>
              <a:gd name="connsiteY57" fmla="*/ 4031 h 10000"/>
              <a:gd name="connsiteX58" fmla="*/ 2582 w 9959"/>
              <a:gd name="connsiteY58" fmla="*/ 3876 h 10000"/>
              <a:gd name="connsiteX59" fmla="*/ 2092 w 9959"/>
              <a:gd name="connsiteY59" fmla="*/ 3256 h 10000"/>
              <a:gd name="connsiteX60" fmla="*/ 2050 w 9959"/>
              <a:gd name="connsiteY60" fmla="*/ 3411 h 10000"/>
              <a:gd name="connsiteX61" fmla="*/ 2213 w 9959"/>
              <a:gd name="connsiteY61" fmla="*/ 3799 h 10000"/>
              <a:gd name="connsiteX62" fmla="*/ 2132 w 9959"/>
              <a:gd name="connsiteY62" fmla="*/ 3876 h 10000"/>
              <a:gd name="connsiteX63" fmla="*/ 2092 w 9959"/>
              <a:gd name="connsiteY63" fmla="*/ 3799 h 10000"/>
              <a:gd name="connsiteX64" fmla="*/ 1844 w 9959"/>
              <a:gd name="connsiteY64" fmla="*/ 3954 h 10000"/>
              <a:gd name="connsiteX65" fmla="*/ 1804 w 9959"/>
              <a:gd name="connsiteY65" fmla="*/ 4109 h 10000"/>
              <a:gd name="connsiteX66" fmla="*/ 1762 w 9959"/>
              <a:gd name="connsiteY66" fmla="*/ 3954 h 10000"/>
              <a:gd name="connsiteX67" fmla="*/ 1762 w 9959"/>
              <a:gd name="connsiteY67" fmla="*/ 3799 h 10000"/>
              <a:gd name="connsiteX68" fmla="*/ 1351 w 9959"/>
              <a:gd name="connsiteY68" fmla="*/ 4263 h 10000"/>
              <a:gd name="connsiteX69" fmla="*/ 1351 w 9959"/>
              <a:gd name="connsiteY69" fmla="*/ 4418 h 10000"/>
              <a:gd name="connsiteX70" fmla="*/ 1271 w 9959"/>
              <a:gd name="connsiteY70" fmla="*/ 4496 h 10000"/>
              <a:gd name="connsiteX71" fmla="*/ 1147 w 9959"/>
              <a:gd name="connsiteY71" fmla="*/ 4341 h 10000"/>
              <a:gd name="connsiteX72" fmla="*/ 1271 w 9959"/>
              <a:gd name="connsiteY72" fmla="*/ 4186 h 10000"/>
              <a:gd name="connsiteX73" fmla="*/ 1230 w 9959"/>
              <a:gd name="connsiteY73" fmla="*/ 3954 h 10000"/>
              <a:gd name="connsiteX74" fmla="*/ 1066 w 9959"/>
              <a:gd name="connsiteY74" fmla="*/ 3876 h 10000"/>
              <a:gd name="connsiteX75" fmla="*/ 1107 w 9959"/>
              <a:gd name="connsiteY75" fmla="*/ 4031 h 10000"/>
              <a:gd name="connsiteX76" fmla="*/ 1107 w 9959"/>
              <a:gd name="connsiteY76" fmla="*/ 4418 h 10000"/>
              <a:gd name="connsiteX77" fmla="*/ 1147 w 9959"/>
              <a:gd name="connsiteY77" fmla="*/ 4574 h 10000"/>
              <a:gd name="connsiteX78" fmla="*/ 1107 w 9959"/>
              <a:gd name="connsiteY78" fmla="*/ 4729 h 10000"/>
              <a:gd name="connsiteX79" fmla="*/ 983 w 9959"/>
              <a:gd name="connsiteY79" fmla="*/ 4652 h 10000"/>
              <a:gd name="connsiteX80" fmla="*/ 820 w 9959"/>
              <a:gd name="connsiteY80" fmla="*/ 4884 h 10000"/>
              <a:gd name="connsiteX81" fmla="*/ 901 w 9959"/>
              <a:gd name="connsiteY81" fmla="*/ 5194 h 10000"/>
              <a:gd name="connsiteX82" fmla="*/ 655 w 9959"/>
              <a:gd name="connsiteY82" fmla="*/ 5039 h 10000"/>
              <a:gd name="connsiteX83" fmla="*/ 614 w 9959"/>
              <a:gd name="connsiteY83" fmla="*/ 5116 h 10000"/>
              <a:gd name="connsiteX84" fmla="*/ 698 w 9959"/>
              <a:gd name="connsiteY84" fmla="*/ 5349 h 10000"/>
              <a:gd name="connsiteX85" fmla="*/ 614 w 9959"/>
              <a:gd name="connsiteY85" fmla="*/ 5349 h 10000"/>
              <a:gd name="connsiteX86" fmla="*/ 493 w 9959"/>
              <a:gd name="connsiteY86" fmla="*/ 5194 h 10000"/>
              <a:gd name="connsiteX87" fmla="*/ 493 w 9959"/>
              <a:gd name="connsiteY87" fmla="*/ 4729 h 10000"/>
              <a:gd name="connsiteX88" fmla="*/ 369 w 9959"/>
              <a:gd name="connsiteY88" fmla="*/ 4574 h 10000"/>
              <a:gd name="connsiteX89" fmla="*/ 328 w 9959"/>
              <a:gd name="connsiteY89" fmla="*/ 4418 h 10000"/>
              <a:gd name="connsiteX90" fmla="*/ 409 w 9959"/>
              <a:gd name="connsiteY90" fmla="*/ 4496 h 10000"/>
              <a:gd name="connsiteX91" fmla="*/ 737 w 9959"/>
              <a:gd name="connsiteY91" fmla="*/ 4729 h 10000"/>
              <a:gd name="connsiteX92" fmla="*/ 942 w 9959"/>
              <a:gd name="connsiteY92" fmla="*/ 4496 h 10000"/>
              <a:gd name="connsiteX93" fmla="*/ 901 w 9959"/>
              <a:gd name="connsiteY93" fmla="*/ 4263 h 10000"/>
              <a:gd name="connsiteX94" fmla="*/ 655 w 9959"/>
              <a:gd name="connsiteY94" fmla="*/ 3799 h 10000"/>
              <a:gd name="connsiteX95" fmla="*/ 409 w 9959"/>
              <a:gd name="connsiteY95" fmla="*/ 3644 h 10000"/>
              <a:gd name="connsiteX96" fmla="*/ 409 w 9959"/>
              <a:gd name="connsiteY96" fmla="*/ 3566 h 10000"/>
              <a:gd name="connsiteX97" fmla="*/ 328 w 9959"/>
              <a:gd name="connsiteY97" fmla="*/ 3488 h 10000"/>
              <a:gd name="connsiteX98" fmla="*/ 245 w 9959"/>
              <a:gd name="connsiteY98" fmla="*/ 3566 h 10000"/>
              <a:gd name="connsiteX99" fmla="*/ 245 w 9959"/>
              <a:gd name="connsiteY99" fmla="*/ 3644 h 10000"/>
              <a:gd name="connsiteX100" fmla="*/ 206 w 9959"/>
              <a:gd name="connsiteY100" fmla="*/ 3644 h 10000"/>
              <a:gd name="connsiteX101" fmla="*/ 122 w 9959"/>
              <a:gd name="connsiteY101" fmla="*/ 3799 h 10000"/>
              <a:gd name="connsiteX102" fmla="*/ 122 w 9959"/>
              <a:gd name="connsiteY102" fmla="*/ 4031 h 10000"/>
              <a:gd name="connsiteX103" fmla="*/ 206 w 9959"/>
              <a:gd name="connsiteY103" fmla="*/ 4186 h 10000"/>
              <a:gd name="connsiteX104" fmla="*/ 163 w 9959"/>
              <a:gd name="connsiteY104" fmla="*/ 4418 h 10000"/>
              <a:gd name="connsiteX105" fmla="*/ 206 w 9959"/>
              <a:gd name="connsiteY105" fmla="*/ 4807 h 10000"/>
              <a:gd name="connsiteX106" fmla="*/ 163 w 9959"/>
              <a:gd name="connsiteY106" fmla="*/ 5039 h 10000"/>
              <a:gd name="connsiteX107" fmla="*/ 245 w 9959"/>
              <a:gd name="connsiteY107" fmla="*/ 5271 h 10000"/>
              <a:gd name="connsiteX108" fmla="*/ 206 w 9959"/>
              <a:gd name="connsiteY108" fmla="*/ 5426 h 10000"/>
              <a:gd name="connsiteX109" fmla="*/ 287 w 9959"/>
              <a:gd name="connsiteY109" fmla="*/ 5582 h 10000"/>
              <a:gd name="connsiteX110" fmla="*/ 287 w 9959"/>
              <a:gd name="connsiteY110" fmla="*/ 5659 h 10000"/>
              <a:gd name="connsiteX111" fmla="*/ 163 w 9959"/>
              <a:gd name="connsiteY111" fmla="*/ 6047 h 10000"/>
              <a:gd name="connsiteX112" fmla="*/ 40 w 9959"/>
              <a:gd name="connsiteY112" fmla="*/ 6202 h 10000"/>
              <a:gd name="connsiteX113" fmla="*/ 82 w 9959"/>
              <a:gd name="connsiteY113" fmla="*/ 6202 h 10000"/>
              <a:gd name="connsiteX114" fmla="*/ 163 w 9959"/>
              <a:gd name="connsiteY114" fmla="*/ 6356 h 10000"/>
              <a:gd name="connsiteX115" fmla="*/ 82 w 9959"/>
              <a:gd name="connsiteY115" fmla="*/ 6512 h 10000"/>
              <a:gd name="connsiteX116" fmla="*/ 40 w 9959"/>
              <a:gd name="connsiteY116" fmla="*/ 6590 h 10000"/>
              <a:gd name="connsiteX117" fmla="*/ 0 w 9959"/>
              <a:gd name="connsiteY117" fmla="*/ 6590 h 10000"/>
              <a:gd name="connsiteX118" fmla="*/ 40 w 9959"/>
              <a:gd name="connsiteY118" fmla="*/ 6822 h 10000"/>
              <a:gd name="connsiteX119" fmla="*/ 40 w 9959"/>
              <a:gd name="connsiteY119" fmla="*/ 6900 h 10000"/>
              <a:gd name="connsiteX120" fmla="*/ 40 w 9959"/>
              <a:gd name="connsiteY120" fmla="*/ 6977 h 10000"/>
              <a:gd name="connsiteX121" fmla="*/ 40 w 9959"/>
              <a:gd name="connsiteY121" fmla="*/ 7054 h 10000"/>
              <a:gd name="connsiteX122" fmla="*/ 82 w 9959"/>
              <a:gd name="connsiteY122" fmla="*/ 7209 h 10000"/>
              <a:gd name="connsiteX123" fmla="*/ 206 w 9959"/>
              <a:gd name="connsiteY123" fmla="*/ 7287 h 10000"/>
              <a:gd name="connsiteX124" fmla="*/ 245 w 9959"/>
              <a:gd name="connsiteY124" fmla="*/ 7364 h 10000"/>
              <a:gd name="connsiteX125" fmla="*/ 245 w 9959"/>
              <a:gd name="connsiteY125" fmla="*/ 7520 h 10000"/>
              <a:gd name="connsiteX126" fmla="*/ 328 w 9959"/>
              <a:gd name="connsiteY126" fmla="*/ 7752 h 10000"/>
              <a:gd name="connsiteX127" fmla="*/ 369 w 9959"/>
              <a:gd name="connsiteY127" fmla="*/ 7752 h 10000"/>
              <a:gd name="connsiteX128" fmla="*/ 328 w 9959"/>
              <a:gd name="connsiteY128" fmla="*/ 7907 h 10000"/>
              <a:gd name="connsiteX129" fmla="*/ 287 w 9959"/>
              <a:gd name="connsiteY129" fmla="*/ 7830 h 10000"/>
              <a:gd name="connsiteX130" fmla="*/ 287 w 9959"/>
              <a:gd name="connsiteY130" fmla="*/ 7907 h 10000"/>
              <a:gd name="connsiteX131" fmla="*/ 328 w 9959"/>
              <a:gd name="connsiteY131" fmla="*/ 8062 h 10000"/>
              <a:gd name="connsiteX132" fmla="*/ 451 w 9959"/>
              <a:gd name="connsiteY132" fmla="*/ 8062 h 10000"/>
              <a:gd name="connsiteX133" fmla="*/ 493 w 9959"/>
              <a:gd name="connsiteY133" fmla="*/ 8140 h 10000"/>
              <a:gd name="connsiteX134" fmla="*/ 451 w 9959"/>
              <a:gd name="connsiteY134" fmla="*/ 8140 h 10000"/>
              <a:gd name="connsiteX135" fmla="*/ 493 w 9959"/>
              <a:gd name="connsiteY135" fmla="*/ 8217 h 10000"/>
              <a:gd name="connsiteX136" fmla="*/ 532 w 9959"/>
              <a:gd name="connsiteY136" fmla="*/ 8217 h 10000"/>
              <a:gd name="connsiteX137" fmla="*/ 573 w 9959"/>
              <a:gd name="connsiteY137" fmla="*/ 8372 h 10000"/>
              <a:gd name="connsiteX138" fmla="*/ 614 w 9959"/>
              <a:gd name="connsiteY138" fmla="*/ 8449 h 10000"/>
              <a:gd name="connsiteX139" fmla="*/ 655 w 9959"/>
              <a:gd name="connsiteY139" fmla="*/ 8372 h 10000"/>
              <a:gd name="connsiteX140" fmla="*/ 862 w 9959"/>
              <a:gd name="connsiteY140" fmla="*/ 8605 h 10000"/>
              <a:gd name="connsiteX141" fmla="*/ 820 w 9959"/>
              <a:gd name="connsiteY141" fmla="*/ 8915 h 10000"/>
              <a:gd name="connsiteX142" fmla="*/ 777 w 9959"/>
              <a:gd name="connsiteY142" fmla="*/ 8838 h 10000"/>
              <a:gd name="connsiteX143" fmla="*/ 737 w 9959"/>
              <a:gd name="connsiteY143" fmla="*/ 8915 h 10000"/>
              <a:gd name="connsiteX144" fmla="*/ 737 w 9959"/>
              <a:gd name="connsiteY144" fmla="*/ 9070 h 10000"/>
              <a:gd name="connsiteX145" fmla="*/ 777 w 9959"/>
              <a:gd name="connsiteY145" fmla="*/ 8993 h 10000"/>
              <a:gd name="connsiteX146" fmla="*/ 820 w 9959"/>
              <a:gd name="connsiteY146" fmla="*/ 9070 h 10000"/>
              <a:gd name="connsiteX147" fmla="*/ 698 w 9959"/>
              <a:gd name="connsiteY147" fmla="*/ 9147 h 10000"/>
              <a:gd name="connsiteX148" fmla="*/ 737 w 9959"/>
              <a:gd name="connsiteY148" fmla="*/ 9225 h 10000"/>
              <a:gd name="connsiteX149" fmla="*/ 655 w 9959"/>
              <a:gd name="connsiteY149" fmla="*/ 9380 h 10000"/>
              <a:gd name="connsiteX150" fmla="*/ 614 w 9959"/>
              <a:gd name="connsiteY150" fmla="*/ 9380 h 10000"/>
              <a:gd name="connsiteX151" fmla="*/ 655 w 9959"/>
              <a:gd name="connsiteY151" fmla="*/ 9380 h 10000"/>
              <a:gd name="connsiteX152" fmla="*/ 820 w 9959"/>
              <a:gd name="connsiteY152" fmla="*/ 9691 h 10000"/>
              <a:gd name="connsiteX153" fmla="*/ 1025 w 9959"/>
              <a:gd name="connsiteY153" fmla="*/ 9691 h 10000"/>
              <a:gd name="connsiteX154" fmla="*/ 1107 w 9959"/>
              <a:gd name="connsiteY154" fmla="*/ 9768 h 10000"/>
              <a:gd name="connsiteX155" fmla="*/ 1188 w 9959"/>
              <a:gd name="connsiteY155" fmla="*/ 9768 h 10000"/>
              <a:gd name="connsiteX156" fmla="*/ 1271 w 9959"/>
              <a:gd name="connsiteY156" fmla="*/ 9923 h 10000"/>
              <a:gd name="connsiteX157" fmla="*/ 1312 w 9959"/>
              <a:gd name="connsiteY157" fmla="*/ 10000 h 10000"/>
              <a:gd name="connsiteX158" fmla="*/ 1351 w 9959"/>
              <a:gd name="connsiteY158" fmla="*/ 10000 h 10000"/>
              <a:gd name="connsiteX159" fmla="*/ 1394 w 9959"/>
              <a:gd name="connsiteY159" fmla="*/ 9923 h 10000"/>
              <a:gd name="connsiteX160" fmla="*/ 1312 w 9959"/>
              <a:gd name="connsiteY160" fmla="*/ 9768 h 10000"/>
              <a:gd name="connsiteX161" fmla="*/ 1312 w 9959"/>
              <a:gd name="connsiteY161" fmla="*/ 9613 h 10000"/>
              <a:gd name="connsiteX162" fmla="*/ 1271 w 9959"/>
              <a:gd name="connsiteY162" fmla="*/ 9457 h 10000"/>
              <a:gd name="connsiteX163" fmla="*/ 1351 w 9959"/>
              <a:gd name="connsiteY163" fmla="*/ 9225 h 10000"/>
              <a:gd name="connsiteX164" fmla="*/ 1394 w 9959"/>
              <a:gd name="connsiteY164" fmla="*/ 9302 h 10000"/>
              <a:gd name="connsiteX165" fmla="*/ 1435 w 9959"/>
              <a:gd name="connsiteY165" fmla="*/ 9225 h 10000"/>
              <a:gd name="connsiteX166" fmla="*/ 1435 w 9959"/>
              <a:gd name="connsiteY166" fmla="*/ 9147 h 10000"/>
              <a:gd name="connsiteX167" fmla="*/ 1394 w 9959"/>
              <a:gd name="connsiteY167" fmla="*/ 9147 h 10000"/>
              <a:gd name="connsiteX168" fmla="*/ 1435 w 9959"/>
              <a:gd name="connsiteY168" fmla="*/ 9070 h 10000"/>
              <a:gd name="connsiteX169" fmla="*/ 1394 w 9959"/>
              <a:gd name="connsiteY169" fmla="*/ 8915 h 10000"/>
              <a:gd name="connsiteX170" fmla="*/ 1312 w 9959"/>
              <a:gd name="connsiteY170" fmla="*/ 8915 h 10000"/>
              <a:gd name="connsiteX171" fmla="*/ 1271 w 9959"/>
              <a:gd name="connsiteY171" fmla="*/ 8760 h 10000"/>
              <a:gd name="connsiteX172" fmla="*/ 1312 w 9959"/>
              <a:gd name="connsiteY172" fmla="*/ 8372 h 10000"/>
              <a:gd name="connsiteX173" fmla="*/ 1394 w 9959"/>
              <a:gd name="connsiteY173" fmla="*/ 8528 h 10000"/>
              <a:gd name="connsiteX174" fmla="*/ 1435 w 9959"/>
              <a:gd name="connsiteY174" fmla="*/ 8528 h 10000"/>
              <a:gd name="connsiteX175" fmla="*/ 1394 w 9959"/>
              <a:gd name="connsiteY175" fmla="*/ 8372 h 10000"/>
              <a:gd name="connsiteX176" fmla="*/ 1517 w 9959"/>
              <a:gd name="connsiteY176" fmla="*/ 8140 h 10000"/>
              <a:gd name="connsiteX177" fmla="*/ 1599 w 9959"/>
              <a:gd name="connsiteY177" fmla="*/ 8217 h 10000"/>
              <a:gd name="connsiteX178" fmla="*/ 1639 w 9959"/>
              <a:gd name="connsiteY178" fmla="*/ 8140 h 10000"/>
              <a:gd name="connsiteX179" fmla="*/ 1721 w 9959"/>
              <a:gd name="connsiteY179" fmla="*/ 8217 h 10000"/>
              <a:gd name="connsiteX180" fmla="*/ 1844 w 9959"/>
              <a:gd name="connsiteY180" fmla="*/ 8372 h 10000"/>
              <a:gd name="connsiteX181" fmla="*/ 1927 w 9959"/>
              <a:gd name="connsiteY181" fmla="*/ 8295 h 10000"/>
              <a:gd name="connsiteX182" fmla="*/ 2008 w 9959"/>
              <a:gd name="connsiteY182" fmla="*/ 8295 h 10000"/>
              <a:gd name="connsiteX183" fmla="*/ 2050 w 9959"/>
              <a:gd name="connsiteY183" fmla="*/ 8372 h 10000"/>
              <a:gd name="connsiteX184" fmla="*/ 2213 w 9959"/>
              <a:gd name="connsiteY184" fmla="*/ 8372 h 10000"/>
              <a:gd name="connsiteX185" fmla="*/ 2253 w 9959"/>
              <a:gd name="connsiteY185" fmla="*/ 8217 h 10000"/>
              <a:gd name="connsiteX186" fmla="*/ 2132 w 9959"/>
              <a:gd name="connsiteY186" fmla="*/ 8140 h 10000"/>
              <a:gd name="connsiteX187" fmla="*/ 2213 w 9959"/>
              <a:gd name="connsiteY187" fmla="*/ 8062 h 10000"/>
              <a:gd name="connsiteX188" fmla="*/ 2171 w 9959"/>
              <a:gd name="connsiteY188" fmla="*/ 7985 h 10000"/>
              <a:gd name="connsiteX189" fmla="*/ 2213 w 9959"/>
              <a:gd name="connsiteY189" fmla="*/ 7907 h 10000"/>
              <a:gd name="connsiteX190" fmla="*/ 2213 w 9959"/>
              <a:gd name="connsiteY190" fmla="*/ 7675 h 10000"/>
              <a:gd name="connsiteX191" fmla="*/ 2295 w 9959"/>
              <a:gd name="connsiteY191" fmla="*/ 7752 h 10000"/>
              <a:gd name="connsiteX192" fmla="*/ 2664 w 9959"/>
              <a:gd name="connsiteY192" fmla="*/ 7520 h 10000"/>
              <a:gd name="connsiteX193" fmla="*/ 2664 w 9959"/>
              <a:gd name="connsiteY193" fmla="*/ 7442 h 10000"/>
              <a:gd name="connsiteX194" fmla="*/ 2705 w 9959"/>
              <a:gd name="connsiteY194" fmla="*/ 7442 h 10000"/>
              <a:gd name="connsiteX195" fmla="*/ 2827 w 9959"/>
              <a:gd name="connsiteY195" fmla="*/ 7442 h 10000"/>
              <a:gd name="connsiteX196" fmla="*/ 2869 w 9959"/>
              <a:gd name="connsiteY196" fmla="*/ 7598 h 10000"/>
              <a:gd name="connsiteX197" fmla="*/ 2869 w 9959"/>
              <a:gd name="connsiteY197" fmla="*/ 7675 h 10000"/>
              <a:gd name="connsiteX198" fmla="*/ 2910 w 9959"/>
              <a:gd name="connsiteY198" fmla="*/ 7675 h 10000"/>
              <a:gd name="connsiteX199" fmla="*/ 2991 w 9959"/>
              <a:gd name="connsiteY199" fmla="*/ 7752 h 10000"/>
              <a:gd name="connsiteX200" fmla="*/ 2991 w 9959"/>
              <a:gd name="connsiteY200" fmla="*/ 7830 h 10000"/>
              <a:gd name="connsiteX201" fmla="*/ 3074 w 9959"/>
              <a:gd name="connsiteY201" fmla="*/ 7830 h 10000"/>
              <a:gd name="connsiteX202" fmla="*/ 3155 w 9959"/>
              <a:gd name="connsiteY202" fmla="*/ 7675 h 10000"/>
              <a:gd name="connsiteX203" fmla="*/ 3239 w 9959"/>
              <a:gd name="connsiteY203" fmla="*/ 7598 h 10000"/>
              <a:gd name="connsiteX204" fmla="*/ 3279 w 9959"/>
              <a:gd name="connsiteY204" fmla="*/ 7830 h 10000"/>
              <a:gd name="connsiteX205" fmla="*/ 3442 w 9959"/>
              <a:gd name="connsiteY205" fmla="*/ 8372 h 10000"/>
              <a:gd name="connsiteX206" fmla="*/ 3483 w 9959"/>
              <a:gd name="connsiteY206" fmla="*/ 8217 h 10000"/>
              <a:gd name="connsiteX207" fmla="*/ 3525 w 9959"/>
              <a:gd name="connsiteY207" fmla="*/ 8372 h 10000"/>
              <a:gd name="connsiteX208" fmla="*/ 3649 w 9959"/>
              <a:gd name="connsiteY208" fmla="*/ 8295 h 10000"/>
              <a:gd name="connsiteX209" fmla="*/ 3771 w 9959"/>
              <a:gd name="connsiteY209" fmla="*/ 8528 h 10000"/>
              <a:gd name="connsiteX210" fmla="*/ 3852 w 9959"/>
              <a:gd name="connsiteY210" fmla="*/ 8605 h 10000"/>
              <a:gd name="connsiteX211" fmla="*/ 3852 w 9959"/>
              <a:gd name="connsiteY211" fmla="*/ 8528 h 10000"/>
              <a:gd name="connsiteX212" fmla="*/ 3894 w 9959"/>
              <a:gd name="connsiteY212" fmla="*/ 8683 h 10000"/>
              <a:gd name="connsiteX213" fmla="*/ 3852 w 9959"/>
              <a:gd name="connsiteY213" fmla="*/ 8760 h 10000"/>
              <a:gd name="connsiteX214" fmla="*/ 3935 w 9959"/>
              <a:gd name="connsiteY214" fmla="*/ 8683 h 10000"/>
              <a:gd name="connsiteX215" fmla="*/ 3975 w 9959"/>
              <a:gd name="connsiteY215" fmla="*/ 8605 h 10000"/>
              <a:gd name="connsiteX216" fmla="*/ 4181 w 9959"/>
              <a:gd name="connsiteY216" fmla="*/ 8372 h 10000"/>
              <a:gd name="connsiteX217" fmla="*/ 4344 w 9959"/>
              <a:gd name="connsiteY217" fmla="*/ 8449 h 10000"/>
              <a:gd name="connsiteX218" fmla="*/ 4426 w 9959"/>
              <a:gd name="connsiteY218" fmla="*/ 8528 h 10000"/>
              <a:gd name="connsiteX219" fmla="*/ 4588 w 9959"/>
              <a:gd name="connsiteY219" fmla="*/ 8528 h 10000"/>
              <a:gd name="connsiteX220" fmla="*/ 4588 w 9959"/>
              <a:gd name="connsiteY220" fmla="*/ 8372 h 10000"/>
              <a:gd name="connsiteX221" fmla="*/ 4588 w 9959"/>
              <a:gd name="connsiteY221" fmla="*/ 8217 h 10000"/>
              <a:gd name="connsiteX222" fmla="*/ 4671 w 9959"/>
              <a:gd name="connsiteY222" fmla="*/ 8140 h 10000"/>
              <a:gd name="connsiteX223" fmla="*/ 4835 w 9959"/>
              <a:gd name="connsiteY223" fmla="*/ 8217 h 10000"/>
              <a:gd name="connsiteX224" fmla="*/ 4917 w 9959"/>
              <a:gd name="connsiteY224" fmla="*/ 8449 h 10000"/>
              <a:gd name="connsiteX225" fmla="*/ 4959 w 9959"/>
              <a:gd name="connsiteY225" fmla="*/ 8449 h 10000"/>
              <a:gd name="connsiteX226" fmla="*/ 5040 w 9959"/>
              <a:gd name="connsiteY226" fmla="*/ 8372 h 10000"/>
              <a:gd name="connsiteX227" fmla="*/ 5288 w 9959"/>
              <a:gd name="connsiteY227" fmla="*/ 8605 h 10000"/>
              <a:gd name="connsiteX228" fmla="*/ 5410 w 9959"/>
              <a:gd name="connsiteY228" fmla="*/ 8683 h 10000"/>
              <a:gd name="connsiteX229" fmla="*/ 5574 w 9959"/>
              <a:gd name="connsiteY229" fmla="*/ 8605 h 10000"/>
              <a:gd name="connsiteX230" fmla="*/ 5655 w 9959"/>
              <a:gd name="connsiteY230" fmla="*/ 8449 h 10000"/>
              <a:gd name="connsiteX231" fmla="*/ 5779 w 9959"/>
              <a:gd name="connsiteY231" fmla="*/ 8528 h 10000"/>
              <a:gd name="connsiteX232" fmla="*/ 5860 w 9959"/>
              <a:gd name="connsiteY232" fmla="*/ 8605 h 10000"/>
              <a:gd name="connsiteX233" fmla="*/ 7253 w 9959"/>
              <a:gd name="connsiteY233" fmla="*/ 7675 h 10000"/>
              <a:gd name="connsiteX234" fmla="*/ 7172 w 9959"/>
              <a:gd name="connsiteY234" fmla="*/ 7675 h 10000"/>
              <a:gd name="connsiteX235" fmla="*/ 7131 w 9959"/>
              <a:gd name="connsiteY235" fmla="*/ 7675 h 10000"/>
              <a:gd name="connsiteX236" fmla="*/ 7089 w 9959"/>
              <a:gd name="connsiteY236" fmla="*/ 7598 h 10000"/>
              <a:gd name="connsiteX237" fmla="*/ 7009 w 9959"/>
              <a:gd name="connsiteY237" fmla="*/ 7598 h 10000"/>
              <a:gd name="connsiteX238" fmla="*/ 7009 w 9959"/>
              <a:gd name="connsiteY238" fmla="*/ 7520 h 10000"/>
              <a:gd name="connsiteX239" fmla="*/ 7131 w 9959"/>
              <a:gd name="connsiteY239" fmla="*/ 7287 h 10000"/>
              <a:gd name="connsiteX240" fmla="*/ 7501 w 9959"/>
              <a:gd name="connsiteY240" fmla="*/ 6590 h 10000"/>
              <a:gd name="connsiteX241" fmla="*/ 7664 w 9959"/>
              <a:gd name="connsiteY241" fmla="*/ 6512 h 10000"/>
              <a:gd name="connsiteX242" fmla="*/ 7704 w 9959"/>
              <a:gd name="connsiteY242" fmla="*/ 6590 h 10000"/>
              <a:gd name="connsiteX243" fmla="*/ 7746 w 9959"/>
              <a:gd name="connsiteY243" fmla="*/ 6512 h 10000"/>
              <a:gd name="connsiteX244" fmla="*/ 7868 w 9959"/>
              <a:gd name="connsiteY244" fmla="*/ 6590 h 10000"/>
              <a:gd name="connsiteX245" fmla="*/ 7910 w 9959"/>
              <a:gd name="connsiteY245" fmla="*/ 6434 h 10000"/>
              <a:gd name="connsiteX246" fmla="*/ 8032 w 9959"/>
              <a:gd name="connsiteY246" fmla="*/ 6512 h 10000"/>
              <a:gd name="connsiteX247" fmla="*/ 8073 w 9959"/>
              <a:gd name="connsiteY247" fmla="*/ 6512 h 10000"/>
              <a:gd name="connsiteX248" fmla="*/ 8032 w 9959"/>
              <a:gd name="connsiteY248" fmla="*/ 6590 h 10000"/>
              <a:gd name="connsiteX249" fmla="*/ 8032 w 9959"/>
              <a:gd name="connsiteY249" fmla="*/ 6667 h 10000"/>
              <a:gd name="connsiteX250" fmla="*/ 8279 w 9959"/>
              <a:gd name="connsiteY250" fmla="*/ 6590 h 10000"/>
              <a:gd name="connsiteX251" fmla="*/ 8237 w 9959"/>
              <a:gd name="connsiteY251" fmla="*/ 6512 h 10000"/>
              <a:gd name="connsiteX252" fmla="*/ 8402 w 9959"/>
              <a:gd name="connsiteY252" fmla="*/ 5969 h 10000"/>
              <a:gd name="connsiteX253" fmla="*/ 8606 w 9959"/>
              <a:gd name="connsiteY253" fmla="*/ 5892 h 10000"/>
              <a:gd name="connsiteX254" fmla="*/ 8606 w 9959"/>
              <a:gd name="connsiteY254" fmla="*/ 6047 h 10000"/>
              <a:gd name="connsiteX255" fmla="*/ 8606 w 9959"/>
              <a:gd name="connsiteY255" fmla="*/ 6202 h 10000"/>
              <a:gd name="connsiteX256" fmla="*/ 8811 w 9959"/>
              <a:gd name="connsiteY256" fmla="*/ 5969 h 10000"/>
              <a:gd name="connsiteX257" fmla="*/ 8811 w 9959"/>
              <a:gd name="connsiteY257" fmla="*/ 5737 h 10000"/>
              <a:gd name="connsiteX258" fmla="*/ 8892 w 9959"/>
              <a:gd name="connsiteY258" fmla="*/ 5737 h 10000"/>
              <a:gd name="connsiteX259" fmla="*/ 8851 w 9959"/>
              <a:gd name="connsiteY259" fmla="*/ 5814 h 10000"/>
              <a:gd name="connsiteX260" fmla="*/ 8811 w 9959"/>
              <a:gd name="connsiteY260" fmla="*/ 6202 h 10000"/>
              <a:gd name="connsiteX261" fmla="*/ 8729 w 9959"/>
              <a:gd name="connsiteY261" fmla="*/ 6279 h 10000"/>
              <a:gd name="connsiteX262" fmla="*/ 8811 w 9959"/>
              <a:gd name="connsiteY262" fmla="*/ 6590 h 10000"/>
              <a:gd name="connsiteX263" fmla="*/ 8811 w 9959"/>
              <a:gd name="connsiteY263" fmla="*/ 6434 h 10000"/>
              <a:gd name="connsiteX264" fmla="*/ 8892 w 9959"/>
              <a:gd name="connsiteY264" fmla="*/ 6434 h 10000"/>
              <a:gd name="connsiteX265" fmla="*/ 9016 w 9959"/>
              <a:gd name="connsiteY265" fmla="*/ 6279 h 10000"/>
              <a:gd name="connsiteX266" fmla="*/ 9016 w 9959"/>
              <a:gd name="connsiteY266" fmla="*/ 6434 h 10000"/>
              <a:gd name="connsiteX267" fmla="*/ 9056 w 9959"/>
              <a:gd name="connsiteY267" fmla="*/ 6356 h 10000"/>
              <a:gd name="connsiteX268" fmla="*/ 9181 w 9959"/>
              <a:gd name="connsiteY268" fmla="*/ 6279 h 10000"/>
              <a:gd name="connsiteX269" fmla="*/ 9260 w 9959"/>
              <a:gd name="connsiteY269" fmla="*/ 6434 h 10000"/>
              <a:gd name="connsiteX270" fmla="*/ 9302 w 9959"/>
              <a:gd name="connsiteY270" fmla="*/ 6279 h 10000"/>
              <a:gd name="connsiteX271" fmla="*/ 9715 w 9959"/>
              <a:gd name="connsiteY271" fmla="*/ 5737 h 10000"/>
              <a:gd name="connsiteX272" fmla="*/ 9837 w 9959"/>
              <a:gd name="connsiteY272" fmla="*/ 5814 h 10000"/>
              <a:gd name="connsiteX273" fmla="*/ 9876 w 9959"/>
              <a:gd name="connsiteY273" fmla="*/ 5737 h 10000"/>
              <a:gd name="connsiteX274" fmla="*/ 9795 w 9959"/>
              <a:gd name="connsiteY274" fmla="*/ 5271 h 10000"/>
              <a:gd name="connsiteX275" fmla="*/ 9754 w 9959"/>
              <a:gd name="connsiteY275" fmla="*/ 5271 h 10000"/>
              <a:gd name="connsiteX276" fmla="*/ 9754 w 9959"/>
              <a:gd name="connsiteY276" fmla="*/ 5116 h 10000"/>
              <a:gd name="connsiteX277" fmla="*/ 9795 w 9959"/>
              <a:gd name="connsiteY277" fmla="*/ 5116 h 10000"/>
              <a:gd name="connsiteX278" fmla="*/ 9876 w 9959"/>
              <a:gd name="connsiteY278" fmla="*/ 5039 h 10000"/>
              <a:gd name="connsiteX279" fmla="*/ 9959 w 9959"/>
              <a:gd name="connsiteY279" fmla="*/ 4884 h 10000"/>
              <a:gd name="connsiteX280" fmla="*/ 9917 w 9959"/>
              <a:gd name="connsiteY280" fmla="*/ 4729 h 10000"/>
              <a:gd name="connsiteX281" fmla="*/ 9959 w 9959"/>
              <a:gd name="connsiteY281" fmla="*/ 4652 h 10000"/>
              <a:gd name="connsiteX282" fmla="*/ 9876 w 9959"/>
              <a:gd name="connsiteY282" fmla="*/ 3799 h 10000"/>
              <a:gd name="connsiteX283" fmla="*/ 9630 w 9959"/>
              <a:gd name="connsiteY283" fmla="*/ 3488 h 10000"/>
              <a:gd name="connsiteX284" fmla="*/ 9302 w 9959"/>
              <a:gd name="connsiteY284" fmla="*/ 3411 h 10000"/>
              <a:gd name="connsiteX285" fmla="*/ 9302 w 9959"/>
              <a:gd name="connsiteY285" fmla="*/ 3799 h 10000"/>
              <a:gd name="connsiteX286" fmla="*/ 9222 w 9959"/>
              <a:gd name="connsiteY286" fmla="*/ 3876 h 10000"/>
              <a:gd name="connsiteX287" fmla="*/ 9138 w 9959"/>
              <a:gd name="connsiteY287" fmla="*/ 3721 h 10000"/>
              <a:gd name="connsiteX288" fmla="*/ 9138 w 9959"/>
              <a:gd name="connsiteY288" fmla="*/ 3566 h 10000"/>
              <a:gd name="connsiteX289" fmla="*/ 9181 w 9959"/>
              <a:gd name="connsiteY289" fmla="*/ 3566 h 10000"/>
              <a:gd name="connsiteX290" fmla="*/ 9222 w 9959"/>
              <a:gd name="connsiteY290" fmla="*/ 3488 h 10000"/>
              <a:gd name="connsiteX291" fmla="*/ 9138 w 9959"/>
              <a:gd name="connsiteY291" fmla="*/ 3488 h 10000"/>
              <a:gd name="connsiteX292" fmla="*/ 9056 w 9959"/>
              <a:gd name="connsiteY292" fmla="*/ 3644 h 10000"/>
              <a:gd name="connsiteX293" fmla="*/ 8851 w 9959"/>
              <a:gd name="connsiteY293" fmla="*/ 3566 h 10000"/>
              <a:gd name="connsiteX294" fmla="*/ 8648 w 9959"/>
              <a:gd name="connsiteY294" fmla="*/ 3566 h 10000"/>
              <a:gd name="connsiteX295" fmla="*/ 8565 w 9959"/>
              <a:gd name="connsiteY295" fmla="*/ 3488 h 10000"/>
              <a:gd name="connsiteX296" fmla="*/ 8606 w 9959"/>
              <a:gd name="connsiteY296" fmla="*/ 3333 h 10000"/>
              <a:gd name="connsiteX297" fmla="*/ 8524 w 9959"/>
              <a:gd name="connsiteY297" fmla="*/ 3101 h 10000"/>
              <a:gd name="connsiteX298" fmla="*/ 8359 w 9959"/>
              <a:gd name="connsiteY298" fmla="*/ 3023 h 10000"/>
              <a:gd name="connsiteX299" fmla="*/ 8116 w 9959"/>
              <a:gd name="connsiteY299" fmla="*/ 3178 h 10000"/>
              <a:gd name="connsiteX300" fmla="*/ 8073 w 9959"/>
              <a:gd name="connsiteY300" fmla="*/ 2946 h 10000"/>
              <a:gd name="connsiteX301" fmla="*/ 7991 w 9959"/>
              <a:gd name="connsiteY301" fmla="*/ 2946 h 10000"/>
              <a:gd name="connsiteX302" fmla="*/ 7950 w 9959"/>
              <a:gd name="connsiteY302" fmla="*/ 2868 h 10000"/>
              <a:gd name="connsiteX303" fmla="*/ 7950 w 9959"/>
              <a:gd name="connsiteY303" fmla="*/ 2636 h 10000"/>
              <a:gd name="connsiteX304" fmla="*/ 7664 w 9959"/>
              <a:gd name="connsiteY304" fmla="*/ 2480 h 10000"/>
              <a:gd name="connsiteX305" fmla="*/ 7335 w 9959"/>
              <a:gd name="connsiteY305" fmla="*/ 2325 h 10000"/>
              <a:gd name="connsiteX306" fmla="*/ 7253 w 9959"/>
              <a:gd name="connsiteY306" fmla="*/ 2636 h 10000"/>
              <a:gd name="connsiteX307" fmla="*/ 7335 w 9959"/>
              <a:gd name="connsiteY307" fmla="*/ 2868 h 10000"/>
              <a:gd name="connsiteX308" fmla="*/ 7089 w 9959"/>
              <a:gd name="connsiteY308" fmla="*/ 2868 h 10000"/>
              <a:gd name="connsiteX309" fmla="*/ 7048 w 9959"/>
              <a:gd name="connsiteY309" fmla="*/ 2868 h 10000"/>
              <a:gd name="connsiteX310" fmla="*/ 6966 w 9959"/>
              <a:gd name="connsiteY310" fmla="*/ 2946 h 10000"/>
              <a:gd name="connsiteX311" fmla="*/ 6843 w 9959"/>
              <a:gd name="connsiteY311" fmla="*/ 2714 h 10000"/>
              <a:gd name="connsiteX312" fmla="*/ 6761 w 9959"/>
              <a:gd name="connsiteY312" fmla="*/ 3178 h 10000"/>
              <a:gd name="connsiteX313" fmla="*/ 6680 w 9959"/>
              <a:gd name="connsiteY313" fmla="*/ 3101 h 10000"/>
              <a:gd name="connsiteX314" fmla="*/ 6597 w 9959"/>
              <a:gd name="connsiteY314" fmla="*/ 2791 h 10000"/>
              <a:gd name="connsiteX315" fmla="*/ 6639 w 9959"/>
              <a:gd name="connsiteY315" fmla="*/ 2403 h 10000"/>
              <a:gd name="connsiteX316" fmla="*/ 6558 w 9959"/>
              <a:gd name="connsiteY316" fmla="*/ 2170 h 10000"/>
              <a:gd name="connsiteX317" fmla="*/ 6311 w 9959"/>
              <a:gd name="connsiteY317" fmla="*/ 2016 h 10000"/>
              <a:gd name="connsiteX318" fmla="*/ 6227 w 9959"/>
              <a:gd name="connsiteY318" fmla="*/ 2016 h 10000"/>
              <a:gd name="connsiteX319" fmla="*/ 6188 w 9959"/>
              <a:gd name="connsiteY319" fmla="*/ 2170 h 10000"/>
              <a:gd name="connsiteX320" fmla="*/ 6227 w 9959"/>
              <a:gd name="connsiteY320" fmla="*/ 2325 h 10000"/>
              <a:gd name="connsiteX321" fmla="*/ 5903 w 9959"/>
              <a:gd name="connsiteY321" fmla="*/ 2248 h 10000"/>
              <a:gd name="connsiteX322" fmla="*/ 5942 w 9959"/>
              <a:gd name="connsiteY322" fmla="*/ 2016 h 10000"/>
              <a:gd name="connsiteX323" fmla="*/ 5739 w 9959"/>
              <a:gd name="connsiteY323" fmla="*/ 1938 h 10000"/>
              <a:gd name="connsiteX324" fmla="*/ 5615 w 9959"/>
              <a:gd name="connsiteY324" fmla="*/ 2093 h 10000"/>
              <a:gd name="connsiteX325" fmla="*/ 5371 w 9959"/>
              <a:gd name="connsiteY325" fmla="*/ 1861 h 10000"/>
              <a:gd name="connsiteX0" fmla="*/ 5393 w 10000"/>
              <a:gd name="connsiteY0" fmla="*/ 1861 h 10000"/>
              <a:gd name="connsiteX1" fmla="*/ 5393 w 10000"/>
              <a:gd name="connsiteY1" fmla="*/ 1861 h 10000"/>
              <a:gd name="connsiteX2" fmla="*/ 5349 w 10000"/>
              <a:gd name="connsiteY2" fmla="*/ 1938 h 10000"/>
              <a:gd name="connsiteX3" fmla="*/ 5393 w 10000"/>
              <a:gd name="connsiteY3" fmla="*/ 2093 h 10000"/>
              <a:gd name="connsiteX4" fmla="*/ 5224 w 10000"/>
              <a:gd name="connsiteY4" fmla="*/ 2248 h 10000"/>
              <a:gd name="connsiteX5" fmla="*/ 5183 w 10000"/>
              <a:gd name="connsiteY5" fmla="*/ 2248 h 10000"/>
              <a:gd name="connsiteX6" fmla="*/ 5224 w 10000"/>
              <a:gd name="connsiteY6" fmla="*/ 2016 h 10000"/>
              <a:gd name="connsiteX7" fmla="*/ 5638 w 10000"/>
              <a:gd name="connsiteY7" fmla="*/ 1318 h 10000"/>
              <a:gd name="connsiteX8" fmla="*/ 5638 w 10000"/>
              <a:gd name="connsiteY8" fmla="*/ 853 h 10000"/>
              <a:gd name="connsiteX9" fmla="*/ 5473 w 10000"/>
              <a:gd name="connsiteY9" fmla="*/ 543 h 10000"/>
              <a:gd name="connsiteX10" fmla="*/ 5267 w 10000"/>
              <a:gd name="connsiteY10" fmla="*/ 543 h 10000"/>
              <a:gd name="connsiteX11" fmla="*/ 5267 w 10000"/>
              <a:gd name="connsiteY11" fmla="*/ 698 h 10000"/>
              <a:gd name="connsiteX12" fmla="*/ 5143 w 10000"/>
              <a:gd name="connsiteY12" fmla="*/ 698 h 10000"/>
              <a:gd name="connsiteX13" fmla="*/ 5224 w 10000"/>
              <a:gd name="connsiteY13" fmla="*/ 387 h 10000"/>
              <a:gd name="connsiteX14" fmla="*/ 5020 w 10000"/>
              <a:gd name="connsiteY14" fmla="*/ 310 h 10000"/>
              <a:gd name="connsiteX15" fmla="*/ 5143 w 10000"/>
              <a:gd name="connsiteY15" fmla="*/ 155 h 10000"/>
              <a:gd name="connsiteX16" fmla="*/ 5020 w 10000"/>
              <a:gd name="connsiteY16" fmla="*/ 0 h 10000"/>
              <a:gd name="connsiteX17" fmla="*/ 4814 w 10000"/>
              <a:gd name="connsiteY17" fmla="*/ 387 h 10000"/>
              <a:gd name="connsiteX18" fmla="*/ 4814 w 10000"/>
              <a:gd name="connsiteY18" fmla="*/ 698 h 10000"/>
              <a:gd name="connsiteX19" fmla="*/ 4690 w 10000"/>
              <a:gd name="connsiteY19" fmla="*/ 698 h 10000"/>
              <a:gd name="connsiteX20" fmla="*/ 4322 w 10000"/>
              <a:gd name="connsiteY20" fmla="*/ 853 h 10000"/>
              <a:gd name="connsiteX21" fmla="*/ 3991 w 10000"/>
              <a:gd name="connsiteY21" fmla="*/ 1240 h 10000"/>
              <a:gd name="connsiteX22" fmla="*/ 3868 w 10000"/>
              <a:gd name="connsiteY22" fmla="*/ 1551 h 10000"/>
              <a:gd name="connsiteX23" fmla="*/ 3910 w 10000"/>
              <a:gd name="connsiteY23" fmla="*/ 1938 h 10000"/>
              <a:gd name="connsiteX24" fmla="*/ 3456 w 10000"/>
              <a:gd name="connsiteY24" fmla="*/ 2093 h 10000"/>
              <a:gd name="connsiteX25" fmla="*/ 3497 w 10000"/>
              <a:gd name="connsiteY25" fmla="*/ 2559 h 10000"/>
              <a:gd name="connsiteX26" fmla="*/ 3622 w 10000"/>
              <a:gd name="connsiteY26" fmla="*/ 2791 h 10000"/>
              <a:gd name="connsiteX27" fmla="*/ 3540 w 10000"/>
              <a:gd name="connsiteY27" fmla="*/ 2868 h 10000"/>
              <a:gd name="connsiteX28" fmla="*/ 3416 w 10000"/>
              <a:gd name="connsiteY28" fmla="*/ 2559 h 10000"/>
              <a:gd name="connsiteX29" fmla="*/ 3292 w 10000"/>
              <a:gd name="connsiteY29" fmla="*/ 2480 h 10000"/>
              <a:gd name="connsiteX30" fmla="*/ 3252 w 10000"/>
              <a:gd name="connsiteY30" fmla="*/ 2559 h 10000"/>
              <a:gd name="connsiteX31" fmla="*/ 3168 w 10000"/>
              <a:gd name="connsiteY31" fmla="*/ 2403 h 10000"/>
              <a:gd name="connsiteX32" fmla="*/ 3087 w 10000"/>
              <a:gd name="connsiteY32" fmla="*/ 2248 h 10000"/>
              <a:gd name="connsiteX33" fmla="*/ 3087 w 10000"/>
              <a:gd name="connsiteY33" fmla="*/ 2325 h 10000"/>
              <a:gd name="connsiteX34" fmla="*/ 3128 w 10000"/>
              <a:gd name="connsiteY34" fmla="*/ 2559 h 10000"/>
              <a:gd name="connsiteX35" fmla="*/ 3003 w 10000"/>
              <a:gd name="connsiteY35" fmla="*/ 2946 h 10000"/>
              <a:gd name="connsiteX36" fmla="*/ 3087 w 10000"/>
              <a:gd name="connsiteY36" fmla="*/ 3256 h 10000"/>
              <a:gd name="connsiteX37" fmla="*/ 3044 w 10000"/>
              <a:gd name="connsiteY37" fmla="*/ 3566 h 10000"/>
              <a:gd name="connsiteX38" fmla="*/ 3044 w 10000"/>
              <a:gd name="connsiteY38" fmla="*/ 3799 h 10000"/>
              <a:gd name="connsiteX39" fmla="*/ 3168 w 10000"/>
              <a:gd name="connsiteY39" fmla="*/ 3799 h 10000"/>
              <a:gd name="connsiteX40" fmla="*/ 3087 w 10000"/>
              <a:gd name="connsiteY40" fmla="*/ 3876 h 10000"/>
              <a:gd name="connsiteX41" fmla="*/ 3128 w 10000"/>
              <a:gd name="connsiteY41" fmla="*/ 4263 h 10000"/>
              <a:gd name="connsiteX42" fmla="*/ 2881 w 10000"/>
              <a:gd name="connsiteY42" fmla="*/ 4652 h 10000"/>
              <a:gd name="connsiteX43" fmla="*/ 2839 w 10000"/>
              <a:gd name="connsiteY43" fmla="*/ 4574 h 10000"/>
              <a:gd name="connsiteX44" fmla="*/ 3003 w 10000"/>
              <a:gd name="connsiteY44" fmla="*/ 4186 h 10000"/>
              <a:gd name="connsiteX45" fmla="*/ 3044 w 10000"/>
              <a:gd name="connsiteY45" fmla="*/ 3954 h 10000"/>
              <a:gd name="connsiteX46" fmla="*/ 2960 w 10000"/>
              <a:gd name="connsiteY46" fmla="*/ 3799 h 10000"/>
              <a:gd name="connsiteX47" fmla="*/ 2960 w 10000"/>
              <a:gd name="connsiteY47" fmla="*/ 3023 h 10000"/>
              <a:gd name="connsiteX48" fmla="*/ 2922 w 10000"/>
              <a:gd name="connsiteY48" fmla="*/ 2868 h 10000"/>
              <a:gd name="connsiteX49" fmla="*/ 2960 w 10000"/>
              <a:gd name="connsiteY49" fmla="*/ 2403 h 10000"/>
              <a:gd name="connsiteX50" fmla="*/ 2881 w 10000"/>
              <a:gd name="connsiteY50" fmla="*/ 2325 h 10000"/>
              <a:gd name="connsiteX51" fmla="*/ 2922 w 10000"/>
              <a:gd name="connsiteY51" fmla="*/ 2248 h 10000"/>
              <a:gd name="connsiteX52" fmla="*/ 2881 w 10000"/>
              <a:gd name="connsiteY52" fmla="*/ 2093 h 10000"/>
              <a:gd name="connsiteX53" fmla="*/ 2796 w 10000"/>
              <a:gd name="connsiteY53" fmla="*/ 2170 h 10000"/>
              <a:gd name="connsiteX54" fmla="*/ 2593 w 10000"/>
              <a:gd name="connsiteY54" fmla="*/ 3178 h 10000"/>
              <a:gd name="connsiteX55" fmla="*/ 2593 w 10000"/>
              <a:gd name="connsiteY55" fmla="*/ 3566 h 10000"/>
              <a:gd name="connsiteX56" fmla="*/ 2716 w 10000"/>
              <a:gd name="connsiteY56" fmla="*/ 3876 h 10000"/>
              <a:gd name="connsiteX57" fmla="*/ 2716 w 10000"/>
              <a:gd name="connsiteY57" fmla="*/ 4031 h 10000"/>
              <a:gd name="connsiteX58" fmla="*/ 2593 w 10000"/>
              <a:gd name="connsiteY58" fmla="*/ 3876 h 10000"/>
              <a:gd name="connsiteX59" fmla="*/ 2101 w 10000"/>
              <a:gd name="connsiteY59" fmla="*/ 3256 h 10000"/>
              <a:gd name="connsiteX60" fmla="*/ 2058 w 10000"/>
              <a:gd name="connsiteY60" fmla="*/ 3411 h 10000"/>
              <a:gd name="connsiteX61" fmla="*/ 2222 w 10000"/>
              <a:gd name="connsiteY61" fmla="*/ 3799 h 10000"/>
              <a:gd name="connsiteX62" fmla="*/ 2141 w 10000"/>
              <a:gd name="connsiteY62" fmla="*/ 3876 h 10000"/>
              <a:gd name="connsiteX63" fmla="*/ 2101 w 10000"/>
              <a:gd name="connsiteY63" fmla="*/ 3799 h 10000"/>
              <a:gd name="connsiteX64" fmla="*/ 1852 w 10000"/>
              <a:gd name="connsiteY64" fmla="*/ 3954 h 10000"/>
              <a:gd name="connsiteX65" fmla="*/ 1811 w 10000"/>
              <a:gd name="connsiteY65" fmla="*/ 4109 h 10000"/>
              <a:gd name="connsiteX66" fmla="*/ 1769 w 10000"/>
              <a:gd name="connsiteY66" fmla="*/ 3954 h 10000"/>
              <a:gd name="connsiteX67" fmla="*/ 1769 w 10000"/>
              <a:gd name="connsiteY67" fmla="*/ 3799 h 10000"/>
              <a:gd name="connsiteX68" fmla="*/ 1357 w 10000"/>
              <a:gd name="connsiteY68" fmla="*/ 4263 h 10000"/>
              <a:gd name="connsiteX69" fmla="*/ 1357 w 10000"/>
              <a:gd name="connsiteY69" fmla="*/ 4418 h 10000"/>
              <a:gd name="connsiteX70" fmla="*/ 1276 w 10000"/>
              <a:gd name="connsiteY70" fmla="*/ 4496 h 10000"/>
              <a:gd name="connsiteX71" fmla="*/ 1152 w 10000"/>
              <a:gd name="connsiteY71" fmla="*/ 4341 h 10000"/>
              <a:gd name="connsiteX72" fmla="*/ 1276 w 10000"/>
              <a:gd name="connsiteY72" fmla="*/ 4186 h 10000"/>
              <a:gd name="connsiteX73" fmla="*/ 1235 w 10000"/>
              <a:gd name="connsiteY73" fmla="*/ 3954 h 10000"/>
              <a:gd name="connsiteX74" fmla="*/ 1070 w 10000"/>
              <a:gd name="connsiteY74" fmla="*/ 3876 h 10000"/>
              <a:gd name="connsiteX75" fmla="*/ 1112 w 10000"/>
              <a:gd name="connsiteY75" fmla="*/ 4031 h 10000"/>
              <a:gd name="connsiteX76" fmla="*/ 1112 w 10000"/>
              <a:gd name="connsiteY76" fmla="*/ 4418 h 10000"/>
              <a:gd name="connsiteX77" fmla="*/ 1152 w 10000"/>
              <a:gd name="connsiteY77" fmla="*/ 4574 h 10000"/>
              <a:gd name="connsiteX78" fmla="*/ 1112 w 10000"/>
              <a:gd name="connsiteY78" fmla="*/ 4729 h 10000"/>
              <a:gd name="connsiteX79" fmla="*/ 987 w 10000"/>
              <a:gd name="connsiteY79" fmla="*/ 4652 h 10000"/>
              <a:gd name="connsiteX80" fmla="*/ 823 w 10000"/>
              <a:gd name="connsiteY80" fmla="*/ 4884 h 10000"/>
              <a:gd name="connsiteX81" fmla="*/ 905 w 10000"/>
              <a:gd name="connsiteY81" fmla="*/ 5194 h 10000"/>
              <a:gd name="connsiteX82" fmla="*/ 658 w 10000"/>
              <a:gd name="connsiteY82" fmla="*/ 5039 h 10000"/>
              <a:gd name="connsiteX83" fmla="*/ 617 w 10000"/>
              <a:gd name="connsiteY83" fmla="*/ 5116 h 10000"/>
              <a:gd name="connsiteX84" fmla="*/ 701 w 10000"/>
              <a:gd name="connsiteY84" fmla="*/ 5349 h 10000"/>
              <a:gd name="connsiteX85" fmla="*/ 617 w 10000"/>
              <a:gd name="connsiteY85" fmla="*/ 5349 h 10000"/>
              <a:gd name="connsiteX86" fmla="*/ 495 w 10000"/>
              <a:gd name="connsiteY86" fmla="*/ 5194 h 10000"/>
              <a:gd name="connsiteX87" fmla="*/ 495 w 10000"/>
              <a:gd name="connsiteY87" fmla="*/ 4729 h 10000"/>
              <a:gd name="connsiteX88" fmla="*/ 371 w 10000"/>
              <a:gd name="connsiteY88" fmla="*/ 4574 h 10000"/>
              <a:gd name="connsiteX89" fmla="*/ 329 w 10000"/>
              <a:gd name="connsiteY89" fmla="*/ 4418 h 10000"/>
              <a:gd name="connsiteX90" fmla="*/ 411 w 10000"/>
              <a:gd name="connsiteY90" fmla="*/ 4496 h 10000"/>
              <a:gd name="connsiteX91" fmla="*/ 740 w 10000"/>
              <a:gd name="connsiteY91" fmla="*/ 4729 h 10000"/>
              <a:gd name="connsiteX92" fmla="*/ 946 w 10000"/>
              <a:gd name="connsiteY92" fmla="*/ 4496 h 10000"/>
              <a:gd name="connsiteX93" fmla="*/ 905 w 10000"/>
              <a:gd name="connsiteY93" fmla="*/ 4263 h 10000"/>
              <a:gd name="connsiteX94" fmla="*/ 658 w 10000"/>
              <a:gd name="connsiteY94" fmla="*/ 3799 h 10000"/>
              <a:gd name="connsiteX95" fmla="*/ 411 w 10000"/>
              <a:gd name="connsiteY95" fmla="*/ 3644 h 10000"/>
              <a:gd name="connsiteX96" fmla="*/ 411 w 10000"/>
              <a:gd name="connsiteY96" fmla="*/ 3566 h 10000"/>
              <a:gd name="connsiteX97" fmla="*/ 329 w 10000"/>
              <a:gd name="connsiteY97" fmla="*/ 3488 h 10000"/>
              <a:gd name="connsiteX98" fmla="*/ 246 w 10000"/>
              <a:gd name="connsiteY98" fmla="*/ 3566 h 10000"/>
              <a:gd name="connsiteX99" fmla="*/ 246 w 10000"/>
              <a:gd name="connsiteY99" fmla="*/ 3644 h 10000"/>
              <a:gd name="connsiteX100" fmla="*/ 207 w 10000"/>
              <a:gd name="connsiteY100" fmla="*/ 3644 h 10000"/>
              <a:gd name="connsiteX101" fmla="*/ 123 w 10000"/>
              <a:gd name="connsiteY101" fmla="*/ 3799 h 10000"/>
              <a:gd name="connsiteX102" fmla="*/ 123 w 10000"/>
              <a:gd name="connsiteY102" fmla="*/ 4031 h 10000"/>
              <a:gd name="connsiteX103" fmla="*/ 207 w 10000"/>
              <a:gd name="connsiteY103" fmla="*/ 4186 h 10000"/>
              <a:gd name="connsiteX104" fmla="*/ 164 w 10000"/>
              <a:gd name="connsiteY104" fmla="*/ 4418 h 10000"/>
              <a:gd name="connsiteX105" fmla="*/ 207 w 10000"/>
              <a:gd name="connsiteY105" fmla="*/ 4807 h 10000"/>
              <a:gd name="connsiteX106" fmla="*/ 164 w 10000"/>
              <a:gd name="connsiteY106" fmla="*/ 5039 h 10000"/>
              <a:gd name="connsiteX107" fmla="*/ 246 w 10000"/>
              <a:gd name="connsiteY107" fmla="*/ 5271 h 10000"/>
              <a:gd name="connsiteX108" fmla="*/ 207 w 10000"/>
              <a:gd name="connsiteY108" fmla="*/ 5426 h 10000"/>
              <a:gd name="connsiteX109" fmla="*/ 288 w 10000"/>
              <a:gd name="connsiteY109" fmla="*/ 5582 h 10000"/>
              <a:gd name="connsiteX110" fmla="*/ 288 w 10000"/>
              <a:gd name="connsiteY110" fmla="*/ 5659 h 10000"/>
              <a:gd name="connsiteX111" fmla="*/ 164 w 10000"/>
              <a:gd name="connsiteY111" fmla="*/ 6047 h 10000"/>
              <a:gd name="connsiteX112" fmla="*/ 40 w 10000"/>
              <a:gd name="connsiteY112" fmla="*/ 6202 h 10000"/>
              <a:gd name="connsiteX113" fmla="*/ 82 w 10000"/>
              <a:gd name="connsiteY113" fmla="*/ 6202 h 10000"/>
              <a:gd name="connsiteX114" fmla="*/ 164 w 10000"/>
              <a:gd name="connsiteY114" fmla="*/ 6356 h 10000"/>
              <a:gd name="connsiteX115" fmla="*/ 82 w 10000"/>
              <a:gd name="connsiteY115" fmla="*/ 6512 h 10000"/>
              <a:gd name="connsiteX116" fmla="*/ 40 w 10000"/>
              <a:gd name="connsiteY116" fmla="*/ 6590 h 10000"/>
              <a:gd name="connsiteX117" fmla="*/ 0 w 10000"/>
              <a:gd name="connsiteY117" fmla="*/ 6590 h 10000"/>
              <a:gd name="connsiteX118" fmla="*/ 40 w 10000"/>
              <a:gd name="connsiteY118" fmla="*/ 6822 h 10000"/>
              <a:gd name="connsiteX119" fmla="*/ 40 w 10000"/>
              <a:gd name="connsiteY119" fmla="*/ 6900 h 10000"/>
              <a:gd name="connsiteX120" fmla="*/ 40 w 10000"/>
              <a:gd name="connsiteY120" fmla="*/ 6977 h 10000"/>
              <a:gd name="connsiteX121" fmla="*/ 40 w 10000"/>
              <a:gd name="connsiteY121" fmla="*/ 7054 h 10000"/>
              <a:gd name="connsiteX122" fmla="*/ 82 w 10000"/>
              <a:gd name="connsiteY122" fmla="*/ 7209 h 10000"/>
              <a:gd name="connsiteX123" fmla="*/ 207 w 10000"/>
              <a:gd name="connsiteY123" fmla="*/ 7287 h 10000"/>
              <a:gd name="connsiteX124" fmla="*/ 246 w 10000"/>
              <a:gd name="connsiteY124" fmla="*/ 7364 h 10000"/>
              <a:gd name="connsiteX125" fmla="*/ 246 w 10000"/>
              <a:gd name="connsiteY125" fmla="*/ 7520 h 10000"/>
              <a:gd name="connsiteX126" fmla="*/ 329 w 10000"/>
              <a:gd name="connsiteY126" fmla="*/ 7752 h 10000"/>
              <a:gd name="connsiteX127" fmla="*/ 371 w 10000"/>
              <a:gd name="connsiteY127" fmla="*/ 7752 h 10000"/>
              <a:gd name="connsiteX128" fmla="*/ 329 w 10000"/>
              <a:gd name="connsiteY128" fmla="*/ 7907 h 10000"/>
              <a:gd name="connsiteX129" fmla="*/ 288 w 10000"/>
              <a:gd name="connsiteY129" fmla="*/ 7830 h 10000"/>
              <a:gd name="connsiteX130" fmla="*/ 288 w 10000"/>
              <a:gd name="connsiteY130" fmla="*/ 7907 h 10000"/>
              <a:gd name="connsiteX131" fmla="*/ 329 w 10000"/>
              <a:gd name="connsiteY131" fmla="*/ 8062 h 10000"/>
              <a:gd name="connsiteX132" fmla="*/ 453 w 10000"/>
              <a:gd name="connsiteY132" fmla="*/ 8062 h 10000"/>
              <a:gd name="connsiteX133" fmla="*/ 495 w 10000"/>
              <a:gd name="connsiteY133" fmla="*/ 8140 h 10000"/>
              <a:gd name="connsiteX134" fmla="*/ 453 w 10000"/>
              <a:gd name="connsiteY134" fmla="*/ 8140 h 10000"/>
              <a:gd name="connsiteX135" fmla="*/ 495 w 10000"/>
              <a:gd name="connsiteY135" fmla="*/ 8217 h 10000"/>
              <a:gd name="connsiteX136" fmla="*/ 534 w 10000"/>
              <a:gd name="connsiteY136" fmla="*/ 8217 h 10000"/>
              <a:gd name="connsiteX137" fmla="*/ 575 w 10000"/>
              <a:gd name="connsiteY137" fmla="*/ 8372 h 10000"/>
              <a:gd name="connsiteX138" fmla="*/ 617 w 10000"/>
              <a:gd name="connsiteY138" fmla="*/ 8449 h 10000"/>
              <a:gd name="connsiteX139" fmla="*/ 658 w 10000"/>
              <a:gd name="connsiteY139" fmla="*/ 8372 h 10000"/>
              <a:gd name="connsiteX140" fmla="*/ 866 w 10000"/>
              <a:gd name="connsiteY140" fmla="*/ 8605 h 10000"/>
              <a:gd name="connsiteX141" fmla="*/ 823 w 10000"/>
              <a:gd name="connsiteY141" fmla="*/ 8915 h 10000"/>
              <a:gd name="connsiteX142" fmla="*/ 780 w 10000"/>
              <a:gd name="connsiteY142" fmla="*/ 8838 h 10000"/>
              <a:gd name="connsiteX143" fmla="*/ 740 w 10000"/>
              <a:gd name="connsiteY143" fmla="*/ 8915 h 10000"/>
              <a:gd name="connsiteX144" fmla="*/ 740 w 10000"/>
              <a:gd name="connsiteY144" fmla="*/ 9070 h 10000"/>
              <a:gd name="connsiteX145" fmla="*/ 780 w 10000"/>
              <a:gd name="connsiteY145" fmla="*/ 8993 h 10000"/>
              <a:gd name="connsiteX146" fmla="*/ 823 w 10000"/>
              <a:gd name="connsiteY146" fmla="*/ 9070 h 10000"/>
              <a:gd name="connsiteX147" fmla="*/ 701 w 10000"/>
              <a:gd name="connsiteY147" fmla="*/ 9147 h 10000"/>
              <a:gd name="connsiteX148" fmla="*/ 740 w 10000"/>
              <a:gd name="connsiteY148" fmla="*/ 9225 h 10000"/>
              <a:gd name="connsiteX149" fmla="*/ 658 w 10000"/>
              <a:gd name="connsiteY149" fmla="*/ 9380 h 10000"/>
              <a:gd name="connsiteX150" fmla="*/ 617 w 10000"/>
              <a:gd name="connsiteY150" fmla="*/ 9380 h 10000"/>
              <a:gd name="connsiteX151" fmla="*/ 658 w 10000"/>
              <a:gd name="connsiteY151" fmla="*/ 9380 h 10000"/>
              <a:gd name="connsiteX152" fmla="*/ 823 w 10000"/>
              <a:gd name="connsiteY152" fmla="*/ 9691 h 10000"/>
              <a:gd name="connsiteX153" fmla="*/ 1029 w 10000"/>
              <a:gd name="connsiteY153" fmla="*/ 9691 h 10000"/>
              <a:gd name="connsiteX154" fmla="*/ 1112 w 10000"/>
              <a:gd name="connsiteY154" fmla="*/ 9768 h 10000"/>
              <a:gd name="connsiteX155" fmla="*/ 1193 w 10000"/>
              <a:gd name="connsiteY155" fmla="*/ 9768 h 10000"/>
              <a:gd name="connsiteX156" fmla="*/ 1276 w 10000"/>
              <a:gd name="connsiteY156" fmla="*/ 9923 h 10000"/>
              <a:gd name="connsiteX157" fmla="*/ 1317 w 10000"/>
              <a:gd name="connsiteY157" fmla="*/ 10000 h 10000"/>
              <a:gd name="connsiteX158" fmla="*/ 1357 w 10000"/>
              <a:gd name="connsiteY158" fmla="*/ 10000 h 10000"/>
              <a:gd name="connsiteX159" fmla="*/ 1400 w 10000"/>
              <a:gd name="connsiteY159" fmla="*/ 9923 h 10000"/>
              <a:gd name="connsiteX160" fmla="*/ 1317 w 10000"/>
              <a:gd name="connsiteY160" fmla="*/ 9768 h 10000"/>
              <a:gd name="connsiteX161" fmla="*/ 1317 w 10000"/>
              <a:gd name="connsiteY161" fmla="*/ 9613 h 10000"/>
              <a:gd name="connsiteX162" fmla="*/ 1276 w 10000"/>
              <a:gd name="connsiteY162" fmla="*/ 9457 h 10000"/>
              <a:gd name="connsiteX163" fmla="*/ 1357 w 10000"/>
              <a:gd name="connsiteY163" fmla="*/ 9225 h 10000"/>
              <a:gd name="connsiteX164" fmla="*/ 1400 w 10000"/>
              <a:gd name="connsiteY164" fmla="*/ 9302 h 10000"/>
              <a:gd name="connsiteX165" fmla="*/ 1441 w 10000"/>
              <a:gd name="connsiteY165" fmla="*/ 9225 h 10000"/>
              <a:gd name="connsiteX166" fmla="*/ 1441 w 10000"/>
              <a:gd name="connsiteY166" fmla="*/ 9147 h 10000"/>
              <a:gd name="connsiteX167" fmla="*/ 1400 w 10000"/>
              <a:gd name="connsiteY167" fmla="*/ 9147 h 10000"/>
              <a:gd name="connsiteX168" fmla="*/ 1441 w 10000"/>
              <a:gd name="connsiteY168" fmla="*/ 9070 h 10000"/>
              <a:gd name="connsiteX169" fmla="*/ 1400 w 10000"/>
              <a:gd name="connsiteY169" fmla="*/ 8915 h 10000"/>
              <a:gd name="connsiteX170" fmla="*/ 1317 w 10000"/>
              <a:gd name="connsiteY170" fmla="*/ 8915 h 10000"/>
              <a:gd name="connsiteX171" fmla="*/ 1276 w 10000"/>
              <a:gd name="connsiteY171" fmla="*/ 8760 h 10000"/>
              <a:gd name="connsiteX172" fmla="*/ 1317 w 10000"/>
              <a:gd name="connsiteY172" fmla="*/ 8372 h 10000"/>
              <a:gd name="connsiteX173" fmla="*/ 1400 w 10000"/>
              <a:gd name="connsiteY173" fmla="*/ 8528 h 10000"/>
              <a:gd name="connsiteX174" fmla="*/ 1441 w 10000"/>
              <a:gd name="connsiteY174" fmla="*/ 8528 h 10000"/>
              <a:gd name="connsiteX175" fmla="*/ 1400 w 10000"/>
              <a:gd name="connsiteY175" fmla="*/ 8372 h 10000"/>
              <a:gd name="connsiteX176" fmla="*/ 1523 w 10000"/>
              <a:gd name="connsiteY176" fmla="*/ 8140 h 10000"/>
              <a:gd name="connsiteX177" fmla="*/ 1606 w 10000"/>
              <a:gd name="connsiteY177" fmla="*/ 8217 h 10000"/>
              <a:gd name="connsiteX178" fmla="*/ 1646 w 10000"/>
              <a:gd name="connsiteY178" fmla="*/ 8140 h 10000"/>
              <a:gd name="connsiteX179" fmla="*/ 1728 w 10000"/>
              <a:gd name="connsiteY179" fmla="*/ 8217 h 10000"/>
              <a:gd name="connsiteX180" fmla="*/ 1852 w 10000"/>
              <a:gd name="connsiteY180" fmla="*/ 8372 h 10000"/>
              <a:gd name="connsiteX181" fmla="*/ 1935 w 10000"/>
              <a:gd name="connsiteY181" fmla="*/ 8295 h 10000"/>
              <a:gd name="connsiteX182" fmla="*/ 2016 w 10000"/>
              <a:gd name="connsiteY182" fmla="*/ 8295 h 10000"/>
              <a:gd name="connsiteX183" fmla="*/ 2058 w 10000"/>
              <a:gd name="connsiteY183" fmla="*/ 8372 h 10000"/>
              <a:gd name="connsiteX184" fmla="*/ 2222 w 10000"/>
              <a:gd name="connsiteY184" fmla="*/ 8372 h 10000"/>
              <a:gd name="connsiteX185" fmla="*/ 2262 w 10000"/>
              <a:gd name="connsiteY185" fmla="*/ 8217 h 10000"/>
              <a:gd name="connsiteX186" fmla="*/ 2141 w 10000"/>
              <a:gd name="connsiteY186" fmla="*/ 8140 h 10000"/>
              <a:gd name="connsiteX187" fmla="*/ 2222 w 10000"/>
              <a:gd name="connsiteY187" fmla="*/ 8062 h 10000"/>
              <a:gd name="connsiteX188" fmla="*/ 2180 w 10000"/>
              <a:gd name="connsiteY188" fmla="*/ 7985 h 10000"/>
              <a:gd name="connsiteX189" fmla="*/ 2222 w 10000"/>
              <a:gd name="connsiteY189" fmla="*/ 7907 h 10000"/>
              <a:gd name="connsiteX190" fmla="*/ 2222 w 10000"/>
              <a:gd name="connsiteY190" fmla="*/ 7675 h 10000"/>
              <a:gd name="connsiteX191" fmla="*/ 2304 w 10000"/>
              <a:gd name="connsiteY191" fmla="*/ 7752 h 10000"/>
              <a:gd name="connsiteX192" fmla="*/ 2675 w 10000"/>
              <a:gd name="connsiteY192" fmla="*/ 7520 h 10000"/>
              <a:gd name="connsiteX193" fmla="*/ 2675 w 10000"/>
              <a:gd name="connsiteY193" fmla="*/ 7442 h 10000"/>
              <a:gd name="connsiteX194" fmla="*/ 2716 w 10000"/>
              <a:gd name="connsiteY194" fmla="*/ 7442 h 10000"/>
              <a:gd name="connsiteX195" fmla="*/ 2839 w 10000"/>
              <a:gd name="connsiteY195" fmla="*/ 7442 h 10000"/>
              <a:gd name="connsiteX196" fmla="*/ 2881 w 10000"/>
              <a:gd name="connsiteY196" fmla="*/ 7598 h 10000"/>
              <a:gd name="connsiteX197" fmla="*/ 2881 w 10000"/>
              <a:gd name="connsiteY197" fmla="*/ 7675 h 10000"/>
              <a:gd name="connsiteX198" fmla="*/ 2922 w 10000"/>
              <a:gd name="connsiteY198" fmla="*/ 7675 h 10000"/>
              <a:gd name="connsiteX199" fmla="*/ 3003 w 10000"/>
              <a:gd name="connsiteY199" fmla="*/ 7752 h 10000"/>
              <a:gd name="connsiteX200" fmla="*/ 3003 w 10000"/>
              <a:gd name="connsiteY200" fmla="*/ 7830 h 10000"/>
              <a:gd name="connsiteX201" fmla="*/ 3087 w 10000"/>
              <a:gd name="connsiteY201" fmla="*/ 7830 h 10000"/>
              <a:gd name="connsiteX202" fmla="*/ 3168 w 10000"/>
              <a:gd name="connsiteY202" fmla="*/ 7675 h 10000"/>
              <a:gd name="connsiteX203" fmla="*/ 3252 w 10000"/>
              <a:gd name="connsiteY203" fmla="*/ 7598 h 10000"/>
              <a:gd name="connsiteX204" fmla="*/ 3292 w 10000"/>
              <a:gd name="connsiteY204" fmla="*/ 7830 h 10000"/>
              <a:gd name="connsiteX205" fmla="*/ 3456 w 10000"/>
              <a:gd name="connsiteY205" fmla="*/ 8372 h 10000"/>
              <a:gd name="connsiteX206" fmla="*/ 3497 w 10000"/>
              <a:gd name="connsiteY206" fmla="*/ 8217 h 10000"/>
              <a:gd name="connsiteX207" fmla="*/ 3540 w 10000"/>
              <a:gd name="connsiteY207" fmla="*/ 8372 h 10000"/>
              <a:gd name="connsiteX208" fmla="*/ 3664 w 10000"/>
              <a:gd name="connsiteY208" fmla="*/ 8295 h 10000"/>
              <a:gd name="connsiteX209" fmla="*/ 3787 w 10000"/>
              <a:gd name="connsiteY209" fmla="*/ 8528 h 10000"/>
              <a:gd name="connsiteX210" fmla="*/ 3868 w 10000"/>
              <a:gd name="connsiteY210" fmla="*/ 8605 h 10000"/>
              <a:gd name="connsiteX211" fmla="*/ 3868 w 10000"/>
              <a:gd name="connsiteY211" fmla="*/ 8528 h 10000"/>
              <a:gd name="connsiteX212" fmla="*/ 3910 w 10000"/>
              <a:gd name="connsiteY212" fmla="*/ 8683 h 10000"/>
              <a:gd name="connsiteX213" fmla="*/ 3868 w 10000"/>
              <a:gd name="connsiteY213" fmla="*/ 8760 h 10000"/>
              <a:gd name="connsiteX214" fmla="*/ 3951 w 10000"/>
              <a:gd name="connsiteY214" fmla="*/ 8683 h 10000"/>
              <a:gd name="connsiteX215" fmla="*/ 3991 w 10000"/>
              <a:gd name="connsiteY215" fmla="*/ 8605 h 10000"/>
              <a:gd name="connsiteX216" fmla="*/ 4198 w 10000"/>
              <a:gd name="connsiteY216" fmla="*/ 8372 h 10000"/>
              <a:gd name="connsiteX217" fmla="*/ 4362 w 10000"/>
              <a:gd name="connsiteY217" fmla="*/ 8449 h 10000"/>
              <a:gd name="connsiteX218" fmla="*/ 4444 w 10000"/>
              <a:gd name="connsiteY218" fmla="*/ 8528 h 10000"/>
              <a:gd name="connsiteX219" fmla="*/ 4607 w 10000"/>
              <a:gd name="connsiteY219" fmla="*/ 8528 h 10000"/>
              <a:gd name="connsiteX220" fmla="*/ 4607 w 10000"/>
              <a:gd name="connsiteY220" fmla="*/ 8372 h 10000"/>
              <a:gd name="connsiteX221" fmla="*/ 4607 w 10000"/>
              <a:gd name="connsiteY221" fmla="*/ 8217 h 10000"/>
              <a:gd name="connsiteX222" fmla="*/ 4690 w 10000"/>
              <a:gd name="connsiteY222" fmla="*/ 8140 h 10000"/>
              <a:gd name="connsiteX223" fmla="*/ 4855 w 10000"/>
              <a:gd name="connsiteY223" fmla="*/ 8217 h 10000"/>
              <a:gd name="connsiteX224" fmla="*/ 4937 w 10000"/>
              <a:gd name="connsiteY224" fmla="*/ 8449 h 10000"/>
              <a:gd name="connsiteX225" fmla="*/ 4979 w 10000"/>
              <a:gd name="connsiteY225" fmla="*/ 8449 h 10000"/>
              <a:gd name="connsiteX226" fmla="*/ 5061 w 10000"/>
              <a:gd name="connsiteY226" fmla="*/ 8372 h 10000"/>
              <a:gd name="connsiteX227" fmla="*/ 5310 w 10000"/>
              <a:gd name="connsiteY227" fmla="*/ 8605 h 10000"/>
              <a:gd name="connsiteX228" fmla="*/ 5432 w 10000"/>
              <a:gd name="connsiteY228" fmla="*/ 8683 h 10000"/>
              <a:gd name="connsiteX229" fmla="*/ 5597 w 10000"/>
              <a:gd name="connsiteY229" fmla="*/ 8605 h 10000"/>
              <a:gd name="connsiteX230" fmla="*/ 5678 w 10000"/>
              <a:gd name="connsiteY230" fmla="*/ 8449 h 10000"/>
              <a:gd name="connsiteX231" fmla="*/ 5803 w 10000"/>
              <a:gd name="connsiteY231" fmla="*/ 8528 h 10000"/>
              <a:gd name="connsiteX232" fmla="*/ 5884 w 10000"/>
              <a:gd name="connsiteY232" fmla="*/ 8605 h 10000"/>
              <a:gd name="connsiteX233" fmla="*/ 7283 w 10000"/>
              <a:gd name="connsiteY233" fmla="*/ 7675 h 10000"/>
              <a:gd name="connsiteX234" fmla="*/ 7202 w 10000"/>
              <a:gd name="connsiteY234" fmla="*/ 7675 h 10000"/>
              <a:gd name="connsiteX235" fmla="*/ 7160 w 10000"/>
              <a:gd name="connsiteY235" fmla="*/ 7675 h 10000"/>
              <a:gd name="connsiteX236" fmla="*/ 7118 w 10000"/>
              <a:gd name="connsiteY236" fmla="*/ 7598 h 10000"/>
              <a:gd name="connsiteX237" fmla="*/ 7038 w 10000"/>
              <a:gd name="connsiteY237" fmla="*/ 7598 h 10000"/>
              <a:gd name="connsiteX238" fmla="*/ 7038 w 10000"/>
              <a:gd name="connsiteY238" fmla="*/ 7520 h 10000"/>
              <a:gd name="connsiteX239" fmla="*/ 7160 w 10000"/>
              <a:gd name="connsiteY239" fmla="*/ 7287 h 10000"/>
              <a:gd name="connsiteX240" fmla="*/ 7532 w 10000"/>
              <a:gd name="connsiteY240" fmla="*/ 6590 h 10000"/>
              <a:gd name="connsiteX241" fmla="*/ 7696 w 10000"/>
              <a:gd name="connsiteY241" fmla="*/ 6512 h 10000"/>
              <a:gd name="connsiteX242" fmla="*/ 7736 w 10000"/>
              <a:gd name="connsiteY242" fmla="*/ 6590 h 10000"/>
              <a:gd name="connsiteX243" fmla="*/ 7778 w 10000"/>
              <a:gd name="connsiteY243" fmla="*/ 6512 h 10000"/>
              <a:gd name="connsiteX244" fmla="*/ 7900 w 10000"/>
              <a:gd name="connsiteY244" fmla="*/ 6590 h 10000"/>
              <a:gd name="connsiteX245" fmla="*/ 7943 w 10000"/>
              <a:gd name="connsiteY245" fmla="*/ 6434 h 10000"/>
              <a:gd name="connsiteX246" fmla="*/ 8065 w 10000"/>
              <a:gd name="connsiteY246" fmla="*/ 6512 h 10000"/>
              <a:gd name="connsiteX247" fmla="*/ 8106 w 10000"/>
              <a:gd name="connsiteY247" fmla="*/ 6512 h 10000"/>
              <a:gd name="connsiteX248" fmla="*/ 8065 w 10000"/>
              <a:gd name="connsiteY248" fmla="*/ 6590 h 10000"/>
              <a:gd name="connsiteX249" fmla="*/ 8065 w 10000"/>
              <a:gd name="connsiteY249" fmla="*/ 6667 h 10000"/>
              <a:gd name="connsiteX250" fmla="*/ 8313 w 10000"/>
              <a:gd name="connsiteY250" fmla="*/ 6590 h 10000"/>
              <a:gd name="connsiteX251" fmla="*/ 8271 w 10000"/>
              <a:gd name="connsiteY251" fmla="*/ 6512 h 10000"/>
              <a:gd name="connsiteX252" fmla="*/ 8437 w 10000"/>
              <a:gd name="connsiteY252" fmla="*/ 5969 h 10000"/>
              <a:gd name="connsiteX253" fmla="*/ 8641 w 10000"/>
              <a:gd name="connsiteY253" fmla="*/ 5892 h 10000"/>
              <a:gd name="connsiteX254" fmla="*/ 8641 w 10000"/>
              <a:gd name="connsiteY254" fmla="*/ 6047 h 10000"/>
              <a:gd name="connsiteX255" fmla="*/ 8641 w 10000"/>
              <a:gd name="connsiteY255" fmla="*/ 6202 h 10000"/>
              <a:gd name="connsiteX256" fmla="*/ 8847 w 10000"/>
              <a:gd name="connsiteY256" fmla="*/ 5969 h 10000"/>
              <a:gd name="connsiteX257" fmla="*/ 8847 w 10000"/>
              <a:gd name="connsiteY257" fmla="*/ 5737 h 10000"/>
              <a:gd name="connsiteX258" fmla="*/ 8929 w 10000"/>
              <a:gd name="connsiteY258" fmla="*/ 5737 h 10000"/>
              <a:gd name="connsiteX259" fmla="*/ 8887 w 10000"/>
              <a:gd name="connsiteY259" fmla="*/ 5814 h 10000"/>
              <a:gd name="connsiteX260" fmla="*/ 8847 w 10000"/>
              <a:gd name="connsiteY260" fmla="*/ 6202 h 10000"/>
              <a:gd name="connsiteX261" fmla="*/ 8765 w 10000"/>
              <a:gd name="connsiteY261" fmla="*/ 6279 h 10000"/>
              <a:gd name="connsiteX262" fmla="*/ 8847 w 10000"/>
              <a:gd name="connsiteY262" fmla="*/ 6590 h 10000"/>
              <a:gd name="connsiteX263" fmla="*/ 8847 w 10000"/>
              <a:gd name="connsiteY263" fmla="*/ 6434 h 10000"/>
              <a:gd name="connsiteX264" fmla="*/ 8929 w 10000"/>
              <a:gd name="connsiteY264" fmla="*/ 6434 h 10000"/>
              <a:gd name="connsiteX265" fmla="*/ 9053 w 10000"/>
              <a:gd name="connsiteY265" fmla="*/ 6279 h 10000"/>
              <a:gd name="connsiteX266" fmla="*/ 9053 w 10000"/>
              <a:gd name="connsiteY266" fmla="*/ 6434 h 10000"/>
              <a:gd name="connsiteX267" fmla="*/ 9093 w 10000"/>
              <a:gd name="connsiteY267" fmla="*/ 6356 h 10000"/>
              <a:gd name="connsiteX268" fmla="*/ 9219 w 10000"/>
              <a:gd name="connsiteY268" fmla="*/ 6279 h 10000"/>
              <a:gd name="connsiteX269" fmla="*/ 9298 w 10000"/>
              <a:gd name="connsiteY269" fmla="*/ 6434 h 10000"/>
              <a:gd name="connsiteX270" fmla="*/ 9340 w 10000"/>
              <a:gd name="connsiteY270" fmla="*/ 6279 h 10000"/>
              <a:gd name="connsiteX271" fmla="*/ 9755 w 10000"/>
              <a:gd name="connsiteY271" fmla="*/ 5737 h 10000"/>
              <a:gd name="connsiteX272" fmla="*/ 9877 w 10000"/>
              <a:gd name="connsiteY272" fmla="*/ 5814 h 10000"/>
              <a:gd name="connsiteX273" fmla="*/ 9917 w 10000"/>
              <a:gd name="connsiteY273" fmla="*/ 5737 h 10000"/>
              <a:gd name="connsiteX274" fmla="*/ 9835 w 10000"/>
              <a:gd name="connsiteY274" fmla="*/ 5271 h 10000"/>
              <a:gd name="connsiteX275" fmla="*/ 9794 w 10000"/>
              <a:gd name="connsiteY275" fmla="*/ 5271 h 10000"/>
              <a:gd name="connsiteX276" fmla="*/ 9794 w 10000"/>
              <a:gd name="connsiteY276" fmla="*/ 5116 h 10000"/>
              <a:gd name="connsiteX277" fmla="*/ 9835 w 10000"/>
              <a:gd name="connsiteY277" fmla="*/ 5116 h 10000"/>
              <a:gd name="connsiteX278" fmla="*/ 9917 w 10000"/>
              <a:gd name="connsiteY278" fmla="*/ 5039 h 10000"/>
              <a:gd name="connsiteX279" fmla="*/ 10000 w 10000"/>
              <a:gd name="connsiteY279" fmla="*/ 4884 h 10000"/>
              <a:gd name="connsiteX280" fmla="*/ 9958 w 10000"/>
              <a:gd name="connsiteY280" fmla="*/ 4729 h 10000"/>
              <a:gd name="connsiteX281" fmla="*/ 9917 w 10000"/>
              <a:gd name="connsiteY281" fmla="*/ 3799 h 10000"/>
              <a:gd name="connsiteX282" fmla="*/ 9670 w 10000"/>
              <a:gd name="connsiteY282" fmla="*/ 3488 h 10000"/>
              <a:gd name="connsiteX283" fmla="*/ 9340 w 10000"/>
              <a:gd name="connsiteY283" fmla="*/ 3411 h 10000"/>
              <a:gd name="connsiteX284" fmla="*/ 9340 w 10000"/>
              <a:gd name="connsiteY284" fmla="*/ 3799 h 10000"/>
              <a:gd name="connsiteX285" fmla="*/ 9260 w 10000"/>
              <a:gd name="connsiteY285" fmla="*/ 3876 h 10000"/>
              <a:gd name="connsiteX286" fmla="*/ 9176 w 10000"/>
              <a:gd name="connsiteY286" fmla="*/ 3721 h 10000"/>
              <a:gd name="connsiteX287" fmla="*/ 9176 w 10000"/>
              <a:gd name="connsiteY287" fmla="*/ 3566 h 10000"/>
              <a:gd name="connsiteX288" fmla="*/ 9219 w 10000"/>
              <a:gd name="connsiteY288" fmla="*/ 3566 h 10000"/>
              <a:gd name="connsiteX289" fmla="*/ 9260 w 10000"/>
              <a:gd name="connsiteY289" fmla="*/ 3488 h 10000"/>
              <a:gd name="connsiteX290" fmla="*/ 9176 w 10000"/>
              <a:gd name="connsiteY290" fmla="*/ 3488 h 10000"/>
              <a:gd name="connsiteX291" fmla="*/ 9093 w 10000"/>
              <a:gd name="connsiteY291" fmla="*/ 3644 h 10000"/>
              <a:gd name="connsiteX292" fmla="*/ 8887 w 10000"/>
              <a:gd name="connsiteY292" fmla="*/ 3566 h 10000"/>
              <a:gd name="connsiteX293" fmla="*/ 8684 w 10000"/>
              <a:gd name="connsiteY293" fmla="*/ 3566 h 10000"/>
              <a:gd name="connsiteX294" fmla="*/ 8600 w 10000"/>
              <a:gd name="connsiteY294" fmla="*/ 3488 h 10000"/>
              <a:gd name="connsiteX295" fmla="*/ 8641 w 10000"/>
              <a:gd name="connsiteY295" fmla="*/ 3333 h 10000"/>
              <a:gd name="connsiteX296" fmla="*/ 8559 w 10000"/>
              <a:gd name="connsiteY296" fmla="*/ 3101 h 10000"/>
              <a:gd name="connsiteX297" fmla="*/ 8393 w 10000"/>
              <a:gd name="connsiteY297" fmla="*/ 3023 h 10000"/>
              <a:gd name="connsiteX298" fmla="*/ 8149 w 10000"/>
              <a:gd name="connsiteY298" fmla="*/ 3178 h 10000"/>
              <a:gd name="connsiteX299" fmla="*/ 8106 w 10000"/>
              <a:gd name="connsiteY299" fmla="*/ 2946 h 10000"/>
              <a:gd name="connsiteX300" fmla="*/ 8024 w 10000"/>
              <a:gd name="connsiteY300" fmla="*/ 2946 h 10000"/>
              <a:gd name="connsiteX301" fmla="*/ 7983 w 10000"/>
              <a:gd name="connsiteY301" fmla="*/ 2868 h 10000"/>
              <a:gd name="connsiteX302" fmla="*/ 7983 w 10000"/>
              <a:gd name="connsiteY302" fmla="*/ 2636 h 10000"/>
              <a:gd name="connsiteX303" fmla="*/ 7696 w 10000"/>
              <a:gd name="connsiteY303" fmla="*/ 2480 h 10000"/>
              <a:gd name="connsiteX304" fmla="*/ 7365 w 10000"/>
              <a:gd name="connsiteY304" fmla="*/ 2325 h 10000"/>
              <a:gd name="connsiteX305" fmla="*/ 7283 w 10000"/>
              <a:gd name="connsiteY305" fmla="*/ 2636 h 10000"/>
              <a:gd name="connsiteX306" fmla="*/ 7365 w 10000"/>
              <a:gd name="connsiteY306" fmla="*/ 2868 h 10000"/>
              <a:gd name="connsiteX307" fmla="*/ 7118 w 10000"/>
              <a:gd name="connsiteY307" fmla="*/ 2868 h 10000"/>
              <a:gd name="connsiteX308" fmla="*/ 7077 w 10000"/>
              <a:gd name="connsiteY308" fmla="*/ 2868 h 10000"/>
              <a:gd name="connsiteX309" fmla="*/ 6995 w 10000"/>
              <a:gd name="connsiteY309" fmla="*/ 2946 h 10000"/>
              <a:gd name="connsiteX310" fmla="*/ 6871 w 10000"/>
              <a:gd name="connsiteY310" fmla="*/ 2714 h 10000"/>
              <a:gd name="connsiteX311" fmla="*/ 6789 w 10000"/>
              <a:gd name="connsiteY311" fmla="*/ 3178 h 10000"/>
              <a:gd name="connsiteX312" fmla="*/ 6708 w 10000"/>
              <a:gd name="connsiteY312" fmla="*/ 3101 h 10000"/>
              <a:gd name="connsiteX313" fmla="*/ 6624 w 10000"/>
              <a:gd name="connsiteY313" fmla="*/ 2791 h 10000"/>
              <a:gd name="connsiteX314" fmla="*/ 6666 w 10000"/>
              <a:gd name="connsiteY314" fmla="*/ 2403 h 10000"/>
              <a:gd name="connsiteX315" fmla="*/ 6585 w 10000"/>
              <a:gd name="connsiteY315" fmla="*/ 2170 h 10000"/>
              <a:gd name="connsiteX316" fmla="*/ 6337 w 10000"/>
              <a:gd name="connsiteY316" fmla="*/ 2016 h 10000"/>
              <a:gd name="connsiteX317" fmla="*/ 6253 w 10000"/>
              <a:gd name="connsiteY317" fmla="*/ 2016 h 10000"/>
              <a:gd name="connsiteX318" fmla="*/ 6213 w 10000"/>
              <a:gd name="connsiteY318" fmla="*/ 2170 h 10000"/>
              <a:gd name="connsiteX319" fmla="*/ 6253 w 10000"/>
              <a:gd name="connsiteY319" fmla="*/ 2325 h 10000"/>
              <a:gd name="connsiteX320" fmla="*/ 5927 w 10000"/>
              <a:gd name="connsiteY320" fmla="*/ 2248 h 10000"/>
              <a:gd name="connsiteX321" fmla="*/ 5966 w 10000"/>
              <a:gd name="connsiteY321" fmla="*/ 2016 h 10000"/>
              <a:gd name="connsiteX322" fmla="*/ 5763 w 10000"/>
              <a:gd name="connsiteY322" fmla="*/ 1938 h 10000"/>
              <a:gd name="connsiteX323" fmla="*/ 5638 w 10000"/>
              <a:gd name="connsiteY323" fmla="*/ 2093 h 10000"/>
              <a:gd name="connsiteX324" fmla="*/ 5393 w 10000"/>
              <a:gd name="connsiteY324" fmla="*/ 1861 h 10000"/>
              <a:gd name="connsiteX0" fmla="*/ 5393 w 10000"/>
              <a:gd name="connsiteY0" fmla="*/ 1861 h 10000"/>
              <a:gd name="connsiteX1" fmla="*/ 5393 w 10000"/>
              <a:gd name="connsiteY1" fmla="*/ 1861 h 10000"/>
              <a:gd name="connsiteX2" fmla="*/ 5349 w 10000"/>
              <a:gd name="connsiteY2" fmla="*/ 1938 h 10000"/>
              <a:gd name="connsiteX3" fmla="*/ 5393 w 10000"/>
              <a:gd name="connsiteY3" fmla="*/ 2093 h 10000"/>
              <a:gd name="connsiteX4" fmla="*/ 5224 w 10000"/>
              <a:gd name="connsiteY4" fmla="*/ 2248 h 10000"/>
              <a:gd name="connsiteX5" fmla="*/ 5183 w 10000"/>
              <a:gd name="connsiteY5" fmla="*/ 2248 h 10000"/>
              <a:gd name="connsiteX6" fmla="*/ 5224 w 10000"/>
              <a:gd name="connsiteY6" fmla="*/ 2016 h 10000"/>
              <a:gd name="connsiteX7" fmla="*/ 5638 w 10000"/>
              <a:gd name="connsiteY7" fmla="*/ 1318 h 10000"/>
              <a:gd name="connsiteX8" fmla="*/ 5638 w 10000"/>
              <a:gd name="connsiteY8" fmla="*/ 853 h 10000"/>
              <a:gd name="connsiteX9" fmla="*/ 5473 w 10000"/>
              <a:gd name="connsiteY9" fmla="*/ 543 h 10000"/>
              <a:gd name="connsiteX10" fmla="*/ 5267 w 10000"/>
              <a:gd name="connsiteY10" fmla="*/ 543 h 10000"/>
              <a:gd name="connsiteX11" fmla="*/ 5267 w 10000"/>
              <a:gd name="connsiteY11" fmla="*/ 698 h 10000"/>
              <a:gd name="connsiteX12" fmla="*/ 5143 w 10000"/>
              <a:gd name="connsiteY12" fmla="*/ 698 h 10000"/>
              <a:gd name="connsiteX13" fmla="*/ 5224 w 10000"/>
              <a:gd name="connsiteY13" fmla="*/ 387 h 10000"/>
              <a:gd name="connsiteX14" fmla="*/ 5020 w 10000"/>
              <a:gd name="connsiteY14" fmla="*/ 310 h 10000"/>
              <a:gd name="connsiteX15" fmla="*/ 5143 w 10000"/>
              <a:gd name="connsiteY15" fmla="*/ 155 h 10000"/>
              <a:gd name="connsiteX16" fmla="*/ 5020 w 10000"/>
              <a:gd name="connsiteY16" fmla="*/ 0 h 10000"/>
              <a:gd name="connsiteX17" fmla="*/ 4814 w 10000"/>
              <a:gd name="connsiteY17" fmla="*/ 387 h 10000"/>
              <a:gd name="connsiteX18" fmla="*/ 4814 w 10000"/>
              <a:gd name="connsiteY18" fmla="*/ 698 h 10000"/>
              <a:gd name="connsiteX19" fmla="*/ 4690 w 10000"/>
              <a:gd name="connsiteY19" fmla="*/ 698 h 10000"/>
              <a:gd name="connsiteX20" fmla="*/ 4322 w 10000"/>
              <a:gd name="connsiteY20" fmla="*/ 853 h 10000"/>
              <a:gd name="connsiteX21" fmla="*/ 3991 w 10000"/>
              <a:gd name="connsiteY21" fmla="*/ 1240 h 10000"/>
              <a:gd name="connsiteX22" fmla="*/ 3868 w 10000"/>
              <a:gd name="connsiteY22" fmla="*/ 1551 h 10000"/>
              <a:gd name="connsiteX23" fmla="*/ 3910 w 10000"/>
              <a:gd name="connsiteY23" fmla="*/ 1938 h 10000"/>
              <a:gd name="connsiteX24" fmla="*/ 3456 w 10000"/>
              <a:gd name="connsiteY24" fmla="*/ 2093 h 10000"/>
              <a:gd name="connsiteX25" fmla="*/ 3497 w 10000"/>
              <a:gd name="connsiteY25" fmla="*/ 2559 h 10000"/>
              <a:gd name="connsiteX26" fmla="*/ 3622 w 10000"/>
              <a:gd name="connsiteY26" fmla="*/ 2791 h 10000"/>
              <a:gd name="connsiteX27" fmla="*/ 3540 w 10000"/>
              <a:gd name="connsiteY27" fmla="*/ 2868 h 10000"/>
              <a:gd name="connsiteX28" fmla="*/ 3416 w 10000"/>
              <a:gd name="connsiteY28" fmla="*/ 2559 h 10000"/>
              <a:gd name="connsiteX29" fmla="*/ 3292 w 10000"/>
              <a:gd name="connsiteY29" fmla="*/ 2480 h 10000"/>
              <a:gd name="connsiteX30" fmla="*/ 3252 w 10000"/>
              <a:gd name="connsiteY30" fmla="*/ 2559 h 10000"/>
              <a:gd name="connsiteX31" fmla="*/ 3168 w 10000"/>
              <a:gd name="connsiteY31" fmla="*/ 2403 h 10000"/>
              <a:gd name="connsiteX32" fmla="*/ 3087 w 10000"/>
              <a:gd name="connsiteY32" fmla="*/ 2248 h 10000"/>
              <a:gd name="connsiteX33" fmla="*/ 3087 w 10000"/>
              <a:gd name="connsiteY33" fmla="*/ 2325 h 10000"/>
              <a:gd name="connsiteX34" fmla="*/ 3128 w 10000"/>
              <a:gd name="connsiteY34" fmla="*/ 2559 h 10000"/>
              <a:gd name="connsiteX35" fmla="*/ 3003 w 10000"/>
              <a:gd name="connsiteY35" fmla="*/ 2946 h 10000"/>
              <a:gd name="connsiteX36" fmla="*/ 3087 w 10000"/>
              <a:gd name="connsiteY36" fmla="*/ 3256 h 10000"/>
              <a:gd name="connsiteX37" fmla="*/ 3044 w 10000"/>
              <a:gd name="connsiteY37" fmla="*/ 3566 h 10000"/>
              <a:gd name="connsiteX38" fmla="*/ 3044 w 10000"/>
              <a:gd name="connsiteY38" fmla="*/ 3799 h 10000"/>
              <a:gd name="connsiteX39" fmla="*/ 3168 w 10000"/>
              <a:gd name="connsiteY39" fmla="*/ 3799 h 10000"/>
              <a:gd name="connsiteX40" fmla="*/ 3087 w 10000"/>
              <a:gd name="connsiteY40" fmla="*/ 3876 h 10000"/>
              <a:gd name="connsiteX41" fmla="*/ 3128 w 10000"/>
              <a:gd name="connsiteY41" fmla="*/ 4263 h 10000"/>
              <a:gd name="connsiteX42" fmla="*/ 2881 w 10000"/>
              <a:gd name="connsiteY42" fmla="*/ 4652 h 10000"/>
              <a:gd name="connsiteX43" fmla="*/ 2839 w 10000"/>
              <a:gd name="connsiteY43" fmla="*/ 4574 h 10000"/>
              <a:gd name="connsiteX44" fmla="*/ 3003 w 10000"/>
              <a:gd name="connsiteY44" fmla="*/ 4186 h 10000"/>
              <a:gd name="connsiteX45" fmla="*/ 3044 w 10000"/>
              <a:gd name="connsiteY45" fmla="*/ 3954 h 10000"/>
              <a:gd name="connsiteX46" fmla="*/ 2960 w 10000"/>
              <a:gd name="connsiteY46" fmla="*/ 3799 h 10000"/>
              <a:gd name="connsiteX47" fmla="*/ 2960 w 10000"/>
              <a:gd name="connsiteY47" fmla="*/ 3023 h 10000"/>
              <a:gd name="connsiteX48" fmla="*/ 2922 w 10000"/>
              <a:gd name="connsiteY48" fmla="*/ 2868 h 10000"/>
              <a:gd name="connsiteX49" fmla="*/ 2960 w 10000"/>
              <a:gd name="connsiteY49" fmla="*/ 2403 h 10000"/>
              <a:gd name="connsiteX50" fmla="*/ 2881 w 10000"/>
              <a:gd name="connsiteY50" fmla="*/ 2325 h 10000"/>
              <a:gd name="connsiteX51" fmla="*/ 2922 w 10000"/>
              <a:gd name="connsiteY51" fmla="*/ 2248 h 10000"/>
              <a:gd name="connsiteX52" fmla="*/ 2881 w 10000"/>
              <a:gd name="connsiteY52" fmla="*/ 2093 h 10000"/>
              <a:gd name="connsiteX53" fmla="*/ 2796 w 10000"/>
              <a:gd name="connsiteY53" fmla="*/ 2170 h 10000"/>
              <a:gd name="connsiteX54" fmla="*/ 2593 w 10000"/>
              <a:gd name="connsiteY54" fmla="*/ 3178 h 10000"/>
              <a:gd name="connsiteX55" fmla="*/ 2593 w 10000"/>
              <a:gd name="connsiteY55" fmla="*/ 3566 h 10000"/>
              <a:gd name="connsiteX56" fmla="*/ 2716 w 10000"/>
              <a:gd name="connsiteY56" fmla="*/ 3876 h 10000"/>
              <a:gd name="connsiteX57" fmla="*/ 2716 w 10000"/>
              <a:gd name="connsiteY57" fmla="*/ 4031 h 10000"/>
              <a:gd name="connsiteX58" fmla="*/ 2593 w 10000"/>
              <a:gd name="connsiteY58" fmla="*/ 3876 h 10000"/>
              <a:gd name="connsiteX59" fmla="*/ 2101 w 10000"/>
              <a:gd name="connsiteY59" fmla="*/ 3256 h 10000"/>
              <a:gd name="connsiteX60" fmla="*/ 2058 w 10000"/>
              <a:gd name="connsiteY60" fmla="*/ 3411 h 10000"/>
              <a:gd name="connsiteX61" fmla="*/ 2222 w 10000"/>
              <a:gd name="connsiteY61" fmla="*/ 3799 h 10000"/>
              <a:gd name="connsiteX62" fmla="*/ 2141 w 10000"/>
              <a:gd name="connsiteY62" fmla="*/ 3876 h 10000"/>
              <a:gd name="connsiteX63" fmla="*/ 2101 w 10000"/>
              <a:gd name="connsiteY63" fmla="*/ 3799 h 10000"/>
              <a:gd name="connsiteX64" fmla="*/ 1852 w 10000"/>
              <a:gd name="connsiteY64" fmla="*/ 3954 h 10000"/>
              <a:gd name="connsiteX65" fmla="*/ 1811 w 10000"/>
              <a:gd name="connsiteY65" fmla="*/ 4109 h 10000"/>
              <a:gd name="connsiteX66" fmla="*/ 1769 w 10000"/>
              <a:gd name="connsiteY66" fmla="*/ 3954 h 10000"/>
              <a:gd name="connsiteX67" fmla="*/ 1769 w 10000"/>
              <a:gd name="connsiteY67" fmla="*/ 3799 h 10000"/>
              <a:gd name="connsiteX68" fmla="*/ 1357 w 10000"/>
              <a:gd name="connsiteY68" fmla="*/ 4263 h 10000"/>
              <a:gd name="connsiteX69" fmla="*/ 1357 w 10000"/>
              <a:gd name="connsiteY69" fmla="*/ 4418 h 10000"/>
              <a:gd name="connsiteX70" fmla="*/ 1276 w 10000"/>
              <a:gd name="connsiteY70" fmla="*/ 4496 h 10000"/>
              <a:gd name="connsiteX71" fmla="*/ 1152 w 10000"/>
              <a:gd name="connsiteY71" fmla="*/ 4341 h 10000"/>
              <a:gd name="connsiteX72" fmla="*/ 1276 w 10000"/>
              <a:gd name="connsiteY72" fmla="*/ 4186 h 10000"/>
              <a:gd name="connsiteX73" fmla="*/ 1235 w 10000"/>
              <a:gd name="connsiteY73" fmla="*/ 3954 h 10000"/>
              <a:gd name="connsiteX74" fmla="*/ 1070 w 10000"/>
              <a:gd name="connsiteY74" fmla="*/ 3876 h 10000"/>
              <a:gd name="connsiteX75" fmla="*/ 1112 w 10000"/>
              <a:gd name="connsiteY75" fmla="*/ 4031 h 10000"/>
              <a:gd name="connsiteX76" fmla="*/ 1112 w 10000"/>
              <a:gd name="connsiteY76" fmla="*/ 4418 h 10000"/>
              <a:gd name="connsiteX77" fmla="*/ 1152 w 10000"/>
              <a:gd name="connsiteY77" fmla="*/ 4574 h 10000"/>
              <a:gd name="connsiteX78" fmla="*/ 1112 w 10000"/>
              <a:gd name="connsiteY78" fmla="*/ 4729 h 10000"/>
              <a:gd name="connsiteX79" fmla="*/ 987 w 10000"/>
              <a:gd name="connsiteY79" fmla="*/ 4652 h 10000"/>
              <a:gd name="connsiteX80" fmla="*/ 823 w 10000"/>
              <a:gd name="connsiteY80" fmla="*/ 4884 h 10000"/>
              <a:gd name="connsiteX81" fmla="*/ 905 w 10000"/>
              <a:gd name="connsiteY81" fmla="*/ 5194 h 10000"/>
              <a:gd name="connsiteX82" fmla="*/ 658 w 10000"/>
              <a:gd name="connsiteY82" fmla="*/ 5039 h 10000"/>
              <a:gd name="connsiteX83" fmla="*/ 617 w 10000"/>
              <a:gd name="connsiteY83" fmla="*/ 5116 h 10000"/>
              <a:gd name="connsiteX84" fmla="*/ 701 w 10000"/>
              <a:gd name="connsiteY84" fmla="*/ 5349 h 10000"/>
              <a:gd name="connsiteX85" fmla="*/ 617 w 10000"/>
              <a:gd name="connsiteY85" fmla="*/ 5349 h 10000"/>
              <a:gd name="connsiteX86" fmla="*/ 495 w 10000"/>
              <a:gd name="connsiteY86" fmla="*/ 5194 h 10000"/>
              <a:gd name="connsiteX87" fmla="*/ 495 w 10000"/>
              <a:gd name="connsiteY87" fmla="*/ 4729 h 10000"/>
              <a:gd name="connsiteX88" fmla="*/ 371 w 10000"/>
              <a:gd name="connsiteY88" fmla="*/ 4574 h 10000"/>
              <a:gd name="connsiteX89" fmla="*/ 329 w 10000"/>
              <a:gd name="connsiteY89" fmla="*/ 4418 h 10000"/>
              <a:gd name="connsiteX90" fmla="*/ 411 w 10000"/>
              <a:gd name="connsiteY90" fmla="*/ 4496 h 10000"/>
              <a:gd name="connsiteX91" fmla="*/ 740 w 10000"/>
              <a:gd name="connsiteY91" fmla="*/ 4729 h 10000"/>
              <a:gd name="connsiteX92" fmla="*/ 946 w 10000"/>
              <a:gd name="connsiteY92" fmla="*/ 4496 h 10000"/>
              <a:gd name="connsiteX93" fmla="*/ 905 w 10000"/>
              <a:gd name="connsiteY93" fmla="*/ 4263 h 10000"/>
              <a:gd name="connsiteX94" fmla="*/ 658 w 10000"/>
              <a:gd name="connsiteY94" fmla="*/ 3799 h 10000"/>
              <a:gd name="connsiteX95" fmla="*/ 411 w 10000"/>
              <a:gd name="connsiteY95" fmla="*/ 3644 h 10000"/>
              <a:gd name="connsiteX96" fmla="*/ 411 w 10000"/>
              <a:gd name="connsiteY96" fmla="*/ 3566 h 10000"/>
              <a:gd name="connsiteX97" fmla="*/ 329 w 10000"/>
              <a:gd name="connsiteY97" fmla="*/ 3488 h 10000"/>
              <a:gd name="connsiteX98" fmla="*/ 246 w 10000"/>
              <a:gd name="connsiteY98" fmla="*/ 3566 h 10000"/>
              <a:gd name="connsiteX99" fmla="*/ 246 w 10000"/>
              <a:gd name="connsiteY99" fmla="*/ 3644 h 10000"/>
              <a:gd name="connsiteX100" fmla="*/ 207 w 10000"/>
              <a:gd name="connsiteY100" fmla="*/ 3644 h 10000"/>
              <a:gd name="connsiteX101" fmla="*/ 123 w 10000"/>
              <a:gd name="connsiteY101" fmla="*/ 3799 h 10000"/>
              <a:gd name="connsiteX102" fmla="*/ 123 w 10000"/>
              <a:gd name="connsiteY102" fmla="*/ 4031 h 10000"/>
              <a:gd name="connsiteX103" fmla="*/ 207 w 10000"/>
              <a:gd name="connsiteY103" fmla="*/ 4186 h 10000"/>
              <a:gd name="connsiteX104" fmla="*/ 164 w 10000"/>
              <a:gd name="connsiteY104" fmla="*/ 4418 h 10000"/>
              <a:gd name="connsiteX105" fmla="*/ 207 w 10000"/>
              <a:gd name="connsiteY105" fmla="*/ 4807 h 10000"/>
              <a:gd name="connsiteX106" fmla="*/ 164 w 10000"/>
              <a:gd name="connsiteY106" fmla="*/ 5039 h 10000"/>
              <a:gd name="connsiteX107" fmla="*/ 246 w 10000"/>
              <a:gd name="connsiteY107" fmla="*/ 5271 h 10000"/>
              <a:gd name="connsiteX108" fmla="*/ 207 w 10000"/>
              <a:gd name="connsiteY108" fmla="*/ 5426 h 10000"/>
              <a:gd name="connsiteX109" fmla="*/ 288 w 10000"/>
              <a:gd name="connsiteY109" fmla="*/ 5582 h 10000"/>
              <a:gd name="connsiteX110" fmla="*/ 288 w 10000"/>
              <a:gd name="connsiteY110" fmla="*/ 5659 h 10000"/>
              <a:gd name="connsiteX111" fmla="*/ 164 w 10000"/>
              <a:gd name="connsiteY111" fmla="*/ 6047 h 10000"/>
              <a:gd name="connsiteX112" fmla="*/ 40 w 10000"/>
              <a:gd name="connsiteY112" fmla="*/ 6202 h 10000"/>
              <a:gd name="connsiteX113" fmla="*/ 82 w 10000"/>
              <a:gd name="connsiteY113" fmla="*/ 6202 h 10000"/>
              <a:gd name="connsiteX114" fmla="*/ 164 w 10000"/>
              <a:gd name="connsiteY114" fmla="*/ 6356 h 10000"/>
              <a:gd name="connsiteX115" fmla="*/ 82 w 10000"/>
              <a:gd name="connsiteY115" fmla="*/ 6512 h 10000"/>
              <a:gd name="connsiteX116" fmla="*/ 40 w 10000"/>
              <a:gd name="connsiteY116" fmla="*/ 6590 h 10000"/>
              <a:gd name="connsiteX117" fmla="*/ 0 w 10000"/>
              <a:gd name="connsiteY117" fmla="*/ 6590 h 10000"/>
              <a:gd name="connsiteX118" fmla="*/ 40 w 10000"/>
              <a:gd name="connsiteY118" fmla="*/ 6822 h 10000"/>
              <a:gd name="connsiteX119" fmla="*/ 40 w 10000"/>
              <a:gd name="connsiteY119" fmla="*/ 6900 h 10000"/>
              <a:gd name="connsiteX120" fmla="*/ 40 w 10000"/>
              <a:gd name="connsiteY120" fmla="*/ 6977 h 10000"/>
              <a:gd name="connsiteX121" fmla="*/ 40 w 10000"/>
              <a:gd name="connsiteY121" fmla="*/ 7054 h 10000"/>
              <a:gd name="connsiteX122" fmla="*/ 82 w 10000"/>
              <a:gd name="connsiteY122" fmla="*/ 7209 h 10000"/>
              <a:gd name="connsiteX123" fmla="*/ 207 w 10000"/>
              <a:gd name="connsiteY123" fmla="*/ 7287 h 10000"/>
              <a:gd name="connsiteX124" fmla="*/ 246 w 10000"/>
              <a:gd name="connsiteY124" fmla="*/ 7364 h 10000"/>
              <a:gd name="connsiteX125" fmla="*/ 246 w 10000"/>
              <a:gd name="connsiteY125" fmla="*/ 7520 h 10000"/>
              <a:gd name="connsiteX126" fmla="*/ 329 w 10000"/>
              <a:gd name="connsiteY126" fmla="*/ 7752 h 10000"/>
              <a:gd name="connsiteX127" fmla="*/ 371 w 10000"/>
              <a:gd name="connsiteY127" fmla="*/ 7752 h 10000"/>
              <a:gd name="connsiteX128" fmla="*/ 329 w 10000"/>
              <a:gd name="connsiteY128" fmla="*/ 7907 h 10000"/>
              <a:gd name="connsiteX129" fmla="*/ 288 w 10000"/>
              <a:gd name="connsiteY129" fmla="*/ 7830 h 10000"/>
              <a:gd name="connsiteX130" fmla="*/ 288 w 10000"/>
              <a:gd name="connsiteY130" fmla="*/ 7907 h 10000"/>
              <a:gd name="connsiteX131" fmla="*/ 329 w 10000"/>
              <a:gd name="connsiteY131" fmla="*/ 8062 h 10000"/>
              <a:gd name="connsiteX132" fmla="*/ 453 w 10000"/>
              <a:gd name="connsiteY132" fmla="*/ 8062 h 10000"/>
              <a:gd name="connsiteX133" fmla="*/ 495 w 10000"/>
              <a:gd name="connsiteY133" fmla="*/ 8140 h 10000"/>
              <a:gd name="connsiteX134" fmla="*/ 453 w 10000"/>
              <a:gd name="connsiteY134" fmla="*/ 8140 h 10000"/>
              <a:gd name="connsiteX135" fmla="*/ 495 w 10000"/>
              <a:gd name="connsiteY135" fmla="*/ 8217 h 10000"/>
              <a:gd name="connsiteX136" fmla="*/ 534 w 10000"/>
              <a:gd name="connsiteY136" fmla="*/ 8217 h 10000"/>
              <a:gd name="connsiteX137" fmla="*/ 575 w 10000"/>
              <a:gd name="connsiteY137" fmla="*/ 8372 h 10000"/>
              <a:gd name="connsiteX138" fmla="*/ 617 w 10000"/>
              <a:gd name="connsiteY138" fmla="*/ 8449 h 10000"/>
              <a:gd name="connsiteX139" fmla="*/ 658 w 10000"/>
              <a:gd name="connsiteY139" fmla="*/ 8372 h 10000"/>
              <a:gd name="connsiteX140" fmla="*/ 866 w 10000"/>
              <a:gd name="connsiteY140" fmla="*/ 8605 h 10000"/>
              <a:gd name="connsiteX141" fmla="*/ 823 w 10000"/>
              <a:gd name="connsiteY141" fmla="*/ 8915 h 10000"/>
              <a:gd name="connsiteX142" fmla="*/ 780 w 10000"/>
              <a:gd name="connsiteY142" fmla="*/ 8838 h 10000"/>
              <a:gd name="connsiteX143" fmla="*/ 740 w 10000"/>
              <a:gd name="connsiteY143" fmla="*/ 8915 h 10000"/>
              <a:gd name="connsiteX144" fmla="*/ 740 w 10000"/>
              <a:gd name="connsiteY144" fmla="*/ 9070 h 10000"/>
              <a:gd name="connsiteX145" fmla="*/ 780 w 10000"/>
              <a:gd name="connsiteY145" fmla="*/ 8993 h 10000"/>
              <a:gd name="connsiteX146" fmla="*/ 823 w 10000"/>
              <a:gd name="connsiteY146" fmla="*/ 9070 h 10000"/>
              <a:gd name="connsiteX147" fmla="*/ 701 w 10000"/>
              <a:gd name="connsiteY147" fmla="*/ 9147 h 10000"/>
              <a:gd name="connsiteX148" fmla="*/ 740 w 10000"/>
              <a:gd name="connsiteY148" fmla="*/ 9225 h 10000"/>
              <a:gd name="connsiteX149" fmla="*/ 658 w 10000"/>
              <a:gd name="connsiteY149" fmla="*/ 9380 h 10000"/>
              <a:gd name="connsiteX150" fmla="*/ 617 w 10000"/>
              <a:gd name="connsiteY150" fmla="*/ 9380 h 10000"/>
              <a:gd name="connsiteX151" fmla="*/ 658 w 10000"/>
              <a:gd name="connsiteY151" fmla="*/ 9380 h 10000"/>
              <a:gd name="connsiteX152" fmla="*/ 823 w 10000"/>
              <a:gd name="connsiteY152" fmla="*/ 9691 h 10000"/>
              <a:gd name="connsiteX153" fmla="*/ 1029 w 10000"/>
              <a:gd name="connsiteY153" fmla="*/ 9691 h 10000"/>
              <a:gd name="connsiteX154" fmla="*/ 1112 w 10000"/>
              <a:gd name="connsiteY154" fmla="*/ 9768 h 10000"/>
              <a:gd name="connsiteX155" fmla="*/ 1193 w 10000"/>
              <a:gd name="connsiteY155" fmla="*/ 9768 h 10000"/>
              <a:gd name="connsiteX156" fmla="*/ 1276 w 10000"/>
              <a:gd name="connsiteY156" fmla="*/ 9923 h 10000"/>
              <a:gd name="connsiteX157" fmla="*/ 1317 w 10000"/>
              <a:gd name="connsiteY157" fmla="*/ 10000 h 10000"/>
              <a:gd name="connsiteX158" fmla="*/ 1357 w 10000"/>
              <a:gd name="connsiteY158" fmla="*/ 10000 h 10000"/>
              <a:gd name="connsiteX159" fmla="*/ 1400 w 10000"/>
              <a:gd name="connsiteY159" fmla="*/ 9923 h 10000"/>
              <a:gd name="connsiteX160" fmla="*/ 1317 w 10000"/>
              <a:gd name="connsiteY160" fmla="*/ 9768 h 10000"/>
              <a:gd name="connsiteX161" fmla="*/ 1317 w 10000"/>
              <a:gd name="connsiteY161" fmla="*/ 9613 h 10000"/>
              <a:gd name="connsiteX162" fmla="*/ 1276 w 10000"/>
              <a:gd name="connsiteY162" fmla="*/ 9457 h 10000"/>
              <a:gd name="connsiteX163" fmla="*/ 1357 w 10000"/>
              <a:gd name="connsiteY163" fmla="*/ 9225 h 10000"/>
              <a:gd name="connsiteX164" fmla="*/ 1400 w 10000"/>
              <a:gd name="connsiteY164" fmla="*/ 9302 h 10000"/>
              <a:gd name="connsiteX165" fmla="*/ 1441 w 10000"/>
              <a:gd name="connsiteY165" fmla="*/ 9225 h 10000"/>
              <a:gd name="connsiteX166" fmla="*/ 1441 w 10000"/>
              <a:gd name="connsiteY166" fmla="*/ 9147 h 10000"/>
              <a:gd name="connsiteX167" fmla="*/ 1400 w 10000"/>
              <a:gd name="connsiteY167" fmla="*/ 9147 h 10000"/>
              <a:gd name="connsiteX168" fmla="*/ 1441 w 10000"/>
              <a:gd name="connsiteY168" fmla="*/ 9070 h 10000"/>
              <a:gd name="connsiteX169" fmla="*/ 1400 w 10000"/>
              <a:gd name="connsiteY169" fmla="*/ 8915 h 10000"/>
              <a:gd name="connsiteX170" fmla="*/ 1317 w 10000"/>
              <a:gd name="connsiteY170" fmla="*/ 8915 h 10000"/>
              <a:gd name="connsiteX171" fmla="*/ 1276 w 10000"/>
              <a:gd name="connsiteY171" fmla="*/ 8760 h 10000"/>
              <a:gd name="connsiteX172" fmla="*/ 1317 w 10000"/>
              <a:gd name="connsiteY172" fmla="*/ 8372 h 10000"/>
              <a:gd name="connsiteX173" fmla="*/ 1400 w 10000"/>
              <a:gd name="connsiteY173" fmla="*/ 8528 h 10000"/>
              <a:gd name="connsiteX174" fmla="*/ 1441 w 10000"/>
              <a:gd name="connsiteY174" fmla="*/ 8528 h 10000"/>
              <a:gd name="connsiteX175" fmla="*/ 1400 w 10000"/>
              <a:gd name="connsiteY175" fmla="*/ 8372 h 10000"/>
              <a:gd name="connsiteX176" fmla="*/ 1523 w 10000"/>
              <a:gd name="connsiteY176" fmla="*/ 8140 h 10000"/>
              <a:gd name="connsiteX177" fmla="*/ 1606 w 10000"/>
              <a:gd name="connsiteY177" fmla="*/ 8217 h 10000"/>
              <a:gd name="connsiteX178" fmla="*/ 1646 w 10000"/>
              <a:gd name="connsiteY178" fmla="*/ 8140 h 10000"/>
              <a:gd name="connsiteX179" fmla="*/ 1728 w 10000"/>
              <a:gd name="connsiteY179" fmla="*/ 8217 h 10000"/>
              <a:gd name="connsiteX180" fmla="*/ 1852 w 10000"/>
              <a:gd name="connsiteY180" fmla="*/ 8372 h 10000"/>
              <a:gd name="connsiteX181" fmla="*/ 1935 w 10000"/>
              <a:gd name="connsiteY181" fmla="*/ 8295 h 10000"/>
              <a:gd name="connsiteX182" fmla="*/ 2016 w 10000"/>
              <a:gd name="connsiteY182" fmla="*/ 8295 h 10000"/>
              <a:gd name="connsiteX183" fmla="*/ 2058 w 10000"/>
              <a:gd name="connsiteY183" fmla="*/ 8372 h 10000"/>
              <a:gd name="connsiteX184" fmla="*/ 2222 w 10000"/>
              <a:gd name="connsiteY184" fmla="*/ 8372 h 10000"/>
              <a:gd name="connsiteX185" fmla="*/ 2262 w 10000"/>
              <a:gd name="connsiteY185" fmla="*/ 8217 h 10000"/>
              <a:gd name="connsiteX186" fmla="*/ 2141 w 10000"/>
              <a:gd name="connsiteY186" fmla="*/ 8140 h 10000"/>
              <a:gd name="connsiteX187" fmla="*/ 2222 w 10000"/>
              <a:gd name="connsiteY187" fmla="*/ 8062 h 10000"/>
              <a:gd name="connsiteX188" fmla="*/ 2180 w 10000"/>
              <a:gd name="connsiteY188" fmla="*/ 7985 h 10000"/>
              <a:gd name="connsiteX189" fmla="*/ 2222 w 10000"/>
              <a:gd name="connsiteY189" fmla="*/ 7907 h 10000"/>
              <a:gd name="connsiteX190" fmla="*/ 2222 w 10000"/>
              <a:gd name="connsiteY190" fmla="*/ 7675 h 10000"/>
              <a:gd name="connsiteX191" fmla="*/ 2304 w 10000"/>
              <a:gd name="connsiteY191" fmla="*/ 7752 h 10000"/>
              <a:gd name="connsiteX192" fmla="*/ 2675 w 10000"/>
              <a:gd name="connsiteY192" fmla="*/ 7520 h 10000"/>
              <a:gd name="connsiteX193" fmla="*/ 2675 w 10000"/>
              <a:gd name="connsiteY193" fmla="*/ 7442 h 10000"/>
              <a:gd name="connsiteX194" fmla="*/ 2716 w 10000"/>
              <a:gd name="connsiteY194" fmla="*/ 7442 h 10000"/>
              <a:gd name="connsiteX195" fmla="*/ 2839 w 10000"/>
              <a:gd name="connsiteY195" fmla="*/ 7442 h 10000"/>
              <a:gd name="connsiteX196" fmla="*/ 2881 w 10000"/>
              <a:gd name="connsiteY196" fmla="*/ 7598 h 10000"/>
              <a:gd name="connsiteX197" fmla="*/ 2881 w 10000"/>
              <a:gd name="connsiteY197" fmla="*/ 7675 h 10000"/>
              <a:gd name="connsiteX198" fmla="*/ 2922 w 10000"/>
              <a:gd name="connsiteY198" fmla="*/ 7675 h 10000"/>
              <a:gd name="connsiteX199" fmla="*/ 3003 w 10000"/>
              <a:gd name="connsiteY199" fmla="*/ 7752 h 10000"/>
              <a:gd name="connsiteX200" fmla="*/ 3003 w 10000"/>
              <a:gd name="connsiteY200" fmla="*/ 7830 h 10000"/>
              <a:gd name="connsiteX201" fmla="*/ 3087 w 10000"/>
              <a:gd name="connsiteY201" fmla="*/ 7830 h 10000"/>
              <a:gd name="connsiteX202" fmla="*/ 3168 w 10000"/>
              <a:gd name="connsiteY202" fmla="*/ 7675 h 10000"/>
              <a:gd name="connsiteX203" fmla="*/ 3252 w 10000"/>
              <a:gd name="connsiteY203" fmla="*/ 7598 h 10000"/>
              <a:gd name="connsiteX204" fmla="*/ 3292 w 10000"/>
              <a:gd name="connsiteY204" fmla="*/ 7830 h 10000"/>
              <a:gd name="connsiteX205" fmla="*/ 3456 w 10000"/>
              <a:gd name="connsiteY205" fmla="*/ 8372 h 10000"/>
              <a:gd name="connsiteX206" fmla="*/ 3497 w 10000"/>
              <a:gd name="connsiteY206" fmla="*/ 8217 h 10000"/>
              <a:gd name="connsiteX207" fmla="*/ 3540 w 10000"/>
              <a:gd name="connsiteY207" fmla="*/ 8372 h 10000"/>
              <a:gd name="connsiteX208" fmla="*/ 3664 w 10000"/>
              <a:gd name="connsiteY208" fmla="*/ 8295 h 10000"/>
              <a:gd name="connsiteX209" fmla="*/ 3787 w 10000"/>
              <a:gd name="connsiteY209" fmla="*/ 8528 h 10000"/>
              <a:gd name="connsiteX210" fmla="*/ 3868 w 10000"/>
              <a:gd name="connsiteY210" fmla="*/ 8605 h 10000"/>
              <a:gd name="connsiteX211" fmla="*/ 3868 w 10000"/>
              <a:gd name="connsiteY211" fmla="*/ 8528 h 10000"/>
              <a:gd name="connsiteX212" fmla="*/ 3910 w 10000"/>
              <a:gd name="connsiteY212" fmla="*/ 8683 h 10000"/>
              <a:gd name="connsiteX213" fmla="*/ 3868 w 10000"/>
              <a:gd name="connsiteY213" fmla="*/ 8760 h 10000"/>
              <a:gd name="connsiteX214" fmla="*/ 3951 w 10000"/>
              <a:gd name="connsiteY214" fmla="*/ 8683 h 10000"/>
              <a:gd name="connsiteX215" fmla="*/ 3991 w 10000"/>
              <a:gd name="connsiteY215" fmla="*/ 8605 h 10000"/>
              <a:gd name="connsiteX216" fmla="*/ 4198 w 10000"/>
              <a:gd name="connsiteY216" fmla="*/ 8372 h 10000"/>
              <a:gd name="connsiteX217" fmla="*/ 4362 w 10000"/>
              <a:gd name="connsiteY217" fmla="*/ 8449 h 10000"/>
              <a:gd name="connsiteX218" fmla="*/ 4444 w 10000"/>
              <a:gd name="connsiteY218" fmla="*/ 8528 h 10000"/>
              <a:gd name="connsiteX219" fmla="*/ 4607 w 10000"/>
              <a:gd name="connsiteY219" fmla="*/ 8528 h 10000"/>
              <a:gd name="connsiteX220" fmla="*/ 4607 w 10000"/>
              <a:gd name="connsiteY220" fmla="*/ 8372 h 10000"/>
              <a:gd name="connsiteX221" fmla="*/ 4607 w 10000"/>
              <a:gd name="connsiteY221" fmla="*/ 8217 h 10000"/>
              <a:gd name="connsiteX222" fmla="*/ 4690 w 10000"/>
              <a:gd name="connsiteY222" fmla="*/ 8140 h 10000"/>
              <a:gd name="connsiteX223" fmla="*/ 4855 w 10000"/>
              <a:gd name="connsiteY223" fmla="*/ 8217 h 10000"/>
              <a:gd name="connsiteX224" fmla="*/ 4937 w 10000"/>
              <a:gd name="connsiteY224" fmla="*/ 8449 h 10000"/>
              <a:gd name="connsiteX225" fmla="*/ 4979 w 10000"/>
              <a:gd name="connsiteY225" fmla="*/ 8449 h 10000"/>
              <a:gd name="connsiteX226" fmla="*/ 5061 w 10000"/>
              <a:gd name="connsiteY226" fmla="*/ 8372 h 10000"/>
              <a:gd name="connsiteX227" fmla="*/ 5310 w 10000"/>
              <a:gd name="connsiteY227" fmla="*/ 8605 h 10000"/>
              <a:gd name="connsiteX228" fmla="*/ 5432 w 10000"/>
              <a:gd name="connsiteY228" fmla="*/ 8683 h 10000"/>
              <a:gd name="connsiteX229" fmla="*/ 5597 w 10000"/>
              <a:gd name="connsiteY229" fmla="*/ 8605 h 10000"/>
              <a:gd name="connsiteX230" fmla="*/ 5678 w 10000"/>
              <a:gd name="connsiteY230" fmla="*/ 8449 h 10000"/>
              <a:gd name="connsiteX231" fmla="*/ 5803 w 10000"/>
              <a:gd name="connsiteY231" fmla="*/ 8528 h 10000"/>
              <a:gd name="connsiteX232" fmla="*/ 5884 w 10000"/>
              <a:gd name="connsiteY232" fmla="*/ 8605 h 10000"/>
              <a:gd name="connsiteX233" fmla="*/ 7283 w 10000"/>
              <a:gd name="connsiteY233" fmla="*/ 7675 h 10000"/>
              <a:gd name="connsiteX234" fmla="*/ 7202 w 10000"/>
              <a:gd name="connsiteY234" fmla="*/ 7675 h 10000"/>
              <a:gd name="connsiteX235" fmla="*/ 7160 w 10000"/>
              <a:gd name="connsiteY235" fmla="*/ 7675 h 10000"/>
              <a:gd name="connsiteX236" fmla="*/ 7118 w 10000"/>
              <a:gd name="connsiteY236" fmla="*/ 7598 h 10000"/>
              <a:gd name="connsiteX237" fmla="*/ 7038 w 10000"/>
              <a:gd name="connsiteY237" fmla="*/ 7598 h 10000"/>
              <a:gd name="connsiteX238" fmla="*/ 7038 w 10000"/>
              <a:gd name="connsiteY238" fmla="*/ 7520 h 10000"/>
              <a:gd name="connsiteX239" fmla="*/ 7160 w 10000"/>
              <a:gd name="connsiteY239" fmla="*/ 7287 h 10000"/>
              <a:gd name="connsiteX240" fmla="*/ 7532 w 10000"/>
              <a:gd name="connsiteY240" fmla="*/ 6590 h 10000"/>
              <a:gd name="connsiteX241" fmla="*/ 7696 w 10000"/>
              <a:gd name="connsiteY241" fmla="*/ 6512 h 10000"/>
              <a:gd name="connsiteX242" fmla="*/ 7736 w 10000"/>
              <a:gd name="connsiteY242" fmla="*/ 6590 h 10000"/>
              <a:gd name="connsiteX243" fmla="*/ 7778 w 10000"/>
              <a:gd name="connsiteY243" fmla="*/ 6512 h 10000"/>
              <a:gd name="connsiteX244" fmla="*/ 7900 w 10000"/>
              <a:gd name="connsiteY244" fmla="*/ 6590 h 10000"/>
              <a:gd name="connsiteX245" fmla="*/ 7943 w 10000"/>
              <a:gd name="connsiteY245" fmla="*/ 6434 h 10000"/>
              <a:gd name="connsiteX246" fmla="*/ 8065 w 10000"/>
              <a:gd name="connsiteY246" fmla="*/ 6512 h 10000"/>
              <a:gd name="connsiteX247" fmla="*/ 8106 w 10000"/>
              <a:gd name="connsiteY247" fmla="*/ 6512 h 10000"/>
              <a:gd name="connsiteX248" fmla="*/ 8065 w 10000"/>
              <a:gd name="connsiteY248" fmla="*/ 6590 h 10000"/>
              <a:gd name="connsiteX249" fmla="*/ 8065 w 10000"/>
              <a:gd name="connsiteY249" fmla="*/ 6667 h 10000"/>
              <a:gd name="connsiteX250" fmla="*/ 8313 w 10000"/>
              <a:gd name="connsiteY250" fmla="*/ 6590 h 10000"/>
              <a:gd name="connsiteX251" fmla="*/ 8271 w 10000"/>
              <a:gd name="connsiteY251" fmla="*/ 6512 h 10000"/>
              <a:gd name="connsiteX252" fmla="*/ 8437 w 10000"/>
              <a:gd name="connsiteY252" fmla="*/ 5969 h 10000"/>
              <a:gd name="connsiteX253" fmla="*/ 8641 w 10000"/>
              <a:gd name="connsiteY253" fmla="*/ 5892 h 10000"/>
              <a:gd name="connsiteX254" fmla="*/ 8641 w 10000"/>
              <a:gd name="connsiteY254" fmla="*/ 6047 h 10000"/>
              <a:gd name="connsiteX255" fmla="*/ 8641 w 10000"/>
              <a:gd name="connsiteY255" fmla="*/ 6202 h 10000"/>
              <a:gd name="connsiteX256" fmla="*/ 8847 w 10000"/>
              <a:gd name="connsiteY256" fmla="*/ 5969 h 10000"/>
              <a:gd name="connsiteX257" fmla="*/ 8847 w 10000"/>
              <a:gd name="connsiteY257" fmla="*/ 5737 h 10000"/>
              <a:gd name="connsiteX258" fmla="*/ 8929 w 10000"/>
              <a:gd name="connsiteY258" fmla="*/ 5737 h 10000"/>
              <a:gd name="connsiteX259" fmla="*/ 8887 w 10000"/>
              <a:gd name="connsiteY259" fmla="*/ 5814 h 10000"/>
              <a:gd name="connsiteX260" fmla="*/ 8847 w 10000"/>
              <a:gd name="connsiteY260" fmla="*/ 6202 h 10000"/>
              <a:gd name="connsiteX261" fmla="*/ 8765 w 10000"/>
              <a:gd name="connsiteY261" fmla="*/ 6279 h 10000"/>
              <a:gd name="connsiteX262" fmla="*/ 8847 w 10000"/>
              <a:gd name="connsiteY262" fmla="*/ 6590 h 10000"/>
              <a:gd name="connsiteX263" fmla="*/ 8847 w 10000"/>
              <a:gd name="connsiteY263" fmla="*/ 6434 h 10000"/>
              <a:gd name="connsiteX264" fmla="*/ 8929 w 10000"/>
              <a:gd name="connsiteY264" fmla="*/ 6434 h 10000"/>
              <a:gd name="connsiteX265" fmla="*/ 9053 w 10000"/>
              <a:gd name="connsiteY265" fmla="*/ 6279 h 10000"/>
              <a:gd name="connsiteX266" fmla="*/ 9053 w 10000"/>
              <a:gd name="connsiteY266" fmla="*/ 6434 h 10000"/>
              <a:gd name="connsiteX267" fmla="*/ 9093 w 10000"/>
              <a:gd name="connsiteY267" fmla="*/ 6356 h 10000"/>
              <a:gd name="connsiteX268" fmla="*/ 9219 w 10000"/>
              <a:gd name="connsiteY268" fmla="*/ 6279 h 10000"/>
              <a:gd name="connsiteX269" fmla="*/ 9298 w 10000"/>
              <a:gd name="connsiteY269" fmla="*/ 6434 h 10000"/>
              <a:gd name="connsiteX270" fmla="*/ 9340 w 10000"/>
              <a:gd name="connsiteY270" fmla="*/ 6279 h 10000"/>
              <a:gd name="connsiteX271" fmla="*/ 9755 w 10000"/>
              <a:gd name="connsiteY271" fmla="*/ 5737 h 10000"/>
              <a:gd name="connsiteX272" fmla="*/ 9877 w 10000"/>
              <a:gd name="connsiteY272" fmla="*/ 5814 h 10000"/>
              <a:gd name="connsiteX273" fmla="*/ 9917 w 10000"/>
              <a:gd name="connsiteY273" fmla="*/ 5737 h 10000"/>
              <a:gd name="connsiteX274" fmla="*/ 9835 w 10000"/>
              <a:gd name="connsiteY274" fmla="*/ 5271 h 10000"/>
              <a:gd name="connsiteX275" fmla="*/ 9794 w 10000"/>
              <a:gd name="connsiteY275" fmla="*/ 5271 h 10000"/>
              <a:gd name="connsiteX276" fmla="*/ 9794 w 10000"/>
              <a:gd name="connsiteY276" fmla="*/ 5116 h 10000"/>
              <a:gd name="connsiteX277" fmla="*/ 9835 w 10000"/>
              <a:gd name="connsiteY277" fmla="*/ 5116 h 10000"/>
              <a:gd name="connsiteX278" fmla="*/ 9917 w 10000"/>
              <a:gd name="connsiteY278" fmla="*/ 5039 h 10000"/>
              <a:gd name="connsiteX279" fmla="*/ 10000 w 10000"/>
              <a:gd name="connsiteY279" fmla="*/ 4884 h 10000"/>
              <a:gd name="connsiteX280" fmla="*/ 9917 w 10000"/>
              <a:gd name="connsiteY280" fmla="*/ 3799 h 10000"/>
              <a:gd name="connsiteX281" fmla="*/ 9670 w 10000"/>
              <a:gd name="connsiteY281" fmla="*/ 3488 h 10000"/>
              <a:gd name="connsiteX282" fmla="*/ 9340 w 10000"/>
              <a:gd name="connsiteY282" fmla="*/ 3411 h 10000"/>
              <a:gd name="connsiteX283" fmla="*/ 9340 w 10000"/>
              <a:gd name="connsiteY283" fmla="*/ 3799 h 10000"/>
              <a:gd name="connsiteX284" fmla="*/ 9260 w 10000"/>
              <a:gd name="connsiteY284" fmla="*/ 3876 h 10000"/>
              <a:gd name="connsiteX285" fmla="*/ 9176 w 10000"/>
              <a:gd name="connsiteY285" fmla="*/ 3721 h 10000"/>
              <a:gd name="connsiteX286" fmla="*/ 9176 w 10000"/>
              <a:gd name="connsiteY286" fmla="*/ 3566 h 10000"/>
              <a:gd name="connsiteX287" fmla="*/ 9219 w 10000"/>
              <a:gd name="connsiteY287" fmla="*/ 3566 h 10000"/>
              <a:gd name="connsiteX288" fmla="*/ 9260 w 10000"/>
              <a:gd name="connsiteY288" fmla="*/ 3488 h 10000"/>
              <a:gd name="connsiteX289" fmla="*/ 9176 w 10000"/>
              <a:gd name="connsiteY289" fmla="*/ 3488 h 10000"/>
              <a:gd name="connsiteX290" fmla="*/ 9093 w 10000"/>
              <a:gd name="connsiteY290" fmla="*/ 3644 h 10000"/>
              <a:gd name="connsiteX291" fmla="*/ 8887 w 10000"/>
              <a:gd name="connsiteY291" fmla="*/ 3566 h 10000"/>
              <a:gd name="connsiteX292" fmla="*/ 8684 w 10000"/>
              <a:gd name="connsiteY292" fmla="*/ 3566 h 10000"/>
              <a:gd name="connsiteX293" fmla="*/ 8600 w 10000"/>
              <a:gd name="connsiteY293" fmla="*/ 3488 h 10000"/>
              <a:gd name="connsiteX294" fmla="*/ 8641 w 10000"/>
              <a:gd name="connsiteY294" fmla="*/ 3333 h 10000"/>
              <a:gd name="connsiteX295" fmla="*/ 8559 w 10000"/>
              <a:gd name="connsiteY295" fmla="*/ 3101 h 10000"/>
              <a:gd name="connsiteX296" fmla="*/ 8393 w 10000"/>
              <a:gd name="connsiteY296" fmla="*/ 3023 h 10000"/>
              <a:gd name="connsiteX297" fmla="*/ 8149 w 10000"/>
              <a:gd name="connsiteY297" fmla="*/ 3178 h 10000"/>
              <a:gd name="connsiteX298" fmla="*/ 8106 w 10000"/>
              <a:gd name="connsiteY298" fmla="*/ 2946 h 10000"/>
              <a:gd name="connsiteX299" fmla="*/ 8024 w 10000"/>
              <a:gd name="connsiteY299" fmla="*/ 2946 h 10000"/>
              <a:gd name="connsiteX300" fmla="*/ 7983 w 10000"/>
              <a:gd name="connsiteY300" fmla="*/ 2868 h 10000"/>
              <a:gd name="connsiteX301" fmla="*/ 7983 w 10000"/>
              <a:gd name="connsiteY301" fmla="*/ 2636 h 10000"/>
              <a:gd name="connsiteX302" fmla="*/ 7696 w 10000"/>
              <a:gd name="connsiteY302" fmla="*/ 2480 h 10000"/>
              <a:gd name="connsiteX303" fmla="*/ 7365 w 10000"/>
              <a:gd name="connsiteY303" fmla="*/ 2325 h 10000"/>
              <a:gd name="connsiteX304" fmla="*/ 7283 w 10000"/>
              <a:gd name="connsiteY304" fmla="*/ 2636 h 10000"/>
              <a:gd name="connsiteX305" fmla="*/ 7365 w 10000"/>
              <a:gd name="connsiteY305" fmla="*/ 2868 h 10000"/>
              <a:gd name="connsiteX306" fmla="*/ 7118 w 10000"/>
              <a:gd name="connsiteY306" fmla="*/ 2868 h 10000"/>
              <a:gd name="connsiteX307" fmla="*/ 7077 w 10000"/>
              <a:gd name="connsiteY307" fmla="*/ 2868 h 10000"/>
              <a:gd name="connsiteX308" fmla="*/ 6995 w 10000"/>
              <a:gd name="connsiteY308" fmla="*/ 2946 h 10000"/>
              <a:gd name="connsiteX309" fmla="*/ 6871 w 10000"/>
              <a:gd name="connsiteY309" fmla="*/ 2714 h 10000"/>
              <a:gd name="connsiteX310" fmla="*/ 6789 w 10000"/>
              <a:gd name="connsiteY310" fmla="*/ 3178 h 10000"/>
              <a:gd name="connsiteX311" fmla="*/ 6708 w 10000"/>
              <a:gd name="connsiteY311" fmla="*/ 3101 h 10000"/>
              <a:gd name="connsiteX312" fmla="*/ 6624 w 10000"/>
              <a:gd name="connsiteY312" fmla="*/ 2791 h 10000"/>
              <a:gd name="connsiteX313" fmla="*/ 6666 w 10000"/>
              <a:gd name="connsiteY313" fmla="*/ 2403 h 10000"/>
              <a:gd name="connsiteX314" fmla="*/ 6585 w 10000"/>
              <a:gd name="connsiteY314" fmla="*/ 2170 h 10000"/>
              <a:gd name="connsiteX315" fmla="*/ 6337 w 10000"/>
              <a:gd name="connsiteY315" fmla="*/ 2016 h 10000"/>
              <a:gd name="connsiteX316" fmla="*/ 6253 w 10000"/>
              <a:gd name="connsiteY316" fmla="*/ 2016 h 10000"/>
              <a:gd name="connsiteX317" fmla="*/ 6213 w 10000"/>
              <a:gd name="connsiteY317" fmla="*/ 2170 h 10000"/>
              <a:gd name="connsiteX318" fmla="*/ 6253 w 10000"/>
              <a:gd name="connsiteY318" fmla="*/ 2325 h 10000"/>
              <a:gd name="connsiteX319" fmla="*/ 5927 w 10000"/>
              <a:gd name="connsiteY319" fmla="*/ 2248 h 10000"/>
              <a:gd name="connsiteX320" fmla="*/ 5966 w 10000"/>
              <a:gd name="connsiteY320" fmla="*/ 2016 h 10000"/>
              <a:gd name="connsiteX321" fmla="*/ 5763 w 10000"/>
              <a:gd name="connsiteY321" fmla="*/ 1938 h 10000"/>
              <a:gd name="connsiteX322" fmla="*/ 5638 w 10000"/>
              <a:gd name="connsiteY322" fmla="*/ 2093 h 10000"/>
              <a:gd name="connsiteX323" fmla="*/ 5393 w 10000"/>
              <a:gd name="connsiteY323" fmla="*/ 1861 h 10000"/>
              <a:gd name="connsiteX0" fmla="*/ 5393 w 9938"/>
              <a:gd name="connsiteY0" fmla="*/ 1861 h 10000"/>
              <a:gd name="connsiteX1" fmla="*/ 5393 w 9938"/>
              <a:gd name="connsiteY1" fmla="*/ 1861 h 10000"/>
              <a:gd name="connsiteX2" fmla="*/ 5349 w 9938"/>
              <a:gd name="connsiteY2" fmla="*/ 1938 h 10000"/>
              <a:gd name="connsiteX3" fmla="*/ 5393 w 9938"/>
              <a:gd name="connsiteY3" fmla="*/ 2093 h 10000"/>
              <a:gd name="connsiteX4" fmla="*/ 5224 w 9938"/>
              <a:gd name="connsiteY4" fmla="*/ 2248 h 10000"/>
              <a:gd name="connsiteX5" fmla="*/ 5183 w 9938"/>
              <a:gd name="connsiteY5" fmla="*/ 2248 h 10000"/>
              <a:gd name="connsiteX6" fmla="*/ 5224 w 9938"/>
              <a:gd name="connsiteY6" fmla="*/ 2016 h 10000"/>
              <a:gd name="connsiteX7" fmla="*/ 5638 w 9938"/>
              <a:gd name="connsiteY7" fmla="*/ 1318 h 10000"/>
              <a:gd name="connsiteX8" fmla="*/ 5638 w 9938"/>
              <a:gd name="connsiteY8" fmla="*/ 853 h 10000"/>
              <a:gd name="connsiteX9" fmla="*/ 5473 w 9938"/>
              <a:gd name="connsiteY9" fmla="*/ 543 h 10000"/>
              <a:gd name="connsiteX10" fmla="*/ 5267 w 9938"/>
              <a:gd name="connsiteY10" fmla="*/ 543 h 10000"/>
              <a:gd name="connsiteX11" fmla="*/ 5267 w 9938"/>
              <a:gd name="connsiteY11" fmla="*/ 698 h 10000"/>
              <a:gd name="connsiteX12" fmla="*/ 5143 w 9938"/>
              <a:gd name="connsiteY12" fmla="*/ 698 h 10000"/>
              <a:gd name="connsiteX13" fmla="*/ 5224 w 9938"/>
              <a:gd name="connsiteY13" fmla="*/ 387 h 10000"/>
              <a:gd name="connsiteX14" fmla="*/ 5020 w 9938"/>
              <a:gd name="connsiteY14" fmla="*/ 310 h 10000"/>
              <a:gd name="connsiteX15" fmla="*/ 5143 w 9938"/>
              <a:gd name="connsiteY15" fmla="*/ 155 h 10000"/>
              <a:gd name="connsiteX16" fmla="*/ 5020 w 9938"/>
              <a:gd name="connsiteY16" fmla="*/ 0 h 10000"/>
              <a:gd name="connsiteX17" fmla="*/ 4814 w 9938"/>
              <a:gd name="connsiteY17" fmla="*/ 387 h 10000"/>
              <a:gd name="connsiteX18" fmla="*/ 4814 w 9938"/>
              <a:gd name="connsiteY18" fmla="*/ 698 h 10000"/>
              <a:gd name="connsiteX19" fmla="*/ 4690 w 9938"/>
              <a:gd name="connsiteY19" fmla="*/ 698 h 10000"/>
              <a:gd name="connsiteX20" fmla="*/ 4322 w 9938"/>
              <a:gd name="connsiteY20" fmla="*/ 853 h 10000"/>
              <a:gd name="connsiteX21" fmla="*/ 3991 w 9938"/>
              <a:gd name="connsiteY21" fmla="*/ 1240 h 10000"/>
              <a:gd name="connsiteX22" fmla="*/ 3868 w 9938"/>
              <a:gd name="connsiteY22" fmla="*/ 1551 h 10000"/>
              <a:gd name="connsiteX23" fmla="*/ 3910 w 9938"/>
              <a:gd name="connsiteY23" fmla="*/ 1938 h 10000"/>
              <a:gd name="connsiteX24" fmla="*/ 3456 w 9938"/>
              <a:gd name="connsiteY24" fmla="*/ 2093 h 10000"/>
              <a:gd name="connsiteX25" fmla="*/ 3497 w 9938"/>
              <a:gd name="connsiteY25" fmla="*/ 2559 h 10000"/>
              <a:gd name="connsiteX26" fmla="*/ 3622 w 9938"/>
              <a:gd name="connsiteY26" fmla="*/ 2791 h 10000"/>
              <a:gd name="connsiteX27" fmla="*/ 3540 w 9938"/>
              <a:gd name="connsiteY27" fmla="*/ 2868 h 10000"/>
              <a:gd name="connsiteX28" fmla="*/ 3416 w 9938"/>
              <a:gd name="connsiteY28" fmla="*/ 2559 h 10000"/>
              <a:gd name="connsiteX29" fmla="*/ 3292 w 9938"/>
              <a:gd name="connsiteY29" fmla="*/ 2480 h 10000"/>
              <a:gd name="connsiteX30" fmla="*/ 3252 w 9938"/>
              <a:gd name="connsiteY30" fmla="*/ 2559 h 10000"/>
              <a:gd name="connsiteX31" fmla="*/ 3168 w 9938"/>
              <a:gd name="connsiteY31" fmla="*/ 2403 h 10000"/>
              <a:gd name="connsiteX32" fmla="*/ 3087 w 9938"/>
              <a:gd name="connsiteY32" fmla="*/ 2248 h 10000"/>
              <a:gd name="connsiteX33" fmla="*/ 3087 w 9938"/>
              <a:gd name="connsiteY33" fmla="*/ 2325 h 10000"/>
              <a:gd name="connsiteX34" fmla="*/ 3128 w 9938"/>
              <a:gd name="connsiteY34" fmla="*/ 2559 h 10000"/>
              <a:gd name="connsiteX35" fmla="*/ 3003 w 9938"/>
              <a:gd name="connsiteY35" fmla="*/ 2946 h 10000"/>
              <a:gd name="connsiteX36" fmla="*/ 3087 w 9938"/>
              <a:gd name="connsiteY36" fmla="*/ 3256 h 10000"/>
              <a:gd name="connsiteX37" fmla="*/ 3044 w 9938"/>
              <a:gd name="connsiteY37" fmla="*/ 3566 h 10000"/>
              <a:gd name="connsiteX38" fmla="*/ 3044 w 9938"/>
              <a:gd name="connsiteY38" fmla="*/ 3799 h 10000"/>
              <a:gd name="connsiteX39" fmla="*/ 3168 w 9938"/>
              <a:gd name="connsiteY39" fmla="*/ 3799 h 10000"/>
              <a:gd name="connsiteX40" fmla="*/ 3087 w 9938"/>
              <a:gd name="connsiteY40" fmla="*/ 3876 h 10000"/>
              <a:gd name="connsiteX41" fmla="*/ 3128 w 9938"/>
              <a:gd name="connsiteY41" fmla="*/ 4263 h 10000"/>
              <a:gd name="connsiteX42" fmla="*/ 2881 w 9938"/>
              <a:gd name="connsiteY42" fmla="*/ 4652 h 10000"/>
              <a:gd name="connsiteX43" fmla="*/ 2839 w 9938"/>
              <a:gd name="connsiteY43" fmla="*/ 4574 h 10000"/>
              <a:gd name="connsiteX44" fmla="*/ 3003 w 9938"/>
              <a:gd name="connsiteY44" fmla="*/ 4186 h 10000"/>
              <a:gd name="connsiteX45" fmla="*/ 3044 w 9938"/>
              <a:gd name="connsiteY45" fmla="*/ 3954 h 10000"/>
              <a:gd name="connsiteX46" fmla="*/ 2960 w 9938"/>
              <a:gd name="connsiteY46" fmla="*/ 3799 h 10000"/>
              <a:gd name="connsiteX47" fmla="*/ 2960 w 9938"/>
              <a:gd name="connsiteY47" fmla="*/ 3023 h 10000"/>
              <a:gd name="connsiteX48" fmla="*/ 2922 w 9938"/>
              <a:gd name="connsiteY48" fmla="*/ 2868 h 10000"/>
              <a:gd name="connsiteX49" fmla="*/ 2960 w 9938"/>
              <a:gd name="connsiteY49" fmla="*/ 2403 h 10000"/>
              <a:gd name="connsiteX50" fmla="*/ 2881 w 9938"/>
              <a:gd name="connsiteY50" fmla="*/ 2325 h 10000"/>
              <a:gd name="connsiteX51" fmla="*/ 2922 w 9938"/>
              <a:gd name="connsiteY51" fmla="*/ 2248 h 10000"/>
              <a:gd name="connsiteX52" fmla="*/ 2881 w 9938"/>
              <a:gd name="connsiteY52" fmla="*/ 2093 h 10000"/>
              <a:gd name="connsiteX53" fmla="*/ 2796 w 9938"/>
              <a:gd name="connsiteY53" fmla="*/ 2170 h 10000"/>
              <a:gd name="connsiteX54" fmla="*/ 2593 w 9938"/>
              <a:gd name="connsiteY54" fmla="*/ 3178 h 10000"/>
              <a:gd name="connsiteX55" fmla="*/ 2593 w 9938"/>
              <a:gd name="connsiteY55" fmla="*/ 3566 h 10000"/>
              <a:gd name="connsiteX56" fmla="*/ 2716 w 9938"/>
              <a:gd name="connsiteY56" fmla="*/ 3876 h 10000"/>
              <a:gd name="connsiteX57" fmla="*/ 2716 w 9938"/>
              <a:gd name="connsiteY57" fmla="*/ 4031 h 10000"/>
              <a:gd name="connsiteX58" fmla="*/ 2593 w 9938"/>
              <a:gd name="connsiteY58" fmla="*/ 3876 h 10000"/>
              <a:gd name="connsiteX59" fmla="*/ 2101 w 9938"/>
              <a:gd name="connsiteY59" fmla="*/ 3256 h 10000"/>
              <a:gd name="connsiteX60" fmla="*/ 2058 w 9938"/>
              <a:gd name="connsiteY60" fmla="*/ 3411 h 10000"/>
              <a:gd name="connsiteX61" fmla="*/ 2222 w 9938"/>
              <a:gd name="connsiteY61" fmla="*/ 3799 h 10000"/>
              <a:gd name="connsiteX62" fmla="*/ 2141 w 9938"/>
              <a:gd name="connsiteY62" fmla="*/ 3876 h 10000"/>
              <a:gd name="connsiteX63" fmla="*/ 2101 w 9938"/>
              <a:gd name="connsiteY63" fmla="*/ 3799 h 10000"/>
              <a:gd name="connsiteX64" fmla="*/ 1852 w 9938"/>
              <a:gd name="connsiteY64" fmla="*/ 3954 h 10000"/>
              <a:gd name="connsiteX65" fmla="*/ 1811 w 9938"/>
              <a:gd name="connsiteY65" fmla="*/ 4109 h 10000"/>
              <a:gd name="connsiteX66" fmla="*/ 1769 w 9938"/>
              <a:gd name="connsiteY66" fmla="*/ 3954 h 10000"/>
              <a:gd name="connsiteX67" fmla="*/ 1769 w 9938"/>
              <a:gd name="connsiteY67" fmla="*/ 3799 h 10000"/>
              <a:gd name="connsiteX68" fmla="*/ 1357 w 9938"/>
              <a:gd name="connsiteY68" fmla="*/ 4263 h 10000"/>
              <a:gd name="connsiteX69" fmla="*/ 1357 w 9938"/>
              <a:gd name="connsiteY69" fmla="*/ 4418 h 10000"/>
              <a:gd name="connsiteX70" fmla="*/ 1276 w 9938"/>
              <a:gd name="connsiteY70" fmla="*/ 4496 h 10000"/>
              <a:gd name="connsiteX71" fmla="*/ 1152 w 9938"/>
              <a:gd name="connsiteY71" fmla="*/ 4341 h 10000"/>
              <a:gd name="connsiteX72" fmla="*/ 1276 w 9938"/>
              <a:gd name="connsiteY72" fmla="*/ 4186 h 10000"/>
              <a:gd name="connsiteX73" fmla="*/ 1235 w 9938"/>
              <a:gd name="connsiteY73" fmla="*/ 3954 h 10000"/>
              <a:gd name="connsiteX74" fmla="*/ 1070 w 9938"/>
              <a:gd name="connsiteY74" fmla="*/ 3876 h 10000"/>
              <a:gd name="connsiteX75" fmla="*/ 1112 w 9938"/>
              <a:gd name="connsiteY75" fmla="*/ 4031 h 10000"/>
              <a:gd name="connsiteX76" fmla="*/ 1112 w 9938"/>
              <a:gd name="connsiteY76" fmla="*/ 4418 h 10000"/>
              <a:gd name="connsiteX77" fmla="*/ 1152 w 9938"/>
              <a:gd name="connsiteY77" fmla="*/ 4574 h 10000"/>
              <a:gd name="connsiteX78" fmla="*/ 1112 w 9938"/>
              <a:gd name="connsiteY78" fmla="*/ 4729 h 10000"/>
              <a:gd name="connsiteX79" fmla="*/ 987 w 9938"/>
              <a:gd name="connsiteY79" fmla="*/ 4652 h 10000"/>
              <a:gd name="connsiteX80" fmla="*/ 823 w 9938"/>
              <a:gd name="connsiteY80" fmla="*/ 4884 h 10000"/>
              <a:gd name="connsiteX81" fmla="*/ 905 w 9938"/>
              <a:gd name="connsiteY81" fmla="*/ 5194 h 10000"/>
              <a:gd name="connsiteX82" fmla="*/ 658 w 9938"/>
              <a:gd name="connsiteY82" fmla="*/ 5039 h 10000"/>
              <a:gd name="connsiteX83" fmla="*/ 617 w 9938"/>
              <a:gd name="connsiteY83" fmla="*/ 5116 h 10000"/>
              <a:gd name="connsiteX84" fmla="*/ 701 w 9938"/>
              <a:gd name="connsiteY84" fmla="*/ 5349 h 10000"/>
              <a:gd name="connsiteX85" fmla="*/ 617 w 9938"/>
              <a:gd name="connsiteY85" fmla="*/ 5349 h 10000"/>
              <a:gd name="connsiteX86" fmla="*/ 495 w 9938"/>
              <a:gd name="connsiteY86" fmla="*/ 5194 h 10000"/>
              <a:gd name="connsiteX87" fmla="*/ 495 w 9938"/>
              <a:gd name="connsiteY87" fmla="*/ 4729 h 10000"/>
              <a:gd name="connsiteX88" fmla="*/ 371 w 9938"/>
              <a:gd name="connsiteY88" fmla="*/ 4574 h 10000"/>
              <a:gd name="connsiteX89" fmla="*/ 329 w 9938"/>
              <a:gd name="connsiteY89" fmla="*/ 4418 h 10000"/>
              <a:gd name="connsiteX90" fmla="*/ 411 w 9938"/>
              <a:gd name="connsiteY90" fmla="*/ 4496 h 10000"/>
              <a:gd name="connsiteX91" fmla="*/ 740 w 9938"/>
              <a:gd name="connsiteY91" fmla="*/ 4729 h 10000"/>
              <a:gd name="connsiteX92" fmla="*/ 946 w 9938"/>
              <a:gd name="connsiteY92" fmla="*/ 4496 h 10000"/>
              <a:gd name="connsiteX93" fmla="*/ 905 w 9938"/>
              <a:gd name="connsiteY93" fmla="*/ 4263 h 10000"/>
              <a:gd name="connsiteX94" fmla="*/ 658 w 9938"/>
              <a:gd name="connsiteY94" fmla="*/ 3799 h 10000"/>
              <a:gd name="connsiteX95" fmla="*/ 411 w 9938"/>
              <a:gd name="connsiteY95" fmla="*/ 3644 h 10000"/>
              <a:gd name="connsiteX96" fmla="*/ 411 w 9938"/>
              <a:gd name="connsiteY96" fmla="*/ 3566 h 10000"/>
              <a:gd name="connsiteX97" fmla="*/ 329 w 9938"/>
              <a:gd name="connsiteY97" fmla="*/ 3488 h 10000"/>
              <a:gd name="connsiteX98" fmla="*/ 246 w 9938"/>
              <a:gd name="connsiteY98" fmla="*/ 3566 h 10000"/>
              <a:gd name="connsiteX99" fmla="*/ 246 w 9938"/>
              <a:gd name="connsiteY99" fmla="*/ 3644 h 10000"/>
              <a:gd name="connsiteX100" fmla="*/ 207 w 9938"/>
              <a:gd name="connsiteY100" fmla="*/ 3644 h 10000"/>
              <a:gd name="connsiteX101" fmla="*/ 123 w 9938"/>
              <a:gd name="connsiteY101" fmla="*/ 3799 h 10000"/>
              <a:gd name="connsiteX102" fmla="*/ 123 w 9938"/>
              <a:gd name="connsiteY102" fmla="*/ 4031 h 10000"/>
              <a:gd name="connsiteX103" fmla="*/ 207 w 9938"/>
              <a:gd name="connsiteY103" fmla="*/ 4186 h 10000"/>
              <a:gd name="connsiteX104" fmla="*/ 164 w 9938"/>
              <a:gd name="connsiteY104" fmla="*/ 4418 h 10000"/>
              <a:gd name="connsiteX105" fmla="*/ 207 w 9938"/>
              <a:gd name="connsiteY105" fmla="*/ 4807 h 10000"/>
              <a:gd name="connsiteX106" fmla="*/ 164 w 9938"/>
              <a:gd name="connsiteY106" fmla="*/ 5039 h 10000"/>
              <a:gd name="connsiteX107" fmla="*/ 246 w 9938"/>
              <a:gd name="connsiteY107" fmla="*/ 5271 h 10000"/>
              <a:gd name="connsiteX108" fmla="*/ 207 w 9938"/>
              <a:gd name="connsiteY108" fmla="*/ 5426 h 10000"/>
              <a:gd name="connsiteX109" fmla="*/ 288 w 9938"/>
              <a:gd name="connsiteY109" fmla="*/ 5582 h 10000"/>
              <a:gd name="connsiteX110" fmla="*/ 288 w 9938"/>
              <a:gd name="connsiteY110" fmla="*/ 5659 h 10000"/>
              <a:gd name="connsiteX111" fmla="*/ 164 w 9938"/>
              <a:gd name="connsiteY111" fmla="*/ 6047 h 10000"/>
              <a:gd name="connsiteX112" fmla="*/ 40 w 9938"/>
              <a:gd name="connsiteY112" fmla="*/ 6202 h 10000"/>
              <a:gd name="connsiteX113" fmla="*/ 82 w 9938"/>
              <a:gd name="connsiteY113" fmla="*/ 6202 h 10000"/>
              <a:gd name="connsiteX114" fmla="*/ 164 w 9938"/>
              <a:gd name="connsiteY114" fmla="*/ 6356 h 10000"/>
              <a:gd name="connsiteX115" fmla="*/ 82 w 9938"/>
              <a:gd name="connsiteY115" fmla="*/ 6512 h 10000"/>
              <a:gd name="connsiteX116" fmla="*/ 40 w 9938"/>
              <a:gd name="connsiteY116" fmla="*/ 6590 h 10000"/>
              <a:gd name="connsiteX117" fmla="*/ 0 w 9938"/>
              <a:gd name="connsiteY117" fmla="*/ 6590 h 10000"/>
              <a:gd name="connsiteX118" fmla="*/ 40 w 9938"/>
              <a:gd name="connsiteY118" fmla="*/ 6822 h 10000"/>
              <a:gd name="connsiteX119" fmla="*/ 40 w 9938"/>
              <a:gd name="connsiteY119" fmla="*/ 6900 h 10000"/>
              <a:gd name="connsiteX120" fmla="*/ 40 w 9938"/>
              <a:gd name="connsiteY120" fmla="*/ 6977 h 10000"/>
              <a:gd name="connsiteX121" fmla="*/ 40 w 9938"/>
              <a:gd name="connsiteY121" fmla="*/ 7054 h 10000"/>
              <a:gd name="connsiteX122" fmla="*/ 82 w 9938"/>
              <a:gd name="connsiteY122" fmla="*/ 7209 h 10000"/>
              <a:gd name="connsiteX123" fmla="*/ 207 w 9938"/>
              <a:gd name="connsiteY123" fmla="*/ 7287 h 10000"/>
              <a:gd name="connsiteX124" fmla="*/ 246 w 9938"/>
              <a:gd name="connsiteY124" fmla="*/ 7364 h 10000"/>
              <a:gd name="connsiteX125" fmla="*/ 246 w 9938"/>
              <a:gd name="connsiteY125" fmla="*/ 7520 h 10000"/>
              <a:gd name="connsiteX126" fmla="*/ 329 w 9938"/>
              <a:gd name="connsiteY126" fmla="*/ 7752 h 10000"/>
              <a:gd name="connsiteX127" fmla="*/ 371 w 9938"/>
              <a:gd name="connsiteY127" fmla="*/ 7752 h 10000"/>
              <a:gd name="connsiteX128" fmla="*/ 329 w 9938"/>
              <a:gd name="connsiteY128" fmla="*/ 7907 h 10000"/>
              <a:gd name="connsiteX129" fmla="*/ 288 w 9938"/>
              <a:gd name="connsiteY129" fmla="*/ 7830 h 10000"/>
              <a:gd name="connsiteX130" fmla="*/ 288 w 9938"/>
              <a:gd name="connsiteY130" fmla="*/ 7907 h 10000"/>
              <a:gd name="connsiteX131" fmla="*/ 329 w 9938"/>
              <a:gd name="connsiteY131" fmla="*/ 8062 h 10000"/>
              <a:gd name="connsiteX132" fmla="*/ 453 w 9938"/>
              <a:gd name="connsiteY132" fmla="*/ 8062 h 10000"/>
              <a:gd name="connsiteX133" fmla="*/ 495 w 9938"/>
              <a:gd name="connsiteY133" fmla="*/ 8140 h 10000"/>
              <a:gd name="connsiteX134" fmla="*/ 453 w 9938"/>
              <a:gd name="connsiteY134" fmla="*/ 8140 h 10000"/>
              <a:gd name="connsiteX135" fmla="*/ 495 w 9938"/>
              <a:gd name="connsiteY135" fmla="*/ 8217 h 10000"/>
              <a:gd name="connsiteX136" fmla="*/ 534 w 9938"/>
              <a:gd name="connsiteY136" fmla="*/ 8217 h 10000"/>
              <a:gd name="connsiteX137" fmla="*/ 575 w 9938"/>
              <a:gd name="connsiteY137" fmla="*/ 8372 h 10000"/>
              <a:gd name="connsiteX138" fmla="*/ 617 w 9938"/>
              <a:gd name="connsiteY138" fmla="*/ 8449 h 10000"/>
              <a:gd name="connsiteX139" fmla="*/ 658 w 9938"/>
              <a:gd name="connsiteY139" fmla="*/ 8372 h 10000"/>
              <a:gd name="connsiteX140" fmla="*/ 866 w 9938"/>
              <a:gd name="connsiteY140" fmla="*/ 8605 h 10000"/>
              <a:gd name="connsiteX141" fmla="*/ 823 w 9938"/>
              <a:gd name="connsiteY141" fmla="*/ 8915 h 10000"/>
              <a:gd name="connsiteX142" fmla="*/ 780 w 9938"/>
              <a:gd name="connsiteY142" fmla="*/ 8838 h 10000"/>
              <a:gd name="connsiteX143" fmla="*/ 740 w 9938"/>
              <a:gd name="connsiteY143" fmla="*/ 8915 h 10000"/>
              <a:gd name="connsiteX144" fmla="*/ 740 w 9938"/>
              <a:gd name="connsiteY144" fmla="*/ 9070 h 10000"/>
              <a:gd name="connsiteX145" fmla="*/ 780 w 9938"/>
              <a:gd name="connsiteY145" fmla="*/ 8993 h 10000"/>
              <a:gd name="connsiteX146" fmla="*/ 823 w 9938"/>
              <a:gd name="connsiteY146" fmla="*/ 9070 h 10000"/>
              <a:gd name="connsiteX147" fmla="*/ 701 w 9938"/>
              <a:gd name="connsiteY147" fmla="*/ 9147 h 10000"/>
              <a:gd name="connsiteX148" fmla="*/ 740 w 9938"/>
              <a:gd name="connsiteY148" fmla="*/ 9225 h 10000"/>
              <a:gd name="connsiteX149" fmla="*/ 658 w 9938"/>
              <a:gd name="connsiteY149" fmla="*/ 9380 h 10000"/>
              <a:gd name="connsiteX150" fmla="*/ 617 w 9938"/>
              <a:gd name="connsiteY150" fmla="*/ 9380 h 10000"/>
              <a:gd name="connsiteX151" fmla="*/ 658 w 9938"/>
              <a:gd name="connsiteY151" fmla="*/ 9380 h 10000"/>
              <a:gd name="connsiteX152" fmla="*/ 823 w 9938"/>
              <a:gd name="connsiteY152" fmla="*/ 9691 h 10000"/>
              <a:gd name="connsiteX153" fmla="*/ 1029 w 9938"/>
              <a:gd name="connsiteY153" fmla="*/ 9691 h 10000"/>
              <a:gd name="connsiteX154" fmla="*/ 1112 w 9938"/>
              <a:gd name="connsiteY154" fmla="*/ 9768 h 10000"/>
              <a:gd name="connsiteX155" fmla="*/ 1193 w 9938"/>
              <a:gd name="connsiteY155" fmla="*/ 9768 h 10000"/>
              <a:gd name="connsiteX156" fmla="*/ 1276 w 9938"/>
              <a:gd name="connsiteY156" fmla="*/ 9923 h 10000"/>
              <a:gd name="connsiteX157" fmla="*/ 1317 w 9938"/>
              <a:gd name="connsiteY157" fmla="*/ 10000 h 10000"/>
              <a:gd name="connsiteX158" fmla="*/ 1357 w 9938"/>
              <a:gd name="connsiteY158" fmla="*/ 10000 h 10000"/>
              <a:gd name="connsiteX159" fmla="*/ 1400 w 9938"/>
              <a:gd name="connsiteY159" fmla="*/ 9923 h 10000"/>
              <a:gd name="connsiteX160" fmla="*/ 1317 w 9938"/>
              <a:gd name="connsiteY160" fmla="*/ 9768 h 10000"/>
              <a:gd name="connsiteX161" fmla="*/ 1317 w 9938"/>
              <a:gd name="connsiteY161" fmla="*/ 9613 h 10000"/>
              <a:gd name="connsiteX162" fmla="*/ 1276 w 9938"/>
              <a:gd name="connsiteY162" fmla="*/ 9457 h 10000"/>
              <a:gd name="connsiteX163" fmla="*/ 1357 w 9938"/>
              <a:gd name="connsiteY163" fmla="*/ 9225 h 10000"/>
              <a:gd name="connsiteX164" fmla="*/ 1400 w 9938"/>
              <a:gd name="connsiteY164" fmla="*/ 9302 h 10000"/>
              <a:gd name="connsiteX165" fmla="*/ 1441 w 9938"/>
              <a:gd name="connsiteY165" fmla="*/ 9225 h 10000"/>
              <a:gd name="connsiteX166" fmla="*/ 1441 w 9938"/>
              <a:gd name="connsiteY166" fmla="*/ 9147 h 10000"/>
              <a:gd name="connsiteX167" fmla="*/ 1400 w 9938"/>
              <a:gd name="connsiteY167" fmla="*/ 9147 h 10000"/>
              <a:gd name="connsiteX168" fmla="*/ 1441 w 9938"/>
              <a:gd name="connsiteY168" fmla="*/ 9070 h 10000"/>
              <a:gd name="connsiteX169" fmla="*/ 1400 w 9938"/>
              <a:gd name="connsiteY169" fmla="*/ 8915 h 10000"/>
              <a:gd name="connsiteX170" fmla="*/ 1317 w 9938"/>
              <a:gd name="connsiteY170" fmla="*/ 8915 h 10000"/>
              <a:gd name="connsiteX171" fmla="*/ 1276 w 9938"/>
              <a:gd name="connsiteY171" fmla="*/ 8760 h 10000"/>
              <a:gd name="connsiteX172" fmla="*/ 1317 w 9938"/>
              <a:gd name="connsiteY172" fmla="*/ 8372 h 10000"/>
              <a:gd name="connsiteX173" fmla="*/ 1400 w 9938"/>
              <a:gd name="connsiteY173" fmla="*/ 8528 h 10000"/>
              <a:gd name="connsiteX174" fmla="*/ 1441 w 9938"/>
              <a:gd name="connsiteY174" fmla="*/ 8528 h 10000"/>
              <a:gd name="connsiteX175" fmla="*/ 1400 w 9938"/>
              <a:gd name="connsiteY175" fmla="*/ 8372 h 10000"/>
              <a:gd name="connsiteX176" fmla="*/ 1523 w 9938"/>
              <a:gd name="connsiteY176" fmla="*/ 8140 h 10000"/>
              <a:gd name="connsiteX177" fmla="*/ 1606 w 9938"/>
              <a:gd name="connsiteY177" fmla="*/ 8217 h 10000"/>
              <a:gd name="connsiteX178" fmla="*/ 1646 w 9938"/>
              <a:gd name="connsiteY178" fmla="*/ 8140 h 10000"/>
              <a:gd name="connsiteX179" fmla="*/ 1728 w 9938"/>
              <a:gd name="connsiteY179" fmla="*/ 8217 h 10000"/>
              <a:gd name="connsiteX180" fmla="*/ 1852 w 9938"/>
              <a:gd name="connsiteY180" fmla="*/ 8372 h 10000"/>
              <a:gd name="connsiteX181" fmla="*/ 1935 w 9938"/>
              <a:gd name="connsiteY181" fmla="*/ 8295 h 10000"/>
              <a:gd name="connsiteX182" fmla="*/ 2016 w 9938"/>
              <a:gd name="connsiteY182" fmla="*/ 8295 h 10000"/>
              <a:gd name="connsiteX183" fmla="*/ 2058 w 9938"/>
              <a:gd name="connsiteY183" fmla="*/ 8372 h 10000"/>
              <a:gd name="connsiteX184" fmla="*/ 2222 w 9938"/>
              <a:gd name="connsiteY184" fmla="*/ 8372 h 10000"/>
              <a:gd name="connsiteX185" fmla="*/ 2262 w 9938"/>
              <a:gd name="connsiteY185" fmla="*/ 8217 h 10000"/>
              <a:gd name="connsiteX186" fmla="*/ 2141 w 9938"/>
              <a:gd name="connsiteY186" fmla="*/ 8140 h 10000"/>
              <a:gd name="connsiteX187" fmla="*/ 2222 w 9938"/>
              <a:gd name="connsiteY187" fmla="*/ 8062 h 10000"/>
              <a:gd name="connsiteX188" fmla="*/ 2180 w 9938"/>
              <a:gd name="connsiteY188" fmla="*/ 7985 h 10000"/>
              <a:gd name="connsiteX189" fmla="*/ 2222 w 9938"/>
              <a:gd name="connsiteY189" fmla="*/ 7907 h 10000"/>
              <a:gd name="connsiteX190" fmla="*/ 2222 w 9938"/>
              <a:gd name="connsiteY190" fmla="*/ 7675 h 10000"/>
              <a:gd name="connsiteX191" fmla="*/ 2304 w 9938"/>
              <a:gd name="connsiteY191" fmla="*/ 7752 h 10000"/>
              <a:gd name="connsiteX192" fmla="*/ 2675 w 9938"/>
              <a:gd name="connsiteY192" fmla="*/ 7520 h 10000"/>
              <a:gd name="connsiteX193" fmla="*/ 2675 w 9938"/>
              <a:gd name="connsiteY193" fmla="*/ 7442 h 10000"/>
              <a:gd name="connsiteX194" fmla="*/ 2716 w 9938"/>
              <a:gd name="connsiteY194" fmla="*/ 7442 h 10000"/>
              <a:gd name="connsiteX195" fmla="*/ 2839 w 9938"/>
              <a:gd name="connsiteY195" fmla="*/ 7442 h 10000"/>
              <a:gd name="connsiteX196" fmla="*/ 2881 w 9938"/>
              <a:gd name="connsiteY196" fmla="*/ 7598 h 10000"/>
              <a:gd name="connsiteX197" fmla="*/ 2881 w 9938"/>
              <a:gd name="connsiteY197" fmla="*/ 7675 h 10000"/>
              <a:gd name="connsiteX198" fmla="*/ 2922 w 9938"/>
              <a:gd name="connsiteY198" fmla="*/ 7675 h 10000"/>
              <a:gd name="connsiteX199" fmla="*/ 3003 w 9938"/>
              <a:gd name="connsiteY199" fmla="*/ 7752 h 10000"/>
              <a:gd name="connsiteX200" fmla="*/ 3003 w 9938"/>
              <a:gd name="connsiteY200" fmla="*/ 7830 h 10000"/>
              <a:gd name="connsiteX201" fmla="*/ 3087 w 9938"/>
              <a:gd name="connsiteY201" fmla="*/ 7830 h 10000"/>
              <a:gd name="connsiteX202" fmla="*/ 3168 w 9938"/>
              <a:gd name="connsiteY202" fmla="*/ 7675 h 10000"/>
              <a:gd name="connsiteX203" fmla="*/ 3252 w 9938"/>
              <a:gd name="connsiteY203" fmla="*/ 7598 h 10000"/>
              <a:gd name="connsiteX204" fmla="*/ 3292 w 9938"/>
              <a:gd name="connsiteY204" fmla="*/ 7830 h 10000"/>
              <a:gd name="connsiteX205" fmla="*/ 3456 w 9938"/>
              <a:gd name="connsiteY205" fmla="*/ 8372 h 10000"/>
              <a:gd name="connsiteX206" fmla="*/ 3497 w 9938"/>
              <a:gd name="connsiteY206" fmla="*/ 8217 h 10000"/>
              <a:gd name="connsiteX207" fmla="*/ 3540 w 9938"/>
              <a:gd name="connsiteY207" fmla="*/ 8372 h 10000"/>
              <a:gd name="connsiteX208" fmla="*/ 3664 w 9938"/>
              <a:gd name="connsiteY208" fmla="*/ 8295 h 10000"/>
              <a:gd name="connsiteX209" fmla="*/ 3787 w 9938"/>
              <a:gd name="connsiteY209" fmla="*/ 8528 h 10000"/>
              <a:gd name="connsiteX210" fmla="*/ 3868 w 9938"/>
              <a:gd name="connsiteY210" fmla="*/ 8605 h 10000"/>
              <a:gd name="connsiteX211" fmla="*/ 3868 w 9938"/>
              <a:gd name="connsiteY211" fmla="*/ 8528 h 10000"/>
              <a:gd name="connsiteX212" fmla="*/ 3910 w 9938"/>
              <a:gd name="connsiteY212" fmla="*/ 8683 h 10000"/>
              <a:gd name="connsiteX213" fmla="*/ 3868 w 9938"/>
              <a:gd name="connsiteY213" fmla="*/ 8760 h 10000"/>
              <a:gd name="connsiteX214" fmla="*/ 3951 w 9938"/>
              <a:gd name="connsiteY214" fmla="*/ 8683 h 10000"/>
              <a:gd name="connsiteX215" fmla="*/ 3991 w 9938"/>
              <a:gd name="connsiteY215" fmla="*/ 8605 h 10000"/>
              <a:gd name="connsiteX216" fmla="*/ 4198 w 9938"/>
              <a:gd name="connsiteY216" fmla="*/ 8372 h 10000"/>
              <a:gd name="connsiteX217" fmla="*/ 4362 w 9938"/>
              <a:gd name="connsiteY217" fmla="*/ 8449 h 10000"/>
              <a:gd name="connsiteX218" fmla="*/ 4444 w 9938"/>
              <a:gd name="connsiteY218" fmla="*/ 8528 h 10000"/>
              <a:gd name="connsiteX219" fmla="*/ 4607 w 9938"/>
              <a:gd name="connsiteY219" fmla="*/ 8528 h 10000"/>
              <a:gd name="connsiteX220" fmla="*/ 4607 w 9938"/>
              <a:gd name="connsiteY220" fmla="*/ 8372 h 10000"/>
              <a:gd name="connsiteX221" fmla="*/ 4607 w 9938"/>
              <a:gd name="connsiteY221" fmla="*/ 8217 h 10000"/>
              <a:gd name="connsiteX222" fmla="*/ 4690 w 9938"/>
              <a:gd name="connsiteY222" fmla="*/ 8140 h 10000"/>
              <a:gd name="connsiteX223" fmla="*/ 4855 w 9938"/>
              <a:gd name="connsiteY223" fmla="*/ 8217 h 10000"/>
              <a:gd name="connsiteX224" fmla="*/ 4937 w 9938"/>
              <a:gd name="connsiteY224" fmla="*/ 8449 h 10000"/>
              <a:gd name="connsiteX225" fmla="*/ 4979 w 9938"/>
              <a:gd name="connsiteY225" fmla="*/ 8449 h 10000"/>
              <a:gd name="connsiteX226" fmla="*/ 5061 w 9938"/>
              <a:gd name="connsiteY226" fmla="*/ 8372 h 10000"/>
              <a:gd name="connsiteX227" fmla="*/ 5310 w 9938"/>
              <a:gd name="connsiteY227" fmla="*/ 8605 h 10000"/>
              <a:gd name="connsiteX228" fmla="*/ 5432 w 9938"/>
              <a:gd name="connsiteY228" fmla="*/ 8683 h 10000"/>
              <a:gd name="connsiteX229" fmla="*/ 5597 w 9938"/>
              <a:gd name="connsiteY229" fmla="*/ 8605 h 10000"/>
              <a:gd name="connsiteX230" fmla="*/ 5678 w 9938"/>
              <a:gd name="connsiteY230" fmla="*/ 8449 h 10000"/>
              <a:gd name="connsiteX231" fmla="*/ 5803 w 9938"/>
              <a:gd name="connsiteY231" fmla="*/ 8528 h 10000"/>
              <a:gd name="connsiteX232" fmla="*/ 5884 w 9938"/>
              <a:gd name="connsiteY232" fmla="*/ 8605 h 10000"/>
              <a:gd name="connsiteX233" fmla="*/ 7283 w 9938"/>
              <a:gd name="connsiteY233" fmla="*/ 7675 h 10000"/>
              <a:gd name="connsiteX234" fmla="*/ 7202 w 9938"/>
              <a:gd name="connsiteY234" fmla="*/ 7675 h 10000"/>
              <a:gd name="connsiteX235" fmla="*/ 7160 w 9938"/>
              <a:gd name="connsiteY235" fmla="*/ 7675 h 10000"/>
              <a:gd name="connsiteX236" fmla="*/ 7118 w 9938"/>
              <a:gd name="connsiteY236" fmla="*/ 7598 h 10000"/>
              <a:gd name="connsiteX237" fmla="*/ 7038 w 9938"/>
              <a:gd name="connsiteY237" fmla="*/ 7598 h 10000"/>
              <a:gd name="connsiteX238" fmla="*/ 7038 w 9938"/>
              <a:gd name="connsiteY238" fmla="*/ 7520 h 10000"/>
              <a:gd name="connsiteX239" fmla="*/ 7160 w 9938"/>
              <a:gd name="connsiteY239" fmla="*/ 7287 h 10000"/>
              <a:gd name="connsiteX240" fmla="*/ 7532 w 9938"/>
              <a:gd name="connsiteY240" fmla="*/ 6590 h 10000"/>
              <a:gd name="connsiteX241" fmla="*/ 7696 w 9938"/>
              <a:gd name="connsiteY241" fmla="*/ 6512 h 10000"/>
              <a:gd name="connsiteX242" fmla="*/ 7736 w 9938"/>
              <a:gd name="connsiteY242" fmla="*/ 6590 h 10000"/>
              <a:gd name="connsiteX243" fmla="*/ 7778 w 9938"/>
              <a:gd name="connsiteY243" fmla="*/ 6512 h 10000"/>
              <a:gd name="connsiteX244" fmla="*/ 7900 w 9938"/>
              <a:gd name="connsiteY244" fmla="*/ 6590 h 10000"/>
              <a:gd name="connsiteX245" fmla="*/ 7943 w 9938"/>
              <a:gd name="connsiteY245" fmla="*/ 6434 h 10000"/>
              <a:gd name="connsiteX246" fmla="*/ 8065 w 9938"/>
              <a:gd name="connsiteY246" fmla="*/ 6512 h 10000"/>
              <a:gd name="connsiteX247" fmla="*/ 8106 w 9938"/>
              <a:gd name="connsiteY247" fmla="*/ 6512 h 10000"/>
              <a:gd name="connsiteX248" fmla="*/ 8065 w 9938"/>
              <a:gd name="connsiteY248" fmla="*/ 6590 h 10000"/>
              <a:gd name="connsiteX249" fmla="*/ 8065 w 9938"/>
              <a:gd name="connsiteY249" fmla="*/ 6667 h 10000"/>
              <a:gd name="connsiteX250" fmla="*/ 8313 w 9938"/>
              <a:gd name="connsiteY250" fmla="*/ 6590 h 10000"/>
              <a:gd name="connsiteX251" fmla="*/ 8271 w 9938"/>
              <a:gd name="connsiteY251" fmla="*/ 6512 h 10000"/>
              <a:gd name="connsiteX252" fmla="*/ 8437 w 9938"/>
              <a:gd name="connsiteY252" fmla="*/ 5969 h 10000"/>
              <a:gd name="connsiteX253" fmla="*/ 8641 w 9938"/>
              <a:gd name="connsiteY253" fmla="*/ 5892 h 10000"/>
              <a:gd name="connsiteX254" fmla="*/ 8641 w 9938"/>
              <a:gd name="connsiteY254" fmla="*/ 6047 h 10000"/>
              <a:gd name="connsiteX255" fmla="*/ 8641 w 9938"/>
              <a:gd name="connsiteY255" fmla="*/ 6202 h 10000"/>
              <a:gd name="connsiteX256" fmla="*/ 8847 w 9938"/>
              <a:gd name="connsiteY256" fmla="*/ 5969 h 10000"/>
              <a:gd name="connsiteX257" fmla="*/ 8847 w 9938"/>
              <a:gd name="connsiteY257" fmla="*/ 5737 h 10000"/>
              <a:gd name="connsiteX258" fmla="*/ 8929 w 9938"/>
              <a:gd name="connsiteY258" fmla="*/ 5737 h 10000"/>
              <a:gd name="connsiteX259" fmla="*/ 8887 w 9938"/>
              <a:gd name="connsiteY259" fmla="*/ 5814 h 10000"/>
              <a:gd name="connsiteX260" fmla="*/ 8847 w 9938"/>
              <a:gd name="connsiteY260" fmla="*/ 6202 h 10000"/>
              <a:gd name="connsiteX261" fmla="*/ 8765 w 9938"/>
              <a:gd name="connsiteY261" fmla="*/ 6279 h 10000"/>
              <a:gd name="connsiteX262" fmla="*/ 8847 w 9938"/>
              <a:gd name="connsiteY262" fmla="*/ 6590 h 10000"/>
              <a:gd name="connsiteX263" fmla="*/ 8847 w 9938"/>
              <a:gd name="connsiteY263" fmla="*/ 6434 h 10000"/>
              <a:gd name="connsiteX264" fmla="*/ 8929 w 9938"/>
              <a:gd name="connsiteY264" fmla="*/ 6434 h 10000"/>
              <a:gd name="connsiteX265" fmla="*/ 9053 w 9938"/>
              <a:gd name="connsiteY265" fmla="*/ 6279 h 10000"/>
              <a:gd name="connsiteX266" fmla="*/ 9053 w 9938"/>
              <a:gd name="connsiteY266" fmla="*/ 6434 h 10000"/>
              <a:gd name="connsiteX267" fmla="*/ 9093 w 9938"/>
              <a:gd name="connsiteY267" fmla="*/ 6356 h 10000"/>
              <a:gd name="connsiteX268" fmla="*/ 9219 w 9938"/>
              <a:gd name="connsiteY268" fmla="*/ 6279 h 10000"/>
              <a:gd name="connsiteX269" fmla="*/ 9298 w 9938"/>
              <a:gd name="connsiteY269" fmla="*/ 6434 h 10000"/>
              <a:gd name="connsiteX270" fmla="*/ 9340 w 9938"/>
              <a:gd name="connsiteY270" fmla="*/ 6279 h 10000"/>
              <a:gd name="connsiteX271" fmla="*/ 9755 w 9938"/>
              <a:gd name="connsiteY271" fmla="*/ 5737 h 10000"/>
              <a:gd name="connsiteX272" fmla="*/ 9877 w 9938"/>
              <a:gd name="connsiteY272" fmla="*/ 5814 h 10000"/>
              <a:gd name="connsiteX273" fmla="*/ 9917 w 9938"/>
              <a:gd name="connsiteY273" fmla="*/ 5737 h 10000"/>
              <a:gd name="connsiteX274" fmla="*/ 9835 w 9938"/>
              <a:gd name="connsiteY274" fmla="*/ 5271 h 10000"/>
              <a:gd name="connsiteX275" fmla="*/ 9794 w 9938"/>
              <a:gd name="connsiteY275" fmla="*/ 5271 h 10000"/>
              <a:gd name="connsiteX276" fmla="*/ 9794 w 9938"/>
              <a:gd name="connsiteY276" fmla="*/ 5116 h 10000"/>
              <a:gd name="connsiteX277" fmla="*/ 9835 w 9938"/>
              <a:gd name="connsiteY277" fmla="*/ 5116 h 10000"/>
              <a:gd name="connsiteX278" fmla="*/ 9917 w 9938"/>
              <a:gd name="connsiteY278" fmla="*/ 5039 h 10000"/>
              <a:gd name="connsiteX279" fmla="*/ 9917 w 9938"/>
              <a:gd name="connsiteY279" fmla="*/ 3799 h 10000"/>
              <a:gd name="connsiteX280" fmla="*/ 9670 w 9938"/>
              <a:gd name="connsiteY280" fmla="*/ 3488 h 10000"/>
              <a:gd name="connsiteX281" fmla="*/ 9340 w 9938"/>
              <a:gd name="connsiteY281" fmla="*/ 3411 h 10000"/>
              <a:gd name="connsiteX282" fmla="*/ 9340 w 9938"/>
              <a:gd name="connsiteY282" fmla="*/ 3799 h 10000"/>
              <a:gd name="connsiteX283" fmla="*/ 9260 w 9938"/>
              <a:gd name="connsiteY283" fmla="*/ 3876 h 10000"/>
              <a:gd name="connsiteX284" fmla="*/ 9176 w 9938"/>
              <a:gd name="connsiteY284" fmla="*/ 3721 h 10000"/>
              <a:gd name="connsiteX285" fmla="*/ 9176 w 9938"/>
              <a:gd name="connsiteY285" fmla="*/ 3566 h 10000"/>
              <a:gd name="connsiteX286" fmla="*/ 9219 w 9938"/>
              <a:gd name="connsiteY286" fmla="*/ 3566 h 10000"/>
              <a:gd name="connsiteX287" fmla="*/ 9260 w 9938"/>
              <a:gd name="connsiteY287" fmla="*/ 3488 h 10000"/>
              <a:gd name="connsiteX288" fmla="*/ 9176 w 9938"/>
              <a:gd name="connsiteY288" fmla="*/ 3488 h 10000"/>
              <a:gd name="connsiteX289" fmla="*/ 9093 w 9938"/>
              <a:gd name="connsiteY289" fmla="*/ 3644 h 10000"/>
              <a:gd name="connsiteX290" fmla="*/ 8887 w 9938"/>
              <a:gd name="connsiteY290" fmla="*/ 3566 h 10000"/>
              <a:gd name="connsiteX291" fmla="*/ 8684 w 9938"/>
              <a:gd name="connsiteY291" fmla="*/ 3566 h 10000"/>
              <a:gd name="connsiteX292" fmla="*/ 8600 w 9938"/>
              <a:gd name="connsiteY292" fmla="*/ 3488 h 10000"/>
              <a:gd name="connsiteX293" fmla="*/ 8641 w 9938"/>
              <a:gd name="connsiteY293" fmla="*/ 3333 h 10000"/>
              <a:gd name="connsiteX294" fmla="*/ 8559 w 9938"/>
              <a:gd name="connsiteY294" fmla="*/ 3101 h 10000"/>
              <a:gd name="connsiteX295" fmla="*/ 8393 w 9938"/>
              <a:gd name="connsiteY295" fmla="*/ 3023 h 10000"/>
              <a:gd name="connsiteX296" fmla="*/ 8149 w 9938"/>
              <a:gd name="connsiteY296" fmla="*/ 3178 h 10000"/>
              <a:gd name="connsiteX297" fmla="*/ 8106 w 9938"/>
              <a:gd name="connsiteY297" fmla="*/ 2946 h 10000"/>
              <a:gd name="connsiteX298" fmla="*/ 8024 w 9938"/>
              <a:gd name="connsiteY298" fmla="*/ 2946 h 10000"/>
              <a:gd name="connsiteX299" fmla="*/ 7983 w 9938"/>
              <a:gd name="connsiteY299" fmla="*/ 2868 h 10000"/>
              <a:gd name="connsiteX300" fmla="*/ 7983 w 9938"/>
              <a:gd name="connsiteY300" fmla="*/ 2636 h 10000"/>
              <a:gd name="connsiteX301" fmla="*/ 7696 w 9938"/>
              <a:gd name="connsiteY301" fmla="*/ 2480 h 10000"/>
              <a:gd name="connsiteX302" fmla="*/ 7365 w 9938"/>
              <a:gd name="connsiteY302" fmla="*/ 2325 h 10000"/>
              <a:gd name="connsiteX303" fmla="*/ 7283 w 9938"/>
              <a:gd name="connsiteY303" fmla="*/ 2636 h 10000"/>
              <a:gd name="connsiteX304" fmla="*/ 7365 w 9938"/>
              <a:gd name="connsiteY304" fmla="*/ 2868 h 10000"/>
              <a:gd name="connsiteX305" fmla="*/ 7118 w 9938"/>
              <a:gd name="connsiteY305" fmla="*/ 2868 h 10000"/>
              <a:gd name="connsiteX306" fmla="*/ 7077 w 9938"/>
              <a:gd name="connsiteY306" fmla="*/ 2868 h 10000"/>
              <a:gd name="connsiteX307" fmla="*/ 6995 w 9938"/>
              <a:gd name="connsiteY307" fmla="*/ 2946 h 10000"/>
              <a:gd name="connsiteX308" fmla="*/ 6871 w 9938"/>
              <a:gd name="connsiteY308" fmla="*/ 2714 h 10000"/>
              <a:gd name="connsiteX309" fmla="*/ 6789 w 9938"/>
              <a:gd name="connsiteY309" fmla="*/ 3178 h 10000"/>
              <a:gd name="connsiteX310" fmla="*/ 6708 w 9938"/>
              <a:gd name="connsiteY310" fmla="*/ 3101 h 10000"/>
              <a:gd name="connsiteX311" fmla="*/ 6624 w 9938"/>
              <a:gd name="connsiteY311" fmla="*/ 2791 h 10000"/>
              <a:gd name="connsiteX312" fmla="*/ 6666 w 9938"/>
              <a:gd name="connsiteY312" fmla="*/ 2403 h 10000"/>
              <a:gd name="connsiteX313" fmla="*/ 6585 w 9938"/>
              <a:gd name="connsiteY313" fmla="*/ 2170 h 10000"/>
              <a:gd name="connsiteX314" fmla="*/ 6337 w 9938"/>
              <a:gd name="connsiteY314" fmla="*/ 2016 h 10000"/>
              <a:gd name="connsiteX315" fmla="*/ 6253 w 9938"/>
              <a:gd name="connsiteY315" fmla="*/ 2016 h 10000"/>
              <a:gd name="connsiteX316" fmla="*/ 6213 w 9938"/>
              <a:gd name="connsiteY316" fmla="*/ 2170 h 10000"/>
              <a:gd name="connsiteX317" fmla="*/ 6253 w 9938"/>
              <a:gd name="connsiteY317" fmla="*/ 2325 h 10000"/>
              <a:gd name="connsiteX318" fmla="*/ 5927 w 9938"/>
              <a:gd name="connsiteY318" fmla="*/ 2248 h 10000"/>
              <a:gd name="connsiteX319" fmla="*/ 5966 w 9938"/>
              <a:gd name="connsiteY319" fmla="*/ 2016 h 10000"/>
              <a:gd name="connsiteX320" fmla="*/ 5763 w 9938"/>
              <a:gd name="connsiteY320" fmla="*/ 1938 h 10000"/>
              <a:gd name="connsiteX321" fmla="*/ 5638 w 9938"/>
              <a:gd name="connsiteY321" fmla="*/ 2093 h 10000"/>
              <a:gd name="connsiteX322" fmla="*/ 5393 w 9938"/>
              <a:gd name="connsiteY322" fmla="*/ 1861 h 10000"/>
              <a:gd name="connsiteX0" fmla="*/ 5427 w 9984"/>
              <a:gd name="connsiteY0" fmla="*/ 1861 h 10000"/>
              <a:gd name="connsiteX1" fmla="*/ 5427 w 9984"/>
              <a:gd name="connsiteY1" fmla="*/ 1861 h 10000"/>
              <a:gd name="connsiteX2" fmla="*/ 5382 w 9984"/>
              <a:gd name="connsiteY2" fmla="*/ 1938 h 10000"/>
              <a:gd name="connsiteX3" fmla="*/ 5427 w 9984"/>
              <a:gd name="connsiteY3" fmla="*/ 2093 h 10000"/>
              <a:gd name="connsiteX4" fmla="*/ 5257 w 9984"/>
              <a:gd name="connsiteY4" fmla="*/ 2248 h 10000"/>
              <a:gd name="connsiteX5" fmla="*/ 5215 w 9984"/>
              <a:gd name="connsiteY5" fmla="*/ 2248 h 10000"/>
              <a:gd name="connsiteX6" fmla="*/ 5257 w 9984"/>
              <a:gd name="connsiteY6" fmla="*/ 2016 h 10000"/>
              <a:gd name="connsiteX7" fmla="*/ 5673 w 9984"/>
              <a:gd name="connsiteY7" fmla="*/ 1318 h 10000"/>
              <a:gd name="connsiteX8" fmla="*/ 5673 w 9984"/>
              <a:gd name="connsiteY8" fmla="*/ 853 h 10000"/>
              <a:gd name="connsiteX9" fmla="*/ 5507 w 9984"/>
              <a:gd name="connsiteY9" fmla="*/ 543 h 10000"/>
              <a:gd name="connsiteX10" fmla="*/ 5300 w 9984"/>
              <a:gd name="connsiteY10" fmla="*/ 543 h 10000"/>
              <a:gd name="connsiteX11" fmla="*/ 5300 w 9984"/>
              <a:gd name="connsiteY11" fmla="*/ 698 h 10000"/>
              <a:gd name="connsiteX12" fmla="*/ 5175 w 9984"/>
              <a:gd name="connsiteY12" fmla="*/ 698 h 10000"/>
              <a:gd name="connsiteX13" fmla="*/ 5257 w 9984"/>
              <a:gd name="connsiteY13" fmla="*/ 387 h 10000"/>
              <a:gd name="connsiteX14" fmla="*/ 5051 w 9984"/>
              <a:gd name="connsiteY14" fmla="*/ 310 h 10000"/>
              <a:gd name="connsiteX15" fmla="*/ 5175 w 9984"/>
              <a:gd name="connsiteY15" fmla="*/ 155 h 10000"/>
              <a:gd name="connsiteX16" fmla="*/ 5051 w 9984"/>
              <a:gd name="connsiteY16" fmla="*/ 0 h 10000"/>
              <a:gd name="connsiteX17" fmla="*/ 4844 w 9984"/>
              <a:gd name="connsiteY17" fmla="*/ 387 h 10000"/>
              <a:gd name="connsiteX18" fmla="*/ 4844 w 9984"/>
              <a:gd name="connsiteY18" fmla="*/ 698 h 10000"/>
              <a:gd name="connsiteX19" fmla="*/ 4719 w 9984"/>
              <a:gd name="connsiteY19" fmla="*/ 698 h 10000"/>
              <a:gd name="connsiteX20" fmla="*/ 4349 w 9984"/>
              <a:gd name="connsiteY20" fmla="*/ 853 h 10000"/>
              <a:gd name="connsiteX21" fmla="*/ 4016 w 9984"/>
              <a:gd name="connsiteY21" fmla="*/ 1240 h 10000"/>
              <a:gd name="connsiteX22" fmla="*/ 3892 w 9984"/>
              <a:gd name="connsiteY22" fmla="*/ 1551 h 10000"/>
              <a:gd name="connsiteX23" fmla="*/ 3934 w 9984"/>
              <a:gd name="connsiteY23" fmla="*/ 1938 h 10000"/>
              <a:gd name="connsiteX24" fmla="*/ 3478 w 9984"/>
              <a:gd name="connsiteY24" fmla="*/ 2093 h 10000"/>
              <a:gd name="connsiteX25" fmla="*/ 3519 w 9984"/>
              <a:gd name="connsiteY25" fmla="*/ 2559 h 10000"/>
              <a:gd name="connsiteX26" fmla="*/ 3645 w 9984"/>
              <a:gd name="connsiteY26" fmla="*/ 2791 h 10000"/>
              <a:gd name="connsiteX27" fmla="*/ 3562 w 9984"/>
              <a:gd name="connsiteY27" fmla="*/ 2868 h 10000"/>
              <a:gd name="connsiteX28" fmla="*/ 3437 w 9984"/>
              <a:gd name="connsiteY28" fmla="*/ 2559 h 10000"/>
              <a:gd name="connsiteX29" fmla="*/ 3313 w 9984"/>
              <a:gd name="connsiteY29" fmla="*/ 2480 h 10000"/>
              <a:gd name="connsiteX30" fmla="*/ 3272 w 9984"/>
              <a:gd name="connsiteY30" fmla="*/ 2559 h 10000"/>
              <a:gd name="connsiteX31" fmla="*/ 3188 w 9984"/>
              <a:gd name="connsiteY31" fmla="*/ 2403 h 10000"/>
              <a:gd name="connsiteX32" fmla="*/ 3106 w 9984"/>
              <a:gd name="connsiteY32" fmla="*/ 2248 h 10000"/>
              <a:gd name="connsiteX33" fmla="*/ 3106 w 9984"/>
              <a:gd name="connsiteY33" fmla="*/ 2325 h 10000"/>
              <a:gd name="connsiteX34" fmla="*/ 3148 w 9984"/>
              <a:gd name="connsiteY34" fmla="*/ 2559 h 10000"/>
              <a:gd name="connsiteX35" fmla="*/ 3022 w 9984"/>
              <a:gd name="connsiteY35" fmla="*/ 2946 h 10000"/>
              <a:gd name="connsiteX36" fmla="*/ 3106 w 9984"/>
              <a:gd name="connsiteY36" fmla="*/ 3256 h 10000"/>
              <a:gd name="connsiteX37" fmla="*/ 3063 w 9984"/>
              <a:gd name="connsiteY37" fmla="*/ 3566 h 10000"/>
              <a:gd name="connsiteX38" fmla="*/ 3063 w 9984"/>
              <a:gd name="connsiteY38" fmla="*/ 3799 h 10000"/>
              <a:gd name="connsiteX39" fmla="*/ 3188 w 9984"/>
              <a:gd name="connsiteY39" fmla="*/ 3799 h 10000"/>
              <a:gd name="connsiteX40" fmla="*/ 3106 w 9984"/>
              <a:gd name="connsiteY40" fmla="*/ 3876 h 10000"/>
              <a:gd name="connsiteX41" fmla="*/ 3148 w 9984"/>
              <a:gd name="connsiteY41" fmla="*/ 4263 h 10000"/>
              <a:gd name="connsiteX42" fmla="*/ 2899 w 9984"/>
              <a:gd name="connsiteY42" fmla="*/ 4652 h 10000"/>
              <a:gd name="connsiteX43" fmla="*/ 2857 w 9984"/>
              <a:gd name="connsiteY43" fmla="*/ 4574 h 10000"/>
              <a:gd name="connsiteX44" fmla="*/ 3022 w 9984"/>
              <a:gd name="connsiteY44" fmla="*/ 4186 h 10000"/>
              <a:gd name="connsiteX45" fmla="*/ 3063 w 9984"/>
              <a:gd name="connsiteY45" fmla="*/ 3954 h 10000"/>
              <a:gd name="connsiteX46" fmla="*/ 2978 w 9984"/>
              <a:gd name="connsiteY46" fmla="*/ 3799 h 10000"/>
              <a:gd name="connsiteX47" fmla="*/ 2978 w 9984"/>
              <a:gd name="connsiteY47" fmla="*/ 3023 h 10000"/>
              <a:gd name="connsiteX48" fmla="*/ 2940 w 9984"/>
              <a:gd name="connsiteY48" fmla="*/ 2868 h 10000"/>
              <a:gd name="connsiteX49" fmla="*/ 2978 w 9984"/>
              <a:gd name="connsiteY49" fmla="*/ 2403 h 10000"/>
              <a:gd name="connsiteX50" fmla="*/ 2899 w 9984"/>
              <a:gd name="connsiteY50" fmla="*/ 2325 h 10000"/>
              <a:gd name="connsiteX51" fmla="*/ 2940 w 9984"/>
              <a:gd name="connsiteY51" fmla="*/ 2248 h 10000"/>
              <a:gd name="connsiteX52" fmla="*/ 2899 w 9984"/>
              <a:gd name="connsiteY52" fmla="*/ 2093 h 10000"/>
              <a:gd name="connsiteX53" fmla="*/ 2813 w 9984"/>
              <a:gd name="connsiteY53" fmla="*/ 2170 h 10000"/>
              <a:gd name="connsiteX54" fmla="*/ 2609 w 9984"/>
              <a:gd name="connsiteY54" fmla="*/ 3178 h 10000"/>
              <a:gd name="connsiteX55" fmla="*/ 2609 w 9984"/>
              <a:gd name="connsiteY55" fmla="*/ 3566 h 10000"/>
              <a:gd name="connsiteX56" fmla="*/ 2733 w 9984"/>
              <a:gd name="connsiteY56" fmla="*/ 3876 h 10000"/>
              <a:gd name="connsiteX57" fmla="*/ 2733 w 9984"/>
              <a:gd name="connsiteY57" fmla="*/ 4031 h 10000"/>
              <a:gd name="connsiteX58" fmla="*/ 2609 w 9984"/>
              <a:gd name="connsiteY58" fmla="*/ 3876 h 10000"/>
              <a:gd name="connsiteX59" fmla="*/ 2114 w 9984"/>
              <a:gd name="connsiteY59" fmla="*/ 3256 h 10000"/>
              <a:gd name="connsiteX60" fmla="*/ 2071 w 9984"/>
              <a:gd name="connsiteY60" fmla="*/ 3411 h 10000"/>
              <a:gd name="connsiteX61" fmla="*/ 2236 w 9984"/>
              <a:gd name="connsiteY61" fmla="*/ 3799 h 10000"/>
              <a:gd name="connsiteX62" fmla="*/ 2154 w 9984"/>
              <a:gd name="connsiteY62" fmla="*/ 3876 h 10000"/>
              <a:gd name="connsiteX63" fmla="*/ 2114 w 9984"/>
              <a:gd name="connsiteY63" fmla="*/ 3799 h 10000"/>
              <a:gd name="connsiteX64" fmla="*/ 1864 w 9984"/>
              <a:gd name="connsiteY64" fmla="*/ 3954 h 10000"/>
              <a:gd name="connsiteX65" fmla="*/ 1822 w 9984"/>
              <a:gd name="connsiteY65" fmla="*/ 4109 h 10000"/>
              <a:gd name="connsiteX66" fmla="*/ 1780 w 9984"/>
              <a:gd name="connsiteY66" fmla="*/ 3954 h 10000"/>
              <a:gd name="connsiteX67" fmla="*/ 1780 w 9984"/>
              <a:gd name="connsiteY67" fmla="*/ 3799 h 10000"/>
              <a:gd name="connsiteX68" fmla="*/ 1365 w 9984"/>
              <a:gd name="connsiteY68" fmla="*/ 4263 h 10000"/>
              <a:gd name="connsiteX69" fmla="*/ 1365 w 9984"/>
              <a:gd name="connsiteY69" fmla="*/ 4418 h 10000"/>
              <a:gd name="connsiteX70" fmla="*/ 1284 w 9984"/>
              <a:gd name="connsiteY70" fmla="*/ 4496 h 10000"/>
              <a:gd name="connsiteX71" fmla="*/ 1159 w 9984"/>
              <a:gd name="connsiteY71" fmla="*/ 4341 h 10000"/>
              <a:gd name="connsiteX72" fmla="*/ 1284 w 9984"/>
              <a:gd name="connsiteY72" fmla="*/ 4186 h 10000"/>
              <a:gd name="connsiteX73" fmla="*/ 1243 w 9984"/>
              <a:gd name="connsiteY73" fmla="*/ 3954 h 10000"/>
              <a:gd name="connsiteX74" fmla="*/ 1077 w 9984"/>
              <a:gd name="connsiteY74" fmla="*/ 3876 h 10000"/>
              <a:gd name="connsiteX75" fmla="*/ 1119 w 9984"/>
              <a:gd name="connsiteY75" fmla="*/ 4031 h 10000"/>
              <a:gd name="connsiteX76" fmla="*/ 1119 w 9984"/>
              <a:gd name="connsiteY76" fmla="*/ 4418 h 10000"/>
              <a:gd name="connsiteX77" fmla="*/ 1159 w 9984"/>
              <a:gd name="connsiteY77" fmla="*/ 4574 h 10000"/>
              <a:gd name="connsiteX78" fmla="*/ 1119 w 9984"/>
              <a:gd name="connsiteY78" fmla="*/ 4729 h 10000"/>
              <a:gd name="connsiteX79" fmla="*/ 993 w 9984"/>
              <a:gd name="connsiteY79" fmla="*/ 4652 h 10000"/>
              <a:gd name="connsiteX80" fmla="*/ 828 w 9984"/>
              <a:gd name="connsiteY80" fmla="*/ 4884 h 10000"/>
              <a:gd name="connsiteX81" fmla="*/ 911 w 9984"/>
              <a:gd name="connsiteY81" fmla="*/ 5194 h 10000"/>
              <a:gd name="connsiteX82" fmla="*/ 662 w 9984"/>
              <a:gd name="connsiteY82" fmla="*/ 5039 h 10000"/>
              <a:gd name="connsiteX83" fmla="*/ 621 w 9984"/>
              <a:gd name="connsiteY83" fmla="*/ 5116 h 10000"/>
              <a:gd name="connsiteX84" fmla="*/ 705 w 9984"/>
              <a:gd name="connsiteY84" fmla="*/ 5349 h 10000"/>
              <a:gd name="connsiteX85" fmla="*/ 621 w 9984"/>
              <a:gd name="connsiteY85" fmla="*/ 5349 h 10000"/>
              <a:gd name="connsiteX86" fmla="*/ 498 w 9984"/>
              <a:gd name="connsiteY86" fmla="*/ 5194 h 10000"/>
              <a:gd name="connsiteX87" fmla="*/ 498 w 9984"/>
              <a:gd name="connsiteY87" fmla="*/ 4729 h 10000"/>
              <a:gd name="connsiteX88" fmla="*/ 373 w 9984"/>
              <a:gd name="connsiteY88" fmla="*/ 4574 h 10000"/>
              <a:gd name="connsiteX89" fmla="*/ 331 w 9984"/>
              <a:gd name="connsiteY89" fmla="*/ 4418 h 10000"/>
              <a:gd name="connsiteX90" fmla="*/ 414 w 9984"/>
              <a:gd name="connsiteY90" fmla="*/ 4496 h 10000"/>
              <a:gd name="connsiteX91" fmla="*/ 745 w 9984"/>
              <a:gd name="connsiteY91" fmla="*/ 4729 h 10000"/>
              <a:gd name="connsiteX92" fmla="*/ 952 w 9984"/>
              <a:gd name="connsiteY92" fmla="*/ 4496 h 10000"/>
              <a:gd name="connsiteX93" fmla="*/ 911 w 9984"/>
              <a:gd name="connsiteY93" fmla="*/ 4263 h 10000"/>
              <a:gd name="connsiteX94" fmla="*/ 662 w 9984"/>
              <a:gd name="connsiteY94" fmla="*/ 3799 h 10000"/>
              <a:gd name="connsiteX95" fmla="*/ 414 w 9984"/>
              <a:gd name="connsiteY95" fmla="*/ 3644 h 10000"/>
              <a:gd name="connsiteX96" fmla="*/ 414 w 9984"/>
              <a:gd name="connsiteY96" fmla="*/ 3566 h 10000"/>
              <a:gd name="connsiteX97" fmla="*/ 331 w 9984"/>
              <a:gd name="connsiteY97" fmla="*/ 3488 h 10000"/>
              <a:gd name="connsiteX98" fmla="*/ 248 w 9984"/>
              <a:gd name="connsiteY98" fmla="*/ 3566 h 10000"/>
              <a:gd name="connsiteX99" fmla="*/ 248 w 9984"/>
              <a:gd name="connsiteY99" fmla="*/ 3644 h 10000"/>
              <a:gd name="connsiteX100" fmla="*/ 208 w 9984"/>
              <a:gd name="connsiteY100" fmla="*/ 3644 h 10000"/>
              <a:gd name="connsiteX101" fmla="*/ 124 w 9984"/>
              <a:gd name="connsiteY101" fmla="*/ 3799 h 10000"/>
              <a:gd name="connsiteX102" fmla="*/ 124 w 9984"/>
              <a:gd name="connsiteY102" fmla="*/ 4031 h 10000"/>
              <a:gd name="connsiteX103" fmla="*/ 208 w 9984"/>
              <a:gd name="connsiteY103" fmla="*/ 4186 h 10000"/>
              <a:gd name="connsiteX104" fmla="*/ 165 w 9984"/>
              <a:gd name="connsiteY104" fmla="*/ 4418 h 10000"/>
              <a:gd name="connsiteX105" fmla="*/ 208 w 9984"/>
              <a:gd name="connsiteY105" fmla="*/ 4807 h 10000"/>
              <a:gd name="connsiteX106" fmla="*/ 165 w 9984"/>
              <a:gd name="connsiteY106" fmla="*/ 5039 h 10000"/>
              <a:gd name="connsiteX107" fmla="*/ 248 w 9984"/>
              <a:gd name="connsiteY107" fmla="*/ 5271 h 10000"/>
              <a:gd name="connsiteX108" fmla="*/ 208 w 9984"/>
              <a:gd name="connsiteY108" fmla="*/ 5426 h 10000"/>
              <a:gd name="connsiteX109" fmla="*/ 290 w 9984"/>
              <a:gd name="connsiteY109" fmla="*/ 5582 h 10000"/>
              <a:gd name="connsiteX110" fmla="*/ 290 w 9984"/>
              <a:gd name="connsiteY110" fmla="*/ 5659 h 10000"/>
              <a:gd name="connsiteX111" fmla="*/ 165 w 9984"/>
              <a:gd name="connsiteY111" fmla="*/ 6047 h 10000"/>
              <a:gd name="connsiteX112" fmla="*/ 40 w 9984"/>
              <a:gd name="connsiteY112" fmla="*/ 6202 h 10000"/>
              <a:gd name="connsiteX113" fmla="*/ 83 w 9984"/>
              <a:gd name="connsiteY113" fmla="*/ 6202 h 10000"/>
              <a:gd name="connsiteX114" fmla="*/ 165 w 9984"/>
              <a:gd name="connsiteY114" fmla="*/ 6356 h 10000"/>
              <a:gd name="connsiteX115" fmla="*/ 83 w 9984"/>
              <a:gd name="connsiteY115" fmla="*/ 6512 h 10000"/>
              <a:gd name="connsiteX116" fmla="*/ 40 w 9984"/>
              <a:gd name="connsiteY116" fmla="*/ 6590 h 10000"/>
              <a:gd name="connsiteX117" fmla="*/ 0 w 9984"/>
              <a:gd name="connsiteY117" fmla="*/ 6590 h 10000"/>
              <a:gd name="connsiteX118" fmla="*/ 40 w 9984"/>
              <a:gd name="connsiteY118" fmla="*/ 6822 h 10000"/>
              <a:gd name="connsiteX119" fmla="*/ 40 w 9984"/>
              <a:gd name="connsiteY119" fmla="*/ 6900 h 10000"/>
              <a:gd name="connsiteX120" fmla="*/ 40 w 9984"/>
              <a:gd name="connsiteY120" fmla="*/ 6977 h 10000"/>
              <a:gd name="connsiteX121" fmla="*/ 40 w 9984"/>
              <a:gd name="connsiteY121" fmla="*/ 7054 h 10000"/>
              <a:gd name="connsiteX122" fmla="*/ 83 w 9984"/>
              <a:gd name="connsiteY122" fmla="*/ 7209 h 10000"/>
              <a:gd name="connsiteX123" fmla="*/ 208 w 9984"/>
              <a:gd name="connsiteY123" fmla="*/ 7287 h 10000"/>
              <a:gd name="connsiteX124" fmla="*/ 248 w 9984"/>
              <a:gd name="connsiteY124" fmla="*/ 7364 h 10000"/>
              <a:gd name="connsiteX125" fmla="*/ 248 w 9984"/>
              <a:gd name="connsiteY125" fmla="*/ 7520 h 10000"/>
              <a:gd name="connsiteX126" fmla="*/ 331 w 9984"/>
              <a:gd name="connsiteY126" fmla="*/ 7752 h 10000"/>
              <a:gd name="connsiteX127" fmla="*/ 373 w 9984"/>
              <a:gd name="connsiteY127" fmla="*/ 7752 h 10000"/>
              <a:gd name="connsiteX128" fmla="*/ 331 w 9984"/>
              <a:gd name="connsiteY128" fmla="*/ 7907 h 10000"/>
              <a:gd name="connsiteX129" fmla="*/ 290 w 9984"/>
              <a:gd name="connsiteY129" fmla="*/ 7830 h 10000"/>
              <a:gd name="connsiteX130" fmla="*/ 290 w 9984"/>
              <a:gd name="connsiteY130" fmla="*/ 7907 h 10000"/>
              <a:gd name="connsiteX131" fmla="*/ 331 w 9984"/>
              <a:gd name="connsiteY131" fmla="*/ 8062 h 10000"/>
              <a:gd name="connsiteX132" fmla="*/ 456 w 9984"/>
              <a:gd name="connsiteY132" fmla="*/ 8062 h 10000"/>
              <a:gd name="connsiteX133" fmla="*/ 498 w 9984"/>
              <a:gd name="connsiteY133" fmla="*/ 8140 h 10000"/>
              <a:gd name="connsiteX134" fmla="*/ 456 w 9984"/>
              <a:gd name="connsiteY134" fmla="*/ 8140 h 10000"/>
              <a:gd name="connsiteX135" fmla="*/ 498 w 9984"/>
              <a:gd name="connsiteY135" fmla="*/ 8217 h 10000"/>
              <a:gd name="connsiteX136" fmla="*/ 537 w 9984"/>
              <a:gd name="connsiteY136" fmla="*/ 8217 h 10000"/>
              <a:gd name="connsiteX137" fmla="*/ 579 w 9984"/>
              <a:gd name="connsiteY137" fmla="*/ 8372 h 10000"/>
              <a:gd name="connsiteX138" fmla="*/ 621 w 9984"/>
              <a:gd name="connsiteY138" fmla="*/ 8449 h 10000"/>
              <a:gd name="connsiteX139" fmla="*/ 662 w 9984"/>
              <a:gd name="connsiteY139" fmla="*/ 8372 h 10000"/>
              <a:gd name="connsiteX140" fmla="*/ 871 w 9984"/>
              <a:gd name="connsiteY140" fmla="*/ 8605 h 10000"/>
              <a:gd name="connsiteX141" fmla="*/ 828 w 9984"/>
              <a:gd name="connsiteY141" fmla="*/ 8915 h 10000"/>
              <a:gd name="connsiteX142" fmla="*/ 785 w 9984"/>
              <a:gd name="connsiteY142" fmla="*/ 8838 h 10000"/>
              <a:gd name="connsiteX143" fmla="*/ 745 w 9984"/>
              <a:gd name="connsiteY143" fmla="*/ 8915 h 10000"/>
              <a:gd name="connsiteX144" fmla="*/ 745 w 9984"/>
              <a:gd name="connsiteY144" fmla="*/ 9070 h 10000"/>
              <a:gd name="connsiteX145" fmla="*/ 785 w 9984"/>
              <a:gd name="connsiteY145" fmla="*/ 8993 h 10000"/>
              <a:gd name="connsiteX146" fmla="*/ 828 w 9984"/>
              <a:gd name="connsiteY146" fmla="*/ 9070 h 10000"/>
              <a:gd name="connsiteX147" fmla="*/ 705 w 9984"/>
              <a:gd name="connsiteY147" fmla="*/ 9147 h 10000"/>
              <a:gd name="connsiteX148" fmla="*/ 745 w 9984"/>
              <a:gd name="connsiteY148" fmla="*/ 9225 h 10000"/>
              <a:gd name="connsiteX149" fmla="*/ 662 w 9984"/>
              <a:gd name="connsiteY149" fmla="*/ 9380 h 10000"/>
              <a:gd name="connsiteX150" fmla="*/ 621 w 9984"/>
              <a:gd name="connsiteY150" fmla="*/ 9380 h 10000"/>
              <a:gd name="connsiteX151" fmla="*/ 662 w 9984"/>
              <a:gd name="connsiteY151" fmla="*/ 9380 h 10000"/>
              <a:gd name="connsiteX152" fmla="*/ 828 w 9984"/>
              <a:gd name="connsiteY152" fmla="*/ 9691 h 10000"/>
              <a:gd name="connsiteX153" fmla="*/ 1035 w 9984"/>
              <a:gd name="connsiteY153" fmla="*/ 9691 h 10000"/>
              <a:gd name="connsiteX154" fmla="*/ 1119 w 9984"/>
              <a:gd name="connsiteY154" fmla="*/ 9768 h 10000"/>
              <a:gd name="connsiteX155" fmla="*/ 1200 w 9984"/>
              <a:gd name="connsiteY155" fmla="*/ 9768 h 10000"/>
              <a:gd name="connsiteX156" fmla="*/ 1284 w 9984"/>
              <a:gd name="connsiteY156" fmla="*/ 9923 h 10000"/>
              <a:gd name="connsiteX157" fmla="*/ 1325 w 9984"/>
              <a:gd name="connsiteY157" fmla="*/ 10000 h 10000"/>
              <a:gd name="connsiteX158" fmla="*/ 1365 w 9984"/>
              <a:gd name="connsiteY158" fmla="*/ 10000 h 10000"/>
              <a:gd name="connsiteX159" fmla="*/ 1409 w 9984"/>
              <a:gd name="connsiteY159" fmla="*/ 9923 h 10000"/>
              <a:gd name="connsiteX160" fmla="*/ 1325 w 9984"/>
              <a:gd name="connsiteY160" fmla="*/ 9768 h 10000"/>
              <a:gd name="connsiteX161" fmla="*/ 1325 w 9984"/>
              <a:gd name="connsiteY161" fmla="*/ 9613 h 10000"/>
              <a:gd name="connsiteX162" fmla="*/ 1284 w 9984"/>
              <a:gd name="connsiteY162" fmla="*/ 9457 h 10000"/>
              <a:gd name="connsiteX163" fmla="*/ 1365 w 9984"/>
              <a:gd name="connsiteY163" fmla="*/ 9225 h 10000"/>
              <a:gd name="connsiteX164" fmla="*/ 1409 w 9984"/>
              <a:gd name="connsiteY164" fmla="*/ 9302 h 10000"/>
              <a:gd name="connsiteX165" fmla="*/ 1450 w 9984"/>
              <a:gd name="connsiteY165" fmla="*/ 9225 h 10000"/>
              <a:gd name="connsiteX166" fmla="*/ 1450 w 9984"/>
              <a:gd name="connsiteY166" fmla="*/ 9147 h 10000"/>
              <a:gd name="connsiteX167" fmla="*/ 1409 w 9984"/>
              <a:gd name="connsiteY167" fmla="*/ 9147 h 10000"/>
              <a:gd name="connsiteX168" fmla="*/ 1450 w 9984"/>
              <a:gd name="connsiteY168" fmla="*/ 9070 h 10000"/>
              <a:gd name="connsiteX169" fmla="*/ 1409 w 9984"/>
              <a:gd name="connsiteY169" fmla="*/ 8915 h 10000"/>
              <a:gd name="connsiteX170" fmla="*/ 1325 w 9984"/>
              <a:gd name="connsiteY170" fmla="*/ 8915 h 10000"/>
              <a:gd name="connsiteX171" fmla="*/ 1284 w 9984"/>
              <a:gd name="connsiteY171" fmla="*/ 8760 h 10000"/>
              <a:gd name="connsiteX172" fmla="*/ 1325 w 9984"/>
              <a:gd name="connsiteY172" fmla="*/ 8372 h 10000"/>
              <a:gd name="connsiteX173" fmla="*/ 1409 w 9984"/>
              <a:gd name="connsiteY173" fmla="*/ 8528 h 10000"/>
              <a:gd name="connsiteX174" fmla="*/ 1450 w 9984"/>
              <a:gd name="connsiteY174" fmla="*/ 8528 h 10000"/>
              <a:gd name="connsiteX175" fmla="*/ 1409 w 9984"/>
              <a:gd name="connsiteY175" fmla="*/ 8372 h 10000"/>
              <a:gd name="connsiteX176" fmla="*/ 1533 w 9984"/>
              <a:gd name="connsiteY176" fmla="*/ 8140 h 10000"/>
              <a:gd name="connsiteX177" fmla="*/ 1616 w 9984"/>
              <a:gd name="connsiteY177" fmla="*/ 8217 h 10000"/>
              <a:gd name="connsiteX178" fmla="*/ 1656 w 9984"/>
              <a:gd name="connsiteY178" fmla="*/ 8140 h 10000"/>
              <a:gd name="connsiteX179" fmla="*/ 1739 w 9984"/>
              <a:gd name="connsiteY179" fmla="*/ 8217 h 10000"/>
              <a:gd name="connsiteX180" fmla="*/ 1864 w 9984"/>
              <a:gd name="connsiteY180" fmla="*/ 8372 h 10000"/>
              <a:gd name="connsiteX181" fmla="*/ 1947 w 9984"/>
              <a:gd name="connsiteY181" fmla="*/ 8295 h 10000"/>
              <a:gd name="connsiteX182" fmla="*/ 2029 w 9984"/>
              <a:gd name="connsiteY182" fmla="*/ 8295 h 10000"/>
              <a:gd name="connsiteX183" fmla="*/ 2071 w 9984"/>
              <a:gd name="connsiteY183" fmla="*/ 8372 h 10000"/>
              <a:gd name="connsiteX184" fmla="*/ 2236 w 9984"/>
              <a:gd name="connsiteY184" fmla="*/ 8372 h 10000"/>
              <a:gd name="connsiteX185" fmla="*/ 2276 w 9984"/>
              <a:gd name="connsiteY185" fmla="*/ 8217 h 10000"/>
              <a:gd name="connsiteX186" fmla="*/ 2154 w 9984"/>
              <a:gd name="connsiteY186" fmla="*/ 8140 h 10000"/>
              <a:gd name="connsiteX187" fmla="*/ 2236 w 9984"/>
              <a:gd name="connsiteY187" fmla="*/ 8062 h 10000"/>
              <a:gd name="connsiteX188" fmla="*/ 2194 w 9984"/>
              <a:gd name="connsiteY188" fmla="*/ 7985 h 10000"/>
              <a:gd name="connsiteX189" fmla="*/ 2236 w 9984"/>
              <a:gd name="connsiteY189" fmla="*/ 7907 h 10000"/>
              <a:gd name="connsiteX190" fmla="*/ 2236 w 9984"/>
              <a:gd name="connsiteY190" fmla="*/ 7675 h 10000"/>
              <a:gd name="connsiteX191" fmla="*/ 2318 w 9984"/>
              <a:gd name="connsiteY191" fmla="*/ 7752 h 10000"/>
              <a:gd name="connsiteX192" fmla="*/ 2692 w 9984"/>
              <a:gd name="connsiteY192" fmla="*/ 7520 h 10000"/>
              <a:gd name="connsiteX193" fmla="*/ 2692 w 9984"/>
              <a:gd name="connsiteY193" fmla="*/ 7442 h 10000"/>
              <a:gd name="connsiteX194" fmla="*/ 2733 w 9984"/>
              <a:gd name="connsiteY194" fmla="*/ 7442 h 10000"/>
              <a:gd name="connsiteX195" fmla="*/ 2857 w 9984"/>
              <a:gd name="connsiteY195" fmla="*/ 7442 h 10000"/>
              <a:gd name="connsiteX196" fmla="*/ 2899 w 9984"/>
              <a:gd name="connsiteY196" fmla="*/ 7598 h 10000"/>
              <a:gd name="connsiteX197" fmla="*/ 2899 w 9984"/>
              <a:gd name="connsiteY197" fmla="*/ 7675 h 10000"/>
              <a:gd name="connsiteX198" fmla="*/ 2940 w 9984"/>
              <a:gd name="connsiteY198" fmla="*/ 7675 h 10000"/>
              <a:gd name="connsiteX199" fmla="*/ 3022 w 9984"/>
              <a:gd name="connsiteY199" fmla="*/ 7752 h 10000"/>
              <a:gd name="connsiteX200" fmla="*/ 3022 w 9984"/>
              <a:gd name="connsiteY200" fmla="*/ 7830 h 10000"/>
              <a:gd name="connsiteX201" fmla="*/ 3106 w 9984"/>
              <a:gd name="connsiteY201" fmla="*/ 7830 h 10000"/>
              <a:gd name="connsiteX202" fmla="*/ 3188 w 9984"/>
              <a:gd name="connsiteY202" fmla="*/ 7675 h 10000"/>
              <a:gd name="connsiteX203" fmla="*/ 3272 w 9984"/>
              <a:gd name="connsiteY203" fmla="*/ 7598 h 10000"/>
              <a:gd name="connsiteX204" fmla="*/ 3313 w 9984"/>
              <a:gd name="connsiteY204" fmla="*/ 7830 h 10000"/>
              <a:gd name="connsiteX205" fmla="*/ 3478 w 9984"/>
              <a:gd name="connsiteY205" fmla="*/ 8372 h 10000"/>
              <a:gd name="connsiteX206" fmla="*/ 3519 w 9984"/>
              <a:gd name="connsiteY206" fmla="*/ 8217 h 10000"/>
              <a:gd name="connsiteX207" fmla="*/ 3562 w 9984"/>
              <a:gd name="connsiteY207" fmla="*/ 8372 h 10000"/>
              <a:gd name="connsiteX208" fmla="*/ 3687 w 9984"/>
              <a:gd name="connsiteY208" fmla="*/ 8295 h 10000"/>
              <a:gd name="connsiteX209" fmla="*/ 3811 w 9984"/>
              <a:gd name="connsiteY209" fmla="*/ 8528 h 10000"/>
              <a:gd name="connsiteX210" fmla="*/ 3892 w 9984"/>
              <a:gd name="connsiteY210" fmla="*/ 8605 h 10000"/>
              <a:gd name="connsiteX211" fmla="*/ 3892 w 9984"/>
              <a:gd name="connsiteY211" fmla="*/ 8528 h 10000"/>
              <a:gd name="connsiteX212" fmla="*/ 3934 w 9984"/>
              <a:gd name="connsiteY212" fmla="*/ 8683 h 10000"/>
              <a:gd name="connsiteX213" fmla="*/ 3892 w 9984"/>
              <a:gd name="connsiteY213" fmla="*/ 8760 h 10000"/>
              <a:gd name="connsiteX214" fmla="*/ 3976 w 9984"/>
              <a:gd name="connsiteY214" fmla="*/ 8683 h 10000"/>
              <a:gd name="connsiteX215" fmla="*/ 4016 w 9984"/>
              <a:gd name="connsiteY215" fmla="*/ 8605 h 10000"/>
              <a:gd name="connsiteX216" fmla="*/ 4224 w 9984"/>
              <a:gd name="connsiteY216" fmla="*/ 8372 h 10000"/>
              <a:gd name="connsiteX217" fmla="*/ 4389 w 9984"/>
              <a:gd name="connsiteY217" fmla="*/ 8449 h 10000"/>
              <a:gd name="connsiteX218" fmla="*/ 4472 w 9984"/>
              <a:gd name="connsiteY218" fmla="*/ 8528 h 10000"/>
              <a:gd name="connsiteX219" fmla="*/ 4636 w 9984"/>
              <a:gd name="connsiteY219" fmla="*/ 8528 h 10000"/>
              <a:gd name="connsiteX220" fmla="*/ 4636 w 9984"/>
              <a:gd name="connsiteY220" fmla="*/ 8372 h 10000"/>
              <a:gd name="connsiteX221" fmla="*/ 4636 w 9984"/>
              <a:gd name="connsiteY221" fmla="*/ 8217 h 10000"/>
              <a:gd name="connsiteX222" fmla="*/ 4719 w 9984"/>
              <a:gd name="connsiteY222" fmla="*/ 8140 h 10000"/>
              <a:gd name="connsiteX223" fmla="*/ 4885 w 9984"/>
              <a:gd name="connsiteY223" fmla="*/ 8217 h 10000"/>
              <a:gd name="connsiteX224" fmla="*/ 4968 w 9984"/>
              <a:gd name="connsiteY224" fmla="*/ 8449 h 10000"/>
              <a:gd name="connsiteX225" fmla="*/ 5010 w 9984"/>
              <a:gd name="connsiteY225" fmla="*/ 8449 h 10000"/>
              <a:gd name="connsiteX226" fmla="*/ 5093 w 9984"/>
              <a:gd name="connsiteY226" fmla="*/ 8372 h 10000"/>
              <a:gd name="connsiteX227" fmla="*/ 5343 w 9984"/>
              <a:gd name="connsiteY227" fmla="*/ 8605 h 10000"/>
              <a:gd name="connsiteX228" fmla="*/ 5466 w 9984"/>
              <a:gd name="connsiteY228" fmla="*/ 8683 h 10000"/>
              <a:gd name="connsiteX229" fmla="*/ 5632 w 9984"/>
              <a:gd name="connsiteY229" fmla="*/ 8605 h 10000"/>
              <a:gd name="connsiteX230" fmla="*/ 5713 w 9984"/>
              <a:gd name="connsiteY230" fmla="*/ 8449 h 10000"/>
              <a:gd name="connsiteX231" fmla="*/ 5839 w 9984"/>
              <a:gd name="connsiteY231" fmla="*/ 8528 h 10000"/>
              <a:gd name="connsiteX232" fmla="*/ 5921 w 9984"/>
              <a:gd name="connsiteY232" fmla="*/ 8605 h 10000"/>
              <a:gd name="connsiteX233" fmla="*/ 7328 w 9984"/>
              <a:gd name="connsiteY233" fmla="*/ 7675 h 10000"/>
              <a:gd name="connsiteX234" fmla="*/ 7247 w 9984"/>
              <a:gd name="connsiteY234" fmla="*/ 7675 h 10000"/>
              <a:gd name="connsiteX235" fmla="*/ 7205 w 9984"/>
              <a:gd name="connsiteY235" fmla="*/ 7675 h 10000"/>
              <a:gd name="connsiteX236" fmla="*/ 7162 w 9984"/>
              <a:gd name="connsiteY236" fmla="*/ 7598 h 10000"/>
              <a:gd name="connsiteX237" fmla="*/ 7082 w 9984"/>
              <a:gd name="connsiteY237" fmla="*/ 7598 h 10000"/>
              <a:gd name="connsiteX238" fmla="*/ 7082 w 9984"/>
              <a:gd name="connsiteY238" fmla="*/ 7520 h 10000"/>
              <a:gd name="connsiteX239" fmla="*/ 7205 w 9984"/>
              <a:gd name="connsiteY239" fmla="*/ 7287 h 10000"/>
              <a:gd name="connsiteX240" fmla="*/ 7579 w 9984"/>
              <a:gd name="connsiteY240" fmla="*/ 6590 h 10000"/>
              <a:gd name="connsiteX241" fmla="*/ 7744 w 9984"/>
              <a:gd name="connsiteY241" fmla="*/ 6512 h 10000"/>
              <a:gd name="connsiteX242" fmla="*/ 7784 w 9984"/>
              <a:gd name="connsiteY242" fmla="*/ 6590 h 10000"/>
              <a:gd name="connsiteX243" fmla="*/ 7827 w 9984"/>
              <a:gd name="connsiteY243" fmla="*/ 6512 h 10000"/>
              <a:gd name="connsiteX244" fmla="*/ 7949 w 9984"/>
              <a:gd name="connsiteY244" fmla="*/ 6590 h 10000"/>
              <a:gd name="connsiteX245" fmla="*/ 7993 w 9984"/>
              <a:gd name="connsiteY245" fmla="*/ 6434 h 10000"/>
              <a:gd name="connsiteX246" fmla="*/ 8115 w 9984"/>
              <a:gd name="connsiteY246" fmla="*/ 6512 h 10000"/>
              <a:gd name="connsiteX247" fmla="*/ 8157 w 9984"/>
              <a:gd name="connsiteY247" fmla="*/ 6512 h 10000"/>
              <a:gd name="connsiteX248" fmla="*/ 8115 w 9984"/>
              <a:gd name="connsiteY248" fmla="*/ 6590 h 10000"/>
              <a:gd name="connsiteX249" fmla="*/ 8115 w 9984"/>
              <a:gd name="connsiteY249" fmla="*/ 6667 h 10000"/>
              <a:gd name="connsiteX250" fmla="*/ 8365 w 9984"/>
              <a:gd name="connsiteY250" fmla="*/ 6590 h 10000"/>
              <a:gd name="connsiteX251" fmla="*/ 8323 w 9984"/>
              <a:gd name="connsiteY251" fmla="*/ 6512 h 10000"/>
              <a:gd name="connsiteX252" fmla="*/ 8490 w 9984"/>
              <a:gd name="connsiteY252" fmla="*/ 5969 h 10000"/>
              <a:gd name="connsiteX253" fmla="*/ 8695 w 9984"/>
              <a:gd name="connsiteY253" fmla="*/ 5892 h 10000"/>
              <a:gd name="connsiteX254" fmla="*/ 8695 w 9984"/>
              <a:gd name="connsiteY254" fmla="*/ 6047 h 10000"/>
              <a:gd name="connsiteX255" fmla="*/ 8695 w 9984"/>
              <a:gd name="connsiteY255" fmla="*/ 6202 h 10000"/>
              <a:gd name="connsiteX256" fmla="*/ 8902 w 9984"/>
              <a:gd name="connsiteY256" fmla="*/ 5969 h 10000"/>
              <a:gd name="connsiteX257" fmla="*/ 8902 w 9984"/>
              <a:gd name="connsiteY257" fmla="*/ 5737 h 10000"/>
              <a:gd name="connsiteX258" fmla="*/ 8985 w 9984"/>
              <a:gd name="connsiteY258" fmla="*/ 5737 h 10000"/>
              <a:gd name="connsiteX259" fmla="*/ 8942 w 9984"/>
              <a:gd name="connsiteY259" fmla="*/ 5814 h 10000"/>
              <a:gd name="connsiteX260" fmla="*/ 8902 w 9984"/>
              <a:gd name="connsiteY260" fmla="*/ 6202 h 10000"/>
              <a:gd name="connsiteX261" fmla="*/ 8820 w 9984"/>
              <a:gd name="connsiteY261" fmla="*/ 6279 h 10000"/>
              <a:gd name="connsiteX262" fmla="*/ 8902 w 9984"/>
              <a:gd name="connsiteY262" fmla="*/ 6590 h 10000"/>
              <a:gd name="connsiteX263" fmla="*/ 8902 w 9984"/>
              <a:gd name="connsiteY263" fmla="*/ 6434 h 10000"/>
              <a:gd name="connsiteX264" fmla="*/ 8985 w 9984"/>
              <a:gd name="connsiteY264" fmla="*/ 6434 h 10000"/>
              <a:gd name="connsiteX265" fmla="*/ 9109 w 9984"/>
              <a:gd name="connsiteY265" fmla="*/ 6279 h 10000"/>
              <a:gd name="connsiteX266" fmla="*/ 9109 w 9984"/>
              <a:gd name="connsiteY266" fmla="*/ 6434 h 10000"/>
              <a:gd name="connsiteX267" fmla="*/ 9150 w 9984"/>
              <a:gd name="connsiteY267" fmla="*/ 6356 h 10000"/>
              <a:gd name="connsiteX268" fmla="*/ 9277 w 9984"/>
              <a:gd name="connsiteY268" fmla="*/ 6279 h 10000"/>
              <a:gd name="connsiteX269" fmla="*/ 9356 w 9984"/>
              <a:gd name="connsiteY269" fmla="*/ 6434 h 10000"/>
              <a:gd name="connsiteX270" fmla="*/ 9398 w 9984"/>
              <a:gd name="connsiteY270" fmla="*/ 6279 h 10000"/>
              <a:gd name="connsiteX271" fmla="*/ 9816 w 9984"/>
              <a:gd name="connsiteY271" fmla="*/ 5737 h 10000"/>
              <a:gd name="connsiteX272" fmla="*/ 9939 w 9984"/>
              <a:gd name="connsiteY272" fmla="*/ 5814 h 10000"/>
              <a:gd name="connsiteX273" fmla="*/ 9979 w 9984"/>
              <a:gd name="connsiteY273" fmla="*/ 5737 h 10000"/>
              <a:gd name="connsiteX274" fmla="*/ 9896 w 9984"/>
              <a:gd name="connsiteY274" fmla="*/ 5271 h 10000"/>
              <a:gd name="connsiteX275" fmla="*/ 9855 w 9984"/>
              <a:gd name="connsiteY275" fmla="*/ 5271 h 10000"/>
              <a:gd name="connsiteX276" fmla="*/ 9855 w 9984"/>
              <a:gd name="connsiteY276" fmla="*/ 5116 h 10000"/>
              <a:gd name="connsiteX277" fmla="*/ 9896 w 9984"/>
              <a:gd name="connsiteY277" fmla="*/ 5116 h 10000"/>
              <a:gd name="connsiteX278" fmla="*/ 9979 w 9984"/>
              <a:gd name="connsiteY278" fmla="*/ 3799 h 10000"/>
              <a:gd name="connsiteX279" fmla="*/ 9730 w 9984"/>
              <a:gd name="connsiteY279" fmla="*/ 3488 h 10000"/>
              <a:gd name="connsiteX280" fmla="*/ 9398 w 9984"/>
              <a:gd name="connsiteY280" fmla="*/ 3411 h 10000"/>
              <a:gd name="connsiteX281" fmla="*/ 9398 w 9984"/>
              <a:gd name="connsiteY281" fmla="*/ 3799 h 10000"/>
              <a:gd name="connsiteX282" fmla="*/ 9318 w 9984"/>
              <a:gd name="connsiteY282" fmla="*/ 3876 h 10000"/>
              <a:gd name="connsiteX283" fmla="*/ 9233 w 9984"/>
              <a:gd name="connsiteY283" fmla="*/ 3721 h 10000"/>
              <a:gd name="connsiteX284" fmla="*/ 9233 w 9984"/>
              <a:gd name="connsiteY284" fmla="*/ 3566 h 10000"/>
              <a:gd name="connsiteX285" fmla="*/ 9277 w 9984"/>
              <a:gd name="connsiteY285" fmla="*/ 3566 h 10000"/>
              <a:gd name="connsiteX286" fmla="*/ 9318 w 9984"/>
              <a:gd name="connsiteY286" fmla="*/ 3488 h 10000"/>
              <a:gd name="connsiteX287" fmla="*/ 9233 w 9984"/>
              <a:gd name="connsiteY287" fmla="*/ 3488 h 10000"/>
              <a:gd name="connsiteX288" fmla="*/ 9150 w 9984"/>
              <a:gd name="connsiteY288" fmla="*/ 3644 h 10000"/>
              <a:gd name="connsiteX289" fmla="*/ 8942 w 9984"/>
              <a:gd name="connsiteY289" fmla="*/ 3566 h 10000"/>
              <a:gd name="connsiteX290" fmla="*/ 8738 w 9984"/>
              <a:gd name="connsiteY290" fmla="*/ 3566 h 10000"/>
              <a:gd name="connsiteX291" fmla="*/ 8654 w 9984"/>
              <a:gd name="connsiteY291" fmla="*/ 3488 h 10000"/>
              <a:gd name="connsiteX292" fmla="*/ 8695 w 9984"/>
              <a:gd name="connsiteY292" fmla="*/ 3333 h 10000"/>
              <a:gd name="connsiteX293" fmla="*/ 8612 w 9984"/>
              <a:gd name="connsiteY293" fmla="*/ 3101 h 10000"/>
              <a:gd name="connsiteX294" fmla="*/ 8445 w 9984"/>
              <a:gd name="connsiteY294" fmla="*/ 3023 h 10000"/>
              <a:gd name="connsiteX295" fmla="*/ 8200 w 9984"/>
              <a:gd name="connsiteY295" fmla="*/ 3178 h 10000"/>
              <a:gd name="connsiteX296" fmla="*/ 8157 w 9984"/>
              <a:gd name="connsiteY296" fmla="*/ 2946 h 10000"/>
              <a:gd name="connsiteX297" fmla="*/ 8074 w 9984"/>
              <a:gd name="connsiteY297" fmla="*/ 2946 h 10000"/>
              <a:gd name="connsiteX298" fmla="*/ 8033 w 9984"/>
              <a:gd name="connsiteY298" fmla="*/ 2868 h 10000"/>
              <a:gd name="connsiteX299" fmla="*/ 8033 w 9984"/>
              <a:gd name="connsiteY299" fmla="*/ 2636 h 10000"/>
              <a:gd name="connsiteX300" fmla="*/ 7744 w 9984"/>
              <a:gd name="connsiteY300" fmla="*/ 2480 h 10000"/>
              <a:gd name="connsiteX301" fmla="*/ 7411 w 9984"/>
              <a:gd name="connsiteY301" fmla="*/ 2325 h 10000"/>
              <a:gd name="connsiteX302" fmla="*/ 7328 w 9984"/>
              <a:gd name="connsiteY302" fmla="*/ 2636 h 10000"/>
              <a:gd name="connsiteX303" fmla="*/ 7411 w 9984"/>
              <a:gd name="connsiteY303" fmla="*/ 2868 h 10000"/>
              <a:gd name="connsiteX304" fmla="*/ 7162 w 9984"/>
              <a:gd name="connsiteY304" fmla="*/ 2868 h 10000"/>
              <a:gd name="connsiteX305" fmla="*/ 7121 w 9984"/>
              <a:gd name="connsiteY305" fmla="*/ 2868 h 10000"/>
              <a:gd name="connsiteX306" fmla="*/ 7039 w 9984"/>
              <a:gd name="connsiteY306" fmla="*/ 2946 h 10000"/>
              <a:gd name="connsiteX307" fmla="*/ 6914 w 9984"/>
              <a:gd name="connsiteY307" fmla="*/ 2714 h 10000"/>
              <a:gd name="connsiteX308" fmla="*/ 6831 w 9984"/>
              <a:gd name="connsiteY308" fmla="*/ 3178 h 10000"/>
              <a:gd name="connsiteX309" fmla="*/ 6750 w 9984"/>
              <a:gd name="connsiteY309" fmla="*/ 3101 h 10000"/>
              <a:gd name="connsiteX310" fmla="*/ 6665 w 9984"/>
              <a:gd name="connsiteY310" fmla="*/ 2791 h 10000"/>
              <a:gd name="connsiteX311" fmla="*/ 6708 w 9984"/>
              <a:gd name="connsiteY311" fmla="*/ 2403 h 10000"/>
              <a:gd name="connsiteX312" fmla="*/ 6626 w 9984"/>
              <a:gd name="connsiteY312" fmla="*/ 2170 h 10000"/>
              <a:gd name="connsiteX313" fmla="*/ 6377 w 9984"/>
              <a:gd name="connsiteY313" fmla="*/ 2016 h 10000"/>
              <a:gd name="connsiteX314" fmla="*/ 6292 w 9984"/>
              <a:gd name="connsiteY314" fmla="*/ 2016 h 10000"/>
              <a:gd name="connsiteX315" fmla="*/ 6252 w 9984"/>
              <a:gd name="connsiteY315" fmla="*/ 2170 h 10000"/>
              <a:gd name="connsiteX316" fmla="*/ 6292 w 9984"/>
              <a:gd name="connsiteY316" fmla="*/ 2325 h 10000"/>
              <a:gd name="connsiteX317" fmla="*/ 5964 w 9984"/>
              <a:gd name="connsiteY317" fmla="*/ 2248 h 10000"/>
              <a:gd name="connsiteX318" fmla="*/ 6003 w 9984"/>
              <a:gd name="connsiteY318" fmla="*/ 2016 h 10000"/>
              <a:gd name="connsiteX319" fmla="*/ 5799 w 9984"/>
              <a:gd name="connsiteY319" fmla="*/ 1938 h 10000"/>
              <a:gd name="connsiteX320" fmla="*/ 5673 w 9984"/>
              <a:gd name="connsiteY320" fmla="*/ 2093 h 10000"/>
              <a:gd name="connsiteX321" fmla="*/ 5427 w 9984"/>
              <a:gd name="connsiteY321" fmla="*/ 1861 h 10000"/>
              <a:gd name="connsiteX0" fmla="*/ 5436 w 9995"/>
              <a:gd name="connsiteY0" fmla="*/ 1861 h 10000"/>
              <a:gd name="connsiteX1" fmla="*/ 5436 w 9995"/>
              <a:gd name="connsiteY1" fmla="*/ 1861 h 10000"/>
              <a:gd name="connsiteX2" fmla="*/ 5391 w 9995"/>
              <a:gd name="connsiteY2" fmla="*/ 1938 h 10000"/>
              <a:gd name="connsiteX3" fmla="*/ 5436 w 9995"/>
              <a:gd name="connsiteY3" fmla="*/ 2093 h 10000"/>
              <a:gd name="connsiteX4" fmla="*/ 5265 w 9995"/>
              <a:gd name="connsiteY4" fmla="*/ 2248 h 10000"/>
              <a:gd name="connsiteX5" fmla="*/ 5223 w 9995"/>
              <a:gd name="connsiteY5" fmla="*/ 2248 h 10000"/>
              <a:gd name="connsiteX6" fmla="*/ 5265 w 9995"/>
              <a:gd name="connsiteY6" fmla="*/ 2016 h 10000"/>
              <a:gd name="connsiteX7" fmla="*/ 5682 w 9995"/>
              <a:gd name="connsiteY7" fmla="*/ 1318 h 10000"/>
              <a:gd name="connsiteX8" fmla="*/ 5682 w 9995"/>
              <a:gd name="connsiteY8" fmla="*/ 853 h 10000"/>
              <a:gd name="connsiteX9" fmla="*/ 5516 w 9995"/>
              <a:gd name="connsiteY9" fmla="*/ 543 h 10000"/>
              <a:gd name="connsiteX10" fmla="*/ 5308 w 9995"/>
              <a:gd name="connsiteY10" fmla="*/ 543 h 10000"/>
              <a:gd name="connsiteX11" fmla="*/ 5308 w 9995"/>
              <a:gd name="connsiteY11" fmla="*/ 698 h 10000"/>
              <a:gd name="connsiteX12" fmla="*/ 5183 w 9995"/>
              <a:gd name="connsiteY12" fmla="*/ 698 h 10000"/>
              <a:gd name="connsiteX13" fmla="*/ 5265 w 9995"/>
              <a:gd name="connsiteY13" fmla="*/ 387 h 10000"/>
              <a:gd name="connsiteX14" fmla="*/ 5059 w 9995"/>
              <a:gd name="connsiteY14" fmla="*/ 310 h 10000"/>
              <a:gd name="connsiteX15" fmla="*/ 5183 w 9995"/>
              <a:gd name="connsiteY15" fmla="*/ 155 h 10000"/>
              <a:gd name="connsiteX16" fmla="*/ 5059 w 9995"/>
              <a:gd name="connsiteY16" fmla="*/ 0 h 10000"/>
              <a:gd name="connsiteX17" fmla="*/ 4852 w 9995"/>
              <a:gd name="connsiteY17" fmla="*/ 387 h 10000"/>
              <a:gd name="connsiteX18" fmla="*/ 4852 w 9995"/>
              <a:gd name="connsiteY18" fmla="*/ 698 h 10000"/>
              <a:gd name="connsiteX19" fmla="*/ 4727 w 9995"/>
              <a:gd name="connsiteY19" fmla="*/ 698 h 10000"/>
              <a:gd name="connsiteX20" fmla="*/ 4356 w 9995"/>
              <a:gd name="connsiteY20" fmla="*/ 853 h 10000"/>
              <a:gd name="connsiteX21" fmla="*/ 4022 w 9995"/>
              <a:gd name="connsiteY21" fmla="*/ 1240 h 10000"/>
              <a:gd name="connsiteX22" fmla="*/ 3898 w 9995"/>
              <a:gd name="connsiteY22" fmla="*/ 1551 h 10000"/>
              <a:gd name="connsiteX23" fmla="*/ 3940 w 9995"/>
              <a:gd name="connsiteY23" fmla="*/ 1938 h 10000"/>
              <a:gd name="connsiteX24" fmla="*/ 3484 w 9995"/>
              <a:gd name="connsiteY24" fmla="*/ 2093 h 10000"/>
              <a:gd name="connsiteX25" fmla="*/ 3525 w 9995"/>
              <a:gd name="connsiteY25" fmla="*/ 2559 h 10000"/>
              <a:gd name="connsiteX26" fmla="*/ 3651 w 9995"/>
              <a:gd name="connsiteY26" fmla="*/ 2791 h 10000"/>
              <a:gd name="connsiteX27" fmla="*/ 3568 w 9995"/>
              <a:gd name="connsiteY27" fmla="*/ 2868 h 10000"/>
              <a:gd name="connsiteX28" fmla="*/ 3443 w 9995"/>
              <a:gd name="connsiteY28" fmla="*/ 2559 h 10000"/>
              <a:gd name="connsiteX29" fmla="*/ 3318 w 9995"/>
              <a:gd name="connsiteY29" fmla="*/ 2480 h 10000"/>
              <a:gd name="connsiteX30" fmla="*/ 3277 w 9995"/>
              <a:gd name="connsiteY30" fmla="*/ 2559 h 10000"/>
              <a:gd name="connsiteX31" fmla="*/ 3193 w 9995"/>
              <a:gd name="connsiteY31" fmla="*/ 2403 h 10000"/>
              <a:gd name="connsiteX32" fmla="*/ 3111 w 9995"/>
              <a:gd name="connsiteY32" fmla="*/ 2248 h 10000"/>
              <a:gd name="connsiteX33" fmla="*/ 3111 w 9995"/>
              <a:gd name="connsiteY33" fmla="*/ 2325 h 10000"/>
              <a:gd name="connsiteX34" fmla="*/ 3153 w 9995"/>
              <a:gd name="connsiteY34" fmla="*/ 2559 h 10000"/>
              <a:gd name="connsiteX35" fmla="*/ 3027 w 9995"/>
              <a:gd name="connsiteY35" fmla="*/ 2946 h 10000"/>
              <a:gd name="connsiteX36" fmla="*/ 3111 w 9995"/>
              <a:gd name="connsiteY36" fmla="*/ 3256 h 10000"/>
              <a:gd name="connsiteX37" fmla="*/ 3068 w 9995"/>
              <a:gd name="connsiteY37" fmla="*/ 3566 h 10000"/>
              <a:gd name="connsiteX38" fmla="*/ 3068 w 9995"/>
              <a:gd name="connsiteY38" fmla="*/ 3799 h 10000"/>
              <a:gd name="connsiteX39" fmla="*/ 3193 w 9995"/>
              <a:gd name="connsiteY39" fmla="*/ 3799 h 10000"/>
              <a:gd name="connsiteX40" fmla="*/ 3111 w 9995"/>
              <a:gd name="connsiteY40" fmla="*/ 3876 h 10000"/>
              <a:gd name="connsiteX41" fmla="*/ 3153 w 9995"/>
              <a:gd name="connsiteY41" fmla="*/ 4263 h 10000"/>
              <a:gd name="connsiteX42" fmla="*/ 2904 w 9995"/>
              <a:gd name="connsiteY42" fmla="*/ 4652 h 10000"/>
              <a:gd name="connsiteX43" fmla="*/ 2862 w 9995"/>
              <a:gd name="connsiteY43" fmla="*/ 4574 h 10000"/>
              <a:gd name="connsiteX44" fmla="*/ 3027 w 9995"/>
              <a:gd name="connsiteY44" fmla="*/ 4186 h 10000"/>
              <a:gd name="connsiteX45" fmla="*/ 3068 w 9995"/>
              <a:gd name="connsiteY45" fmla="*/ 3954 h 10000"/>
              <a:gd name="connsiteX46" fmla="*/ 2983 w 9995"/>
              <a:gd name="connsiteY46" fmla="*/ 3799 h 10000"/>
              <a:gd name="connsiteX47" fmla="*/ 2983 w 9995"/>
              <a:gd name="connsiteY47" fmla="*/ 3023 h 10000"/>
              <a:gd name="connsiteX48" fmla="*/ 2945 w 9995"/>
              <a:gd name="connsiteY48" fmla="*/ 2868 h 10000"/>
              <a:gd name="connsiteX49" fmla="*/ 2983 w 9995"/>
              <a:gd name="connsiteY49" fmla="*/ 2403 h 10000"/>
              <a:gd name="connsiteX50" fmla="*/ 2904 w 9995"/>
              <a:gd name="connsiteY50" fmla="*/ 2325 h 10000"/>
              <a:gd name="connsiteX51" fmla="*/ 2945 w 9995"/>
              <a:gd name="connsiteY51" fmla="*/ 2248 h 10000"/>
              <a:gd name="connsiteX52" fmla="*/ 2904 w 9995"/>
              <a:gd name="connsiteY52" fmla="*/ 2093 h 10000"/>
              <a:gd name="connsiteX53" fmla="*/ 2818 w 9995"/>
              <a:gd name="connsiteY53" fmla="*/ 2170 h 10000"/>
              <a:gd name="connsiteX54" fmla="*/ 2613 w 9995"/>
              <a:gd name="connsiteY54" fmla="*/ 3178 h 10000"/>
              <a:gd name="connsiteX55" fmla="*/ 2613 w 9995"/>
              <a:gd name="connsiteY55" fmla="*/ 3566 h 10000"/>
              <a:gd name="connsiteX56" fmla="*/ 2737 w 9995"/>
              <a:gd name="connsiteY56" fmla="*/ 3876 h 10000"/>
              <a:gd name="connsiteX57" fmla="*/ 2737 w 9995"/>
              <a:gd name="connsiteY57" fmla="*/ 4031 h 10000"/>
              <a:gd name="connsiteX58" fmla="*/ 2613 w 9995"/>
              <a:gd name="connsiteY58" fmla="*/ 3876 h 10000"/>
              <a:gd name="connsiteX59" fmla="*/ 2117 w 9995"/>
              <a:gd name="connsiteY59" fmla="*/ 3256 h 10000"/>
              <a:gd name="connsiteX60" fmla="*/ 2074 w 9995"/>
              <a:gd name="connsiteY60" fmla="*/ 3411 h 10000"/>
              <a:gd name="connsiteX61" fmla="*/ 2240 w 9995"/>
              <a:gd name="connsiteY61" fmla="*/ 3799 h 10000"/>
              <a:gd name="connsiteX62" fmla="*/ 2157 w 9995"/>
              <a:gd name="connsiteY62" fmla="*/ 3876 h 10000"/>
              <a:gd name="connsiteX63" fmla="*/ 2117 w 9995"/>
              <a:gd name="connsiteY63" fmla="*/ 3799 h 10000"/>
              <a:gd name="connsiteX64" fmla="*/ 1867 w 9995"/>
              <a:gd name="connsiteY64" fmla="*/ 3954 h 10000"/>
              <a:gd name="connsiteX65" fmla="*/ 1825 w 9995"/>
              <a:gd name="connsiteY65" fmla="*/ 4109 h 10000"/>
              <a:gd name="connsiteX66" fmla="*/ 1783 w 9995"/>
              <a:gd name="connsiteY66" fmla="*/ 3954 h 10000"/>
              <a:gd name="connsiteX67" fmla="*/ 1783 w 9995"/>
              <a:gd name="connsiteY67" fmla="*/ 3799 h 10000"/>
              <a:gd name="connsiteX68" fmla="*/ 1367 w 9995"/>
              <a:gd name="connsiteY68" fmla="*/ 4263 h 10000"/>
              <a:gd name="connsiteX69" fmla="*/ 1367 w 9995"/>
              <a:gd name="connsiteY69" fmla="*/ 4418 h 10000"/>
              <a:gd name="connsiteX70" fmla="*/ 1286 w 9995"/>
              <a:gd name="connsiteY70" fmla="*/ 4496 h 10000"/>
              <a:gd name="connsiteX71" fmla="*/ 1161 w 9995"/>
              <a:gd name="connsiteY71" fmla="*/ 4341 h 10000"/>
              <a:gd name="connsiteX72" fmla="*/ 1286 w 9995"/>
              <a:gd name="connsiteY72" fmla="*/ 4186 h 10000"/>
              <a:gd name="connsiteX73" fmla="*/ 1245 w 9995"/>
              <a:gd name="connsiteY73" fmla="*/ 3954 h 10000"/>
              <a:gd name="connsiteX74" fmla="*/ 1079 w 9995"/>
              <a:gd name="connsiteY74" fmla="*/ 3876 h 10000"/>
              <a:gd name="connsiteX75" fmla="*/ 1121 w 9995"/>
              <a:gd name="connsiteY75" fmla="*/ 4031 h 10000"/>
              <a:gd name="connsiteX76" fmla="*/ 1121 w 9995"/>
              <a:gd name="connsiteY76" fmla="*/ 4418 h 10000"/>
              <a:gd name="connsiteX77" fmla="*/ 1161 w 9995"/>
              <a:gd name="connsiteY77" fmla="*/ 4574 h 10000"/>
              <a:gd name="connsiteX78" fmla="*/ 1121 w 9995"/>
              <a:gd name="connsiteY78" fmla="*/ 4729 h 10000"/>
              <a:gd name="connsiteX79" fmla="*/ 995 w 9995"/>
              <a:gd name="connsiteY79" fmla="*/ 4652 h 10000"/>
              <a:gd name="connsiteX80" fmla="*/ 829 w 9995"/>
              <a:gd name="connsiteY80" fmla="*/ 4884 h 10000"/>
              <a:gd name="connsiteX81" fmla="*/ 912 w 9995"/>
              <a:gd name="connsiteY81" fmla="*/ 5194 h 10000"/>
              <a:gd name="connsiteX82" fmla="*/ 663 w 9995"/>
              <a:gd name="connsiteY82" fmla="*/ 5039 h 10000"/>
              <a:gd name="connsiteX83" fmla="*/ 622 w 9995"/>
              <a:gd name="connsiteY83" fmla="*/ 5116 h 10000"/>
              <a:gd name="connsiteX84" fmla="*/ 706 w 9995"/>
              <a:gd name="connsiteY84" fmla="*/ 5349 h 10000"/>
              <a:gd name="connsiteX85" fmla="*/ 622 w 9995"/>
              <a:gd name="connsiteY85" fmla="*/ 5349 h 10000"/>
              <a:gd name="connsiteX86" fmla="*/ 499 w 9995"/>
              <a:gd name="connsiteY86" fmla="*/ 5194 h 10000"/>
              <a:gd name="connsiteX87" fmla="*/ 499 w 9995"/>
              <a:gd name="connsiteY87" fmla="*/ 4729 h 10000"/>
              <a:gd name="connsiteX88" fmla="*/ 374 w 9995"/>
              <a:gd name="connsiteY88" fmla="*/ 4574 h 10000"/>
              <a:gd name="connsiteX89" fmla="*/ 332 w 9995"/>
              <a:gd name="connsiteY89" fmla="*/ 4418 h 10000"/>
              <a:gd name="connsiteX90" fmla="*/ 415 w 9995"/>
              <a:gd name="connsiteY90" fmla="*/ 4496 h 10000"/>
              <a:gd name="connsiteX91" fmla="*/ 746 w 9995"/>
              <a:gd name="connsiteY91" fmla="*/ 4729 h 10000"/>
              <a:gd name="connsiteX92" fmla="*/ 954 w 9995"/>
              <a:gd name="connsiteY92" fmla="*/ 4496 h 10000"/>
              <a:gd name="connsiteX93" fmla="*/ 912 w 9995"/>
              <a:gd name="connsiteY93" fmla="*/ 4263 h 10000"/>
              <a:gd name="connsiteX94" fmla="*/ 663 w 9995"/>
              <a:gd name="connsiteY94" fmla="*/ 3799 h 10000"/>
              <a:gd name="connsiteX95" fmla="*/ 415 w 9995"/>
              <a:gd name="connsiteY95" fmla="*/ 3644 h 10000"/>
              <a:gd name="connsiteX96" fmla="*/ 415 w 9995"/>
              <a:gd name="connsiteY96" fmla="*/ 3566 h 10000"/>
              <a:gd name="connsiteX97" fmla="*/ 332 w 9995"/>
              <a:gd name="connsiteY97" fmla="*/ 3488 h 10000"/>
              <a:gd name="connsiteX98" fmla="*/ 248 w 9995"/>
              <a:gd name="connsiteY98" fmla="*/ 3566 h 10000"/>
              <a:gd name="connsiteX99" fmla="*/ 248 w 9995"/>
              <a:gd name="connsiteY99" fmla="*/ 3644 h 10000"/>
              <a:gd name="connsiteX100" fmla="*/ 208 w 9995"/>
              <a:gd name="connsiteY100" fmla="*/ 3644 h 10000"/>
              <a:gd name="connsiteX101" fmla="*/ 124 w 9995"/>
              <a:gd name="connsiteY101" fmla="*/ 3799 h 10000"/>
              <a:gd name="connsiteX102" fmla="*/ 124 w 9995"/>
              <a:gd name="connsiteY102" fmla="*/ 4031 h 10000"/>
              <a:gd name="connsiteX103" fmla="*/ 208 w 9995"/>
              <a:gd name="connsiteY103" fmla="*/ 4186 h 10000"/>
              <a:gd name="connsiteX104" fmla="*/ 165 w 9995"/>
              <a:gd name="connsiteY104" fmla="*/ 4418 h 10000"/>
              <a:gd name="connsiteX105" fmla="*/ 208 w 9995"/>
              <a:gd name="connsiteY105" fmla="*/ 4807 h 10000"/>
              <a:gd name="connsiteX106" fmla="*/ 165 w 9995"/>
              <a:gd name="connsiteY106" fmla="*/ 5039 h 10000"/>
              <a:gd name="connsiteX107" fmla="*/ 248 w 9995"/>
              <a:gd name="connsiteY107" fmla="*/ 5271 h 10000"/>
              <a:gd name="connsiteX108" fmla="*/ 208 w 9995"/>
              <a:gd name="connsiteY108" fmla="*/ 5426 h 10000"/>
              <a:gd name="connsiteX109" fmla="*/ 290 w 9995"/>
              <a:gd name="connsiteY109" fmla="*/ 5582 h 10000"/>
              <a:gd name="connsiteX110" fmla="*/ 290 w 9995"/>
              <a:gd name="connsiteY110" fmla="*/ 5659 h 10000"/>
              <a:gd name="connsiteX111" fmla="*/ 165 w 9995"/>
              <a:gd name="connsiteY111" fmla="*/ 6047 h 10000"/>
              <a:gd name="connsiteX112" fmla="*/ 40 w 9995"/>
              <a:gd name="connsiteY112" fmla="*/ 6202 h 10000"/>
              <a:gd name="connsiteX113" fmla="*/ 83 w 9995"/>
              <a:gd name="connsiteY113" fmla="*/ 6202 h 10000"/>
              <a:gd name="connsiteX114" fmla="*/ 165 w 9995"/>
              <a:gd name="connsiteY114" fmla="*/ 6356 h 10000"/>
              <a:gd name="connsiteX115" fmla="*/ 83 w 9995"/>
              <a:gd name="connsiteY115" fmla="*/ 6512 h 10000"/>
              <a:gd name="connsiteX116" fmla="*/ 40 w 9995"/>
              <a:gd name="connsiteY116" fmla="*/ 6590 h 10000"/>
              <a:gd name="connsiteX117" fmla="*/ 0 w 9995"/>
              <a:gd name="connsiteY117" fmla="*/ 6590 h 10000"/>
              <a:gd name="connsiteX118" fmla="*/ 40 w 9995"/>
              <a:gd name="connsiteY118" fmla="*/ 6822 h 10000"/>
              <a:gd name="connsiteX119" fmla="*/ 40 w 9995"/>
              <a:gd name="connsiteY119" fmla="*/ 6900 h 10000"/>
              <a:gd name="connsiteX120" fmla="*/ 40 w 9995"/>
              <a:gd name="connsiteY120" fmla="*/ 6977 h 10000"/>
              <a:gd name="connsiteX121" fmla="*/ 40 w 9995"/>
              <a:gd name="connsiteY121" fmla="*/ 7054 h 10000"/>
              <a:gd name="connsiteX122" fmla="*/ 83 w 9995"/>
              <a:gd name="connsiteY122" fmla="*/ 7209 h 10000"/>
              <a:gd name="connsiteX123" fmla="*/ 208 w 9995"/>
              <a:gd name="connsiteY123" fmla="*/ 7287 h 10000"/>
              <a:gd name="connsiteX124" fmla="*/ 248 w 9995"/>
              <a:gd name="connsiteY124" fmla="*/ 7364 h 10000"/>
              <a:gd name="connsiteX125" fmla="*/ 248 w 9995"/>
              <a:gd name="connsiteY125" fmla="*/ 7520 h 10000"/>
              <a:gd name="connsiteX126" fmla="*/ 332 w 9995"/>
              <a:gd name="connsiteY126" fmla="*/ 7752 h 10000"/>
              <a:gd name="connsiteX127" fmla="*/ 374 w 9995"/>
              <a:gd name="connsiteY127" fmla="*/ 7752 h 10000"/>
              <a:gd name="connsiteX128" fmla="*/ 332 w 9995"/>
              <a:gd name="connsiteY128" fmla="*/ 7907 h 10000"/>
              <a:gd name="connsiteX129" fmla="*/ 290 w 9995"/>
              <a:gd name="connsiteY129" fmla="*/ 7830 h 10000"/>
              <a:gd name="connsiteX130" fmla="*/ 290 w 9995"/>
              <a:gd name="connsiteY130" fmla="*/ 7907 h 10000"/>
              <a:gd name="connsiteX131" fmla="*/ 332 w 9995"/>
              <a:gd name="connsiteY131" fmla="*/ 8062 h 10000"/>
              <a:gd name="connsiteX132" fmla="*/ 457 w 9995"/>
              <a:gd name="connsiteY132" fmla="*/ 8062 h 10000"/>
              <a:gd name="connsiteX133" fmla="*/ 499 w 9995"/>
              <a:gd name="connsiteY133" fmla="*/ 8140 h 10000"/>
              <a:gd name="connsiteX134" fmla="*/ 457 w 9995"/>
              <a:gd name="connsiteY134" fmla="*/ 8140 h 10000"/>
              <a:gd name="connsiteX135" fmla="*/ 499 w 9995"/>
              <a:gd name="connsiteY135" fmla="*/ 8217 h 10000"/>
              <a:gd name="connsiteX136" fmla="*/ 538 w 9995"/>
              <a:gd name="connsiteY136" fmla="*/ 8217 h 10000"/>
              <a:gd name="connsiteX137" fmla="*/ 580 w 9995"/>
              <a:gd name="connsiteY137" fmla="*/ 8372 h 10000"/>
              <a:gd name="connsiteX138" fmla="*/ 622 w 9995"/>
              <a:gd name="connsiteY138" fmla="*/ 8449 h 10000"/>
              <a:gd name="connsiteX139" fmla="*/ 663 w 9995"/>
              <a:gd name="connsiteY139" fmla="*/ 8372 h 10000"/>
              <a:gd name="connsiteX140" fmla="*/ 872 w 9995"/>
              <a:gd name="connsiteY140" fmla="*/ 8605 h 10000"/>
              <a:gd name="connsiteX141" fmla="*/ 829 w 9995"/>
              <a:gd name="connsiteY141" fmla="*/ 8915 h 10000"/>
              <a:gd name="connsiteX142" fmla="*/ 786 w 9995"/>
              <a:gd name="connsiteY142" fmla="*/ 8838 h 10000"/>
              <a:gd name="connsiteX143" fmla="*/ 746 w 9995"/>
              <a:gd name="connsiteY143" fmla="*/ 8915 h 10000"/>
              <a:gd name="connsiteX144" fmla="*/ 746 w 9995"/>
              <a:gd name="connsiteY144" fmla="*/ 9070 h 10000"/>
              <a:gd name="connsiteX145" fmla="*/ 786 w 9995"/>
              <a:gd name="connsiteY145" fmla="*/ 8993 h 10000"/>
              <a:gd name="connsiteX146" fmla="*/ 829 w 9995"/>
              <a:gd name="connsiteY146" fmla="*/ 9070 h 10000"/>
              <a:gd name="connsiteX147" fmla="*/ 706 w 9995"/>
              <a:gd name="connsiteY147" fmla="*/ 9147 h 10000"/>
              <a:gd name="connsiteX148" fmla="*/ 746 w 9995"/>
              <a:gd name="connsiteY148" fmla="*/ 9225 h 10000"/>
              <a:gd name="connsiteX149" fmla="*/ 663 w 9995"/>
              <a:gd name="connsiteY149" fmla="*/ 9380 h 10000"/>
              <a:gd name="connsiteX150" fmla="*/ 622 w 9995"/>
              <a:gd name="connsiteY150" fmla="*/ 9380 h 10000"/>
              <a:gd name="connsiteX151" fmla="*/ 663 w 9995"/>
              <a:gd name="connsiteY151" fmla="*/ 9380 h 10000"/>
              <a:gd name="connsiteX152" fmla="*/ 829 w 9995"/>
              <a:gd name="connsiteY152" fmla="*/ 9691 h 10000"/>
              <a:gd name="connsiteX153" fmla="*/ 1037 w 9995"/>
              <a:gd name="connsiteY153" fmla="*/ 9691 h 10000"/>
              <a:gd name="connsiteX154" fmla="*/ 1121 w 9995"/>
              <a:gd name="connsiteY154" fmla="*/ 9768 h 10000"/>
              <a:gd name="connsiteX155" fmla="*/ 1202 w 9995"/>
              <a:gd name="connsiteY155" fmla="*/ 9768 h 10000"/>
              <a:gd name="connsiteX156" fmla="*/ 1286 w 9995"/>
              <a:gd name="connsiteY156" fmla="*/ 9923 h 10000"/>
              <a:gd name="connsiteX157" fmla="*/ 1327 w 9995"/>
              <a:gd name="connsiteY157" fmla="*/ 10000 h 10000"/>
              <a:gd name="connsiteX158" fmla="*/ 1367 w 9995"/>
              <a:gd name="connsiteY158" fmla="*/ 10000 h 10000"/>
              <a:gd name="connsiteX159" fmla="*/ 1411 w 9995"/>
              <a:gd name="connsiteY159" fmla="*/ 9923 h 10000"/>
              <a:gd name="connsiteX160" fmla="*/ 1327 w 9995"/>
              <a:gd name="connsiteY160" fmla="*/ 9768 h 10000"/>
              <a:gd name="connsiteX161" fmla="*/ 1327 w 9995"/>
              <a:gd name="connsiteY161" fmla="*/ 9613 h 10000"/>
              <a:gd name="connsiteX162" fmla="*/ 1286 w 9995"/>
              <a:gd name="connsiteY162" fmla="*/ 9457 h 10000"/>
              <a:gd name="connsiteX163" fmla="*/ 1367 w 9995"/>
              <a:gd name="connsiteY163" fmla="*/ 9225 h 10000"/>
              <a:gd name="connsiteX164" fmla="*/ 1411 w 9995"/>
              <a:gd name="connsiteY164" fmla="*/ 9302 h 10000"/>
              <a:gd name="connsiteX165" fmla="*/ 1452 w 9995"/>
              <a:gd name="connsiteY165" fmla="*/ 9225 h 10000"/>
              <a:gd name="connsiteX166" fmla="*/ 1452 w 9995"/>
              <a:gd name="connsiteY166" fmla="*/ 9147 h 10000"/>
              <a:gd name="connsiteX167" fmla="*/ 1411 w 9995"/>
              <a:gd name="connsiteY167" fmla="*/ 9147 h 10000"/>
              <a:gd name="connsiteX168" fmla="*/ 1452 w 9995"/>
              <a:gd name="connsiteY168" fmla="*/ 9070 h 10000"/>
              <a:gd name="connsiteX169" fmla="*/ 1411 w 9995"/>
              <a:gd name="connsiteY169" fmla="*/ 8915 h 10000"/>
              <a:gd name="connsiteX170" fmla="*/ 1327 w 9995"/>
              <a:gd name="connsiteY170" fmla="*/ 8915 h 10000"/>
              <a:gd name="connsiteX171" fmla="*/ 1286 w 9995"/>
              <a:gd name="connsiteY171" fmla="*/ 8760 h 10000"/>
              <a:gd name="connsiteX172" fmla="*/ 1327 w 9995"/>
              <a:gd name="connsiteY172" fmla="*/ 8372 h 10000"/>
              <a:gd name="connsiteX173" fmla="*/ 1411 w 9995"/>
              <a:gd name="connsiteY173" fmla="*/ 8528 h 10000"/>
              <a:gd name="connsiteX174" fmla="*/ 1452 w 9995"/>
              <a:gd name="connsiteY174" fmla="*/ 8528 h 10000"/>
              <a:gd name="connsiteX175" fmla="*/ 1411 w 9995"/>
              <a:gd name="connsiteY175" fmla="*/ 8372 h 10000"/>
              <a:gd name="connsiteX176" fmla="*/ 1535 w 9995"/>
              <a:gd name="connsiteY176" fmla="*/ 8140 h 10000"/>
              <a:gd name="connsiteX177" fmla="*/ 1619 w 9995"/>
              <a:gd name="connsiteY177" fmla="*/ 8217 h 10000"/>
              <a:gd name="connsiteX178" fmla="*/ 1659 w 9995"/>
              <a:gd name="connsiteY178" fmla="*/ 8140 h 10000"/>
              <a:gd name="connsiteX179" fmla="*/ 1742 w 9995"/>
              <a:gd name="connsiteY179" fmla="*/ 8217 h 10000"/>
              <a:gd name="connsiteX180" fmla="*/ 1867 w 9995"/>
              <a:gd name="connsiteY180" fmla="*/ 8372 h 10000"/>
              <a:gd name="connsiteX181" fmla="*/ 1950 w 9995"/>
              <a:gd name="connsiteY181" fmla="*/ 8295 h 10000"/>
              <a:gd name="connsiteX182" fmla="*/ 2032 w 9995"/>
              <a:gd name="connsiteY182" fmla="*/ 8295 h 10000"/>
              <a:gd name="connsiteX183" fmla="*/ 2074 w 9995"/>
              <a:gd name="connsiteY183" fmla="*/ 8372 h 10000"/>
              <a:gd name="connsiteX184" fmla="*/ 2240 w 9995"/>
              <a:gd name="connsiteY184" fmla="*/ 8372 h 10000"/>
              <a:gd name="connsiteX185" fmla="*/ 2280 w 9995"/>
              <a:gd name="connsiteY185" fmla="*/ 8217 h 10000"/>
              <a:gd name="connsiteX186" fmla="*/ 2157 w 9995"/>
              <a:gd name="connsiteY186" fmla="*/ 8140 h 10000"/>
              <a:gd name="connsiteX187" fmla="*/ 2240 w 9995"/>
              <a:gd name="connsiteY187" fmla="*/ 8062 h 10000"/>
              <a:gd name="connsiteX188" fmla="*/ 2198 w 9995"/>
              <a:gd name="connsiteY188" fmla="*/ 7985 h 10000"/>
              <a:gd name="connsiteX189" fmla="*/ 2240 w 9995"/>
              <a:gd name="connsiteY189" fmla="*/ 7907 h 10000"/>
              <a:gd name="connsiteX190" fmla="*/ 2240 w 9995"/>
              <a:gd name="connsiteY190" fmla="*/ 7675 h 10000"/>
              <a:gd name="connsiteX191" fmla="*/ 2322 w 9995"/>
              <a:gd name="connsiteY191" fmla="*/ 7752 h 10000"/>
              <a:gd name="connsiteX192" fmla="*/ 2696 w 9995"/>
              <a:gd name="connsiteY192" fmla="*/ 7520 h 10000"/>
              <a:gd name="connsiteX193" fmla="*/ 2696 w 9995"/>
              <a:gd name="connsiteY193" fmla="*/ 7442 h 10000"/>
              <a:gd name="connsiteX194" fmla="*/ 2737 w 9995"/>
              <a:gd name="connsiteY194" fmla="*/ 7442 h 10000"/>
              <a:gd name="connsiteX195" fmla="*/ 2862 w 9995"/>
              <a:gd name="connsiteY195" fmla="*/ 7442 h 10000"/>
              <a:gd name="connsiteX196" fmla="*/ 2904 w 9995"/>
              <a:gd name="connsiteY196" fmla="*/ 7598 h 10000"/>
              <a:gd name="connsiteX197" fmla="*/ 2904 w 9995"/>
              <a:gd name="connsiteY197" fmla="*/ 7675 h 10000"/>
              <a:gd name="connsiteX198" fmla="*/ 2945 w 9995"/>
              <a:gd name="connsiteY198" fmla="*/ 7675 h 10000"/>
              <a:gd name="connsiteX199" fmla="*/ 3027 w 9995"/>
              <a:gd name="connsiteY199" fmla="*/ 7752 h 10000"/>
              <a:gd name="connsiteX200" fmla="*/ 3027 w 9995"/>
              <a:gd name="connsiteY200" fmla="*/ 7830 h 10000"/>
              <a:gd name="connsiteX201" fmla="*/ 3111 w 9995"/>
              <a:gd name="connsiteY201" fmla="*/ 7830 h 10000"/>
              <a:gd name="connsiteX202" fmla="*/ 3193 w 9995"/>
              <a:gd name="connsiteY202" fmla="*/ 7675 h 10000"/>
              <a:gd name="connsiteX203" fmla="*/ 3277 w 9995"/>
              <a:gd name="connsiteY203" fmla="*/ 7598 h 10000"/>
              <a:gd name="connsiteX204" fmla="*/ 3318 w 9995"/>
              <a:gd name="connsiteY204" fmla="*/ 7830 h 10000"/>
              <a:gd name="connsiteX205" fmla="*/ 3484 w 9995"/>
              <a:gd name="connsiteY205" fmla="*/ 8372 h 10000"/>
              <a:gd name="connsiteX206" fmla="*/ 3525 w 9995"/>
              <a:gd name="connsiteY206" fmla="*/ 8217 h 10000"/>
              <a:gd name="connsiteX207" fmla="*/ 3568 w 9995"/>
              <a:gd name="connsiteY207" fmla="*/ 8372 h 10000"/>
              <a:gd name="connsiteX208" fmla="*/ 3693 w 9995"/>
              <a:gd name="connsiteY208" fmla="*/ 8295 h 10000"/>
              <a:gd name="connsiteX209" fmla="*/ 3817 w 9995"/>
              <a:gd name="connsiteY209" fmla="*/ 8528 h 10000"/>
              <a:gd name="connsiteX210" fmla="*/ 3898 w 9995"/>
              <a:gd name="connsiteY210" fmla="*/ 8605 h 10000"/>
              <a:gd name="connsiteX211" fmla="*/ 3898 w 9995"/>
              <a:gd name="connsiteY211" fmla="*/ 8528 h 10000"/>
              <a:gd name="connsiteX212" fmla="*/ 3940 w 9995"/>
              <a:gd name="connsiteY212" fmla="*/ 8683 h 10000"/>
              <a:gd name="connsiteX213" fmla="*/ 3898 w 9995"/>
              <a:gd name="connsiteY213" fmla="*/ 8760 h 10000"/>
              <a:gd name="connsiteX214" fmla="*/ 3982 w 9995"/>
              <a:gd name="connsiteY214" fmla="*/ 8683 h 10000"/>
              <a:gd name="connsiteX215" fmla="*/ 4022 w 9995"/>
              <a:gd name="connsiteY215" fmla="*/ 8605 h 10000"/>
              <a:gd name="connsiteX216" fmla="*/ 4231 w 9995"/>
              <a:gd name="connsiteY216" fmla="*/ 8372 h 10000"/>
              <a:gd name="connsiteX217" fmla="*/ 4396 w 9995"/>
              <a:gd name="connsiteY217" fmla="*/ 8449 h 10000"/>
              <a:gd name="connsiteX218" fmla="*/ 4479 w 9995"/>
              <a:gd name="connsiteY218" fmla="*/ 8528 h 10000"/>
              <a:gd name="connsiteX219" fmla="*/ 4643 w 9995"/>
              <a:gd name="connsiteY219" fmla="*/ 8528 h 10000"/>
              <a:gd name="connsiteX220" fmla="*/ 4643 w 9995"/>
              <a:gd name="connsiteY220" fmla="*/ 8372 h 10000"/>
              <a:gd name="connsiteX221" fmla="*/ 4643 w 9995"/>
              <a:gd name="connsiteY221" fmla="*/ 8217 h 10000"/>
              <a:gd name="connsiteX222" fmla="*/ 4727 w 9995"/>
              <a:gd name="connsiteY222" fmla="*/ 8140 h 10000"/>
              <a:gd name="connsiteX223" fmla="*/ 4893 w 9995"/>
              <a:gd name="connsiteY223" fmla="*/ 8217 h 10000"/>
              <a:gd name="connsiteX224" fmla="*/ 4976 w 9995"/>
              <a:gd name="connsiteY224" fmla="*/ 8449 h 10000"/>
              <a:gd name="connsiteX225" fmla="*/ 5018 w 9995"/>
              <a:gd name="connsiteY225" fmla="*/ 8449 h 10000"/>
              <a:gd name="connsiteX226" fmla="*/ 5101 w 9995"/>
              <a:gd name="connsiteY226" fmla="*/ 8372 h 10000"/>
              <a:gd name="connsiteX227" fmla="*/ 5352 w 9995"/>
              <a:gd name="connsiteY227" fmla="*/ 8605 h 10000"/>
              <a:gd name="connsiteX228" fmla="*/ 5475 w 9995"/>
              <a:gd name="connsiteY228" fmla="*/ 8683 h 10000"/>
              <a:gd name="connsiteX229" fmla="*/ 5641 w 9995"/>
              <a:gd name="connsiteY229" fmla="*/ 8605 h 10000"/>
              <a:gd name="connsiteX230" fmla="*/ 5722 w 9995"/>
              <a:gd name="connsiteY230" fmla="*/ 8449 h 10000"/>
              <a:gd name="connsiteX231" fmla="*/ 5848 w 9995"/>
              <a:gd name="connsiteY231" fmla="*/ 8528 h 10000"/>
              <a:gd name="connsiteX232" fmla="*/ 5930 w 9995"/>
              <a:gd name="connsiteY232" fmla="*/ 8605 h 10000"/>
              <a:gd name="connsiteX233" fmla="*/ 7340 w 9995"/>
              <a:gd name="connsiteY233" fmla="*/ 7675 h 10000"/>
              <a:gd name="connsiteX234" fmla="*/ 7259 w 9995"/>
              <a:gd name="connsiteY234" fmla="*/ 7675 h 10000"/>
              <a:gd name="connsiteX235" fmla="*/ 7217 w 9995"/>
              <a:gd name="connsiteY235" fmla="*/ 7675 h 10000"/>
              <a:gd name="connsiteX236" fmla="*/ 7173 w 9995"/>
              <a:gd name="connsiteY236" fmla="*/ 7598 h 10000"/>
              <a:gd name="connsiteX237" fmla="*/ 7093 w 9995"/>
              <a:gd name="connsiteY237" fmla="*/ 7598 h 10000"/>
              <a:gd name="connsiteX238" fmla="*/ 7093 w 9995"/>
              <a:gd name="connsiteY238" fmla="*/ 7520 h 10000"/>
              <a:gd name="connsiteX239" fmla="*/ 7217 w 9995"/>
              <a:gd name="connsiteY239" fmla="*/ 7287 h 10000"/>
              <a:gd name="connsiteX240" fmla="*/ 7591 w 9995"/>
              <a:gd name="connsiteY240" fmla="*/ 6590 h 10000"/>
              <a:gd name="connsiteX241" fmla="*/ 7756 w 9995"/>
              <a:gd name="connsiteY241" fmla="*/ 6512 h 10000"/>
              <a:gd name="connsiteX242" fmla="*/ 7796 w 9995"/>
              <a:gd name="connsiteY242" fmla="*/ 6590 h 10000"/>
              <a:gd name="connsiteX243" fmla="*/ 7840 w 9995"/>
              <a:gd name="connsiteY243" fmla="*/ 6512 h 10000"/>
              <a:gd name="connsiteX244" fmla="*/ 7962 w 9995"/>
              <a:gd name="connsiteY244" fmla="*/ 6590 h 10000"/>
              <a:gd name="connsiteX245" fmla="*/ 8006 w 9995"/>
              <a:gd name="connsiteY245" fmla="*/ 6434 h 10000"/>
              <a:gd name="connsiteX246" fmla="*/ 8128 w 9995"/>
              <a:gd name="connsiteY246" fmla="*/ 6512 h 10000"/>
              <a:gd name="connsiteX247" fmla="*/ 8170 w 9995"/>
              <a:gd name="connsiteY247" fmla="*/ 6512 h 10000"/>
              <a:gd name="connsiteX248" fmla="*/ 8128 w 9995"/>
              <a:gd name="connsiteY248" fmla="*/ 6590 h 10000"/>
              <a:gd name="connsiteX249" fmla="*/ 8128 w 9995"/>
              <a:gd name="connsiteY249" fmla="*/ 6667 h 10000"/>
              <a:gd name="connsiteX250" fmla="*/ 8378 w 9995"/>
              <a:gd name="connsiteY250" fmla="*/ 6590 h 10000"/>
              <a:gd name="connsiteX251" fmla="*/ 8336 w 9995"/>
              <a:gd name="connsiteY251" fmla="*/ 6512 h 10000"/>
              <a:gd name="connsiteX252" fmla="*/ 8504 w 9995"/>
              <a:gd name="connsiteY252" fmla="*/ 5969 h 10000"/>
              <a:gd name="connsiteX253" fmla="*/ 8709 w 9995"/>
              <a:gd name="connsiteY253" fmla="*/ 5892 h 10000"/>
              <a:gd name="connsiteX254" fmla="*/ 8709 w 9995"/>
              <a:gd name="connsiteY254" fmla="*/ 6047 h 10000"/>
              <a:gd name="connsiteX255" fmla="*/ 8709 w 9995"/>
              <a:gd name="connsiteY255" fmla="*/ 6202 h 10000"/>
              <a:gd name="connsiteX256" fmla="*/ 8916 w 9995"/>
              <a:gd name="connsiteY256" fmla="*/ 5969 h 10000"/>
              <a:gd name="connsiteX257" fmla="*/ 8916 w 9995"/>
              <a:gd name="connsiteY257" fmla="*/ 5737 h 10000"/>
              <a:gd name="connsiteX258" fmla="*/ 8999 w 9995"/>
              <a:gd name="connsiteY258" fmla="*/ 5737 h 10000"/>
              <a:gd name="connsiteX259" fmla="*/ 8956 w 9995"/>
              <a:gd name="connsiteY259" fmla="*/ 5814 h 10000"/>
              <a:gd name="connsiteX260" fmla="*/ 8916 w 9995"/>
              <a:gd name="connsiteY260" fmla="*/ 6202 h 10000"/>
              <a:gd name="connsiteX261" fmla="*/ 8834 w 9995"/>
              <a:gd name="connsiteY261" fmla="*/ 6279 h 10000"/>
              <a:gd name="connsiteX262" fmla="*/ 8916 w 9995"/>
              <a:gd name="connsiteY262" fmla="*/ 6590 h 10000"/>
              <a:gd name="connsiteX263" fmla="*/ 8916 w 9995"/>
              <a:gd name="connsiteY263" fmla="*/ 6434 h 10000"/>
              <a:gd name="connsiteX264" fmla="*/ 8999 w 9995"/>
              <a:gd name="connsiteY264" fmla="*/ 6434 h 10000"/>
              <a:gd name="connsiteX265" fmla="*/ 9124 w 9995"/>
              <a:gd name="connsiteY265" fmla="*/ 6279 h 10000"/>
              <a:gd name="connsiteX266" fmla="*/ 9124 w 9995"/>
              <a:gd name="connsiteY266" fmla="*/ 6434 h 10000"/>
              <a:gd name="connsiteX267" fmla="*/ 9165 w 9995"/>
              <a:gd name="connsiteY267" fmla="*/ 6356 h 10000"/>
              <a:gd name="connsiteX268" fmla="*/ 9292 w 9995"/>
              <a:gd name="connsiteY268" fmla="*/ 6279 h 10000"/>
              <a:gd name="connsiteX269" fmla="*/ 9371 w 9995"/>
              <a:gd name="connsiteY269" fmla="*/ 6434 h 10000"/>
              <a:gd name="connsiteX270" fmla="*/ 9413 w 9995"/>
              <a:gd name="connsiteY270" fmla="*/ 6279 h 10000"/>
              <a:gd name="connsiteX271" fmla="*/ 9832 w 9995"/>
              <a:gd name="connsiteY271" fmla="*/ 5737 h 10000"/>
              <a:gd name="connsiteX272" fmla="*/ 9955 w 9995"/>
              <a:gd name="connsiteY272" fmla="*/ 5814 h 10000"/>
              <a:gd name="connsiteX273" fmla="*/ 9995 w 9995"/>
              <a:gd name="connsiteY273" fmla="*/ 5737 h 10000"/>
              <a:gd name="connsiteX274" fmla="*/ 9912 w 9995"/>
              <a:gd name="connsiteY274" fmla="*/ 5271 h 10000"/>
              <a:gd name="connsiteX275" fmla="*/ 9871 w 9995"/>
              <a:gd name="connsiteY275" fmla="*/ 5271 h 10000"/>
              <a:gd name="connsiteX276" fmla="*/ 9871 w 9995"/>
              <a:gd name="connsiteY276" fmla="*/ 5116 h 10000"/>
              <a:gd name="connsiteX277" fmla="*/ 9995 w 9995"/>
              <a:gd name="connsiteY277" fmla="*/ 3799 h 10000"/>
              <a:gd name="connsiteX278" fmla="*/ 9746 w 9995"/>
              <a:gd name="connsiteY278" fmla="*/ 3488 h 10000"/>
              <a:gd name="connsiteX279" fmla="*/ 9413 w 9995"/>
              <a:gd name="connsiteY279" fmla="*/ 3411 h 10000"/>
              <a:gd name="connsiteX280" fmla="*/ 9413 w 9995"/>
              <a:gd name="connsiteY280" fmla="*/ 3799 h 10000"/>
              <a:gd name="connsiteX281" fmla="*/ 9333 w 9995"/>
              <a:gd name="connsiteY281" fmla="*/ 3876 h 10000"/>
              <a:gd name="connsiteX282" fmla="*/ 9248 w 9995"/>
              <a:gd name="connsiteY282" fmla="*/ 3721 h 10000"/>
              <a:gd name="connsiteX283" fmla="*/ 9248 w 9995"/>
              <a:gd name="connsiteY283" fmla="*/ 3566 h 10000"/>
              <a:gd name="connsiteX284" fmla="*/ 9292 w 9995"/>
              <a:gd name="connsiteY284" fmla="*/ 3566 h 10000"/>
              <a:gd name="connsiteX285" fmla="*/ 9333 w 9995"/>
              <a:gd name="connsiteY285" fmla="*/ 3488 h 10000"/>
              <a:gd name="connsiteX286" fmla="*/ 9248 w 9995"/>
              <a:gd name="connsiteY286" fmla="*/ 3488 h 10000"/>
              <a:gd name="connsiteX287" fmla="*/ 9165 w 9995"/>
              <a:gd name="connsiteY287" fmla="*/ 3644 h 10000"/>
              <a:gd name="connsiteX288" fmla="*/ 8956 w 9995"/>
              <a:gd name="connsiteY288" fmla="*/ 3566 h 10000"/>
              <a:gd name="connsiteX289" fmla="*/ 8752 w 9995"/>
              <a:gd name="connsiteY289" fmla="*/ 3566 h 10000"/>
              <a:gd name="connsiteX290" fmla="*/ 8668 w 9995"/>
              <a:gd name="connsiteY290" fmla="*/ 3488 h 10000"/>
              <a:gd name="connsiteX291" fmla="*/ 8709 w 9995"/>
              <a:gd name="connsiteY291" fmla="*/ 3333 h 10000"/>
              <a:gd name="connsiteX292" fmla="*/ 8626 w 9995"/>
              <a:gd name="connsiteY292" fmla="*/ 3101 h 10000"/>
              <a:gd name="connsiteX293" fmla="*/ 8459 w 9995"/>
              <a:gd name="connsiteY293" fmla="*/ 3023 h 10000"/>
              <a:gd name="connsiteX294" fmla="*/ 8213 w 9995"/>
              <a:gd name="connsiteY294" fmla="*/ 3178 h 10000"/>
              <a:gd name="connsiteX295" fmla="*/ 8170 w 9995"/>
              <a:gd name="connsiteY295" fmla="*/ 2946 h 10000"/>
              <a:gd name="connsiteX296" fmla="*/ 8087 w 9995"/>
              <a:gd name="connsiteY296" fmla="*/ 2946 h 10000"/>
              <a:gd name="connsiteX297" fmla="*/ 8046 w 9995"/>
              <a:gd name="connsiteY297" fmla="*/ 2868 h 10000"/>
              <a:gd name="connsiteX298" fmla="*/ 8046 w 9995"/>
              <a:gd name="connsiteY298" fmla="*/ 2636 h 10000"/>
              <a:gd name="connsiteX299" fmla="*/ 7756 w 9995"/>
              <a:gd name="connsiteY299" fmla="*/ 2480 h 10000"/>
              <a:gd name="connsiteX300" fmla="*/ 7423 w 9995"/>
              <a:gd name="connsiteY300" fmla="*/ 2325 h 10000"/>
              <a:gd name="connsiteX301" fmla="*/ 7340 w 9995"/>
              <a:gd name="connsiteY301" fmla="*/ 2636 h 10000"/>
              <a:gd name="connsiteX302" fmla="*/ 7423 w 9995"/>
              <a:gd name="connsiteY302" fmla="*/ 2868 h 10000"/>
              <a:gd name="connsiteX303" fmla="*/ 7173 w 9995"/>
              <a:gd name="connsiteY303" fmla="*/ 2868 h 10000"/>
              <a:gd name="connsiteX304" fmla="*/ 7132 w 9995"/>
              <a:gd name="connsiteY304" fmla="*/ 2868 h 10000"/>
              <a:gd name="connsiteX305" fmla="*/ 7050 w 9995"/>
              <a:gd name="connsiteY305" fmla="*/ 2946 h 10000"/>
              <a:gd name="connsiteX306" fmla="*/ 6925 w 9995"/>
              <a:gd name="connsiteY306" fmla="*/ 2714 h 10000"/>
              <a:gd name="connsiteX307" fmla="*/ 6842 w 9995"/>
              <a:gd name="connsiteY307" fmla="*/ 3178 h 10000"/>
              <a:gd name="connsiteX308" fmla="*/ 6761 w 9995"/>
              <a:gd name="connsiteY308" fmla="*/ 3101 h 10000"/>
              <a:gd name="connsiteX309" fmla="*/ 6676 w 9995"/>
              <a:gd name="connsiteY309" fmla="*/ 2791 h 10000"/>
              <a:gd name="connsiteX310" fmla="*/ 6719 w 9995"/>
              <a:gd name="connsiteY310" fmla="*/ 2403 h 10000"/>
              <a:gd name="connsiteX311" fmla="*/ 6637 w 9995"/>
              <a:gd name="connsiteY311" fmla="*/ 2170 h 10000"/>
              <a:gd name="connsiteX312" fmla="*/ 6387 w 9995"/>
              <a:gd name="connsiteY312" fmla="*/ 2016 h 10000"/>
              <a:gd name="connsiteX313" fmla="*/ 6302 w 9995"/>
              <a:gd name="connsiteY313" fmla="*/ 2016 h 10000"/>
              <a:gd name="connsiteX314" fmla="*/ 6262 w 9995"/>
              <a:gd name="connsiteY314" fmla="*/ 2170 h 10000"/>
              <a:gd name="connsiteX315" fmla="*/ 6302 w 9995"/>
              <a:gd name="connsiteY315" fmla="*/ 2325 h 10000"/>
              <a:gd name="connsiteX316" fmla="*/ 5974 w 9995"/>
              <a:gd name="connsiteY316" fmla="*/ 2248 h 10000"/>
              <a:gd name="connsiteX317" fmla="*/ 6013 w 9995"/>
              <a:gd name="connsiteY317" fmla="*/ 2016 h 10000"/>
              <a:gd name="connsiteX318" fmla="*/ 5808 w 9995"/>
              <a:gd name="connsiteY318" fmla="*/ 1938 h 10000"/>
              <a:gd name="connsiteX319" fmla="*/ 5682 w 9995"/>
              <a:gd name="connsiteY319" fmla="*/ 2093 h 10000"/>
              <a:gd name="connsiteX320" fmla="*/ 5436 w 9995"/>
              <a:gd name="connsiteY320" fmla="*/ 1861 h 10000"/>
              <a:gd name="connsiteX0" fmla="*/ 5439 w 10000"/>
              <a:gd name="connsiteY0" fmla="*/ 1861 h 10000"/>
              <a:gd name="connsiteX1" fmla="*/ 5439 w 10000"/>
              <a:gd name="connsiteY1" fmla="*/ 1861 h 10000"/>
              <a:gd name="connsiteX2" fmla="*/ 5394 w 10000"/>
              <a:gd name="connsiteY2" fmla="*/ 1938 h 10000"/>
              <a:gd name="connsiteX3" fmla="*/ 5439 w 10000"/>
              <a:gd name="connsiteY3" fmla="*/ 2093 h 10000"/>
              <a:gd name="connsiteX4" fmla="*/ 5268 w 10000"/>
              <a:gd name="connsiteY4" fmla="*/ 2248 h 10000"/>
              <a:gd name="connsiteX5" fmla="*/ 5226 w 10000"/>
              <a:gd name="connsiteY5" fmla="*/ 2248 h 10000"/>
              <a:gd name="connsiteX6" fmla="*/ 5268 w 10000"/>
              <a:gd name="connsiteY6" fmla="*/ 2016 h 10000"/>
              <a:gd name="connsiteX7" fmla="*/ 5685 w 10000"/>
              <a:gd name="connsiteY7" fmla="*/ 1318 h 10000"/>
              <a:gd name="connsiteX8" fmla="*/ 5685 w 10000"/>
              <a:gd name="connsiteY8" fmla="*/ 853 h 10000"/>
              <a:gd name="connsiteX9" fmla="*/ 5519 w 10000"/>
              <a:gd name="connsiteY9" fmla="*/ 543 h 10000"/>
              <a:gd name="connsiteX10" fmla="*/ 5311 w 10000"/>
              <a:gd name="connsiteY10" fmla="*/ 543 h 10000"/>
              <a:gd name="connsiteX11" fmla="*/ 5311 w 10000"/>
              <a:gd name="connsiteY11" fmla="*/ 698 h 10000"/>
              <a:gd name="connsiteX12" fmla="*/ 5186 w 10000"/>
              <a:gd name="connsiteY12" fmla="*/ 698 h 10000"/>
              <a:gd name="connsiteX13" fmla="*/ 5268 w 10000"/>
              <a:gd name="connsiteY13" fmla="*/ 387 h 10000"/>
              <a:gd name="connsiteX14" fmla="*/ 5062 w 10000"/>
              <a:gd name="connsiteY14" fmla="*/ 310 h 10000"/>
              <a:gd name="connsiteX15" fmla="*/ 5186 w 10000"/>
              <a:gd name="connsiteY15" fmla="*/ 155 h 10000"/>
              <a:gd name="connsiteX16" fmla="*/ 5062 w 10000"/>
              <a:gd name="connsiteY16" fmla="*/ 0 h 10000"/>
              <a:gd name="connsiteX17" fmla="*/ 4854 w 10000"/>
              <a:gd name="connsiteY17" fmla="*/ 387 h 10000"/>
              <a:gd name="connsiteX18" fmla="*/ 4854 w 10000"/>
              <a:gd name="connsiteY18" fmla="*/ 698 h 10000"/>
              <a:gd name="connsiteX19" fmla="*/ 4729 w 10000"/>
              <a:gd name="connsiteY19" fmla="*/ 698 h 10000"/>
              <a:gd name="connsiteX20" fmla="*/ 4358 w 10000"/>
              <a:gd name="connsiteY20" fmla="*/ 853 h 10000"/>
              <a:gd name="connsiteX21" fmla="*/ 4024 w 10000"/>
              <a:gd name="connsiteY21" fmla="*/ 1240 h 10000"/>
              <a:gd name="connsiteX22" fmla="*/ 3900 w 10000"/>
              <a:gd name="connsiteY22" fmla="*/ 1551 h 10000"/>
              <a:gd name="connsiteX23" fmla="*/ 3942 w 10000"/>
              <a:gd name="connsiteY23" fmla="*/ 1938 h 10000"/>
              <a:gd name="connsiteX24" fmla="*/ 3486 w 10000"/>
              <a:gd name="connsiteY24" fmla="*/ 2093 h 10000"/>
              <a:gd name="connsiteX25" fmla="*/ 3527 w 10000"/>
              <a:gd name="connsiteY25" fmla="*/ 2559 h 10000"/>
              <a:gd name="connsiteX26" fmla="*/ 3653 w 10000"/>
              <a:gd name="connsiteY26" fmla="*/ 2791 h 10000"/>
              <a:gd name="connsiteX27" fmla="*/ 3570 w 10000"/>
              <a:gd name="connsiteY27" fmla="*/ 2868 h 10000"/>
              <a:gd name="connsiteX28" fmla="*/ 3445 w 10000"/>
              <a:gd name="connsiteY28" fmla="*/ 2559 h 10000"/>
              <a:gd name="connsiteX29" fmla="*/ 3320 w 10000"/>
              <a:gd name="connsiteY29" fmla="*/ 2480 h 10000"/>
              <a:gd name="connsiteX30" fmla="*/ 3279 w 10000"/>
              <a:gd name="connsiteY30" fmla="*/ 2559 h 10000"/>
              <a:gd name="connsiteX31" fmla="*/ 3195 w 10000"/>
              <a:gd name="connsiteY31" fmla="*/ 2403 h 10000"/>
              <a:gd name="connsiteX32" fmla="*/ 3113 w 10000"/>
              <a:gd name="connsiteY32" fmla="*/ 2248 h 10000"/>
              <a:gd name="connsiteX33" fmla="*/ 3113 w 10000"/>
              <a:gd name="connsiteY33" fmla="*/ 2325 h 10000"/>
              <a:gd name="connsiteX34" fmla="*/ 3155 w 10000"/>
              <a:gd name="connsiteY34" fmla="*/ 2559 h 10000"/>
              <a:gd name="connsiteX35" fmla="*/ 3029 w 10000"/>
              <a:gd name="connsiteY35" fmla="*/ 2946 h 10000"/>
              <a:gd name="connsiteX36" fmla="*/ 3113 w 10000"/>
              <a:gd name="connsiteY36" fmla="*/ 3256 h 10000"/>
              <a:gd name="connsiteX37" fmla="*/ 3070 w 10000"/>
              <a:gd name="connsiteY37" fmla="*/ 3566 h 10000"/>
              <a:gd name="connsiteX38" fmla="*/ 3070 w 10000"/>
              <a:gd name="connsiteY38" fmla="*/ 3799 h 10000"/>
              <a:gd name="connsiteX39" fmla="*/ 3195 w 10000"/>
              <a:gd name="connsiteY39" fmla="*/ 3799 h 10000"/>
              <a:gd name="connsiteX40" fmla="*/ 3113 w 10000"/>
              <a:gd name="connsiteY40" fmla="*/ 3876 h 10000"/>
              <a:gd name="connsiteX41" fmla="*/ 3155 w 10000"/>
              <a:gd name="connsiteY41" fmla="*/ 4263 h 10000"/>
              <a:gd name="connsiteX42" fmla="*/ 2905 w 10000"/>
              <a:gd name="connsiteY42" fmla="*/ 4652 h 10000"/>
              <a:gd name="connsiteX43" fmla="*/ 2863 w 10000"/>
              <a:gd name="connsiteY43" fmla="*/ 4574 h 10000"/>
              <a:gd name="connsiteX44" fmla="*/ 3029 w 10000"/>
              <a:gd name="connsiteY44" fmla="*/ 4186 h 10000"/>
              <a:gd name="connsiteX45" fmla="*/ 3070 w 10000"/>
              <a:gd name="connsiteY45" fmla="*/ 3954 h 10000"/>
              <a:gd name="connsiteX46" fmla="*/ 2984 w 10000"/>
              <a:gd name="connsiteY46" fmla="*/ 3799 h 10000"/>
              <a:gd name="connsiteX47" fmla="*/ 2984 w 10000"/>
              <a:gd name="connsiteY47" fmla="*/ 3023 h 10000"/>
              <a:gd name="connsiteX48" fmla="*/ 2946 w 10000"/>
              <a:gd name="connsiteY48" fmla="*/ 2868 h 10000"/>
              <a:gd name="connsiteX49" fmla="*/ 2984 w 10000"/>
              <a:gd name="connsiteY49" fmla="*/ 2403 h 10000"/>
              <a:gd name="connsiteX50" fmla="*/ 2905 w 10000"/>
              <a:gd name="connsiteY50" fmla="*/ 2325 h 10000"/>
              <a:gd name="connsiteX51" fmla="*/ 2946 w 10000"/>
              <a:gd name="connsiteY51" fmla="*/ 2248 h 10000"/>
              <a:gd name="connsiteX52" fmla="*/ 2905 w 10000"/>
              <a:gd name="connsiteY52" fmla="*/ 2093 h 10000"/>
              <a:gd name="connsiteX53" fmla="*/ 2819 w 10000"/>
              <a:gd name="connsiteY53" fmla="*/ 2170 h 10000"/>
              <a:gd name="connsiteX54" fmla="*/ 2614 w 10000"/>
              <a:gd name="connsiteY54" fmla="*/ 3178 h 10000"/>
              <a:gd name="connsiteX55" fmla="*/ 2614 w 10000"/>
              <a:gd name="connsiteY55" fmla="*/ 3566 h 10000"/>
              <a:gd name="connsiteX56" fmla="*/ 2738 w 10000"/>
              <a:gd name="connsiteY56" fmla="*/ 3876 h 10000"/>
              <a:gd name="connsiteX57" fmla="*/ 2738 w 10000"/>
              <a:gd name="connsiteY57" fmla="*/ 4031 h 10000"/>
              <a:gd name="connsiteX58" fmla="*/ 2614 w 10000"/>
              <a:gd name="connsiteY58" fmla="*/ 3876 h 10000"/>
              <a:gd name="connsiteX59" fmla="*/ 2118 w 10000"/>
              <a:gd name="connsiteY59" fmla="*/ 3256 h 10000"/>
              <a:gd name="connsiteX60" fmla="*/ 2075 w 10000"/>
              <a:gd name="connsiteY60" fmla="*/ 3411 h 10000"/>
              <a:gd name="connsiteX61" fmla="*/ 2241 w 10000"/>
              <a:gd name="connsiteY61" fmla="*/ 3799 h 10000"/>
              <a:gd name="connsiteX62" fmla="*/ 2158 w 10000"/>
              <a:gd name="connsiteY62" fmla="*/ 3876 h 10000"/>
              <a:gd name="connsiteX63" fmla="*/ 2118 w 10000"/>
              <a:gd name="connsiteY63" fmla="*/ 3799 h 10000"/>
              <a:gd name="connsiteX64" fmla="*/ 1868 w 10000"/>
              <a:gd name="connsiteY64" fmla="*/ 3954 h 10000"/>
              <a:gd name="connsiteX65" fmla="*/ 1826 w 10000"/>
              <a:gd name="connsiteY65" fmla="*/ 4109 h 10000"/>
              <a:gd name="connsiteX66" fmla="*/ 1784 w 10000"/>
              <a:gd name="connsiteY66" fmla="*/ 3954 h 10000"/>
              <a:gd name="connsiteX67" fmla="*/ 1784 w 10000"/>
              <a:gd name="connsiteY67" fmla="*/ 3799 h 10000"/>
              <a:gd name="connsiteX68" fmla="*/ 1368 w 10000"/>
              <a:gd name="connsiteY68" fmla="*/ 4263 h 10000"/>
              <a:gd name="connsiteX69" fmla="*/ 1368 w 10000"/>
              <a:gd name="connsiteY69" fmla="*/ 4418 h 10000"/>
              <a:gd name="connsiteX70" fmla="*/ 1287 w 10000"/>
              <a:gd name="connsiteY70" fmla="*/ 4496 h 10000"/>
              <a:gd name="connsiteX71" fmla="*/ 1162 w 10000"/>
              <a:gd name="connsiteY71" fmla="*/ 4341 h 10000"/>
              <a:gd name="connsiteX72" fmla="*/ 1287 w 10000"/>
              <a:gd name="connsiteY72" fmla="*/ 4186 h 10000"/>
              <a:gd name="connsiteX73" fmla="*/ 1246 w 10000"/>
              <a:gd name="connsiteY73" fmla="*/ 3954 h 10000"/>
              <a:gd name="connsiteX74" fmla="*/ 1080 w 10000"/>
              <a:gd name="connsiteY74" fmla="*/ 3876 h 10000"/>
              <a:gd name="connsiteX75" fmla="*/ 1122 w 10000"/>
              <a:gd name="connsiteY75" fmla="*/ 4031 h 10000"/>
              <a:gd name="connsiteX76" fmla="*/ 1122 w 10000"/>
              <a:gd name="connsiteY76" fmla="*/ 4418 h 10000"/>
              <a:gd name="connsiteX77" fmla="*/ 1162 w 10000"/>
              <a:gd name="connsiteY77" fmla="*/ 4574 h 10000"/>
              <a:gd name="connsiteX78" fmla="*/ 1122 w 10000"/>
              <a:gd name="connsiteY78" fmla="*/ 4729 h 10000"/>
              <a:gd name="connsiteX79" fmla="*/ 995 w 10000"/>
              <a:gd name="connsiteY79" fmla="*/ 4652 h 10000"/>
              <a:gd name="connsiteX80" fmla="*/ 829 w 10000"/>
              <a:gd name="connsiteY80" fmla="*/ 4884 h 10000"/>
              <a:gd name="connsiteX81" fmla="*/ 912 w 10000"/>
              <a:gd name="connsiteY81" fmla="*/ 5194 h 10000"/>
              <a:gd name="connsiteX82" fmla="*/ 663 w 10000"/>
              <a:gd name="connsiteY82" fmla="*/ 5039 h 10000"/>
              <a:gd name="connsiteX83" fmla="*/ 622 w 10000"/>
              <a:gd name="connsiteY83" fmla="*/ 5116 h 10000"/>
              <a:gd name="connsiteX84" fmla="*/ 706 w 10000"/>
              <a:gd name="connsiteY84" fmla="*/ 5349 h 10000"/>
              <a:gd name="connsiteX85" fmla="*/ 622 w 10000"/>
              <a:gd name="connsiteY85" fmla="*/ 5349 h 10000"/>
              <a:gd name="connsiteX86" fmla="*/ 499 w 10000"/>
              <a:gd name="connsiteY86" fmla="*/ 5194 h 10000"/>
              <a:gd name="connsiteX87" fmla="*/ 499 w 10000"/>
              <a:gd name="connsiteY87" fmla="*/ 4729 h 10000"/>
              <a:gd name="connsiteX88" fmla="*/ 374 w 10000"/>
              <a:gd name="connsiteY88" fmla="*/ 4574 h 10000"/>
              <a:gd name="connsiteX89" fmla="*/ 332 w 10000"/>
              <a:gd name="connsiteY89" fmla="*/ 4418 h 10000"/>
              <a:gd name="connsiteX90" fmla="*/ 415 w 10000"/>
              <a:gd name="connsiteY90" fmla="*/ 4496 h 10000"/>
              <a:gd name="connsiteX91" fmla="*/ 746 w 10000"/>
              <a:gd name="connsiteY91" fmla="*/ 4729 h 10000"/>
              <a:gd name="connsiteX92" fmla="*/ 954 w 10000"/>
              <a:gd name="connsiteY92" fmla="*/ 4496 h 10000"/>
              <a:gd name="connsiteX93" fmla="*/ 912 w 10000"/>
              <a:gd name="connsiteY93" fmla="*/ 4263 h 10000"/>
              <a:gd name="connsiteX94" fmla="*/ 663 w 10000"/>
              <a:gd name="connsiteY94" fmla="*/ 3799 h 10000"/>
              <a:gd name="connsiteX95" fmla="*/ 415 w 10000"/>
              <a:gd name="connsiteY95" fmla="*/ 3644 h 10000"/>
              <a:gd name="connsiteX96" fmla="*/ 415 w 10000"/>
              <a:gd name="connsiteY96" fmla="*/ 3566 h 10000"/>
              <a:gd name="connsiteX97" fmla="*/ 332 w 10000"/>
              <a:gd name="connsiteY97" fmla="*/ 3488 h 10000"/>
              <a:gd name="connsiteX98" fmla="*/ 248 w 10000"/>
              <a:gd name="connsiteY98" fmla="*/ 3566 h 10000"/>
              <a:gd name="connsiteX99" fmla="*/ 248 w 10000"/>
              <a:gd name="connsiteY99" fmla="*/ 3644 h 10000"/>
              <a:gd name="connsiteX100" fmla="*/ 208 w 10000"/>
              <a:gd name="connsiteY100" fmla="*/ 3644 h 10000"/>
              <a:gd name="connsiteX101" fmla="*/ 124 w 10000"/>
              <a:gd name="connsiteY101" fmla="*/ 3799 h 10000"/>
              <a:gd name="connsiteX102" fmla="*/ 124 w 10000"/>
              <a:gd name="connsiteY102" fmla="*/ 4031 h 10000"/>
              <a:gd name="connsiteX103" fmla="*/ 208 w 10000"/>
              <a:gd name="connsiteY103" fmla="*/ 4186 h 10000"/>
              <a:gd name="connsiteX104" fmla="*/ 165 w 10000"/>
              <a:gd name="connsiteY104" fmla="*/ 4418 h 10000"/>
              <a:gd name="connsiteX105" fmla="*/ 208 w 10000"/>
              <a:gd name="connsiteY105" fmla="*/ 4807 h 10000"/>
              <a:gd name="connsiteX106" fmla="*/ 165 w 10000"/>
              <a:gd name="connsiteY106" fmla="*/ 5039 h 10000"/>
              <a:gd name="connsiteX107" fmla="*/ 248 w 10000"/>
              <a:gd name="connsiteY107" fmla="*/ 5271 h 10000"/>
              <a:gd name="connsiteX108" fmla="*/ 208 w 10000"/>
              <a:gd name="connsiteY108" fmla="*/ 5426 h 10000"/>
              <a:gd name="connsiteX109" fmla="*/ 290 w 10000"/>
              <a:gd name="connsiteY109" fmla="*/ 5582 h 10000"/>
              <a:gd name="connsiteX110" fmla="*/ 290 w 10000"/>
              <a:gd name="connsiteY110" fmla="*/ 5659 h 10000"/>
              <a:gd name="connsiteX111" fmla="*/ 165 w 10000"/>
              <a:gd name="connsiteY111" fmla="*/ 6047 h 10000"/>
              <a:gd name="connsiteX112" fmla="*/ 40 w 10000"/>
              <a:gd name="connsiteY112" fmla="*/ 6202 h 10000"/>
              <a:gd name="connsiteX113" fmla="*/ 83 w 10000"/>
              <a:gd name="connsiteY113" fmla="*/ 6202 h 10000"/>
              <a:gd name="connsiteX114" fmla="*/ 165 w 10000"/>
              <a:gd name="connsiteY114" fmla="*/ 6356 h 10000"/>
              <a:gd name="connsiteX115" fmla="*/ 83 w 10000"/>
              <a:gd name="connsiteY115" fmla="*/ 6512 h 10000"/>
              <a:gd name="connsiteX116" fmla="*/ 40 w 10000"/>
              <a:gd name="connsiteY116" fmla="*/ 6590 h 10000"/>
              <a:gd name="connsiteX117" fmla="*/ 0 w 10000"/>
              <a:gd name="connsiteY117" fmla="*/ 6590 h 10000"/>
              <a:gd name="connsiteX118" fmla="*/ 40 w 10000"/>
              <a:gd name="connsiteY118" fmla="*/ 6822 h 10000"/>
              <a:gd name="connsiteX119" fmla="*/ 40 w 10000"/>
              <a:gd name="connsiteY119" fmla="*/ 6900 h 10000"/>
              <a:gd name="connsiteX120" fmla="*/ 40 w 10000"/>
              <a:gd name="connsiteY120" fmla="*/ 6977 h 10000"/>
              <a:gd name="connsiteX121" fmla="*/ 40 w 10000"/>
              <a:gd name="connsiteY121" fmla="*/ 7054 h 10000"/>
              <a:gd name="connsiteX122" fmla="*/ 83 w 10000"/>
              <a:gd name="connsiteY122" fmla="*/ 7209 h 10000"/>
              <a:gd name="connsiteX123" fmla="*/ 208 w 10000"/>
              <a:gd name="connsiteY123" fmla="*/ 7287 h 10000"/>
              <a:gd name="connsiteX124" fmla="*/ 248 w 10000"/>
              <a:gd name="connsiteY124" fmla="*/ 7364 h 10000"/>
              <a:gd name="connsiteX125" fmla="*/ 248 w 10000"/>
              <a:gd name="connsiteY125" fmla="*/ 7520 h 10000"/>
              <a:gd name="connsiteX126" fmla="*/ 332 w 10000"/>
              <a:gd name="connsiteY126" fmla="*/ 7752 h 10000"/>
              <a:gd name="connsiteX127" fmla="*/ 374 w 10000"/>
              <a:gd name="connsiteY127" fmla="*/ 7752 h 10000"/>
              <a:gd name="connsiteX128" fmla="*/ 332 w 10000"/>
              <a:gd name="connsiteY128" fmla="*/ 7907 h 10000"/>
              <a:gd name="connsiteX129" fmla="*/ 290 w 10000"/>
              <a:gd name="connsiteY129" fmla="*/ 7830 h 10000"/>
              <a:gd name="connsiteX130" fmla="*/ 290 w 10000"/>
              <a:gd name="connsiteY130" fmla="*/ 7907 h 10000"/>
              <a:gd name="connsiteX131" fmla="*/ 332 w 10000"/>
              <a:gd name="connsiteY131" fmla="*/ 8062 h 10000"/>
              <a:gd name="connsiteX132" fmla="*/ 457 w 10000"/>
              <a:gd name="connsiteY132" fmla="*/ 8062 h 10000"/>
              <a:gd name="connsiteX133" fmla="*/ 499 w 10000"/>
              <a:gd name="connsiteY133" fmla="*/ 8140 h 10000"/>
              <a:gd name="connsiteX134" fmla="*/ 457 w 10000"/>
              <a:gd name="connsiteY134" fmla="*/ 8140 h 10000"/>
              <a:gd name="connsiteX135" fmla="*/ 499 w 10000"/>
              <a:gd name="connsiteY135" fmla="*/ 8217 h 10000"/>
              <a:gd name="connsiteX136" fmla="*/ 538 w 10000"/>
              <a:gd name="connsiteY136" fmla="*/ 8217 h 10000"/>
              <a:gd name="connsiteX137" fmla="*/ 580 w 10000"/>
              <a:gd name="connsiteY137" fmla="*/ 8372 h 10000"/>
              <a:gd name="connsiteX138" fmla="*/ 622 w 10000"/>
              <a:gd name="connsiteY138" fmla="*/ 8449 h 10000"/>
              <a:gd name="connsiteX139" fmla="*/ 663 w 10000"/>
              <a:gd name="connsiteY139" fmla="*/ 8372 h 10000"/>
              <a:gd name="connsiteX140" fmla="*/ 872 w 10000"/>
              <a:gd name="connsiteY140" fmla="*/ 8605 h 10000"/>
              <a:gd name="connsiteX141" fmla="*/ 829 w 10000"/>
              <a:gd name="connsiteY141" fmla="*/ 8915 h 10000"/>
              <a:gd name="connsiteX142" fmla="*/ 786 w 10000"/>
              <a:gd name="connsiteY142" fmla="*/ 8838 h 10000"/>
              <a:gd name="connsiteX143" fmla="*/ 746 w 10000"/>
              <a:gd name="connsiteY143" fmla="*/ 8915 h 10000"/>
              <a:gd name="connsiteX144" fmla="*/ 746 w 10000"/>
              <a:gd name="connsiteY144" fmla="*/ 9070 h 10000"/>
              <a:gd name="connsiteX145" fmla="*/ 786 w 10000"/>
              <a:gd name="connsiteY145" fmla="*/ 8993 h 10000"/>
              <a:gd name="connsiteX146" fmla="*/ 829 w 10000"/>
              <a:gd name="connsiteY146" fmla="*/ 9070 h 10000"/>
              <a:gd name="connsiteX147" fmla="*/ 706 w 10000"/>
              <a:gd name="connsiteY147" fmla="*/ 9147 h 10000"/>
              <a:gd name="connsiteX148" fmla="*/ 746 w 10000"/>
              <a:gd name="connsiteY148" fmla="*/ 9225 h 10000"/>
              <a:gd name="connsiteX149" fmla="*/ 663 w 10000"/>
              <a:gd name="connsiteY149" fmla="*/ 9380 h 10000"/>
              <a:gd name="connsiteX150" fmla="*/ 622 w 10000"/>
              <a:gd name="connsiteY150" fmla="*/ 9380 h 10000"/>
              <a:gd name="connsiteX151" fmla="*/ 663 w 10000"/>
              <a:gd name="connsiteY151" fmla="*/ 9380 h 10000"/>
              <a:gd name="connsiteX152" fmla="*/ 829 w 10000"/>
              <a:gd name="connsiteY152" fmla="*/ 9691 h 10000"/>
              <a:gd name="connsiteX153" fmla="*/ 1038 w 10000"/>
              <a:gd name="connsiteY153" fmla="*/ 9691 h 10000"/>
              <a:gd name="connsiteX154" fmla="*/ 1122 w 10000"/>
              <a:gd name="connsiteY154" fmla="*/ 9768 h 10000"/>
              <a:gd name="connsiteX155" fmla="*/ 1203 w 10000"/>
              <a:gd name="connsiteY155" fmla="*/ 9768 h 10000"/>
              <a:gd name="connsiteX156" fmla="*/ 1287 w 10000"/>
              <a:gd name="connsiteY156" fmla="*/ 9923 h 10000"/>
              <a:gd name="connsiteX157" fmla="*/ 1328 w 10000"/>
              <a:gd name="connsiteY157" fmla="*/ 10000 h 10000"/>
              <a:gd name="connsiteX158" fmla="*/ 1368 w 10000"/>
              <a:gd name="connsiteY158" fmla="*/ 10000 h 10000"/>
              <a:gd name="connsiteX159" fmla="*/ 1412 w 10000"/>
              <a:gd name="connsiteY159" fmla="*/ 9923 h 10000"/>
              <a:gd name="connsiteX160" fmla="*/ 1328 w 10000"/>
              <a:gd name="connsiteY160" fmla="*/ 9768 h 10000"/>
              <a:gd name="connsiteX161" fmla="*/ 1328 w 10000"/>
              <a:gd name="connsiteY161" fmla="*/ 9613 h 10000"/>
              <a:gd name="connsiteX162" fmla="*/ 1287 w 10000"/>
              <a:gd name="connsiteY162" fmla="*/ 9457 h 10000"/>
              <a:gd name="connsiteX163" fmla="*/ 1368 w 10000"/>
              <a:gd name="connsiteY163" fmla="*/ 9225 h 10000"/>
              <a:gd name="connsiteX164" fmla="*/ 1412 w 10000"/>
              <a:gd name="connsiteY164" fmla="*/ 9302 h 10000"/>
              <a:gd name="connsiteX165" fmla="*/ 1453 w 10000"/>
              <a:gd name="connsiteY165" fmla="*/ 9225 h 10000"/>
              <a:gd name="connsiteX166" fmla="*/ 1453 w 10000"/>
              <a:gd name="connsiteY166" fmla="*/ 9147 h 10000"/>
              <a:gd name="connsiteX167" fmla="*/ 1412 w 10000"/>
              <a:gd name="connsiteY167" fmla="*/ 9147 h 10000"/>
              <a:gd name="connsiteX168" fmla="*/ 1453 w 10000"/>
              <a:gd name="connsiteY168" fmla="*/ 9070 h 10000"/>
              <a:gd name="connsiteX169" fmla="*/ 1412 w 10000"/>
              <a:gd name="connsiteY169" fmla="*/ 8915 h 10000"/>
              <a:gd name="connsiteX170" fmla="*/ 1328 w 10000"/>
              <a:gd name="connsiteY170" fmla="*/ 8915 h 10000"/>
              <a:gd name="connsiteX171" fmla="*/ 1287 w 10000"/>
              <a:gd name="connsiteY171" fmla="*/ 8760 h 10000"/>
              <a:gd name="connsiteX172" fmla="*/ 1328 w 10000"/>
              <a:gd name="connsiteY172" fmla="*/ 8372 h 10000"/>
              <a:gd name="connsiteX173" fmla="*/ 1412 w 10000"/>
              <a:gd name="connsiteY173" fmla="*/ 8528 h 10000"/>
              <a:gd name="connsiteX174" fmla="*/ 1453 w 10000"/>
              <a:gd name="connsiteY174" fmla="*/ 8528 h 10000"/>
              <a:gd name="connsiteX175" fmla="*/ 1412 w 10000"/>
              <a:gd name="connsiteY175" fmla="*/ 8372 h 10000"/>
              <a:gd name="connsiteX176" fmla="*/ 1536 w 10000"/>
              <a:gd name="connsiteY176" fmla="*/ 8140 h 10000"/>
              <a:gd name="connsiteX177" fmla="*/ 1620 w 10000"/>
              <a:gd name="connsiteY177" fmla="*/ 8217 h 10000"/>
              <a:gd name="connsiteX178" fmla="*/ 1660 w 10000"/>
              <a:gd name="connsiteY178" fmla="*/ 8140 h 10000"/>
              <a:gd name="connsiteX179" fmla="*/ 1743 w 10000"/>
              <a:gd name="connsiteY179" fmla="*/ 8217 h 10000"/>
              <a:gd name="connsiteX180" fmla="*/ 1868 w 10000"/>
              <a:gd name="connsiteY180" fmla="*/ 8372 h 10000"/>
              <a:gd name="connsiteX181" fmla="*/ 1951 w 10000"/>
              <a:gd name="connsiteY181" fmla="*/ 8295 h 10000"/>
              <a:gd name="connsiteX182" fmla="*/ 2033 w 10000"/>
              <a:gd name="connsiteY182" fmla="*/ 8295 h 10000"/>
              <a:gd name="connsiteX183" fmla="*/ 2075 w 10000"/>
              <a:gd name="connsiteY183" fmla="*/ 8372 h 10000"/>
              <a:gd name="connsiteX184" fmla="*/ 2241 w 10000"/>
              <a:gd name="connsiteY184" fmla="*/ 8372 h 10000"/>
              <a:gd name="connsiteX185" fmla="*/ 2281 w 10000"/>
              <a:gd name="connsiteY185" fmla="*/ 8217 h 10000"/>
              <a:gd name="connsiteX186" fmla="*/ 2158 w 10000"/>
              <a:gd name="connsiteY186" fmla="*/ 8140 h 10000"/>
              <a:gd name="connsiteX187" fmla="*/ 2241 w 10000"/>
              <a:gd name="connsiteY187" fmla="*/ 8062 h 10000"/>
              <a:gd name="connsiteX188" fmla="*/ 2199 w 10000"/>
              <a:gd name="connsiteY188" fmla="*/ 7985 h 10000"/>
              <a:gd name="connsiteX189" fmla="*/ 2241 w 10000"/>
              <a:gd name="connsiteY189" fmla="*/ 7907 h 10000"/>
              <a:gd name="connsiteX190" fmla="*/ 2241 w 10000"/>
              <a:gd name="connsiteY190" fmla="*/ 7675 h 10000"/>
              <a:gd name="connsiteX191" fmla="*/ 2323 w 10000"/>
              <a:gd name="connsiteY191" fmla="*/ 7752 h 10000"/>
              <a:gd name="connsiteX192" fmla="*/ 2697 w 10000"/>
              <a:gd name="connsiteY192" fmla="*/ 7520 h 10000"/>
              <a:gd name="connsiteX193" fmla="*/ 2697 w 10000"/>
              <a:gd name="connsiteY193" fmla="*/ 7442 h 10000"/>
              <a:gd name="connsiteX194" fmla="*/ 2738 w 10000"/>
              <a:gd name="connsiteY194" fmla="*/ 7442 h 10000"/>
              <a:gd name="connsiteX195" fmla="*/ 2863 w 10000"/>
              <a:gd name="connsiteY195" fmla="*/ 7442 h 10000"/>
              <a:gd name="connsiteX196" fmla="*/ 2905 w 10000"/>
              <a:gd name="connsiteY196" fmla="*/ 7598 h 10000"/>
              <a:gd name="connsiteX197" fmla="*/ 2905 w 10000"/>
              <a:gd name="connsiteY197" fmla="*/ 7675 h 10000"/>
              <a:gd name="connsiteX198" fmla="*/ 2946 w 10000"/>
              <a:gd name="connsiteY198" fmla="*/ 7675 h 10000"/>
              <a:gd name="connsiteX199" fmla="*/ 3029 w 10000"/>
              <a:gd name="connsiteY199" fmla="*/ 7752 h 10000"/>
              <a:gd name="connsiteX200" fmla="*/ 3029 w 10000"/>
              <a:gd name="connsiteY200" fmla="*/ 7830 h 10000"/>
              <a:gd name="connsiteX201" fmla="*/ 3113 w 10000"/>
              <a:gd name="connsiteY201" fmla="*/ 7830 h 10000"/>
              <a:gd name="connsiteX202" fmla="*/ 3195 w 10000"/>
              <a:gd name="connsiteY202" fmla="*/ 7675 h 10000"/>
              <a:gd name="connsiteX203" fmla="*/ 3279 w 10000"/>
              <a:gd name="connsiteY203" fmla="*/ 7598 h 10000"/>
              <a:gd name="connsiteX204" fmla="*/ 3320 w 10000"/>
              <a:gd name="connsiteY204" fmla="*/ 7830 h 10000"/>
              <a:gd name="connsiteX205" fmla="*/ 3486 w 10000"/>
              <a:gd name="connsiteY205" fmla="*/ 8372 h 10000"/>
              <a:gd name="connsiteX206" fmla="*/ 3527 w 10000"/>
              <a:gd name="connsiteY206" fmla="*/ 8217 h 10000"/>
              <a:gd name="connsiteX207" fmla="*/ 3570 w 10000"/>
              <a:gd name="connsiteY207" fmla="*/ 8372 h 10000"/>
              <a:gd name="connsiteX208" fmla="*/ 3695 w 10000"/>
              <a:gd name="connsiteY208" fmla="*/ 8295 h 10000"/>
              <a:gd name="connsiteX209" fmla="*/ 3819 w 10000"/>
              <a:gd name="connsiteY209" fmla="*/ 8528 h 10000"/>
              <a:gd name="connsiteX210" fmla="*/ 3900 w 10000"/>
              <a:gd name="connsiteY210" fmla="*/ 8605 h 10000"/>
              <a:gd name="connsiteX211" fmla="*/ 3900 w 10000"/>
              <a:gd name="connsiteY211" fmla="*/ 8528 h 10000"/>
              <a:gd name="connsiteX212" fmla="*/ 3942 w 10000"/>
              <a:gd name="connsiteY212" fmla="*/ 8683 h 10000"/>
              <a:gd name="connsiteX213" fmla="*/ 3900 w 10000"/>
              <a:gd name="connsiteY213" fmla="*/ 8760 h 10000"/>
              <a:gd name="connsiteX214" fmla="*/ 3984 w 10000"/>
              <a:gd name="connsiteY214" fmla="*/ 8683 h 10000"/>
              <a:gd name="connsiteX215" fmla="*/ 4024 w 10000"/>
              <a:gd name="connsiteY215" fmla="*/ 8605 h 10000"/>
              <a:gd name="connsiteX216" fmla="*/ 4233 w 10000"/>
              <a:gd name="connsiteY216" fmla="*/ 8372 h 10000"/>
              <a:gd name="connsiteX217" fmla="*/ 4398 w 10000"/>
              <a:gd name="connsiteY217" fmla="*/ 8449 h 10000"/>
              <a:gd name="connsiteX218" fmla="*/ 4481 w 10000"/>
              <a:gd name="connsiteY218" fmla="*/ 8528 h 10000"/>
              <a:gd name="connsiteX219" fmla="*/ 4645 w 10000"/>
              <a:gd name="connsiteY219" fmla="*/ 8528 h 10000"/>
              <a:gd name="connsiteX220" fmla="*/ 4645 w 10000"/>
              <a:gd name="connsiteY220" fmla="*/ 8372 h 10000"/>
              <a:gd name="connsiteX221" fmla="*/ 4645 w 10000"/>
              <a:gd name="connsiteY221" fmla="*/ 8217 h 10000"/>
              <a:gd name="connsiteX222" fmla="*/ 4729 w 10000"/>
              <a:gd name="connsiteY222" fmla="*/ 8140 h 10000"/>
              <a:gd name="connsiteX223" fmla="*/ 4895 w 10000"/>
              <a:gd name="connsiteY223" fmla="*/ 8217 h 10000"/>
              <a:gd name="connsiteX224" fmla="*/ 4978 w 10000"/>
              <a:gd name="connsiteY224" fmla="*/ 8449 h 10000"/>
              <a:gd name="connsiteX225" fmla="*/ 5021 w 10000"/>
              <a:gd name="connsiteY225" fmla="*/ 8449 h 10000"/>
              <a:gd name="connsiteX226" fmla="*/ 5104 w 10000"/>
              <a:gd name="connsiteY226" fmla="*/ 8372 h 10000"/>
              <a:gd name="connsiteX227" fmla="*/ 5355 w 10000"/>
              <a:gd name="connsiteY227" fmla="*/ 8605 h 10000"/>
              <a:gd name="connsiteX228" fmla="*/ 5478 w 10000"/>
              <a:gd name="connsiteY228" fmla="*/ 8683 h 10000"/>
              <a:gd name="connsiteX229" fmla="*/ 5644 w 10000"/>
              <a:gd name="connsiteY229" fmla="*/ 8605 h 10000"/>
              <a:gd name="connsiteX230" fmla="*/ 5725 w 10000"/>
              <a:gd name="connsiteY230" fmla="*/ 8449 h 10000"/>
              <a:gd name="connsiteX231" fmla="*/ 5851 w 10000"/>
              <a:gd name="connsiteY231" fmla="*/ 8528 h 10000"/>
              <a:gd name="connsiteX232" fmla="*/ 5933 w 10000"/>
              <a:gd name="connsiteY232" fmla="*/ 8605 h 10000"/>
              <a:gd name="connsiteX233" fmla="*/ 7344 w 10000"/>
              <a:gd name="connsiteY233" fmla="*/ 7675 h 10000"/>
              <a:gd name="connsiteX234" fmla="*/ 7263 w 10000"/>
              <a:gd name="connsiteY234" fmla="*/ 7675 h 10000"/>
              <a:gd name="connsiteX235" fmla="*/ 7221 w 10000"/>
              <a:gd name="connsiteY235" fmla="*/ 7675 h 10000"/>
              <a:gd name="connsiteX236" fmla="*/ 7177 w 10000"/>
              <a:gd name="connsiteY236" fmla="*/ 7598 h 10000"/>
              <a:gd name="connsiteX237" fmla="*/ 7097 w 10000"/>
              <a:gd name="connsiteY237" fmla="*/ 7598 h 10000"/>
              <a:gd name="connsiteX238" fmla="*/ 7097 w 10000"/>
              <a:gd name="connsiteY238" fmla="*/ 7520 h 10000"/>
              <a:gd name="connsiteX239" fmla="*/ 7221 w 10000"/>
              <a:gd name="connsiteY239" fmla="*/ 7287 h 10000"/>
              <a:gd name="connsiteX240" fmla="*/ 7595 w 10000"/>
              <a:gd name="connsiteY240" fmla="*/ 6590 h 10000"/>
              <a:gd name="connsiteX241" fmla="*/ 7760 w 10000"/>
              <a:gd name="connsiteY241" fmla="*/ 6512 h 10000"/>
              <a:gd name="connsiteX242" fmla="*/ 7800 w 10000"/>
              <a:gd name="connsiteY242" fmla="*/ 6590 h 10000"/>
              <a:gd name="connsiteX243" fmla="*/ 7844 w 10000"/>
              <a:gd name="connsiteY243" fmla="*/ 6512 h 10000"/>
              <a:gd name="connsiteX244" fmla="*/ 7966 w 10000"/>
              <a:gd name="connsiteY244" fmla="*/ 6590 h 10000"/>
              <a:gd name="connsiteX245" fmla="*/ 8010 w 10000"/>
              <a:gd name="connsiteY245" fmla="*/ 6434 h 10000"/>
              <a:gd name="connsiteX246" fmla="*/ 8132 w 10000"/>
              <a:gd name="connsiteY246" fmla="*/ 6512 h 10000"/>
              <a:gd name="connsiteX247" fmla="*/ 8174 w 10000"/>
              <a:gd name="connsiteY247" fmla="*/ 6512 h 10000"/>
              <a:gd name="connsiteX248" fmla="*/ 8132 w 10000"/>
              <a:gd name="connsiteY248" fmla="*/ 6590 h 10000"/>
              <a:gd name="connsiteX249" fmla="*/ 8132 w 10000"/>
              <a:gd name="connsiteY249" fmla="*/ 6667 h 10000"/>
              <a:gd name="connsiteX250" fmla="*/ 8382 w 10000"/>
              <a:gd name="connsiteY250" fmla="*/ 6590 h 10000"/>
              <a:gd name="connsiteX251" fmla="*/ 8340 w 10000"/>
              <a:gd name="connsiteY251" fmla="*/ 6512 h 10000"/>
              <a:gd name="connsiteX252" fmla="*/ 8508 w 10000"/>
              <a:gd name="connsiteY252" fmla="*/ 5969 h 10000"/>
              <a:gd name="connsiteX253" fmla="*/ 8713 w 10000"/>
              <a:gd name="connsiteY253" fmla="*/ 5892 h 10000"/>
              <a:gd name="connsiteX254" fmla="*/ 8713 w 10000"/>
              <a:gd name="connsiteY254" fmla="*/ 6047 h 10000"/>
              <a:gd name="connsiteX255" fmla="*/ 8713 w 10000"/>
              <a:gd name="connsiteY255" fmla="*/ 6202 h 10000"/>
              <a:gd name="connsiteX256" fmla="*/ 8920 w 10000"/>
              <a:gd name="connsiteY256" fmla="*/ 5969 h 10000"/>
              <a:gd name="connsiteX257" fmla="*/ 8920 w 10000"/>
              <a:gd name="connsiteY257" fmla="*/ 5737 h 10000"/>
              <a:gd name="connsiteX258" fmla="*/ 9004 w 10000"/>
              <a:gd name="connsiteY258" fmla="*/ 5737 h 10000"/>
              <a:gd name="connsiteX259" fmla="*/ 8960 w 10000"/>
              <a:gd name="connsiteY259" fmla="*/ 5814 h 10000"/>
              <a:gd name="connsiteX260" fmla="*/ 8920 w 10000"/>
              <a:gd name="connsiteY260" fmla="*/ 6202 h 10000"/>
              <a:gd name="connsiteX261" fmla="*/ 8838 w 10000"/>
              <a:gd name="connsiteY261" fmla="*/ 6279 h 10000"/>
              <a:gd name="connsiteX262" fmla="*/ 8920 w 10000"/>
              <a:gd name="connsiteY262" fmla="*/ 6590 h 10000"/>
              <a:gd name="connsiteX263" fmla="*/ 8920 w 10000"/>
              <a:gd name="connsiteY263" fmla="*/ 6434 h 10000"/>
              <a:gd name="connsiteX264" fmla="*/ 9004 w 10000"/>
              <a:gd name="connsiteY264" fmla="*/ 6434 h 10000"/>
              <a:gd name="connsiteX265" fmla="*/ 9129 w 10000"/>
              <a:gd name="connsiteY265" fmla="*/ 6279 h 10000"/>
              <a:gd name="connsiteX266" fmla="*/ 9129 w 10000"/>
              <a:gd name="connsiteY266" fmla="*/ 6434 h 10000"/>
              <a:gd name="connsiteX267" fmla="*/ 9170 w 10000"/>
              <a:gd name="connsiteY267" fmla="*/ 6356 h 10000"/>
              <a:gd name="connsiteX268" fmla="*/ 9297 w 10000"/>
              <a:gd name="connsiteY268" fmla="*/ 6279 h 10000"/>
              <a:gd name="connsiteX269" fmla="*/ 9376 w 10000"/>
              <a:gd name="connsiteY269" fmla="*/ 6434 h 10000"/>
              <a:gd name="connsiteX270" fmla="*/ 9418 w 10000"/>
              <a:gd name="connsiteY270" fmla="*/ 6279 h 10000"/>
              <a:gd name="connsiteX271" fmla="*/ 9837 w 10000"/>
              <a:gd name="connsiteY271" fmla="*/ 5737 h 10000"/>
              <a:gd name="connsiteX272" fmla="*/ 9960 w 10000"/>
              <a:gd name="connsiteY272" fmla="*/ 5814 h 10000"/>
              <a:gd name="connsiteX273" fmla="*/ 10000 w 10000"/>
              <a:gd name="connsiteY273" fmla="*/ 5737 h 10000"/>
              <a:gd name="connsiteX274" fmla="*/ 9917 w 10000"/>
              <a:gd name="connsiteY274" fmla="*/ 5271 h 10000"/>
              <a:gd name="connsiteX275" fmla="*/ 9876 w 10000"/>
              <a:gd name="connsiteY275" fmla="*/ 5271 h 10000"/>
              <a:gd name="connsiteX276" fmla="*/ 10000 w 10000"/>
              <a:gd name="connsiteY276" fmla="*/ 3799 h 10000"/>
              <a:gd name="connsiteX277" fmla="*/ 9751 w 10000"/>
              <a:gd name="connsiteY277" fmla="*/ 3488 h 10000"/>
              <a:gd name="connsiteX278" fmla="*/ 9418 w 10000"/>
              <a:gd name="connsiteY278" fmla="*/ 3411 h 10000"/>
              <a:gd name="connsiteX279" fmla="*/ 9418 w 10000"/>
              <a:gd name="connsiteY279" fmla="*/ 3799 h 10000"/>
              <a:gd name="connsiteX280" fmla="*/ 9338 w 10000"/>
              <a:gd name="connsiteY280" fmla="*/ 3876 h 10000"/>
              <a:gd name="connsiteX281" fmla="*/ 9253 w 10000"/>
              <a:gd name="connsiteY281" fmla="*/ 3721 h 10000"/>
              <a:gd name="connsiteX282" fmla="*/ 9253 w 10000"/>
              <a:gd name="connsiteY282" fmla="*/ 3566 h 10000"/>
              <a:gd name="connsiteX283" fmla="*/ 9297 w 10000"/>
              <a:gd name="connsiteY283" fmla="*/ 3566 h 10000"/>
              <a:gd name="connsiteX284" fmla="*/ 9338 w 10000"/>
              <a:gd name="connsiteY284" fmla="*/ 3488 h 10000"/>
              <a:gd name="connsiteX285" fmla="*/ 9253 w 10000"/>
              <a:gd name="connsiteY285" fmla="*/ 3488 h 10000"/>
              <a:gd name="connsiteX286" fmla="*/ 9170 w 10000"/>
              <a:gd name="connsiteY286" fmla="*/ 3644 h 10000"/>
              <a:gd name="connsiteX287" fmla="*/ 8960 w 10000"/>
              <a:gd name="connsiteY287" fmla="*/ 3566 h 10000"/>
              <a:gd name="connsiteX288" fmla="*/ 8756 w 10000"/>
              <a:gd name="connsiteY288" fmla="*/ 3566 h 10000"/>
              <a:gd name="connsiteX289" fmla="*/ 8672 w 10000"/>
              <a:gd name="connsiteY289" fmla="*/ 3488 h 10000"/>
              <a:gd name="connsiteX290" fmla="*/ 8713 w 10000"/>
              <a:gd name="connsiteY290" fmla="*/ 3333 h 10000"/>
              <a:gd name="connsiteX291" fmla="*/ 8630 w 10000"/>
              <a:gd name="connsiteY291" fmla="*/ 3101 h 10000"/>
              <a:gd name="connsiteX292" fmla="*/ 8463 w 10000"/>
              <a:gd name="connsiteY292" fmla="*/ 3023 h 10000"/>
              <a:gd name="connsiteX293" fmla="*/ 8217 w 10000"/>
              <a:gd name="connsiteY293" fmla="*/ 3178 h 10000"/>
              <a:gd name="connsiteX294" fmla="*/ 8174 w 10000"/>
              <a:gd name="connsiteY294" fmla="*/ 2946 h 10000"/>
              <a:gd name="connsiteX295" fmla="*/ 8091 w 10000"/>
              <a:gd name="connsiteY295" fmla="*/ 2946 h 10000"/>
              <a:gd name="connsiteX296" fmla="*/ 8050 w 10000"/>
              <a:gd name="connsiteY296" fmla="*/ 2868 h 10000"/>
              <a:gd name="connsiteX297" fmla="*/ 8050 w 10000"/>
              <a:gd name="connsiteY297" fmla="*/ 2636 h 10000"/>
              <a:gd name="connsiteX298" fmla="*/ 7760 w 10000"/>
              <a:gd name="connsiteY298" fmla="*/ 2480 h 10000"/>
              <a:gd name="connsiteX299" fmla="*/ 7427 w 10000"/>
              <a:gd name="connsiteY299" fmla="*/ 2325 h 10000"/>
              <a:gd name="connsiteX300" fmla="*/ 7344 w 10000"/>
              <a:gd name="connsiteY300" fmla="*/ 2636 h 10000"/>
              <a:gd name="connsiteX301" fmla="*/ 7427 w 10000"/>
              <a:gd name="connsiteY301" fmla="*/ 2868 h 10000"/>
              <a:gd name="connsiteX302" fmla="*/ 7177 w 10000"/>
              <a:gd name="connsiteY302" fmla="*/ 2868 h 10000"/>
              <a:gd name="connsiteX303" fmla="*/ 7136 w 10000"/>
              <a:gd name="connsiteY303" fmla="*/ 2868 h 10000"/>
              <a:gd name="connsiteX304" fmla="*/ 7054 w 10000"/>
              <a:gd name="connsiteY304" fmla="*/ 2946 h 10000"/>
              <a:gd name="connsiteX305" fmla="*/ 6928 w 10000"/>
              <a:gd name="connsiteY305" fmla="*/ 2714 h 10000"/>
              <a:gd name="connsiteX306" fmla="*/ 6845 w 10000"/>
              <a:gd name="connsiteY306" fmla="*/ 3178 h 10000"/>
              <a:gd name="connsiteX307" fmla="*/ 6764 w 10000"/>
              <a:gd name="connsiteY307" fmla="*/ 3101 h 10000"/>
              <a:gd name="connsiteX308" fmla="*/ 6679 w 10000"/>
              <a:gd name="connsiteY308" fmla="*/ 2791 h 10000"/>
              <a:gd name="connsiteX309" fmla="*/ 6722 w 10000"/>
              <a:gd name="connsiteY309" fmla="*/ 2403 h 10000"/>
              <a:gd name="connsiteX310" fmla="*/ 6640 w 10000"/>
              <a:gd name="connsiteY310" fmla="*/ 2170 h 10000"/>
              <a:gd name="connsiteX311" fmla="*/ 6390 w 10000"/>
              <a:gd name="connsiteY311" fmla="*/ 2016 h 10000"/>
              <a:gd name="connsiteX312" fmla="*/ 6305 w 10000"/>
              <a:gd name="connsiteY312" fmla="*/ 2016 h 10000"/>
              <a:gd name="connsiteX313" fmla="*/ 6265 w 10000"/>
              <a:gd name="connsiteY313" fmla="*/ 2170 h 10000"/>
              <a:gd name="connsiteX314" fmla="*/ 6305 w 10000"/>
              <a:gd name="connsiteY314" fmla="*/ 2325 h 10000"/>
              <a:gd name="connsiteX315" fmla="*/ 5977 w 10000"/>
              <a:gd name="connsiteY315" fmla="*/ 2248 h 10000"/>
              <a:gd name="connsiteX316" fmla="*/ 6016 w 10000"/>
              <a:gd name="connsiteY316" fmla="*/ 2016 h 10000"/>
              <a:gd name="connsiteX317" fmla="*/ 5811 w 10000"/>
              <a:gd name="connsiteY317" fmla="*/ 1938 h 10000"/>
              <a:gd name="connsiteX318" fmla="*/ 5685 w 10000"/>
              <a:gd name="connsiteY318" fmla="*/ 2093 h 10000"/>
              <a:gd name="connsiteX319" fmla="*/ 5439 w 10000"/>
              <a:gd name="connsiteY319" fmla="*/ 1861 h 10000"/>
              <a:gd name="connsiteX0" fmla="*/ 5439 w 10000"/>
              <a:gd name="connsiteY0" fmla="*/ 1861 h 10000"/>
              <a:gd name="connsiteX1" fmla="*/ 5439 w 10000"/>
              <a:gd name="connsiteY1" fmla="*/ 1861 h 10000"/>
              <a:gd name="connsiteX2" fmla="*/ 5394 w 10000"/>
              <a:gd name="connsiteY2" fmla="*/ 1938 h 10000"/>
              <a:gd name="connsiteX3" fmla="*/ 5439 w 10000"/>
              <a:gd name="connsiteY3" fmla="*/ 2093 h 10000"/>
              <a:gd name="connsiteX4" fmla="*/ 5268 w 10000"/>
              <a:gd name="connsiteY4" fmla="*/ 2248 h 10000"/>
              <a:gd name="connsiteX5" fmla="*/ 5226 w 10000"/>
              <a:gd name="connsiteY5" fmla="*/ 2248 h 10000"/>
              <a:gd name="connsiteX6" fmla="*/ 5268 w 10000"/>
              <a:gd name="connsiteY6" fmla="*/ 2016 h 10000"/>
              <a:gd name="connsiteX7" fmla="*/ 5685 w 10000"/>
              <a:gd name="connsiteY7" fmla="*/ 1318 h 10000"/>
              <a:gd name="connsiteX8" fmla="*/ 5685 w 10000"/>
              <a:gd name="connsiteY8" fmla="*/ 853 h 10000"/>
              <a:gd name="connsiteX9" fmla="*/ 5519 w 10000"/>
              <a:gd name="connsiteY9" fmla="*/ 543 h 10000"/>
              <a:gd name="connsiteX10" fmla="*/ 5311 w 10000"/>
              <a:gd name="connsiteY10" fmla="*/ 543 h 10000"/>
              <a:gd name="connsiteX11" fmla="*/ 5311 w 10000"/>
              <a:gd name="connsiteY11" fmla="*/ 698 h 10000"/>
              <a:gd name="connsiteX12" fmla="*/ 5186 w 10000"/>
              <a:gd name="connsiteY12" fmla="*/ 698 h 10000"/>
              <a:gd name="connsiteX13" fmla="*/ 5268 w 10000"/>
              <a:gd name="connsiteY13" fmla="*/ 387 h 10000"/>
              <a:gd name="connsiteX14" fmla="*/ 5062 w 10000"/>
              <a:gd name="connsiteY14" fmla="*/ 310 h 10000"/>
              <a:gd name="connsiteX15" fmla="*/ 5186 w 10000"/>
              <a:gd name="connsiteY15" fmla="*/ 155 h 10000"/>
              <a:gd name="connsiteX16" fmla="*/ 5062 w 10000"/>
              <a:gd name="connsiteY16" fmla="*/ 0 h 10000"/>
              <a:gd name="connsiteX17" fmla="*/ 4854 w 10000"/>
              <a:gd name="connsiteY17" fmla="*/ 387 h 10000"/>
              <a:gd name="connsiteX18" fmla="*/ 4854 w 10000"/>
              <a:gd name="connsiteY18" fmla="*/ 698 h 10000"/>
              <a:gd name="connsiteX19" fmla="*/ 4729 w 10000"/>
              <a:gd name="connsiteY19" fmla="*/ 698 h 10000"/>
              <a:gd name="connsiteX20" fmla="*/ 4358 w 10000"/>
              <a:gd name="connsiteY20" fmla="*/ 853 h 10000"/>
              <a:gd name="connsiteX21" fmla="*/ 4024 w 10000"/>
              <a:gd name="connsiteY21" fmla="*/ 1240 h 10000"/>
              <a:gd name="connsiteX22" fmla="*/ 3900 w 10000"/>
              <a:gd name="connsiteY22" fmla="*/ 1551 h 10000"/>
              <a:gd name="connsiteX23" fmla="*/ 3942 w 10000"/>
              <a:gd name="connsiteY23" fmla="*/ 1938 h 10000"/>
              <a:gd name="connsiteX24" fmla="*/ 3486 w 10000"/>
              <a:gd name="connsiteY24" fmla="*/ 2093 h 10000"/>
              <a:gd name="connsiteX25" fmla="*/ 3527 w 10000"/>
              <a:gd name="connsiteY25" fmla="*/ 2559 h 10000"/>
              <a:gd name="connsiteX26" fmla="*/ 3653 w 10000"/>
              <a:gd name="connsiteY26" fmla="*/ 2791 h 10000"/>
              <a:gd name="connsiteX27" fmla="*/ 3570 w 10000"/>
              <a:gd name="connsiteY27" fmla="*/ 2868 h 10000"/>
              <a:gd name="connsiteX28" fmla="*/ 3445 w 10000"/>
              <a:gd name="connsiteY28" fmla="*/ 2559 h 10000"/>
              <a:gd name="connsiteX29" fmla="*/ 3320 w 10000"/>
              <a:gd name="connsiteY29" fmla="*/ 2480 h 10000"/>
              <a:gd name="connsiteX30" fmla="*/ 3279 w 10000"/>
              <a:gd name="connsiteY30" fmla="*/ 2559 h 10000"/>
              <a:gd name="connsiteX31" fmla="*/ 3195 w 10000"/>
              <a:gd name="connsiteY31" fmla="*/ 2403 h 10000"/>
              <a:gd name="connsiteX32" fmla="*/ 3113 w 10000"/>
              <a:gd name="connsiteY32" fmla="*/ 2248 h 10000"/>
              <a:gd name="connsiteX33" fmla="*/ 3113 w 10000"/>
              <a:gd name="connsiteY33" fmla="*/ 2325 h 10000"/>
              <a:gd name="connsiteX34" fmla="*/ 3155 w 10000"/>
              <a:gd name="connsiteY34" fmla="*/ 2559 h 10000"/>
              <a:gd name="connsiteX35" fmla="*/ 3029 w 10000"/>
              <a:gd name="connsiteY35" fmla="*/ 2946 h 10000"/>
              <a:gd name="connsiteX36" fmla="*/ 3113 w 10000"/>
              <a:gd name="connsiteY36" fmla="*/ 3256 h 10000"/>
              <a:gd name="connsiteX37" fmla="*/ 3070 w 10000"/>
              <a:gd name="connsiteY37" fmla="*/ 3566 h 10000"/>
              <a:gd name="connsiteX38" fmla="*/ 3070 w 10000"/>
              <a:gd name="connsiteY38" fmla="*/ 3799 h 10000"/>
              <a:gd name="connsiteX39" fmla="*/ 3195 w 10000"/>
              <a:gd name="connsiteY39" fmla="*/ 3799 h 10000"/>
              <a:gd name="connsiteX40" fmla="*/ 3113 w 10000"/>
              <a:gd name="connsiteY40" fmla="*/ 3876 h 10000"/>
              <a:gd name="connsiteX41" fmla="*/ 3155 w 10000"/>
              <a:gd name="connsiteY41" fmla="*/ 4263 h 10000"/>
              <a:gd name="connsiteX42" fmla="*/ 2905 w 10000"/>
              <a:gd name="connsiteY42" fmla="*/ 4652 h 10000"/>
              <a:gd name="connsiteX43" fmla="*/ 2863 w 10000"/>
              <a:gd name="connsiteY43" fmla="*/ 4574 h 10000"/>
              <a:gd name="connsiteX44" fmla="*/ 3029 w 10000"/>
              <a:gd name="connsiteY44" fmla="*/ 4186 h 10000"/>
              <a:gd name="connsiteX45" fmla="*/ 3070 w 10000"/>
              <a:gd name="connsiteY45" fmla="*/ 3954 h 10000"/>
              <a:gd name="connsiteX46" fmla="*/ 2984 w 10000"/>
              <a:gd name="connsiteY46" fmla="*/ 3799 h 10000"/>
              <a:gd name="connsiteX47" fmla="*/ 2984 w 10000"/>
              <a:gd name="connsiteY47" fmla="*/ 3023 h 10000"/>
              <a:gd name="connsiteX48" fmla="*/ 2946 w 10000"/>
              <a:gd name="connsiteY48" fmla="*/ 2868 h 10000"/>
              <a:gd name="connsiteX49" fmla="*/ 2984 w 10000"/>
              <a:gd name="connsiteY49" fmla="*/ 2403 h 10000"/>
              <a:gd name="connsiteX50" fmla="*/ 2905 w 10000"/>
              <a:gd name="connsiteY50" fmla="*/ 2325 h 10000"/>
              <a:gd name="connsiteX51" fmla="*/ 2946 w 10000"/>
              <a:gd name="connsiteY51" fmla="*/ 2248 h 10000"/>
              <a:gd name="connsiteX52" fmla="*/ 2905 w 10000"/>
              <a:gd name="connsiteY52" fmla="*/ 2093 h 10000"/>
              <a:gd name="connsiteX53" fmla="*/ 2819 w 10000"/>
              <a:gd name="connsiteY53" fmla="*/ 2170 h 10000"/>
              <a:gd name="connsiteX54" fmla="*/ 2614 w 10000"/>
              <a:gd name="connsiteY54" fmla="*/ 3178 h 10000"/>
              <a:gd name="connsiteX55" fmla="*/ 2614 w 10000"/>
              <a:gd name="connsiteY55" fmla="*/ 3566 h 10000"/>
              <a:gd name="connsiteX56" fmla="*/ 2738 w 10000"/>
              <a:gd name="connsiteY56" fmla="*/ 3876 h 10000"/>
              <a:gd name="connsiteX57" fmla="*/ 2738 w 10000"/>
              <a:gd name="connsiteY57" fmla="*/ 4031 h 10000"/>
              <a:gd name="connsiteX58" fmla="*/ 2614 w 10000"/>
              <a:gd name="connsiteY58" fmla="*/ 3876 h 10000"/>
              <a:gd name="connsiteX59" fmla="*/ 2118 w 10000"/>
              <a:gd name="connsiteY59" fmla="*/ 3256 h 10000"/>
              <a:gd name="connsiteX60" fmla="*/ 2075 w 10000"/>
              <a:gd name="connsiteY60" fmla="*/ 3411 h 10000"/>
              <a:gd name="connsiteX61" fmla="*/ 2241 w 10000"/>
              <a:gd name="connsiteY61" fmla="*/ 3799 h 10000"/>
              <a:gd name="connsiteX62" fmla="*/ 2158 w 10000"/>
              <a:gd name="connsiteY62" fmla="*/ 3876 h 10000"/>
              <a:gd name="connsiteX63" fmla="*/ 2118 w 10000"/>
              <a:gd name="connsiteY63" fmla="*/ 3799 h 10000"/>
              <a:gd name="connsiteX64" fmla="*/ 1868 w 10000"/>
              <a:gd name="connsiteY64" fmla="*/ 3954 h 10000"/>
              <a:gd name="connsiteX65" fmla="*/ 1826 w 10000"/>
              <a:gd name="connsiteY65" fmla="*/ 4109 h 10000"/>
              <a:gd name="connsiteX66" fmla="*/ 1784 w 10000"/>
              <a:gd name="connsiteY66" fmla="*/ 3954 h 10000"/>
              <a:gd name="connsiteX67" fmla="*/ 1784 w 10000"/>
              <a:gd name="connsiteY67" fmla="*/ 3799 h 10000"/>
              <a:gd name="connsiteX68" fmla="*/ 1368 w 10000"/>
              <a:gd name="connsiteY68" fmla="*/ 4263 h 10000"/>
              <a:gd name="connsiteX69" fmla="*/ 1368 w 10000"/>
              <a:gd name="connsiteY69" fmla="*/ 4418 h 10000"/>
              <a:gd name="connsiteX70" fmla="*/ 1287 w 10000"/>
              <a:gd name="connsiteY70" fmla="*/ 4496 h 10000"/>
              <a:gd name="connsiteX71" fmla="*/ 1162 w 10000"/>
              <a:gd name="connsiteY71" fmla="*/ 4341 h 10000"/>
              <a:gd name="connsiteX72" fmla="*/ 1287 w 10000"/>
              <a:gd name="connsiteY72" fmla="*/ 4186 h 10000"/>
              <a:gd name="connsiteX73" fmla="*/ 1246 w 10000"/>
              <a:gd name="connsiteY73" fmla="*/ 3954 h 10000"/>
              <a:gd name="connsiteX74" fmla="*/ 1080 w 10000"/>
              <a:gd name="connsiteY74" fmla="*/ 3876 h 10000"/>
              <a:gd name="connsiteX75" fmla="*/ 1122 w 10000"/>
              <a:gd name="connsiteY75" fmla="*/ 4031 h 10000"/>
              <a:gd name="connsiteX76" fmla="*/ 1122 w 10000"/>
              <a:gd name="connsiteY76" fmla="*/ 4418 h 10000"/>
              <a:gd name="connsiteX77" fmla="*/ 1162 w 10000"/>
              <a:gd name="connsiteY77" fmla="*/ 4574 h 10000"/>
              <a:gd name="connsiteX78" fmla="*/ 1122 w 10000"/>
              <a:gd name="connsiteY78" fmla="*/ 4729 h 10000"/>
              <a:gd name="connsiteX79" fmla="*/ 995 w 10000"/>
              <a:gd name="connsiteY79" fmla="*/ 4652 h 10000"/>
              <a:gd name="connsiteX80" fmla="*/ 829 w 10000"/>
              <a:gd name="connsiteY80" fmla="*/ 4884 h 10000"/>
              <a:gd name="connsiteX81" fmla="*/ 912 w 10000"/>
              <a:gd name="connsiteY81" fmla="*/ 5194 h 10000"/>
              <a:gd name="connsiteX82" fmla="*/ 663 w 10000"/>
              <a:gd name="connsiteY82" fmla="*/ 5039 h 10000"/>
              <a:gd name="connsiteX83" fmla="*/ 622 w 10000"/>
              <a:gd name="connsiteY83" fmla="*/ 5116 h 10000"/>
              <a:gd name="connsiteX84" fmla="*/ 706 w 10000"/>
              <a:gd name="connsiteY84" fmla="*/ 5349 h 10000"/>
              <a:gd name="connsiteX85" fmla="*/ 622 w 10000"/>
              <a:gd name="connsiteY85" fmla="*/ 5349 h 10000"/>
              <a:gd name="connsiteX86" fmla="*/ 499 w 10000"/>
              <a:gd name="connsiteY86" fmla="*/ 5194 h 10000"/>
              <a:gd name="connsiteX87" fmla="*/ 499 w 10000"/>
              <a:gd name="connsiteY87" fmla="*/ 4729 h 10000"/>
              <a:gd name="connsiteX88" fmla="*/ 374 w 10000"/>
              <a:gd name="connsiteY88" fmla="*/ 4574 h 10000"/>
              <a:gd name="connsiteX89" fmla="*/ 332 w 10000"/>
              <a:gd name="connsiteY89" fmla="*/ 4418 h 10000"/>
              <a:gd name="connsiteX90" fmla="*/ 415 w 10000"/>
              <a:gd name="connsiteY90" fmla="*/ 4496 h 10000"/>
              <a:gd name="connsiteX91" fmla="*/ 746 w 10000"/>
              <a:gd name="connsiteY91" fmla="*/ 4729 h 10000"/>
              <a:gd name="connsiteX92" fmla="*/ 954 w 10000"/>
              <a:gd name="connsiteY92" fmla="*/ 4496 h 10000"/>
              <a:gd name="connsiteX93" fmla="*/ 912 w 10000"/>
              <a:gd name="connsiteY93" fmla="*/ 4263 h 10000"/>
              <a:gd name="connsiteX94" fmla="*/ 663 w 10000"/>
              <a:gd name="connsiteY94" fmla="*/ 3799 h 10000"/>
              <a:gd name="connsiteX95" fmla="*/ 415 w 10000"/>
              <a:gd name="connsiteY95" fmla="*/ 3644 h 10000"/>
              <a:gd name="connsiteX96" fmla="*/ 415 w 10000"/>
              <a:gd name="connsiteY96" fmla="*/ 3566 h 10000"/>
              <a:gd name="connsiteX97" fmla="*/ 332 w 10000"/>
              <a:gd name="connsiteY97" fmla="*/ 3488 h 10000"/>
              <a:gd name="connsiteX98" fmla="*/ 248 w 10000"/>
              <a:gd name="connsiteY98" fmla="*/ 3566 h 10000"/>
              <a:gd name="connsiteX99" fmla="*/ 248 w 10000"/>
              <a:gd name="connsiteY99" fmla="*/ 3644 h 10000"/>
              <a:gd name="connsiteX100" fmla="*/ 208 w 10000"/>
              <a:gd name="connsiteY100" fmla="*/ 3644 h 10000"/>
              <a:gd name="connsiteX101" fmla="*/ 124 w 10000"/>
              <a:gd name="connsiteY101" fmla="*/ 3799 h 10000"/>
              <a:gd name="connsiteX102" fmla="*/ 124 w 10000"/>
              <a:gd name="connsiteY102" fmla="*/ 4031 h 10000"/>
              <a:gd name="connsiteX103" fmla="*/ 208 w 10000"/>
              <a:gd name="connsiteY103" fmla="*/ 4186 h 10000"/>
              <a:gd name="connsiteX104" fmla="*/ 165 w 10000"/>
              <a:gd name="connsiteY104" fmla="*/ 4418 h 10000"/>
              <a:gd name="connsiteX105" fmla="*/ 208 w 10000"/>
              <a:gd name="connsiteY105" fmla="*/ 4807 h 10000"/>
              <a:gd name="connsiteX106" fmla="*/ 165 w 10000"/>
              <a:gd name="connsiteY106" fmla="*/ 5039 h 10000"/>
              <a:gd name="connsiteX107" fmla="*/ 248 w 10000"/>
              <a:gd name="connsiteY107" fmla="*/ 5271 h 10000"/>
              <a:gd name="connsiteX108" fmla="*/ 208 w 10000"/>
              <a:gd name="connsiteY108" fmla="*/ 5426 h 10000"/>
              <a:gd name="connsiteX109" fmla="*/ 290 w 10000"/>
              <a:gd name="connsiteY109" fmla="*/ 5582 h 10000"/>
              <a:gd name="connsiteX110" fmla="*/ 290 w 10000"/>
              <a:gd name="connsiteY110" fmla="*/ 5659 h 10000"/>
              <a:gd name="connsiteX111" fmla="*/ 165 w 10000"/>
              <a:gd name="connsiteY111" fmla="*/ 6047 h 10000"/>
              <a:gd name="connsiteX112" fmla="*/ 40 w 10000"/>
              <a:gd name="connsiteY112" fmla="*/ 6202 h 10000"/>
              <a:gd name="connsiteX113" fmla="*/ 83 w 10000"/>
              <a:gd name="connsiteY113" fmla="*/ 6202 h 10000"/>
              <a:gd name="connsiteX114" fmla="*/ 165 w 10000"/>
              <a:gd name="connsiteY114" fmla="*/ 6356 h 10000"/>
              <a:gd name="connsiteX115" fmla="*/ 83 w 10000"/>
              <a:gd name="connsiteY115" fmla="*/ 6512 h 10000"/>
              <a:gd name="connsiteX116" fmla="*/ 40 w 10000"/>
              <a:gd name="connsiteY116" fmla="*/ 6590 h 10000"/>
              <a:gd name="connsiteX117" fmla="*/ 0 w 10000"/>
              <a:gd name="connsiteY117" fmla="*/ 6590 h 10000"/>
              <a:gd name="connsiteX118" fmla="*/ 40 w 10000"/>
              <a:gd name="connsiteY118" fmla="*/ 6822 h 10000"/>
              <a:gd name="connsiteX119" fmla="*/ 40 w 10000"/>
              <a:gd name="connsiteY119" fmla="*/ 6900 h 10000"/>
              <a:gd name="connsiteX120" fmla="*/ 40 w 10000"/>
              <a:gd name="connsiteY120" fmla="*/ 6977 h 10000"/>
              <a:gd name="connsiteX121" fmla="*/ 40 w 10000"/>
              <a:gd name="connsiteY121" fmla="*/ 7054 h 10000"/>
              <a:gd name="connsiteX122" fmla="*/ 83 w 10000"/>
              <a:gd name="connsiteY122" fmla="*/ 7209 h 10000"/>
              <a:gd name="connsiteX123" fmla="*/ 208 w 10000"/>
              <a:gd name="connsiteY123" fmla="*/ 7287 h 10000"/>
              <a:gd name="connsiteX124" fmla="*/ 248 w 10000"/>
              <a:gd name="connsiteY124" fmla="*/ 7364 h 10000"/>
              <a:gd name="connsiteX125" fmla="*/ 248 w 10000"/>
              <a:gd name="connsiteY125" fmla="*/ 7520 h 10000"/>
              <a:gd name="connsiteX126" fmla="*/ 332 w 10000"/>
              <a:gd name="connsiteY126" fmla="*/ 7752 h 10000"/>
              <a:gd name="connsiteX127" fmla="*/ 374 w 10000"/>
              <a:gd name="connsiteY127" fmla="*/ 7752 h 10000"/>
              <a:gd name="connsiteX128" fmla="*/ 332 w 10000"/>
              <a:gd name="connsiteY128" fmla="*/ 7907 h 10000"/>
              <a:gd name="connsiteX129" fmla="*/ 290 w 10000"/>
              <a:gd name="connsiteY129" fmla="*/ 7830 h 10000"/>
              <a:gd name="connsiteX130" fmla="*/ 290 w 10000"/>
              <a:gd name="connsiteY130" fmla="*/ 7907 h 10000"/>
              <a:gd name="connsiteX131" fmla="*/ 332 w 10000"/>
              <a:gd name="connsiteY131" fmla="*/ 8062 h 10000"/>
              <a:gd name="connsiteX132" fmla="*/ 457 w 10000"/>
              <a:gd name="connsiteY132" fmla="*/ 8062 h 10000"/>
              <a:gd name="connsiteX133" fmla="*/ 499 w 10000"/>
              <a:gd name="connsiteY133" fmla="*/ 8140 h 10000"/>
              <a:gd name="connsiteX134" fmla="*/ 457 w 10000"/>
              <a:gd name="connsiteY134" fmla="*/ 8140 h 10000"/>
              <a:gd name="connsiteX135" fmla="*/ 499 w 10000"/>
              <a:gd name="connsiteY135" fmla="*/ 8217 h 10000"/>
              <a:gd name="connsiteX136" fmla="*/ 538 w 10000"/>
              <a:gd name="connsiteY136" fmla="*/ 8217 h 10000"/>
              <a:gd name="connsiteX137" fmla="*/ 580 w 10000"/>
              <a:gd name="connsiteY137" fmla="*/ 8372 h 10000"/>
              <a:gd name="connsiteX138" fmla="*/ 622 w 10000"/>
              <a:gd name="connsiteY138" fmla="*/ 8449 h 10000"/>
              <a:gd name="connsiteX139" fmla="*/ 663 w 10000"/>
              <a:gd name="connsiteY139" fmla="*/ 8372 h 10000"/>
              <a:gd name="connsiteX140" fmla="*/ 872 w 10000"/>
              <a:gd name="connsiteY140" fmla="*/ 8605 h 10000"/>
              <a:gd name="connsiteX141" fmla="*/ 829 w 10000"/>
              <a:gd name="connsiteY141" fmla="*/ 8915 h 10000"/>
              <a:gd name="connsiteX142" fmla="*/ 786 w 10000"/>
              <a:gd name="connsiteY142" fmla="*/ 8838 h 10000"/>
              <a:gd name="connsiteX143" fmla="*/ 746 w 10000"/>
              <a:gd name="connsiteY143" fmla="*/ 8915 h 10000"/>
              <a:gd name="connsiteX144" fmla="*/ 746 w 10000"/>
              <a:gd name="connsiteY144" fmla="*/ 9070 h 10000"/>
              <a:gd name="connsiteX145" fmla="*/ 786 w 10000"/>
              <a:gd name="connsiteY145" fmla="*/ 8993 h 10000"/>
              <a:gd name="connsiteX146" fmla="*/ 829 w 10000"/>
              <a:gd name="connsiteY146" fmla="*/ 9070 h 10000"/>
              <a:gd name="connsiteX147" fmla="*/ 706 w 10000"/>
              <a:gd name="connsiteY147" fmla="*/ 9147 h 10000"/>
              <a:gd name="connsiteX148" fmla="*/ 746 w 10000"/>
              <a:gd name="connsiteY148" fmla="*/ 9225 h 10000"/>
              <a:gd name="connsiteX149" fmla="*/ 663 w 10000"/>
              <a:gd name="connsiteY149" fmla="*/ 9380 h 10000"/>
              <a:gd name="connsiteX150" fmla="*/ 622 w 10000"/>
              <a:gd name="connsiteY150" fmla="*/ 9380 h 10000"/>
              <a:gd name="connsiteX151" fmla="*/ 663 w 10000"/>
              <a:gd name="connsiteY151" fmla="*/ 9380 h 10000"/>
              <a:gd name="connsiteX152" fmla="*/ 829 w 10000"/>
              <a:gd name="connsiteY152" fmla="*/ 9691 h 10000"/>
              <a:gd name="connsiteX153" fmla="*/ 1038 w 10000"/>
              <a:gd name="connsiteY153" fmla="*/ 9691 h 10000"/>
              <a:gd name="connsiteX154" fmla="*/ 1122 w 10000"/>
              <a:gd name="connsiteY154" fmla="*/ 9768 h 10000"/>
              <a:gd name="connsiteX155" fmla="*/ 1203 w 10000"/>
              <a:gd name="connsiteY155" fmla="*/ 9768 h 10000"/>
              <a:gd name="connsiteX156" fmla="*/ 1287 w 10000"/>
              <a:gd name="connsiteY156" fmla="*/ 9923 h 10000"/>
              <a:gd name="connsiteX157" fmla="*/ 1328 w 10000"/>
              <a:gd name="connsiteY157" fmla="*/ 10000 h 10000"/>
              <a:gd name="connsiteX158" fmla="*/ 1368 w 10000"/>
              <a:gd name="connsiteY158" fmla="*/ 10000 h 10000"/>
              <a:gd name="connsiteX159" fmla="*/ 1412 w 10000"/>
              <a:gd name="connsiteY159" fmla="*/ 9923 h 10000"/>
              <a:gd name="connsiteX160" fmla="*/ 1328 w 10000"/>
              <a:gd name="connsiteY160" fmla="*/ 9768 h 10000"/>
              <a:gd name="connsiteX161" fmla="*/ 1328 w 10000"/>
              <a:gd name="connsiteY161" fmla="*/ 9613 h 10000"/>
              <a:gd name="connsiteX162" fmla="*/ 1287 w 10000"/>
              <a:gd name="connsiteY162" fmla="*/ 9457 h 10000"/>
              <a:gd name="connsiteX163" fmla="*/ 1368 w 10000"/>
              <a:gd name="connsiteY163" fmla="*/ 9225 h 10000"/>
              <a:gd name="connsiteX164" fmla="*/ 1412 w 10000"/>
              <a:gd name="connsiteY164" fmla="*/ 9302 h 10000"/>
              <a:gd name="connsiteX165" fmla="*/ 1453 w 10000"/>
              <a:gd name="connsiteY165" fmla="*/ 9225 h 10000"/>
              <a:gd name="connsiteX166" fmla="*/ 1453 w 10000"/>
              <a:gd name="connsiteY166" fmla="*/ 9147 h 10000"/>
              <a:gd name="connsiteX167" fmla="*/ 1412 w 10000"/>
              <a:gd name="connsiteY167" fmla="*/ 9147 h 10000"/>
              <a:gd name="connsiteX168" fmla="*/ 1453 w 10000"/>
              <a:gd name="connsiteY168" fmla="*/ 9070 h 10000"/>
              <a:gd name="connsiteX169" fmla="*/ 1412 w 10000"/>
              <a:gd name="connsiteY169" fmla="*/ 8915 h 10000"/>
              <a:gd name="connsiteX170" fmla="*/ 1328 w 10000"/>
              <a:gd name="connsiteY170" fmla="*/ 8915 h 10000"/>
              <a:gd name="connsiteX171" fmla="*/ 1287 w 10000"/>
              <a:gd name="connsiteY171" fmla="*/ 8760 h 10000"/>
              <a:gd name="connsiteX172" fmla="*/ 1328 w 10000"/>
              <a:gd name="connsiteY172" fmla="*/ 8372 h 10000"/>
              <a:gd name="connsiteX173" fmla="*/ 1412 w 10000"/>
              <a:gd name="connsiteY173" fmla="*/ 8528 h 10000"/>
              <a:gd name="connsiteX174" fmla="*/ 1453 w 10000"/>
              <a:gd name="connsiteY174" fmla="*/ 8528 h 10000"/>
              <a:gd name="connsiteX175" fmla="*/ 1412 w 10000"/>
              <a:gd name="connsiteY175" fmla="*/ 8372 h 10000"/>
              <a:gd name="connsiteX176" fmla="*/ 1536 w 10000"/>
              <a:gd name="connsiteY176" fmla="*/ 8140 h 10000"/>
              <a:gd name="connsiteX177" fmla="*/ 1620 w 10000"/>
              <a:gd name="connsiteY177" fmla="*/ 8217 h 10000"/>
              <a:gd name="connsiteX178" fmla="*/ 1660 w 10000"/>
              <a:gd name="connsiteY178" fmla="*/ 8140 h 10000"/>
              <a:gd name="connsiteX179" fmla="*/ 1743 w 10000"/>
              <a:gd name="connsiteY179" fmla="*/ 8217 h 10000"/>
              <a:gd name="connsiteX180" fmla="*/ 1868 w 10000"/>
              <a:gd name="connsiteY180" fmla="*/ 8372 h 10000"/>
              <a:gd name="connsiteX181" fmla="*/ 1951 w 10000"/>
              <a:gd name="connsiteY181" fmla="*/ 8295 h 10000"/>
              <a:gd name="connsiteX182" fmla="*/ 2033 w 10000"/>
              <a:gd name="connsiteY182" fmla="*/ 8295 h 10000"/>
              <a:gd name="connsiteX183" fmla="*/ 2075 w 10000"/>
              <a:gd name="connsiteY183" fmla="*/ 8372 h 10000"/>
              <a:gd name="connsiteX184" fmla="*/ 2241 w 10000"/>
              <a:gd name="connsiteY184" fmla="*/ 8372 h 10000"/>
              <a:gd name="connsiteX185" fmla="*/ 2281 w 10000"/>
              <a:gd name="connsiteY185" fmla="*/ 8217 h 10000"/>
              <a:gd name="connsiteX186" fmla="*/ 2158 w 10000"/>
              <a:gd name="connsiteY186" fmla="*/ 8140 h 10000"/>
              <a:gd name="connsiteX187" fmla="*/ 2241 w 10000"/>
              <a:gd name="connsiteY187" fmla="*/ 8062 h 10000"/>
              <a:gd name="connsiteX188" fmla="*/ 2199 w 10000"/>
              <a:gd name="connsiteY188" fmla="*/ 7985 h 10000"/>
              <a:gd name="connsiteX189" fmla="*/ 2241 w 10000"/>
              <a:gd name="connsiteY189" fmla="*/ 7907 h 10000"/>
              <a:gd name="connsiteX190" fmla="*/ 2241 w 10000"/>
              <a:gd name="connsiteY190" fmla="*/ 7675 h 10000"/>
              <a:gd name="connsiteX191" fmla="*/ 2323 w 10000"/>
              <a:gd name="connsiteY191" fmla="*/ 7752 h 10000"/>
              <a:gd name="connsiteX192" fmla="*/ 2697 w 10000"/>
              <a:gd name="connsiteY192" fmla="*/ 7520 h 10000"/>
              <a:gd name="connsiteX193" fmla="*/ 2697 w 10000"/>
              <a:gd name="connsiteY193" fmla="*/ 7442 h 10000"/>
              <a:gd name="connsiteX194" fmla="*/ 2738 w 10000"/>
              <a:gd name="connsiteY194" fmla="*/ 7442 h 10000"/>
              <a:gd name="connsiteX195" fmla="*/ 2863 w 10000"/>
              <a:gd name="connsiteY195" fmla="*/ 7442 h 10000"/>
              <a:gd name="connsiteX196" fmla="*/ 2905 w 10000"/>
              <a:gd name="connsiteY196" fmla="*/ 7598 h 10000"/>
              <a:gd name="connsiteX197" fmla="*/ 2905 w 10000"/>
              <a:gd name="connsiteY197" fmla="*/ 7675 h 10000"/>
              <a:gd name="connsiteX198" fmla="*/ 2946 w 10000"/>
              <a:gd name="connsiteY198" fmla="*/ 7675 h 10000"/>
              <a:gd name="connsiteX199" fmla="*/ 3029 w 10000"/>
              <a:gd name="connsiteY199" fmla="*/ 7752 h 10000"/>
              <a:gd name="connsiteX200" fmla="*/ 3029 w 10000"/>
              <a:gd name="connsiteY200" fmla="*/ 7830 h 10000"/>
              <a:gd name="connsiteX201" fmla="*/ 3113 w 10000"/>
              <a:gd name="connsiteY201" fmla="*/ 7830 h 10000"/>
              <a:gd name="connsiteX202" fmla="*/ 3195 w 10000"/>
              <a:gd name="connsiteY202" fmla="*/ 7675 h 10000"/>
              <a:gd name="connsiteX203" fmla="*/ 3279 w 10000"/>
              <a:gd name="connsiteY203" fmla="*/ 7598 h 10000"/>
              <a:gd name="connsiteX204" fmla="*/ 3320 w 10000"/>
              <a:gd name="connsiteY204" fmla="*/ 7830 h 10000"/>
              <a:gd name="connsiteX205" fmla="*/ 3486 w 10000"/>
              <a:gd name="connsiteY205" fmla="*/ 8372 h 10000"/>
              <a:gd name="connsiteX206" fmla="*/ 3527 w 10000"/>
              <a:gd name="connsiteY206" fmla="*/ 8217 h 10000"/>
              <a:gd name="connsiteX207" fmla="*/ 3570 w 10000"/>
              <a:gd name="connsiteY207" fmla="*/ 8372 h 10000"/>
              <a:gd name="connsiteX208" fmla="*/ 3695 w 10000"/>
              <a:gd name="connsiteY208" fmla="*/ 8295 h 10000"/>
              <a:gd name="connsiteX209" fmla="*/ 3819 w 10000"/>
              <a:gd name="connsiteY209" fmla="*/ 8528 h 10000"/>
              <a:gd name="connsiteX210" fmla="*/ 3900 w 10000"/>
              <a:gd name="connsiteY210" fmla="*/ 8605 h 10000"/>
              <a:gd name="connsiteX211" fmla="*/ 3900 w 10000"/>
              <a:gd name="connsiteY211" fmla="*/ 8528 h 10000"/>
              <a:gd name="connsiteX212" fmla="*/ 3942 w 10000"/>
              <a:gd name="connsiteY212" fmla="*/ 8683 h 10000"/>
              <a:gd name="connsiteX213" fmla="*/ 3900 w 10000"/>
              <a:gd name="connsiteY213" fmla="*/ 8760 h 10000"/>
              <a:gd name="connsiteX214" fmla="*/ 3984 w 10000"/>
              <a:gd name="connsiteY214" fmla="*/ 8683 h 10000"/>
              <a:gd name="connsiteX215" fmla="*/ 4024 w 10000"/>
              <a:gd name="connsiteY215" fmla="*/ 8605 h 10000"/>
              <a:gd name="connsiteX216" fmla="*/ 4233 w 10000"/>
              <a:gd name="connsiteY216" fmla="*/ 8372 h 10000"/>
              <a:gd name="connsiteX217" fmla="*/ 4398 w 10000"/>
              <a:gd name="connsiteY217" fmla="*/ 8449 h 10000"/>
              <a:gd name="connsiteX218" fmla="*/ 4481 w 10000"/>
              <a:gd name="connsiteY218" fmla="*/ 8528 h 10000"/>
              <a:gd name="connsiteX219" fmla="*/ 4645 w 10000"/>
              <a:gd name="connsiteY219" fmla="*/ 8528 h 10000"/>
              <a:gd name="connsiteX220" fmla="*/ 4645 w 10000"/>
              <a:gd name="connsiteY220" fmla="*/ 8372 h 10000"/>
              <a:gd name="connsiteX221" fmla="*/ 4645 w 10000"/>
              <a:gd name="connsiteY221" fmla="*/ 8217 h 10000"/>
              <a:gd name="connsiteX222" fmla="*/ 4729 w 10000"/>
              <a:gd name="connsiteY222" fmla="*/ 8140 h 10000"/>
              <a:gd name="connsiteX223" fmla="*/ 4895 w 10000"/>
              <a:gd name="connsiteY223" fmla="*/ 8217 h 10000"/>
              <a:gd name="connsiteX224" fmla="*/ 4978 w 10000"/>
              <a:gd name="connsiteY224" fmla="*/ 8449 h 10000"/>
              <a:gd name="connsiteX225" fmla="*/ 5021 w 10000"/>
              <a:gd name="connsiteY225" fmla="*/ 8449 h 10000"/>
              <a:gd name="connsiteX226" fmla="*/ 5104 w 10000"/>
              <a:gd name="connsiteY226" fmla="*/ 8372 h 10000"/>
              <a:gd name="connsiteX227" fmla="*/ 5355 w 10000"/>
              <a:gd name="connsiteY227" fmla="*/ 8605 h 10000"/>
              <a:gd name="connsiteX228" fmla="*/ 5478 w 10000"/>
              <a:gd name="connsiteY228" fmla="*/ 8683 h 10000"/>
              <a:gd name="connsiteX229" fmla="*/ 5644 w 10000"/>
              <a:gd name="connsiteY229" fmla="*/ 8605 h 10000"/>
              <a:gd name="connsiteX230" fmla="*/ 5725 w 10000"/>
              <a:gd name="connsiteY230" fmla="*/ 8449 h 10000"/>
              <a:gd name="connsiteX231" fmla="*/ 5851 w 10000"/>
              <a:gd name="connsiteY231" fmla="*/ 8528 h 10000"/>
              <a:gd name="connsiteX232" fmla="*/ 5933 w 10000"/>
              <a:gd name="connsiteY232" fmla="*/ 8605 h 10000"/>
              <a:gd name="connsiteX233" fmla="*/ 7344 w 10000"/>
              <a:gd name="connsiteY233" fmla="*/ 7675 h 10000"/>
              <a:gd name="connsiteX234" fmla="*/ 7263 w 10000"/>
              <a:gd name="connsiteY234" fmla="*/ 7675 h 10000"/>
              <a:gd name="connsiteX235" fmla="*/ 7221 w 10000"/>
              <a:gd name="connsiteY235" fmla="*/ 7675 h 10000"/>
              <a:gd name="connsiteX236" fmla="*/ 7177 w 10000"/>
              <a:gd name="connsiteY236" fmla="*/ 7598 h 10000"/>
              <a:gd name="connsiteX237" fmla="*/ 7097 w 10000"/>
              <a:gd name="connsiteY237" fmla="*/ 7598 h 10000"/>
              <a:gd name="connsiteX238" fmla="*/ 7097 w 10000"/>
              <a:gd name="connsiteY238" fmla="*/ 7520 h 10000"/>
              <a:gd name="connsiteX239" fmla="*/ 7221 w 10000"/>
              <a:gd name="connsiteY239" fmla="*/ 7287 h 10000"/>
              <a:gd name="connsiteX240" fmla="*/ 7595 w 10000"/>
              <a:gd name="connsiteY240" fmla="*/ 6590 h 10000"/>
              <a:gd name="connsiteX241" fmla="*/ 7760 w 10000"/>
              <a:gd name="connsiteY241" fmla="*/ 6512 h 10000"/>
              <a:gd name="connsiteX242" fmla="*/ 7800 w 10000"/>
              <a:gd name="connsiteY242" fmla="*/ 6590 h 10000"/>
              <a:gd name="connsiteX243" fmla="*/ 7844 w 10000"/>
              <a:gd name="connsiteY243" fmla="*/ 6512 h 10000"/>
              <a:gd name="connsiteX244" fmla="*/ 7966 w 10000"/>
              <a:gd name="connsiteY244" fmla="*/ 6590 h 10000"/>
              <a:gd name="connsiteX245" fmla="*/ 8010 w 10000"/>
              <a:gd name="connsiteY245" fmla="*/ 6434 h 10000"/>
              <a:gd name="connsiteX246" fmla="*/ 8132 w 10000"/>
              <a:gd name="connsiteY246" fmla="*/ 6512 h 10000"/>
              <a:gd name="connsiteX247" fmla="*/ 8174 w 10000"/>
              <a:gd name="connsiteY247" fmla="*/ 6512 h 10000"/>
              <a:gd name="connsiteX248" fmla="*/ 8132 w 10000"/>
              <a:gd name="connsiteY248" fmla="*/ 6590 h 10000"/>
              <a:gd name="connsiteX249" fmla="*/ 8132 w 10000"/>
              <a:gd name="connsiteY249" fmla="*/ 6667 h 10000"/>
              <a:gd name="connsiteX250" fmla="*/ 8382 w 10000"/>
              <a:gd name="connsiteY250" fmla="*/ 6590 h 10000"/>
              <a:gd name="connsiteX251" fmla="*/ 8340 w 10000"/>
              <a:gd name="connsiteY251" fmla="*/ 6512 h 10000"/>
              <a:gd name="connsiteX252" fmla="*/ 8508 w 10000"/>
              <a:gd name="connsiteY252" fmla="*/ 5969 h 10000"/>
              <a:gd name="connsiteX253" fmla="*/ 8713 w 10000"/>
              <a:gd name="connsiteY253" fmla="*/ 5892 h 10000"/>
              <a:gd name="connsiteX254" fmla="*/ 8713 w 10000"/>
              <a:gd name="connsiteY254" fmla="*/ 6047 h 10000"/>
              <a:gd name="connsiteX255" fmla="*/ 8713 w 10000"/>
              <a:gd name="connsiteY255" fmla="*/ 6202 h 10000"/>
              <a:gd name="connsiteX256" fmla="*/ 8920 w 10000"/>
              <a:gd name="connsiteY256" fmla="*/ 5969 h 10000"/>
              <a:gd name="connsiteX257" fmla="*/ 8920 w 10000"/>
              <a:gd name="connsiteY257" fmla="*/ 5737 h 10000"/>
              <a:gd name="connsiteX258" fmla="*/ 9004 w 10000"/>
              <a:gd name="connsiteY258" fmla="*/ 5737 h 10000"/>
              <a:gd name="connsiteX259" fmla="*/ 8960 w 10000"/>
              <a:gd name="connsiteY259" fmla="*/ 5814 h 10000"/>
              <a:gd name="connsiteX260" fmla="*/ 8920 w 10000"/>
              <a:gd name="connsiteY260" fmla="*/ 6202 h 10000"/>
              <a:gd name="connsiteX261" fmla="*/ 8838 w 10000"/>
              <a:gd name="connsiteY261" fmla="*/ 6279 h 10000"/>
              <a:gd name="connsiteX262" fmla="*/ 8920 w 10000"/>
              <a:gd name="connsiteY262" fmla="*/ 6590 h 10000"/>
              <a:gd name="connsiteX263" fmla="*/ 8920 w 10000"/>
              <a:gd name="connsiteY263" fmla="*/ 6434 h 10000"/>
              <a:gd name="connsiteX264" fmla="*/ 9004 w 10000"/>
              <a:gd name="connsiteY264" fmla="*/ 6434 h 10000"/>
              <a:gd name="connsiteX265" fmla="*/ 9129 w 10000"/>
              <a:gd name="connsiteY265" fmla="*/ 6279 h 10000"/>
              <a:gd name="connsiteX266" fmla="*/ 9129 w 10000"/>
              <a:gd name="connsiteY266" fmla="*/ 6434 h 10000"/>
              <a:gd name="connsiteX267" fmla="*/ 9170 w 10000"/>
              <a:gd name="connsiteY267" fmla="*/ 6356 h 10000"/>
              <a:gd name="connsiteX268" fmla="*/ 9297 w 10000"/>
              <a:gd name="connsiteY268" fmla="*/ 6279 h 10000"/>
              <a:gd name="connsiteX269" fmla="*/ 9376 w 10000"/>
              <a:gd name="connsiteY269" fmla="*/ 6434 h 10000"/>
              <a:gd name="connsiteX270" fmla="*/ 9418 w 10000"/>
              <a:gd name="connsiteY270" fmla="*/ 6279 h 10000"/>
              <a:gd name="connsiteX271" fmla="*/ 9837 w 10000"/>
              <a:gd name="connsiteY271" fmla="*/ 5737 h 10000"/>
              <a:gd name="connsiteX272" fmla="*/ 9960 w 10000"/>
              <a:gd name="connsiteY272" fmla="*/ 5814 h 10000"/>
              <a:gd name="connsiteX273" fmla="*/ 10000 w 10000"/>
              <a:gd name="connsiteY273" fmla="*/ 5737 h 10000"/>
              <a:gd name="connsiteX274" fmla="*/ 9917 w 10000"/>
              <a:gd name="connsiteY274" fmla="*/ 5271 h 10000"/>
              <a:gd name="connsiteX275" fmla="*/ 10000 w 10000"/>
              <a:gd name="connsiteY275" fmla="*/ 3799 h 10000"/>
              <a:gd name="connsiteX276" fmla="*/ 9751 w 10000"/>
              <a:gd name="connsiteY276" fmla="*/ 3488 h 10000"/>
              <a:gd name="connsiteX277" fmla="*/ 9418 w 10000"/>
              <a:gd name="connsiteY277" fmla="*/ 3411 h 10000"/>
              <a:gd name="connsiteX278" fmla="*/ 9418 w 10000"/>
              <a:gd name="connsiteY278" fmla="*/ 3799 h 10000"/>
              <a:gd name="connsiteX279" fmla="*/ 9338 w 10000"/>
              <a:gd name="connsiteY279" fmla="*/ 3876 h 10000"/>
              <a:gd name="connsiteX280" fmla="*/ 9253 w 10000"/>
              <a:gd name="connsiteY280" fmla="*/ 3721 h 10000"/>
              <a:gd name="connsiteX281" fmla="*/ 9253 w 10000"/>
              <a:gd name="connsiteY281" fmla="*/ 3566 h 10000"/>
              <a:gd name="connsiteX282" fmla="*/ 9297 w 10000"/>
              <a:gd name="connsiteY282" fmla="*/ 3566 h 10000"/>
              <a:gd name="connsiteX283" fmla="*/ 9338 w 10000"/>
              <a:gd name="connsiteY283" fmla="*/ 3488 h 10000"/>
              <a:gd name="connsiteX284" fmla="*/ 9253 w 10000"/>
              <a:gd name="connsiteY284" fmla="*/ 3488 h 10000"/>
              <a:gd name="connsiteX285" fmla="*/ 9170 w 10000"/>
              <a:gd name="connsiteY285" fmla="*/ 3644 h 10000"/>
              <a:gd name="connsiteX286" fmla="*/ 8960 w 10000"/>
              <a:gd name="connsiteY286" fmla="*/ 3566 h 10000"/>
              <a:gd name="connsiteX287" fmla="*/ 8756 w 10000"/>
              <a:gd name="connsiteY287" fmla="*/ 3566 h 10000"/>
              <a:gd name="connsiteX288" fmla="*/ 8672 w 10000"/>
              <a:gd name="connsiteY288" fmla="*/ 3488 h 10000"/>
              <a:gd name="connsiteX289" fmla="*/ 8713 w 10000"/>
              <a:gd name="connsiteY289" fmla="*/ 3333 h 10000"/>
              <a:gd name="connsiteX290" fmla="*/ 8630 w 10000"/>
              <a:gd name="connsiteY290" fmla="*/ 3101 h 10000"/>
              <a:gd name="connsiteX291" fmla="*/ 8463 w 10000"/>
              <a:gd name="connsiteY291" fmla="*/ 3023 h 10000"/>
              <a:gd name="connsiteX292" fmla="*/ 8217 w 10000"/>
              <a:gd name="connsiteY292" fmla="*/ 3178 h 10000"/>
              <a:gd name="connsiteX293" fmla="*/ 8174 w 10000"/>
              <a:gd name="connsiteY293" fmla="*/ 2946 h 10000"/>
              <a:gd name="connsiteX294" fmla="*/ 8091 w 10000"/>
              <a:gd name="connsiteY294" fmla="*/ 2946 h 10000"/>
              <a:gd name="connsiteX295" fmla="*/ 8050 w 10000"/>
              <a:gd name="connsiteY295" fmla="*/ 2868 h 10000"/>
              <a:gd name="connsiteX296" fmla="*/ 8050 w 10000"/>
              <a:gd name="connsiteY296" fmla="*/ 2636 h 10000"/>
              <a:gd name="connsiteX297" fmla="*/ 7760 w 10000"/>
              <a:gd name="connsiteY297" fmla="*/ 2480 h 10000"/>
              <a:gd name="connsiteX298" fmla="*/ 7427 w 10000"/>
              <a:gd name="connsiteY298" fmla="*/ 2325 h 10000"/>
              <a:gd name="connsiteX299" fmla="*/ 7344 w 10000"/>
              <a:gd name="connsiteY299" fmla="*/ 2636 h 10000"/>
              <a:gd name="connsiteX300" fmla="*/ 7427 w 10000"/>
              <a:gd name="connsiteY300" fmla="*/ 2868 h 10000"/>
              <a:gd name="connsiteX301" fmla="*/ 7177 w 10000"/>
              <a:gd name="connsiteY301" fmla="*/ 2868 h 10000"/>
              <a:gd name="connsiteX302" fmla="*/ 7136 w 10000"/>
              <a:gd name="connsiteY302" fmla="*/ 2868 h 10000"/>
              <a:gd name="connsiteX303" fmla="*/ 7054 w 10000"/>
              <a:gd name="connsiteY303" fmla="*/ 2946 h 10000"/>
              <a:gd name="connsiteX304" fmla="*/ 6928 w 10000"/>
              <a:gd name="connsiteY304" fmla="*/ 2714 h 10000"/>
              <a:gd name="connsiteX305" fmla="*/ 6845 w 10000"/>
              <a:gd name="connsiteY305" fmla="*/ 3178 h 10000"/>
              <a:gd name="connsiteX306" fmla="*/ 6764 w 10000"/>
              <a:gd name="connsiteY306" fmla="*/ 3101 h 10000"/>
              <a:gd name="connsiteX307" fmla="*/ 6679 w 10000"/>
              <a:gd name="connsiteY307" fmla="*/ 2791 h 10000"/>
              <a:gd name="connsiteX308" fmla="*/ 6722 w 10000"/>
              <a:gd name="connsiteY308" fmla="*/ 2403 h 10000"/>
              <a:gd name="connsiteX309" fmla="*/ 6640 w 10000"/>
              <a:gd name="connsiteY309" fmla="*/ 2170 h 10000"/>
              <a:gd name="connsiteX310" fmla="*/ 6390 w 10000"/>
              <a:gd name="connsiteY310" fmla="*/ 2016 h 10000"/>
              <a:gd name="connsiteX311" fmla="*/ 6305 w 10000"/>
              <a:gd name="connsiteY311" fmla="*/ 2016 h 10000"/>
              <a:gd name="connsiteX312" fmla="*/ 6265 w 10000"/>
              <a:gd name="connsiteY312" fmla="*/ 2170 h 10000"/>
              <a:gd name="connsiteX313" fmla="*/ 6305 w 10000"/>
              <a:gd name="connsiteY313" fmla="*/ 2325 h 10000"/>
              <a:gd name="connsiteX314" fmla="*/ 5977 w 10000"/>
              <a:gd name="connsiteY314" fmla="*/ 2248 h 10000"/>
              <a:gd name="connsiteX315" fmla="*/ 6016 w 10000"/>
              <a:gd name="connsiteY315" fmla="*/ 2016 h 10000"/>
              <a:gd name="connsiteX316" fmla="*/ 5811 w 10000"/>
              <a:gd name="connsiteY316" fmla="*/ 1938 h 10000"/>
              <a:gd name="connsiteX317" fmla="*/ 5685 w 10000"/>
              <a:gd name="connsiteY317" fmla="*/ 2093 h 10000"/>
              <a:gd name="connsiteX318" fmla="*/ 5439 w 10000"/>
              <a:gd name="connsiteY318" fmla="*/ 1861 h 10000"/>
              <a:gd name="connsiteX0" fmla="*/ 5439 w 10020"/>
              <a:gd name="connsiteY0" fmla="*/ 1861 h 10000"/>
              <a:gd name="connsiteX1" fmla="*/ 5439 w 10020"/>
              <a:gd name="connsiteY1" fmla="*/ 1861 h 10000"/>
              <a:gd name="connsiteX2" fmla="*/ 5394 w 10020"/>
              <a:gd name="connsiteY2" fmla="*/ 1938 h 10000"/>
              <a:gd name="connsiteX3" fmla="*/ 5439 w 10020"/>
              <a:gd name="connsiteY3" fmla="*/ 2093 h 10000"/>
              <a:gd name="connsiteX4" fmla="*/ 5268 w 10020"/>
              <a:gd name="connsiteY4" fmla="*/ 2248 h 10000"/>
              <a:gd name="connsiteX5" fmla="*/ 5226 w 10020"/>
              <a:gd name="connsiteY5" fmla="*/ 2248 h 10000"/>
              <a:gd name="connsiteX6" fmla="*/ 5268 w 10020"/>
              <a:gd name="connsiteY6" fmla="*/ 2016 h 10000"/>
              <a:gd name="connsiteX7" fmla="*/ 5685 w 10020"/>
              <a:gd name="connsiteY7" fmla="*/ 1318 h 10000"/>
              <a:gd name="connsiteX8" fmla="*/ 5685 w 10020"/>
              <a:gd name="connsiteY8" fmla="*/ 853 h 10000"/>
              <a:gd name="connsiteX9" fmla="*/ 5519 w 10020"/>
              <a:gd name="connsiteY9" fmla="*/ 543 h 10000"/>
              <a:gd name="connsiteX10" fmla="*/ 5311 w 10020"/>
              <a:gd name="connsiteY10" fmla="*/ 543 h 10000"/>
              <a:gd name="connsiteX11" fmla="*/ 5311 w 10020"/>
              <a:gd name="connsiteY11" fmla="*/ 698 h 10000"/>
              <a:gd name="connsiteX12" fmla="*/ 5186 w 10020"/>
              <a:gd name="connsiteY12" fmla="*/ 698 h 10000"/>
              <a:gd name="connsiteX13" fmla="*/ 5268 w 10020"/>
              <a:gd name="connsiteY13" fmla="*/ 387 h 10000"/>
              <a:gd name="connsiteX14" fmla="*/ 5062 w 10020"/>
              <a:gd name="connsiteY14" fmla="*/ 310 h 10000"/>
              <a:gd name="connsiteX15" fmla="*/ 5186 w 10020"/>
              <a:gd name="connsiteY15" fmla="*/ 155 h 10000"/>
              <a:gd name="connsiteX16" fmla="*/ 5062 w 10020"/>
              <a:gd name="connsiteY16" fmla="*/ 0 h 10000"/>
              <a:gd name="connsiteX17" fmla="*/ 4854 w 10020"/>
              <a:gd name="connsiteY17" fmla="*/ 387 h 10000"/>
              <a:gd name="connsiteX18" fmla="*/ 4854 w 10020"/>
              <a:gd name="connsiteY18" fmla="*/ 698 h 10000"/>
              <a:gd name="connsiteX19" fmla="*/ 4729 w 10020"/>
              <a:gd name="connsiteY19" fmla="*/ 698 h 10000"/>
              <a:gd name="connsiteX20" fmla="*/ 4358 w 10020"/>
              <a:gd name="connsiteY20" fmla="*/ 853 h 10000"/>
              <a:gd name="connsiteX21" fmla="*/ 4024 w 10020"/>
              <a:gd name="connsiteY21" fmla="*/ 1240 h 10000"/>
              <a:gd name="connsiteX22" fmla="*/ 3900 w 10020"/>
              <a:gd name="connsiteY22" fmla="*/ 1551 h 10000"/>
              <a:gd name="connsiteX23" fmla="*/ 3942 w 10020"/>
              <a:gd name="connsiteY23" fmla="*/ 1938 h 10000"/>
              <a:gd name="connsiteX24" fmla="*/ 3486 w 10020"/>
              <a:gd name="connsiteY24" fmla="*/ 2093 h 10000"/>
              <a:gd name="connsiteX25" fmla="*/ 3527 w 10020"/>
              <a:gd name="connsiteY25" fmla="*/ 2559 h 10000"/>
              <a:gd name="connsiteX26" fmla="*/ 3653 w 10020"/>
              <a:gd name="connsiteY26" fmla="*/ 2791 h 10000"/>
              <a:gd name="connsiteX27" fmla="*/ 3570 w 10020"/>
              <a:gd name="connsiteY27" fmla="*/ 2868 h 10000"/>
              <a:gd name="connsiteX28" fmla="*/ 3445 w 10020"/>
              <a:gd name="connsiteY28" fmla="*/ 2559 h 10000"/>
              <a:gd name="connsiteX29" fmla="*/ 3320 w 10020"/>
              <a:gd name="connsiteY29" fmla="*/ 2480 h 10000"/>
              <a:gd name="connsiteX30" fmla="*/ 3279 w 10020"/>
              <a:gd name="connsiteY30" fmla="*/ 2559 h 10000"/>
              <a:gd name="connsiteX31" fmla="*/ 3195 w 10020"/>
              <a:gd name="connsiteY31" fmla="*/ 2403 h 10000"/>
              <a:gd name="connsiteX32" fmla="*/ 3113 w 10020"/>
              <a:gd name="connsiteY32" fmla="*/ 2248 h 10000"/>
              <a:gd name="connsiteX33" fmla="*/ 3113 w 10020"/>
              <a:gd name="connsiteY33" fmla="*/ 2325 h 10000"/>
              <a:gd name="connsiteX34" fmla="*/ 3155 w 10020"/>
              <a:gd name="connsiteY34" fmla="*/ 2559 h 10000"/>
              <a:gd name="connsiteX35" fmla="*/ 3029 w 10020"/>
              <a:gd name="connsiteY35" fmla="*/ 2946 h 10000"/>
              <a:gd name="connsiteX36" fmla="*/ 3113 w 10020"/>
              <a:gd name="connsiteY36" fmla="*/ 3256 h 10000"/>
              <a:gd name="connsiteX37" fmla="*/ 3070 w 10020"/>
              <a:gd name="connsiteY37" fmla="*/ 3566 h 10000"/>
              <a:gd name="connsiteX38" fmla="*/ 3070 w 10020"/>
              <a:gd name="connsiteY38" fmla="*/ 3799 h 10000"/>
              <a:gd name="connsiteX39" fmla="*/ 3195 w 10020"/>
              <a:gd name="connsiteY39" fmla="*/ 3799 h 10000"/>
              <a:gd name="connsiteX40" fmla="*/ 3113 w 10020"/>
              <a:gd name="connsiteY40" fmla="*/ 3876 h 10000"/>
              <a:gd name="connsiteX41" fmla="*/ 3155 w 10020"/>
              <a:gd name="connsiteY41" fmla="*/ 4263 h 10000"/>
              <a:gd name="connsiteX42" fmla="*/ 2905 w 10020"/>
              <a:gd name="connsiteY42" fmla="*/ 4652 h 10000"/>
              <a:gd name="connsiteX43" fmla="*/ 2863 w 10020"/>
              <a:gd name="connsiteY43" fmla="*/ 4574 h 10000"/>
              <a:gd name="connsiteX44" fmla="*/ 3029 w 10020"/>
              <a:gd name="connsiteY44" fmla="*/ 4186 h 10000"/>
              <a:gd name="connsiteX45" fmla="*/ 3070 w 10020"/>
              <a:gd name="connsiteY45" fmla="*/ 3954 h 10000"/>
              <a:gd name="connsiteX46" fmla="*/ 2984 w 10020"/>
              <a:gd name="connsiteY46" fmla="*/ 3799 h 10000"/>
              <a:gd name="connsiteX47" fmla="*/ 2984 w 10020"/>
              <a:gd name="connsiteY47" fmla="*/ 3023 h 10000"/>
              <a:gd name="connsiteX48" fmla="*/ 2946 w 10020"/>
              <a:gd name="connsiteY48" fmla="*/ 2868 h 10000"/>
              <a:gd name="connsiteX49" fmla="*/ 2984 w 10020"/>
              <a:gd name="connsiteY49" fmla="*/ 2403 h 10000"/>
              <a:gd name="connsiteX50" fmla="*/ 2905 w 10020"/>
              <a:gd name="connsiteY50" fmla="*/ 2325 h 10000"/>
              <a:gd name="connsiteX51" fmla="*/ 2946 w 10020"/>
              <a:gd name="connsiteY51" fmla="*/ 2248 h 10000"/>
              <a:gd name="connsiteX52" fmla="*/ 2905 w 10020"/>
              <a:gd name="connsiteY52" fmla="*/ 2093 h 10000"/>
              <a:gd name="connsiteX53" fmla="*/ 2819 w 10020"/>
              <a:gd name="connsiteY53" fmla="*/ 2170 h 10000"/>
              <a:gd name="connsiteX54" fmla="*/ 2614 w 10020"/>
              <a:gd name="connsiteY54" fmla="*/ 3178 h 10000"/>
              <a:gd name="connsiteX55" fmla="*/ 2614 w 10020"/>
              <a:gd name="connsiteY55" fmla="*/ 3566 h 10000"/>
              <a:gd name="connsiteX56" fmla="*/ 2738 w 10020"/>
              <a:gd name="connsiteY56" fmla="*/ 3876 h 10000"/>
              <a:gd name="connsiteX57" fmla="*/ 2738 w 10020"/>
              <a:gd name="connsiteY57" fmla="*/ 4031 h 10000"/>
              <a:gd name="connsiteX58" fmla="*/ 2614 w 10020"/>
              <a:gd name="connsiteY58" fmla="*/ 3876 h 10000"/>
              <a:gd name="connsiteX59" fmla="*/ 2118 w 10020"/>
              <a:gd name="connsiteY59" fmla="*/ 3256 h 10000"/>
              <a:gd name="connsiteX60" fmla="*/ 2075 w 10020"/>
              <a:gd name="connsiteY60" fmla="*/ 3411 h 10000"/>
              <a:gd name="connsiteX61" fmla="*/ 2241 w 10020"/>
              <a:gd name="connsiteY61" fmla="*/ 3799 h 10000"/>
              <a:gd name="connsiteX62" fmla="*/ 2158 w 10020"/>
              <a:gd name="connsiteY62" fmla="*/ 3876 h 10000"/>
              <a:gd name="connsiteX63" fmla="*/ 2118 w 10020"/>
              <a:gd name="connsiteY63" fmla="*/ 3799 h 10000"/>
              <a:gd name="connsiteX64" fmla="*/ 1868 w 10020"/>
              <a:gd name="connsiteY64" fmla="*/ 3954 h 10000"/>
              <a:gd name="connsiteX65" fmla="*/ 1826 w 10020"/>
              <a:gd name="connsiteY65" fmla="*/ 4109 h 10000"/>
              <a:gd name="connsiteX66" fmla="*/ 1784 w 10020"/>
              <a:gd name="connsiteY66" fmla="*/ 3954 h 10000"/>
              <a:gd name="connsiteX67" fmla="*/ 1784 w 10020"/>
              <a:gd name="connsiteY67" fmla="*/ 3799 h 10000"/>
              <a:gd name="connsiteX68" fmla="*/ 1368 w 10020"/>
              <a:gd name="connsiteY68" fmla="*/ 4263 h 10000"/>
              <a:gd name="connsiteX69" fmla="*/ 1368 w 10020"/>
              <a:gd name="connsiteY69" fmla="*/ 4418 h 10000"/>
              <a:gd name="connsiteX70" fmla="*/ 1287 w 10020"/>
              <a:gd name="connsiteY70" fmla="*/ 4496 h 10000"/>
              <a:gd name="connsiteX71" fmla="*/ 1162 w 10020"/>
              <a:gd name="connsiteY71" fmla="*/ 4341 h 10000"/>
              <a:gd name="connsiteX72" fmla="*/ 1287 w 10020"/>
              <a:gd name="connsiteY72" fmla="*/ 4186 h 10000"/>
              <a:gd name="connsiteX73" fmla="*/ 1246 w 10020"/>
              <a:gd name="connsiteY73" fmla="*/ 3954 h 10000"/>
              <a:gd name="connsiteX74" fmla="*/ 1080 w 10020"/>
              <a:gd name="connsiteY74" fmla="*/ 3876 h 10000"/>
              <a:gd name="connsiteX75" fmla="*/ 1122 w 10020"/>
              <a:gd name="connsiteY75" fmla="*/ 4031 h 10000"/>
              <a:gd name="connsiteX76" fmla="*/ 1122 w 10020"/>
              <a:gd name="connsiteY76" fmla="*/ 4418 h 10000"/>
              <a:gd name="connsiteX77" fmla="*/ 1162 w 10020"/>
              <a:gd name="connsiteY77" fmla="*/ 4574 h 10000"/>
              <a:gd name="connsiteX78" fmla="*/ 1122 w 10020"/>
              <a:gd name="connsiteY78" fmla="*/ 4729 h 10000"/>
              <a:gd name="connsiteX79" fmla="*/ 995 w 10020"/>
              <a:gd name="connsiteY79" fmla="*/ 4652 h 10000"/>
              <a:gd name="connsiteX80" fmla="*/ 829 w 10020"/>
              <a:gd name="connsiteY80" fmla="*/ 4884 h 10000"/>
              <a:gd name="connsiteX81" fmla="*/ 912 w 10020"/>
              <a:gd name="connsiteY81" fmla="*/ 5194 h 10000"/>
              <a:gd name="connsiteX82" fmla="*/ 663 w 10020"/>
              <a:gd name="connsiteY82" fmla="*/ 5039 h 10000"/>
              <a:gd name="connsiteX83" fmla="*/ 622 w 10020"/>
              <a:gd name="connsiteY83" fmla="*/ 5116 h 10000"/>
              <a:gd name="connsiteX84" fmla="*/ 706 w 10020"/>
              <a:gd name="connsiteY84" fmla="*/ 5349 h 10000"/>
              <a:gd name="connsiteX85" fmla="*/ 622 w 10020"/>
              <a:gd name="connsiteY85" fmla="*/ 5349 h 10000"/>
              <a:gd name="connsiteX86" fmla="*/ 499 w 10020"/>
              <a:gd name="connsiteY86" fmla="*/ 5194 h 10000"/>
              <a:gd name="connsiteX87" fmla="*/ 499 w 10020"/>
              <a:gd name="connsiteY87" fmla="*/ 4729 h 10000"/>
              <a:gd name="connsiteX88" fmla="*/ 374 w 10020"/>
              <a:gd name="connsiteY88" fmla="*/ 4574 h 10000"/>
              <a:gd name="connsiteX89" fmla="*/ 332 w 10020"/>
              <a:gd name="connsiteY89" fmla="*/ 4418 h 10000"/>
              <a:gd name="connsiteX90" fmla="*/ 415 w 10020"/>
              <a:gd name="connsiteY90" fmla="*/ 4496 h 10000"/>
              <a:gd name="connsiteX91" fmla="*/ 746 w 10020"/>
              <a:gd name="connsiteY91" fmla="*/ 4729 h 10000"/>
              <a:gd name="connsiteX92" fmla="*/ 954 w 10020"/>
              <a:gd name="connsiteY92" fmla="*/ 4496 h 10000"/>
              <a:gd name="connsiteX93" fmla="*/ 912 w 10020"/>
              <a:gd name="connsiteY93" fmla="*/ 4263 h 10000"/>
              <a:gd name="connsiteX94" fmla="*/ 663 w 10020"/>
              <a:gd name="connsiteY94" fmla="*/ 3799 h 10000"/>
              <a:gd name="connsiteX95" fmla="*/ 415 w 10020"/>
              <a:gd name="connsiteY95" fmla="*/ 3644 h 10000"/>
              <a:gd name="connsiteX96" fmla="*/ 415 w 10020"/>
              <a:gd name="connsiteY96" fmla="*/ 3566 h 10000"/>
              <a:gd name="connsiteX97" fmla="*/ 332 w 10020"/>
              <a:gd name="connsiteY97" fmla="*/ 3488 h 10000"/>
              <a:gd name="connsiteX98" fmla="*/ 248 w 10020"/>
              <a:gd name="connsiteY98" fmla="*/ 3566 h 10000"/>
              <a:gd name="connsiteX99" fmla="*/ 248 w 10020"/>
              <a:gd name="connsiteY99" fmla="*/ 3644 h 10000"/>
              <a:gd name="connsiteX100" fmla="*/ 208 w 10020"/>
              <a:gd name="connsiteY100" fmla="*/ 3644 h 10000"/>
              <a:gd name="connsiteX101" fmla="*/ 124 w 10020"/>
              <a:gd name="connsiteY101" fmla="*/ 3799 h 10000"/>
              <a:gd name="connsiteX102" fmla="*/ 124 w 10020"/>
              <a:gd name="connsiteY102" fmla="*/ 4031 h 10000"/>
              <a:gd name="connsiteX103" fmla="*/ 208 w 10020"/>
              <a:gd name="connsiteY103" fmla="*/ 4186 h 10000"/>
              <a:gd name="connsiteX104" fmla="*/ 165 w 10020"/>
              <a:gd name="connsiteY104" fmla="*/ 4418 h 10000"/>
              <a:gd name="connsiteX105" fmla="*/ 208 w 10020"/>
              <a:gd name="connsiteY105" fmla="*/ 4807 h 10000"/>
              <a:gd name="connsiteX106" fmla="*/ 165 w 10020"/>
              <a:gd name="connsiteY106" fmla="*/ 5039 h 10000"/>
              <a:gd name="connsiteX107" fmla="*/ 248 w 10020"/>
              <a:gd name="connsiteY107" fmla="*/ 5271 h 10000"/>
              <a:gd name="connsiteX108" fmla="*/ 208 w 10020"/>
              <a:gd name="connsiteY108" fmla="*/ 5426 h 10000"/>
              <a:gd name="connsiteX109" fmla="*/ 290 w 10020"/>
              <a:gd name="connsiteY109" fmla="*/ 5582 h 10000"/>
              <a:gd name="connsiteX110" fmla="*/ 290 w 10020"/>
              <a:gd name="connsiteY110" fmla="*/ 5659 h 10000"/>
              <a:gd name="connsiteX111" fmla="*/ 165 w 10020"/>
              <a:gd name="connsiteY111" fmla="*/ 6047 h 10000"/>
              <a:gd name="connsiteX112" fmla="*/ 40 w 10020"/>
              <a:gd name="connsiteY112" fmla="*/ 6202 h 10000"/>
              <a:gd name="connsiteX113" fmla="*/ 83 w 10020"/>
              <a:gd name="connsiteY113" fmla="*/ 6202 h 10000"/>
              <a:gd name="connsiteX114" fmla="*/ 165 w 10020"/>
              <a:gd name="connsiteY114" fmla="*/ 6356 h 10000"/>
              <a:gd name="connsiteX115" fmla="*/ 83 w 10020"/>
              <a:gd name="connsiteY115" fmla="*/ 6512 h 10000"/>
              <a:gd name="connsiteX116" fmla="*/ 40 w 10020"/>
              <a:gd name="connsiteY116" fmla="*/ 6590 h 10000"/>
              <a:gd name="connsiteX117" fmla="*/ 0 w 10020"/>
              <a:gd name="connsiteY117" fmla="*/ 6590 h 10000"/>
              <a:gd name="connsiteX118" fmla="*/ 40 w 10020"/>
              <a:gd name="connsiteY118" fmla="*/ 6822 h 10000"/>
              <a:gd name="connsiteX119" fmla="*/ 40 w 10020"/>
              <a:gd name="connsiteY119" fmla="*/ 6900 h 10000"/>
              <a:gd name="connsiteX120" fmla="*/ 40 w 10020"/>
              <a:gd name="connsiteY120" fmla="*/ 6977 h 10000"/>
              <a:gd name="connsiteX121" fmla="*/ 40 w 10020"/>
              <a:gd name="connsiteY121" fmla="*/ 7054 h 10000"/>
              <a:gd name="connsiteX122" fmla="*/ 83 w 10020"/>
              <a:gd name="connsiteY122" fmla="*/ 7209 h 10000"/>
              <a:gd name="connsiteX123" fmla="*/ 208 w 10020"/>
              <a:gd name="connsiteY123" fmla="*/ 7287 h 10000"/>
              <a:gd name="connsiteX124" fmla="*/ 248 w 10020"/>
              <a:gd name="connsiteY124" fmla="*/ 7364 h 10000"/>
              <a:gd name="connsiteX125" fmla="*/ 248 w 10020"/>
              <a:gd name="connsiteY125" fmla="*/ 7520 h 10000"/>
              <a:gd name="connsiteX126" fmla="*/ 332 w 10020"/>
              <a:gd name="connsiteY126" fmla="*/ 7752 h 10000"/>
              <a:gd name="connsiteX127" fmla="*/ 374 w 10020"/>
              <a:gd name="connsiteY127" fmla="*/ 7752 h 10000"/>
              <a:gd name="connsiteX128" fmla="*/ 332 w 10020"/>
              <a:gd name="connsiteY128" fmla="*/ 7907 h 10000"/>
              <a:gd name="connsiteX129" fmla="*/ 290 w 10020"/>
              <a:gd name="connsiteY129" fmla="*/ 7830 h 10000"/>
              <a:gd name="connsiteX130" fmla="*/ 290 w 10020"/>
              <a:gd name="connsiteY130" fmla="*/ 7907 h 10000"/>
              <a:gd name="connsiteX131" fmla="*/ 332 w 10020"/>
              <a:gd name="connsiteY131" fmla="*/ 8062 h 10000"/>
              <a:gd name="connsiteX132" fmla="*/ 457 w 10020"/>
              <a:gd name="connsiteY132" fmla="*/ 8062 h 10000"/>
              <a:gd name="connsiteX133" fmla="*/ 499 w 10020"/>
              <a:gd name="connsiteY133" fmla="*/ 8140 h 10000"/>
              <a:gd name="connsiteX134" fmla="*/ 457 w 10020"/>
              <a:gd name="connsiteY134" fmla="*/ 8140 h 10000"/>
              <a:gd name="connsiteX135" fmla="*/ 499 w 10020"/>
              <a:gd name="connsiteY135" fmla="*/ 8217 h 10000"/>
              <a:gd name="connsiteX136" fmla="*/ 538 w 10020"/>
              <a:gd name="connsiteY136" fmla="*/ 8217 h 10000"/>
              <a:gd name="connsiteX137" fmla="*/ 580 w 10020"/>
              <a:gd name="connsiteY137" fmla="*/ 8372 h 10000"/>
              <a:gd name="connsiteX138" fmla="*/ 622 w 10020"/>
              <a:gd name="connsiteY138" fmla="*/ 8449 h 10000"/>
              <a:gd name="connsiteX139" fmla="*/ 663 w 10020"/>
              <a:gd name="connsiteY139" fmla="*/ 8372 h 10000"/>
              <a:gd name="connsiteX140" fmla="*/ 872 w 10020"/>
              <a:gd name="connsiteY140" fmla="*/ 8605 h 10000"/>
              <a:gd name="connsiteX141" fmla="*/ 829 w 10020"/>
              <a:gd name="connsiteY141" fmla="*/ 8915 h 10000"/>
              <a:gd name="connsiteX142" fmla="*/ 786 w 10020"/>
              <a:gd name="connsiteY142" fmla="*/ 8838 h 10000"/>
              <a:gd name="connsiteX143" fmla="*/ 746 w 10020"/>
              <a:gd name="connsiteY143" fmla="*/ 8915 h 10000"/>
              <a:gd name="connsiteX144" fmla="*/ 746 w 10020"/>
              <a:gd name="connsiteY144" fmla="*/ 9070 h 10000"/>
              <a:gd name="connsiteX145" fmla="*/ 786 w 10020"/>
              <a:gd name="connsiteY145" fmla="*/ 8993 h 10000"/>
              <a:gd name="connsiteX146" fmla="*/ 829 w 10020"/>
              <a:gd name="connsiteY146" fmla="*/ 9070 h 10000"/>
              <a:gd name="connsiteX147" fmla="*/ 706 w 10020"/>
              <a:gd name="connsiteY147" fmla="*/ 9147 h 10000"/>
              <a:gd name="connsiteX148" fmla="*/ 746 w 10020"/>
              <a:gd name="connsiteY148" fmla="*/ 9225 h 10000"/>
              <a:gd name="connsiteX149" fmla="*/ 663 w 10020"/>
              <a:gd name="connsiteY149" fmla="*/ 9380 h 10000"/>
              <a:gd name="connsiteX150" fmla="*/ 622 w 10020"/>
              <a:gd name="connsiteY150" fmla="*/ 9380 h 10000"/>
              <a:gd name="connsiteX151" fmla="*/ 663 w 10020"/>
              <a:gd name="connsiteY151" fmla="*/ 9380 h 10000"/>
              <a:gd name="connsiteX152" fmla="*/ 829 w 10020"/>
              <a:gd name="connsiteY152" fmla="*/ 9691 h 10000"/>
              <a:gd name="connsiteX153" fmla="*/ 1038 w 10020"/>
              <a:gd name="connsiteY153" fmla="*/ 9691 h 10000"/>
              <a:gd name="connsiteX154" fmla="*/ 1122 w 10020"/>
              <a:gd name="connsiteY154" fmla="*/ 9768 h 10000"/>
              <a:gd name="connsiteX155" fmla="*/ 1203 w 10020"/>
              <a:gd name="connsiteY155" fmla="*/ 9768 h 10000"/>
              <a:gd name="connsiteX156" fmla="*/ 1287 w 10020"/>
              <a:gd name="connsiteY156" fmla="*/ 9923 h 10000"/>
              <a:gd name="connsiteX157" fmla="*/ 1328 w 10020"/>
              <a:gd name="connsiteY157" fmla="*/ 10000 h 10000"/>
              <a:gd name="connsiteX158" fmla="*/ 1368 w 10020"/>
              <a:gd name="connsiteY158" fmla="*/ 10000 h 10000"/>
              <a:gd name="connsiteX159" fmla="*/ 1412 w 10020"/>
              <a:gd name="connsiteY159" fmla="*/ 9923 h 10000"/>
              <a:gd name="connsiteX160" fmla="*/ 1328 w 10020"/>
              <a:gd name="connsiteY160" fmla="*/ 9768 h 10000"/>
              <a:gd name="connsiteX161" fmla="*/ 1328 w 10020"/>
              <a:gd name="connsiteY161" fmla="*/ 9613 h 10000"/>
              <a:gd name="connsiteX162" fmla="*/ 1287 w 10020"/>
              <a:gd name="connsiteY162" fmla="*/ 9457 h 10000"/>
              <a:gd name="connsiteX163" fmla="*/ 1368 w 10020"/>
              <a:gd name="connsiteY163" fmla="*/ 9225 h 10000"/>
              <a:gd name="connsiteX164" fmla="*/ 1412 w 10020"/>
              <a:gd name="connsiteY164" fmla="*/ 9302 h 10000"/>
              <a:gd name="connsiteX165" fmla="*/ 1453 w 10020"/>
              <a:gd name="connsiteY165" fmla="*/ 9225 h 10000"/>
              <a:gd name="connsiteX166" fmla="*/ 1453 w 10020"/>
              <a:gd name="connsiteY166" fmla="*/ 9147 h 10000"/>
              <a:gd name="connsiteX167" fmla="*/ 1412 w 10020"/>
              <a:gd name="connsiteY167" fmla="*/ 9147 h 10000"/>
              <a:gd name="connsiteX168" fmla="*/ 1453 w 10020"/>
              <a:gd name="connsiteY168" fmla="*/ 9070 h 10000"/>
              <a:gd name="connsiteX169" fmla="*/ 1412 w 10020"/>
              <a:gd name="connsiteY169" fmla="*/ 8915 h 10000"/>
              <a:gd name="connsiteX170" fmla="*/ 1328 w 10020"/>
              <a:gd name="connsiteY170" fmla="*/ 8915 h 10000"/>
              <a:gd name="connsiteX171" fmla="*/ 1287 w 10020"/>
              <a:gd name="connsiteY171" fmla="*/ 8760 h 10000"/>
              <a:gd name="connsiteX172" fmla="*/ 1328 w 10020"/>
              <a:gd name="connsiteY172" fmla="*/ 8372 h 10000"/>
              <a:gd name="connsiteX173" fmla="*/ 1412 w 10020"/>
              <a:gd name="connsiteY173" fmla="*/ 8528 h 10000"/>
              <a:gd name="connsiteX174" fmla="*/ 1453 w 10020"/>
              <a:gd name="connsiteY174" fmla="*/ 8528 h 10000"/>
              <a:gd name="connsiteX175" fmla="*/ 1412 w 10020"/>
              <a:gd name="connsiteY175" fmla="*/ 8372 h 10000"/>
              <a:gd name="connsiteX176" fmla="*/ 1536 w 10020"/>
              <a:gd name="connsiteY176" fmla="*/ 8140 h 10000"/>
              <a:gd name="connsiteX177" fmla="*/ 1620 w 10020"/>
              <a:gd name="connsiteY177" fmla="*/ 8217 h 10000"/>
              <a:gd name="connsiteX178" fmla="*/ 1660 w 10020"/>
              <a:gd name="connsiteY178" fmla="*/ 8140 h 10000"/>
              <a:gd name="connsiteX179" fmla="*/ 1743 w 10020"/>
              <a:gd name="connsiteY179" fmla="*/ 8217 h 10000"/>
              <a:gd name="connsiteX180" fmla="*/ 1868 w 10020"/>
              <a:gd name="connsiteY180" fmla="*/ 8372 h 10000"/>
              <a:gd name="connsiteX181" fmla="*/ 1951 w 10020"/>
              <a:gd name="connsiteY181" fmla="*/ 8295 h 10000"/>
              <a:gd name="connsiteX182" fmla="*/ 2033 w 10020"/>
              <a:gd name="connsiteY182" fmla="*/ 8295 h 10000"/>
              <a:gd name="connsiteX183" fmla="*/ 2075 w 10020"/>
              <a:gd name="connsiteY183" fmla="*/ 8372 h 10000"/>
              <a:gd name="connsiteX184" fmla="*/ 2241 w 10020"/>
              <a:gd name="connsiteY184" fmla="*/ 8372 h 10000"/>
              <a:gd name="connsiteX185" fmla="*/ 2281 w 10020"/>
              <a:gd name="connsiteY185" fmla="*/ 8217 h 10000"/>
              <a:gd name="connsiteX186" fmla="*/ 2158 w 10020"/>
              <a:gd name="connsiteY186" fmla="*/ 8140 h 10000"/>
              <a:gd name="connsiteX187" fmla="*/ 2241 w 10020"/>
              <a:gd name="connsiteY187" fmla="*/ 8062 h 10000"/>
              <a:gd name="connsiteX188" fmla="*/ 2199 w 10020"/>
              <a:gd name="connsiteY188" fmla="*/ 7985 h 10000"/>
              <a:gd name="connsiteX189" fmla="*/ 2241 w 10020"/>
              <a:gd name="connsiteY189" fmla="*/ 7907 h 10000"/>
              <a:gd name="connsiteX190" fmla="*/ 2241 w 10020"/>
              <a:gd name="connsiteY190" fmla="*/ 7675 h 10000"/>
              <a:gd name="connsiteX191" fmla="*/ 2323 w 10020"/>
              <a:gd name="connsiteY191" fmla="*/ 7752 h 10000"/>
              <a:gd name="connsiteX192" fmla="*/ 2697 w 10020"/>
              <a:gd name="connsiteY192" fmla="*/ 7520 h 10000"/>
              <a:gd name="connsiteX193" fmla="*/ 2697 w 10020"/>
              <a:gd name="connsiteY193" fmla="*/ 7442 h 10000"/>
              <a:gd name="connsiteX194" fmla="*/ 2738 w 10020"/>
              <a:gd name="connsiteY194" fmla="*/ 7442 h 10000"/>
              <a:gd name="connsiteX195" fmla="*/ 2863 w 10020"/>
              <a:gd name="connsiteY195" fmla="*/ 7442 h 10000"/>
              <a:gd name="connsiteX196" fmla="*/ 2905 w 10020"/>
              <a:gd name="connsiteY196" fmla="*/ 7598 h 10000"/>
              <a:gd name="connsiteX197" fmla="*/ 2905 w 10020"/>
              <a:gd name="connsiteY197" fmla="*/ 7675 h 10000"/>
              <a:gd name="connsiteX198" fmla="*/ 2946 w 10020"/>
              <a:gd name="connsiteY198" fmla="*/ 7675 h 10000"/>
              <a:gd name="connsiteX199" fmla="*/ 3029 w 10020"/>
              <a:gd name="connsiteY199" fmla="*/ 7752 h 10000"/>
              <a:gd name="connsiteX200" fmla="*/ 3029 w 10020"/>
              <a:gd name="connsiteY200" fmla="*/ 7830 h 10000"/>
              <a:gd name="connsiteX201" fmla="*/ 3113 w 10020"/>
              <a:gd name="connsiteY201" fmla="*/ 7830 h 10000"/>
              <a:gd name="connsiteX202" fmla="*/ 3195 w 10020"/>
              <a:gd name="connsiteY202" fmla="*/ 7675 h 10000"/>
              <a:gd name="connsiteX203" fmla="*/ 3279 w 10020"/>
              <a:gd name="connsiteY203" fmla="*/ 7598 h 10000"/>
              <a:gd name="connsiteX204" fmla="*/ 3320 w 10020"/>
              <a:gd name="connsiteY204" fmla="*/ 7830 h 10000"/>
              <a:gd name="connsiteX205" fmla="*/ 3486 w 10020"/>
              <a:gd name="connsiteY205" fmla="*/ 8372 h 10000"/>
              <a:gd name="connsiteX206" fmla="*/ 3527 w 10020"/>
              <a:gd name="connsiteY206" fmla="*/ 8217 h 10000"/>
              <a:gd name="connsiteX207" fmla="*/ 3570 w 10020"/>
              <a:gd name="connsiteY207" fmla="*/ 8372 h 10000"/>
              <a:gd name="connsiteX208" fmla="*/ 3695 w 10020"/>
              <a:gd name="connsiteY208" fmla="*/ 8295 h 10000"/>
              <a:gd name="connsiteX209" fmla="*/ 3819 w 10020"/>
              <a:gd name="connsiteY209" fmla="*/ 8528 h 10000"/>
              <a:gd name="connsiteX210" fmla="*/ 3900 w 10020"/>
              <a:gd name="connsiteY210" fmla="*/ 8605 h 10000"/>
              <a:gd name="connsiteX211" fmla="*/ 3900 w 10020"/>
              <a:gd name="connsiteY211" fmla="*/ 8528 h 10000"/>
              <a:gd name="connsiteX212" fmla="*/ 3942 w 10020"/>
              <a:gd name="connsiteY212" fmla="*/ 8683 h 10000"/>
              <a:gd name="connsiteX213" fmla="*/ 3900 w 10020"/>
              <a:gd name="connsiteY213" fmla="*/ 8760 h 10000"/>
              <a:gd name="connsiteX214" fmla="*/ 3984 w 10020"/>
              <a:gd name="connsiteY214" fmla="*/ 8683 h 10000"/>
              <a:gd name="connsiteX215" fmla="*/ 4024 w 10020"/>
              <a:gd name="connsiteY215" fmla="*/ 8605 h 10000"/>
              <a:gd name="connsiteX216" fmla="*/ 4233 w 10020"/>
              <a:gd name="connsiteY216" fmla="*/ 8372 h 10000"/>
              <a:gd name="connsiteX217" fmla="*/ 4398 w 10020"/>
              <a:gd name="connsiteY217" fmla="*/ 8449 h 10000"/>
              <a:gd name="connsiteX218" fmla="*/ 4481 w 10020"/>
              <a:gd name="connsiteY218" fmla="*/ 8528 h 10000"/>
              <a:gd name="connsiteX219" fmla="*/ 4645 w 10020"/>
              <a:gd name="connsiteY219" fmla="*/ 8528 h 10000"/>
              <a:gd name="connsiteX220" fmla="*/ 4645 w 10020"/>
              <a:gd name="connsiteY220" fmla="*/ 8372 h 10000"/>
              <a:gd name="connsiteX221" fmla="*/ 4645 w 10020"/>
              <a:gd name="connsiteY221" fmla="*/ 8217 h 10000"/>
              <a:gd name="connsiteX222" fmla="*/ 4729 w 10020"/>
              <a:gd name="connsiteY222" fmla="*/ 8140 h 10000"/>
              <a:gd name="connsiteX223" fmla="*/ 4895 w 10020"/>
              <a:gd name="connsiteY223" fmla="*/ 8217 h 10000"/>
              <a:gd name="connsiteX224" fmla="*/ 4978 w 10020"/>
              <a:gd name="connsiteY224" fmla="*/ 8449 h 10000"/>
              <a:gd name="connsiteX225" fmla="*/ 5021 w 10020"/>
              <a:gd name="connsiteY225" fmla="*/ 8449 h 10000"/>
              <a:gd name="connsiteX226" fmla="*/ 5104 w 10020"/>
              <a:gd name="connsiteY226" fmla="*/ 8372 h 10000"/>
              <a:gd name="connsiteX227" fmla="*/ 5355 w 10020"/>
              <a:gd name="connsiteY227" fmla="*/ 8605 h 10000"/>
              <a:gd name="connsiteX228" fmla="*/ 5478 w 10020"/>
              <a:gd name="connsiteY228" fmla="*/ 8683 h 10000"/>
              <a:gd name="connsiteX229" fmla="*/ 5644 w 10020"/>
              <a:gd name="connsiteY229" fmla="*/ 8605 h 10000"/>
              <a:gd name="connsiteX230" fmla="*/ 5725 w 10020"/>
              <a:gd name="connsiteY230" fmla="*/ 8449 h 10000"/>
              <a:gd name="connsiteX231" fmla="*/ 5851 w 10020"/>
              <a:gd name="connsiteY231" fmla="*/ 8528 h 10000"/>
              <a:gd name="connsiteX232" fmla="*/ 5933 w 10020"/>
              <a:gd name="connsiteY232" fmla="*/ 8605 h 10000"/>
              <a:gd name="connsiteX233" fmla="*/ 7344 w 10020"/>
              <a:gd name="connsiteY233" fmla="*/ 7675 h 10000"/>
              <a:gd name="connsiteX234" fmla="*/ 7263 w 10020"/>
              <a:gd name="connsiteY234" fmla="*/ 7675 h 10000"/>
              <a:gd name="connsiteX235" fmla="*/ 7221 w 10020"/>
              <a:gd name="connsiteY235" fmla="*/ 7675 h 10000"/>
              <a:gd name="connsiteX236" fmla="*/ 7177 w 10020"/>
              <a:gd name="connsiteY236" fmla="*/ 7598 h 10000"/>
              <a:gd name="connsiteX237" fmla="*/ 7097 w 10020"/>
              <a:gd name="connsiteY237" fmla="*/ 7598 h 10000"/>
              <a:gd name="connsiteX238" fmla="*/ 7097 w 10020"/>
              <a:gd name="connsiteY238" fmla="*/ 7520 h 10000"/>
              <a:gd name="connsiteX239" fmla="*/ 7221 w 10020"/>
              <a:gd name="connsiteY239" fmla="*/ 7287 h 10000"/>
              <a:gd name="connsiteX240" fmla="*/ 7595 w 10020"/>
              <a:gd name="connsiteY240" fmla="*/ 6590 h 10000"/>
              <a:gd name="connsiteX241" fmla="*/ 7760 w 10020"/>
              <a:gd name="connsiteY241" fmla="*/ 6512 h 10000"/>
              <a:gd name="connsiteX242" fmla="*/ 7800 w 10020"/>
              <a:gd name="connsiteY242" fmla="*/ 6590 h 10000"/>
              <a:gd name="connsiteX243" fmla="*/ 7844 w 10020"/>
              <a:gd name="connsiteY243" fmla="*/ 6512 h 10000"/>
              <a:gd name="connsiteX244" fmla="*/ 7966 w 10020"/>
              <a:gd name="connsiteY244" fmla="*/ 6590 h 10000"/>
              <a:gd name="connsiteX245" fmla="*/ 8010 w 10020"/>
              <a:gd name="connsiteY245" fmla="*/ 6434 h 10000"/>
              <a:gd name="connsiteX246" fmla="*/ 8132 w 10020"/>
              <a:gd name="connsiteY246" fmla="*/ 6512 h 10000"/>
              <a:gd name="connsiteX247" fmla="*/ 8174 w 10020"/>
              <a:gd name="connsiteY247" fmla="*/ 6512 h 10000"/>
              <a:gd name="connsiteX248" fmla="*/ 8132 w 10020"/>
              <a:gd name="connsiteY248" fmla="*/ 6590 h 10000"/>
              <a:gd name="connsiteX249" fmla="*/ 8132 w 10020"/>
              <a:gd name="connsiteY249" fmla="*/ 6667 h 10000"/>
              <a:gd name="connsiteX250" fmla="*/ 8382 w 10020"/>
              <a:gd name="connsiteY250" fmla="*/ 6590 h 10000"/>
              <a:gd name="connsiteX251" fmla="*/ 8340 w 10020"/>
              <a:gd name="connsiteY251" fmla="*/ 6512 h 10000"/>
              <a:gd name="connsiteX252" fmla="*/ 8508 w 10020"/>
              <a:gd name="connsiteY252" fmla="*/ 5969 h 10000"/>
              <a:gd name="connsiteX253" fmla="*/ 8713 w 10020"/>
              <a:gd name="connsiteY253" fmla="*/ 5892 h 10000"/>
              <a:gd name="connsiteX254" fmla="*/ 8713 w 10020"/>
              <a:gd name="connsiteY254" fmla="*/ 6047 h 10000"/>
              <a:gd name="connsiteX255" fmla="*/ 8713 w 10020"/>
              <a:gd name="connsiteY255" fmla="*/ 6202 h 10000"/>
              <a:gd name="connsiteX256" fmla="*/ 8920 w 10020"/>
              <a:gd name="connsiteY256" fmla="*/ 5969 h 10000"/>
              <a:gd name="connsiteX257" fmla="*/ 8920 w 10020"/>
              <a:gd name="connsiteY257" fmla="*/ 5737 h 10000"/>
              <a:gd name="connsiteX258" fmla="*/ 9004 w 10020"/>
              <a:gd name="connsiteY258" fmla="*/ 5737 h 10000"/>
              <a:gd name="connsiteX259" fmla="*/ 8960 w 10020"/>
              <a:gd name="connsiteY259" fmla="*/ 5814 h 10000"/>
              <a:gd name="connsiteX260" fmla="*/ 8920 w 10020"/>
              <a:gd name="connsiteY260" fmla="*/ 6202 h 10000"/>
              <a:gd name="connsiteX261" fmla="*/ 8838 w 10020"/>
              <a:gd name="connsiteY261" fmla="*/ 6279 h 10000"/>
              <a:gd name="connsiteX262" fmla="*/ 8920 w 10020"/>
              <a:gd name="connsiteY262" fmla="*/ 6590 h 10000"/>
              <a:gd name="connsiteX263" fmla="*/ 8920 w 10020"/>
              <a:gd name="connsiteY263" fmla="*/ 6434 h 10000"/>
              <a:gd name="connsiteX264" fmla="*/ 9004 w 10020"/>
              <a:gd name="connsiteY264" fmla="*/ 6434 h 10000"/>
              <a:gd name="connsiteX265" fmla="*/ 9129 w 10020"/>
              <a:gd name="connsiteY265" fmla="*/ 6279 h 10000"/>
              <a:gd name="connsiteX266" fmla="*/ 9129 w 10020"/>
              <a:gd name="connsiteY266" fmla="*/ 6434 h 10000"/>
              <a:gd name="connsiteX267" fmla="*/ 9170 w 10020"/>
              <a:gd name="connsiteY267" fmla="*/ 6356 h 10000"/>
              <a:gd name="connsiteX268" fmla="*/ 9297 w 10020"/>
              <a:gd name="connsiteY268" fmla="*/ 6279 h 10000"/>
              <a:gd name="connsiteX269" fmla="*/ 9376 w 10020"/>
              <a:gd name="connsiteY269" fmla="*/ 6434 h 10000"/>
              <a:gd name="connsiteX270" fmla="*/ 9418 w 10020"/>
              <a:gd name="connsiteY270" fmla="*/ 6279 h 10000"/>
              <a:gd name="connsiteX271" fmla="*/ 9837 w 10020"/>
              <a:gd name="connsiteY271" fmla="*/ 5737 h 10000"/>
              <a:gd name="connsiteX272" fmla="*/ 9960 w 10020"/>
              <a:gd name="connsiteY272" fmla="*/ 5814 h 10000"/>
              <a:gd name="connsiteX273" fmla="*/ 10000 w 10020"/>
              <a:gd name="connsiteY273" fmla="*/ 5737 h 10000"/>
              <a:gd name="connsiteX274" fmla="*/ 10000 w 10020"/>
              <a:gd name="connsiteY274" fmla="*/ 3799 h 10000"/>
              <a:gd name="connsiteX275" fmla="*/ 9751 w 10020"/>
              <a:gd name="connsiteY275" fmla="*/ 3488 h 10000"/>
              <a:gd name="connsiteX276" fmla="*/ 9418 w 10020"/>
              <a:gd name="connsiteY276" fmla="*/ 3411 h 10000"/>
              <a:gd name="connsiteX277" fmla="*/ 9418 w 10020"/>
              <a:gd name="connsiteY277" fmla="*/ 3799 h 10000"/>
              <a:gd name="connsiteX278" fmla="*/ 9338 w 10020"/>
              <a:gd name="connsiteY278" fmla="*/ 3876 h 10000"/>
              <a:gd name="connsiteX279" fmla="*/ 9253 w 10020"/>
              <a:gd name="connsiteY279" fmla="*/ 3721 h 10000"/>
              <a:gd name="connsiteX280" fmla="*/ 9253 w 10020"/>
              <a:gd name="connsiteY280" fmla="*/ 3566 h 10000"/>
              <a:gd name="connsiteX281" fmla="*/ 9297 w 10020"/>
              <a:gd name="connsiteY281" fmla="*/ 3566 h 10000"/>
              <a:gd name="connsiteX282" fmla="*/ 9338 w 10020"/>
              <a:gd name="connsiteY282" fmla="*/ 3488 h 10000"/>
              <a:gd name="connsiteX283" fmla="*/ 9253 w 10020"/>
              <a:gd name="connsiteY283" fmla="*/ 3488 h 10000"/>
              <a:gd name="connsiteX284" fmla="*/ 9170 w 10020"/>
              <a:gd name="connsiteY284" fmla="*/ 3644 h 10000"/>
              <a:gd name="connsiteX285" fmla="*/ 8960 w 10020"/>
              <a:gd name="connsiteY285" fmla="*/ 3566 h 10000"/>
              <a:gd name="connsiteX286" fmla="*/ 8756 w 10020"/>
              <a:gd name="connsiteY286" fmla="*/ 3566 h 10000"/>
              <a:gd name="connsiteX287" fmla="*/ 8672 w 10020"/>
              <a:gd name="connsiteY287" fmla="*/ 3488 h 10000"/>
              <a:gd name="connsiteX288" fmla="*/ 8713 w 10020"/>
              <a:gd name="connsiteY288" fmla="*/ 3333 h 10000"/>
              <a:gd name="connsiteX289" fmla="*/ 8630 w 10020"/>
              <a:gd name="connsiteY289" fmla="*/ 3101 h 10000"/>
              <a:gd name="connsiteX290" fmla="*/ 8463 w 10020"/>
              <a:gd name="connsiteY290" fmla="*/ 3023 h 10000"/>
              <a:gd name="connsiteX291" fmla="*/ 8217 w 10020"/>
              <a:gd name="connsiteY291" fmla="*/ 3178 h 10000"/>
              <a:gd name="connsiteX292" fmla="*/ 8174 w 10020"/>
              <a:gd name="connsiteY292" fmla="*/ 2946 h 10000"/>
              <a:gd name="connsiteX293" fmla="*/ 8091 w 10020"/>
              <a:gd name="connsiteY293" fmla="*/ 2946 h 10000"/>
              <a:gd name="connsiteX294" fmla="*/ 8050 w 10020"/>
              <a:gd name="connsiteY294" fmla="*/ 2868 h 10000"/>
              <a:gd name="connsiteX295" fmla="*/ 8050 w 10020"/>
              <a:gd name="connsiteY295" fmla="*/ 2636 h 10000"/>
              <a:gd name="connsiteX296" fmla="*/ 7760 w 10020"/>
              <a:gd name="connsiteY296" fmla="*/ 2480 h 10000"/>
              <a:gd name="connsiteX297" fmla="*/ 7427 w 10020"/>
              <a:gd name="connsiteY297" fmla="*/ 2325 h 10000"/>
              <a:gd name="connsiteX298" fmla="*/ 7344 w 10020"/>
              <a:gd name="connsiteY298" fmla="*/ 2636 h 10000"/>
              <a:gd name="connsiteX299" fmla="*/ 7427 w 10020"/>
              <a:gd name="connsiteY299" fmla="*/ 2868 h 10000"/>
              <a:gd name="connsiteX300" fmla="*/ 7177 w 10020"/>
              <a:gd name="connsiteY300" fmla="*/ 2868 h 10000"/>
              <a:gd name="connsiteX301" fmla="*/ 7136 w 10020"/>
              <a:gd name="connsiteY301" fmla="*/ 2868 h 10000"/>
              <a:gd name="connsiteX302" fmla="*/ 7054 w 10020"/>
              <a:gd name="connsiteY302" fmla="*/ 2946 h 10000"/>
              <a:gd name="connsiteX303" fmla="*/ 6928 w 10020"/>
              <a:gd name="connsiteY303" fmla="*/ 2714 h 10000"/>
              <a:gd name="connsiteX304" fmla="*/ 6845 w 10020"/>
              <a:gd name="connsiteY304" fmla="*/ 3178 h 10000"/>
              <a:gd name="connsiteX305" fmla="*/ 6764 w 10020"/>
              <a:gd name="connsiteY305" fmla="*/ 3101 h 10000"/>
              <a:gd name="connsiteX306" fmla="*/ 6679 w 10020"/>
              <a:gd name="connsiteY306" fmla="*/ 2791 h 10000"/>
              <a:gd name="connsiteX307" fmla="*/ 6722 w 10020"/>
              <a:gd name="connsiteY307" fmla="*/ 2403 h 10000"/>
              <a:gd name="connsiteX308" fmla="*/ 6640 w 10020"/>
              <a:gd name="connsiteY308" fmla="*/ 2170 h 10000"/>
              <a:gd name="connsiteX309" fmla="*/ 6390 w 10020"/>
              <a:gd name="connsiteY309" fmla="*/ 2016 h 10000"/>
              <a:gd name="connsiteX310" fmla="*/ 6305 w 10020"/>
              <a:gd name="connsiteY310" fmla="*/ 2016 h 10000"/>
              <a:gd name="connsiteX311" fmla="*/ 6265 w 10020"/>
              <a:gd name="connsiteY311" fmla="*/ 2170 h 10000"/>
              <a:gd name="connsiteX312" fmla="*/ 6305 w 10020"/>
              <a:gd name="connsiteY312" fmla="*/ 2325 h 10000"/>
              <a:gd name="connsiteX313" fmla="*/ 5977 w 10020"/>
              <a:gd name="connsiteY313" fmla="*/ 2248 h 10000"/>
              <a:gd name="connsiteX314" fmla="*/ 6016 w 10020"/>
              <a:gd name="connsiteY314" fmla="*/ 2016 h 10000"/>
              <a:gd name="connsiteX315" fmla="*/ 5811 w 10020"/>
              <a:gd name="connsiteY315" fmla="*/ 1938 h 10000"/>
              <a:gd name="connsiteX316" fmla="*/ 5685 w 10020"/>
              <a:gd name="connsiteY316" fmla="*/ 2093 h 10000"/>
              <a:gd name="connsiteX317" fmla="*/ 5439 w 10020"/>
              <a:gd name="connsiteY317" fmla="*/ 1861 h 10000"/>
              <a:gd name="connsiteX0" fmla="*/ 5439 w 10012"/>
              <a:gd name="connsiteY0" fmla="*/ 1861 h 10000"/>
              <a:gd name="connsiteX1" fmla="*/ 5439 w 10012"/>
              <a:gd name="connsiteY1" fmla="*/ 1861 h 10000"/>
              <a:gd name="connsiteX2" fmla="*/ 5394 w 10012"/>
              <a:gd name="connsiteY2" fmla="*/ 1938 h 10000"/>
              <a:gd name="connsiteX3" fmla="*/ 5439 w 10012"/>
              <a:gd name="connsiteY3" fmla="*/ 2093 h 10000"/>
              <a:gd name="connsiteX4" fmla="*/ 5268 w 10012"/>
              <a:gd name="connsiteY4" fmla="*/ 2248 h 10000"/>
              <a:gd name="connsiteX5" fmla="*/ 5226 w 10012"/>
              <a:gd name="connsiteY5" fmla="*/ 2248 h 10000"/>
              <a:gd name="connsiteX6" fmla="*/ 5268 w 10012"/>
              <a:gd name="connsiteY6" fmla="*/ 2016 h 10000"/>
              <a:gd name="connsiteX7" fmla="*/ 5685 w 10012"/>
              <a:gd name="connsiteY7" fmla="*/ 1318 h 10000"/>
              <a:gd name="connsiteX8" fmla="*/ 5685 w 10012"/>
              <a:gd name="connsiteY8" fmla="*/ 853 h 10000"/>
              <a:gd name="connsiteX9" fmla="*/ 5519 w 10012"/>
              <a:gd name="connsiteY9" fmla="*/ 543 h 10000"/>
              <a:gd name="connsiteX10" fmla="*/ 5311 w 10012"/>
              <a:gd name="connsiteY10" fmla="*/ 543 h 10000"/>
              <a:gd name="connsiteX11" fmla="*/ 5311 w 10012"/>
              <a:gd name="connsiteY11" fmla="*/ 698 h 10000"/>
              <a:gd name="connsiteX12" fmla="*/ 5186 w 10012"/>
              <a:gd name="connsiteY12" fmla="*/ 698 h 10000"/>
              <a:gd name="connsiteX13" fmla="*/ 5268 w 10012"/>
              <a:gd name="connsiteY13" fmla="*/ 387 h 10000"/>
              <a:gd name="connsiteX14" fmla="*/ 5062 w 10012"/>
              <a:gd name="connsiteY14" fmla="*/ 310 h 10000"/>
              <a:gd name="connsiteX15" fmla="*/ 5186 w 10012"/>
              <a:gd name="connsiteY15" fmla="*/ 155 h 10000"/>
              <a:gd name="connsiteX16" fmla="*/ 5062 w 10012"/>
              <a:gd name="connsiteY16" fmla="*/ 0 h 10000"/>
              <a:gd name="connsiteX17" fmla="*/ 4854 w 10012"/>
              <a:gd name="connsiteY17" fmla="*/ 387 h 10000"/>
              <a:gd name="connsiteX18" fmla="*/ 4854 w 10012"/>
              <a:gd name="connsiteY18" fmla="*/ 698 h 10000"/>
              <a:gd name="connsiteX19" fmla="*/ 4729 w 10012"/>
              <a:gd name="connsiteY19" fmla="*/ 698 h 10000"/>
              <a:gd name="connsiteX20" fmla="*/ 4358 w 10012"/>
              <a:gd name="connsiteY20" fmla="*/ 853 h 10000"/>
              <a:gd name="connsiteX21" fmla="*/ 4024 w 10012"/>
              <a:gd name="connsiteY21" fmla="*/ 1240 h 10000"/>
              <a:gd name="connsiteX22" fmla="*/ 3900 w 10012"/>
              <a:gd name="connsiteY22" fmla="*/ 1551 h 10000"/>
              <a:gd name="connsiteX23" fmla="*/ 3942 w 10012"/>
              <a:gd name="connsiteY23" fmla="*/ 1938 h 10000"/>
              <a:gd name="connsiteX24" fmla="*/ 3486 w 10012"/>
              <a:gd name="connsiteY24" fmla="*/ 2093 h 10000"/>
              <a:gd name="connsiteX25" fmla="*/ 3527 w 10012"/>
              <a:gd name="connsiteY25" fmla="*/ 2559 h 10000"/>
              <a:gd name="connsiteX26" fmla="*/ 3653 w 10012"/>
              <a:gd name="connsiteY26" fmla="*/ 2791 h 10000"/>
              <a:gd name="connsiteX27" fmla="*/ 3570 w 10012"/>
              <a:gd name="connsiteY27" fmla="*/ 2868 h 10000"/>
              <a:gd name="connsiteX28" fmla="*/ 3445 w 10012"/>
              <a:gd name="connsiteY28" fmla="*/ 2559 h 10000"/>
              <a:gd name="connsiteX29" fmla="*/ 3320 w 10012"/>
              <a:gd name="connsiteY29" fmla="*/ 2480 h 10000"/>
              <a:gd name="connsiteX30" fmla="*/ 3279 w 10012"/>
              <a:gd name="connsiteY30" fmla="*/ 2559 h 10000"/>
              <a:gd name="connsiteX31" fmla="*/ 3195 w 10012"/>
              <a:gd name="connsiteY31" fmla="*/ 2403 h 10000"/>
              <a:gd name="connsiteX32" fmla="*/ 3113 w 10012"/>
              <a:gd name="connsiteY32" fmla="*/ 2248 h 10000"/>
              <a:gd name="connsiteX33" fmla="*/ 3113 w 10012"/>
              <a:gd name="connsiteY33" fmla="*/ 2325 h 10000"/>
              <a:gd name="connsiteX34" fmla="*/ 3155 w 10012"/>
              <a:gd name="connsiteY34" fmla="*/ 2559 h 10000"/>
              <a:gd name="connsiteX35" fmla="*/ 3029 w 10012"/>
              <a:gd name="connsiteY35" fmla="*/ 2946 h 10000"/>
              <a:gd name="connsiteX36" fmla="*/ 3113 w 10012"/>
              <a:gd name="connsiteY36" fmla="*/ 3256 h 10000"/>
              <a:gd name="connsiteX37" fmla="*/ 3070 w 10012"/>
              <a:gd name="connsiteY37" fmla="*/ 3566 h 10000"/>
              <a:gd name="connsiteX38" fmla="*/ 3070 w 10012"/>
              <a:gd name="connsiteY38" fmla="*/ 3799 h 10000"/>
              <a:gd name="connsiteX39" fmla="*/ 3195 w 10012"/>
              <a:gd name="connsiteY39" fmla="*/ 3799 h 10000"/>
              <a:gd name="connsiteX40" fmla="*/ 3113 w 10012"/>
              <a:gd name="connsiteY40" fmla="*/ 3876 h 10000"/>
              <a:gd name="connsiteX41" fmla="*/ 3155 w 10012"/>
              <a:gd name="connsiteY41" fmla="*/ 4263 h 10000"/>
              <a:gd name="connsiteX42" fmla="*/ 2905 w 10012"/>
              <a:gd name="connsiteY42" fmla="*/ 4652 h 10000"/>
              <a:gd name="connsiteX43" fmla="*/ 2863 w 10012"/>
              <a:gd name="connsiteY43" fmla="*/ 4574 h 10000"/>
              <a:gd name="connsiteX44" fmla="*/ 3029 w 10012"/>
              <a:gd name="connsiteY44" fmla="*/ 4186 h 10000"/>
              <a:gd name="connsiteX45" fmla="*/ 3070 w 10012"/>
              <a:gd name="connsiteY45" fmla="*/ 3954 h 10000"/>
              <a:gd name="connsiteX46" fmla="*/ 2984 w 10012"/>
              <a:gd name="connsiteY46" fmla="*/ 3799 h 10000"/>
              <a:gd name="connsiteX47" fmla="*/ 2984 w 10012"/>
              <a:gd name="connsiteY47" fmla="*/ 3023 h 10000"/>
              <a:gd name="connsiteX48" fmla="*/ 2946 w 10012"/>
              <a:gd name="connsiteY48" fmla="*/ 2868 h 10000"/>
              <a:gd name="connsiteX49" fmla="*/ 2984 w 10012"/>
              <a:gd name="connsiteY49" fmla="*/ 2403 h 10000"/>
              <a:gd name="connsiteX50" fmla="*/ 2905 w 10012"/>
              <a:gd name="connsiteY50" fmla="*/ 2325 h 10000"/>
              <a:gd name="connsiteX51" fmla="*/ 2946 w 10012"/>
              <a:gd name="connsiteY51" fmla="*/ 2248 h 10000"/>
              <a:gd name="connsiteX52" fmla="*/ 2905 w 10012"/>
              <a:gd name="connsiteY52" fmla="*/ 2093 h 10000"/>
              <a:gd name="connsiteX53" fmla="*/ 2819 w 10012"/>
              <a:gd name="connsiteY53" fmla="*/ 2170 h 10000"/>
              <a:gd name="connsiteX54" fmla="*/ 2614 w 10012"/>
              <a:gd name="connsiteY54" fmla="*/ 3178 h 10000"/>
              <a:gd name="connsiteX55" fmla="*/ 2614 w 10012"/>
              <a:gd name="connsiteY55" fmla="*/ 3566 h 10000"/>
              <a:gd name="connsiteX56" fmla="*/ 2738 w 10012"/>
              <a:gd name="connsiteY56" fmla="*/ 3876 h 10000"/>
              <a:gd name="connsiteX57" fmla="*/ 2738 w 10012"/>
              <a:gd name="connsiteY57" fmla="*/ 4031 h 10000"/>
              <a:gd name="connsiteX58" fmla="*/ 2614 w 10012"/>
              <a:gd name="connsiteY58" fmla="*/ 3876 h 10000"/>
              <a:gd name="connsiteX59" fmla="*/ 2118 w 10012"/>
              <a:gd name="connsiteY59" fmla="*/ 3256 h 10000"/>
              <a:gd name="connsiteX60" fmla="*/ 2075 w 10012"/>
              <a:gd name="connsiteY60" fmla="*/ 3411 h 10000"/>
              <a:gd name="connsiteX61" fmla="*/ 2241 w 10012"/>
              <a:gd name="connsiteY61" fmla="*/ 3799 h 10000"/>
              <a:gd name="connsiteX62" fmla="*/ 2158 w 10012"/>
              <a:gd name="connsiteY62" fmla="*/ 3876 h 10000"/>
              <a:gd name="connsiteX63" fmla="*/ 2118 w 10012"/>
              <a:gd name="connsiteY63" fmla="*/ 3799 h 10000"/>
              <a:gd name="connsiteX64" fmla="*/ 1868 w 10012"/>
              <a:gd name="connsiteY64" fmla="*/ 3954 h 10000"/>
              <a:gd name="connsiteX65" fmla="*/ 1826 w 10012"/>
              <a:gd name="connsiteY65" fmla="*/ 4109 h 10000"/>
              <a:gd name="connsiteX66" fmla="*/ 1784 w 10012"/>
              <a:gd name="connsiteY66" fmla="*/ 3954 h 10000"/>
              <a:gd name="connsiteX67" fmla="*/ 1784 w 10012"/>
              <a:gd name="connsiteY67" fmla="*/ 3799 h 10000"/>
              <a:gd name="connsiteX68" fmla="*/ 1368 w 10012"/>
              <a:gd name="connsiteY68" fmla="*/ 4263 h 10000"/>
              <a:gd name="connsiteX69" fmla="*/ 1368 w 10012"/>
              <a:gd name="connsiteY69" fmla="*/ 4418 h 10000"/>
              <a:gd name="connsiteX70" fmla="*/ 1287 w 10012"/>
              <a:gd name="connsiteY70" fmla="*/ 4496 h 10000"/>
              <a:gd name="connsiteX71" fmla="*/ 1162 w 10012"/>
              <a:gd name="connsiteY71" fmla="*/ 4341 h 10000"/>
              <a:gd name="connsiteX72" fmla="*/ 1287 w 10012"/>
              <a:gd name="connsiteY72" fmla="*/ 4186 h 10000"/>
              <a:gd name="connsiteX73" fmla="*/ 1246 w 10012"/>
              <a:gd name="connsiteY73" fmla="*/ 3954 h 10000"/>
              <a:gd name="connsiteX74" fmla="*/ 1080 w 10012"/>
              <a:gd name="connsiteY74" fmla="*/ 3876 h 10000"/>
              <a:gd name="connsiteX75" fmla="*/ 1122 w 10012"/>
              <a:gd name="connsiteY75" fmla="*/ 4031 h 10000"/>
              <a:gd name="connsiteX76" fmla="*/ 1122 w 10012"/>
              <a:gd name="connsiteY76" fmla="*/ 4418 h 10000"/>
              <a:gd name="connsiteX77" fmla="*/ 1162 w 10012"/>
              <a:gd name="connsiteY77" fmla="*/ 4574 h 10000"/>
              <a:gd name="connsiteX78" fmla="*/ 1122 w 10012"/>
              <a:gd name="connsiteY78" fmla="*/ 4729 h 10000"/>
              <a:gd name="connsiteX79" fmla="*/ 995 w 10012"/>
              <a:gd name="connsiteY79" fmla="*/ 4652 h 10000"/>
              <a:gd name="connsiteX80" fmla="*/ 829 w 10012"/>
              <a:gd name="connsiteY80" fmla="*/ 4884 h 10000"/>
              <a:gd name="connsiteX81" fmla="*/ 912 w 10012"/>
              <a:gd name="connsiteY81" fmla="*/ 5194 h 10000"/>
              <a:gd name="connsiteX82" fmla="*/ 663 w 10012"/>
              <a:gd name="connsiteY82" fmla="*/ 5039 h 10000"/>
              <a:gd name="connsiteX83" fmla="*/ 622 w 10012"/>
              <a:gd name="connsiteY83" fmla="*/ 5116 h 10000"/>
              <a:gd name="connsiteX84" fmla="*/ 706 w 10012"/>
              <a:gd name="connsiteY84" fmla="*/ 5349 h 10000"/>
              <a:gd name="connsiteX85" fmla="*/ 622 w 10012"/>
              <a:gd name="connsiteY85" fmla="*/ 5349 h 10000"/>
              <a:gd name="connsiteX86" fmla="*/ 499 w 10012"/>
              <a:gd name="connsiteY86" fmla="*/ 5194 h 10000"/>
              <a:gd name="connsiteX87" fmla="*/ 499 w 10012"/>
              <a:gd name="connsiteY87" fmla="*/ 4729 h 10000"/>
              <a:gd name="connsiteX88" fmla="*/ 374 w 10012"/>
              <a:gd name="connsiteY88" fmla="*/ 4574 h 10000"/>
              <a:gd name="connsiteX89" fmla="*/ 332 w 10012"/>
              <a:gd name="connsiteY89" fmla="*/ 4418 h 10000"/>
              <a:gd name="connsiteX90" fmla="*/ 415 w 10012"/>
              <a:gd name="connsiteY90" fmla="*/ 4496 h 10000"/>
              <a:gd name="connsiteX91" fmla="*/ 746 w 10012"/>
              <a:gd name="connsiteY91" fmla="*/ 4729 h 10000"/>
              <a:gd name="connsiteX92" fmla="*/ 954 w 10012"/>
              <a:gd name="connsiteY92" fmla="*/ 4496 h 10000"/>
              <a:gd name="connsiteX93" fmla="*/ 912 w 10012"/>
              <a:gd name="connsiteY93" fmla="*/ 4263 h 10000"/>
              <a:gd name="connsiteX94" fmla="*/ 663 w 10012"/>
              <a:gd name="connsiteY94" fmla="*/ 3799 h 10000"/>
              <a:gd name="connsiteX95" fmla="*/ 415 w 10012"/>
              <a:gd name="connsiteY95" fmla="*/ 3644 h 10000"/>
              <a:gd name="connsiteX96" fmla="*/ 415 w 10012"/>
              <a:gd name="connsiteY96" fmla="*/ 3566 h 10000"/>
              <a:gd name="connsiteX97" fmla="*/ 332 w 10012"/>
              <a:gd name="connsiteY97" fmla="*/ 3488 h 10000"/>
              <a:gd name="connsiteX98" fmla="*/ 248 w 10012"/>
              <a:gd name="connsiteY98" fmla="*/ 3566 h 10000"/>
              <a:gd name="connsiteX99" fmla="*/ 248 w 10012"/>
              <a:gd name="connsiteY99" fmla="*/ 3644 h 10000"/>
              <a:gd name="connsiteX100" fmla="*/ 208 w 10012"/>
              <a:gd name="connsiteY100" fmla="*/ 3644 h 10000"/>
              <a:gd name="connsiteX101" fmla="*/ 124 w 10012"/>
              <a:gd name="connsiteY101" fmla="*/ 3799 h 10000"/>
              <a:gd name="connsiteX102" fmla="*/ 124 w 10012"/>
              <a:gd name="connsiteY102" fmla="*/ 4031 h 10000"/>
              <a:gd name="connsiteX103" fmla="*/ 208 w 10012"/>
              <a:gd name="connsiteY103" fmla="*/ 4186 h 10000"/>
              <a:gd name="connsiteX104" fmla="*/ 165 w 10012"/>
              <a:gd name="connsiteY104" fmla="*/ 4418 h 10000"/>
              <a:gd name="connsiteX105" fmla="*/ 208 w 10012"/>
              <a:gd name="connsiteY105" fmla="*/ 4807 h 10000"/>
              <a:gd name="connsiteX106" fmla="*/ 165 w 10012"/>
              <a:gd name="connsiteY106" fmla="*/ 5039 h 10000"/>
              <a:gd name="connsiteX107" fmla="*/ 248 w 10012"/>
              <a:gd name="connsiteY107" fmla="*/ 5271 h 10000"/>
              <a:gd name="connsiteX108" fmla="*/ 208 w 10012"/>
              <a:gd name="connsiteY108" fmla="*/ 5426 h 10000"/>
              <a:gd name="connsiteX109" fmla="*/ 290 w 10012"/>
              <a:gd name="connsiteY109" fmla="*/ 5582 h 10000"/>
              <a:gd name="connsiteX110" fmla="*/ 290 w 10012"/>
              <a:gd name="connsiteY110" fmla="*/ 5659 h 10000"/>
              <a:gd name="connsiteX111" fmla="*/ 165 w 10012"/>
              <a:gd name="connsiteY111" fmla="*/ 6047 h 10000"/>
              <a:gd name="connsiteX112" fmla="*/ 40 w 10012"/>
              <a:gd name="connsiteY112" fmla="*/ 6202 h 10000"/>
              <a:gd name="connsiteX113" fmla="*/ 83 w 10012"/>
              <a:gd name="connsiteY113" fmla="*/ 6202 h 10000"/>
              <a:gd name="connsiteX114" fmla="*/ 165 w 10012"/>
              <a:gd name="connsiteY114" fmla="*/ 6356 h 10000"/>
              <a:gd name="connsiteX115" fmla="*/ 83 w 10012"/>
              <a:gd name="connsiteY115" fmla="*/ 6512 h 10000"/>
              <a:gd name="connsiteX116" fmla="*/ 40 w 10012"/>
              <a:gd name="connsiteY116" fmla="*/ 6590 h 10000"/>
              <a:gd name="connsiteX117" fmla="*/ 0 w 10012"/>
              <a:gd name="connsiteY117" fmla="*/ 6590 h 10000"/>
              <a:gd name="connsiteX118" fmla="*/ 40 w 10012"/>
              <a:gd name="connsiteY118" fmla="*/ 6822 h 10000"/>
              <a:gd name="connsiteX119" fmla="*/ 40 w 10012"/>
              <a:gd name="connsiteY119" fmla="*/ 6900 h 10000"/>
              <a:gd name="connsiteX120" fmla="*/ 40 w 10012"/>
              <a:gd name="connsiteY120" fmla="*/ 6977 h 10000"/>
              <a:gd name="connsiteX121" fmla="*/ 40 w 10012"/>
              <a:gd name="connsiteY121" fmla="*/ 7054 h 10000"/>
              <a:gd name="connsiteX122" fmla="*/ 83 w 10012"/>
              <a:gd name="connsiteY122" fmla="*/ 7209 h 10000"/>
              <a:gd name="connsiteX123" fmla="*/ 208 w 10012"/>
              <a:gd name="connsiteY123" fmla="*/ 7287 h 10000"/>
              <a:gd name="connsiteX124" fmla="*/ 248 w 10012"/>
              <a:gd name="connsiteY124" fmla="*/ 7364 h 10000"/>
              <a:gd name="connsiteX125" fmla="*/ 248 w 10012"/>
              <a:gd name="connsiteY125" fmla="*/ 7520 h 10000"/>
              <a:gd name="connsiteX126" fmla="*/ 332 w 10012"/>
              <a:gd name="connsiteY126" fmla="*/ 7752 h 10000"/>
              <a:gd name="connsiteX127" fmla="*/ 374 w 10012"/>
              <a:gd name="connsiteY127" fmla="*/ 7752 h 10000"/>
              <a:gd name="connsiteX128" fmla="*/ 332 w 10012"/>
              <a:gd name="connsiteY128" fmla="*/ 7907 h 10000"/>
              <a:gd name="connsiteX129" fmla="*/ 290 w 10012"/>
              <a:gd name="connsiteY129" fmla="*/ 7830 h 10000"/>
              <a:gd name="connsiteX130" fmla="*/ 290 w 10012"/>
              <a:gd name="connsiteY130" fmla="*/ 7907 h 10000"/>
              <a:gd name="connsiteX131" fmla="*/ 332 w 10012"/>
              <a:gd name="connsiteY131" fmla="*/ 8062 h 10000"/>
              <a:gd name="connsiteX132" fmla="*/ 457 w 10012"/>
              <a:gd name="connsiteY132" fmla="*/ 8062 h 10000"/>
              <a:gd name="connsiteX133" fmla="*/ 499 w 10012"/>
              <a:gd name="connsiteY133" fmla="*/ 8140 h 10000"/>
              <a:gd name="connsiteX134" fmla="*/ 457 w 10012"/>
              <a:gd name="connsiteY134" fmla="*/ 8140 h 10000"/>
              <a:gd name="connsiteX135" fmla="*/ 499 w 10012"/>
              <a:gd name="connsiteY135" fmla="*/ 8217 h 10000"/>
              <a:gd name="connsiteX136" fmla="*/ 538 w 10012"/>
              <a:gd name="connsiteY136" fmla="*/ 8217 h 10000"/>
              <a:gd name="connsiteX137" fmla="*/ 580 w 10012"/>
              <a:gd name="connsiteY137" fmla="*/ 8372 h 10000"/>
              <a:gd name="connsiteX138" fmla="*/ 622 w 10012"/>
              <a:gd name="connsiteY138" fmla="*/ 8449 h 10000"/>
              <a:gd name="connsiteX139" fmla="*/ 663 w 10012"/>
              <a:gd name="connsiteY139" fmla="*/ 8372 h 10000"/>
              <a:gd name="connsiteX140" fmla="*/ 872 w 10012"/>
              <a:gd name="connsiteY140" fmla="*/ 8605 h 10000"/>
              <a:gd name="connsiteX141" fmla="*/ 829 w 10012"/>
              <a:gd name="connsiteY141" fmla="*/ 8915 h 10000"/>
              <a:gd name="connsiteX142" fmla="*/ 786 w 10012"/>
              <a:gd name="connsiteY142" fmla="*/ 8838 h 10000"/>
              <a:gd name="connsiteX143" fmla="*/ 746 w 10012"/>
              <a:gd name="connsiteY143" fmla="*/ 8915 h 10000"/>
              <a:gd name="connsiteX144" fmla="*/ 746 w 10012"/>
              <a:gd name="connsiteY144" fmla="*/ 9070 h 10000"/>
              <a:gd name="connsiteX145" fmla="*/ 786 w 10012"/>
              <a:gd name="connsiteY145" fmla="*/ 8993 h 10000"/>
              <a:gd name="connsiteX146" fmla="*/ 829 w 10012"/>
              <a:gd name="connsiteY146" fmla="*/ 9070 h 10000"/>
              <a:gd name="connsiteX147" fmla="*/ 706 w 10012"/>
              <a:gd name="connsiteY147" fmla="*/ 9147 h 10000"/>
              <a:gd name="connsiteX148" fmla="*/ 746 w 10012"/>
              <a:gd name="connsiteY148" fmla="*/ 9225 h 10000"/>
              <a:gd name="connsiteX149" fmla="*/ 663 w 10012"/>
              <a:gd name="connsiteY149" fmla="*/ 9380 h 10000"/>
              <a:gd name="connsiteX150" fmla="*/ 622 w 10012"/>
              <a:gd name="connsiteY150" fmla="*/ 9380 h 10000"/>
              <a:gd name="connsiteX151" fmla="*/ 663 w 10012"/>
              <a:gd name="connsiteY151" fmla="*/ 9380 h 10000"/>
              <a:gd name="connsiteX152" fmla="*/ 829 w 10012"/>
              <a:gd name="connsiteY152" fmla="*/ 9691 h 10000"/>
              <a:gd name="connsiteX153" fmla="*/ 1038 w 10012"/>
              <a:gd name="connsiteY153" fmla="*/ 9691 h 10000"/>
              <a:gd name="connsiteX154" fmla="*/ 1122 w 10012"/>
              <a:gd name="connsiteY154" fmla="*/ 9768 h 10000"/>
              <a:gd name="connsiteX155" fmla="*/ 1203 w 10012"/>
              <a:gd name="connsiteY155" fmla="*/ 9768 h 10000"/>
              <a:gd name="connsiteX156" fmla="*/ 1287 w 10012"/>
              <a:gd name="connsiteY156" fmla="*/ 9923 h 10000"/>
              <a:gd name="connsiteX157" fmla="*/ 1328 w 10012"/>
              <a:gd name="connsiteY157" fmla="*/ 10000 h 10000"/>
              <a:gd name="connsiteX158" fmla="*/ 1368 w 10012"/>
              <a:gd name="connsiteY158" fmla="*/ 10000 h 10000"/>
              <a:gd name="connsiteX159" fmla="*/ 1412 w 10012"/>
              <a:gd name="connsiteY159" fmla="*/ 9923 h 10000"/>
              <a:gd name="connsiteX160" fmla="*/ 1328 w 10012"/>
              <a:gd name="connsiteY160" fmla="*/ 9768 h 10000"/>
              <a:gd name="connsiteX161" fmla="*/ 1328 w 10012"/>
              <a:gd name="connsiteY161" fmla="*/ 9613 h 10000"/>
              <a:gd name="connsiteX162" fmla="*/ 1287 w 10012"/>
              <a:gd name="connsiteY162" fmla="*/ 9457 h 10000"/>
              <a:gd name="connsiteX163" fmla="*/ 1368 w 10012"/>
              <a:gd name="connsiteY163" fmla="*/ 9225 h 10000"/>
              <a:gd name="connsiteX164" fmla="*/ 1412 w 10012"/>
              <a:gd name="connsiteY164" fmla="*/ 9302 h 10000"/>
              <a:gd name="connsiteX165" fmla="*/ 1453 w 10012"/>
              <a:gd name="connsiteY165" fmla="*/ 9225 h 10000"/>
              <a:gd name="connsiteX166" fmla="*/ 1453 w 10012"/>
              <a:gd name="connsiteY166" fmla="*/ 9147 h 10000"/>
              <a:gd name="connsiteX167" fmla="*/ 1412 w 10012"/>
              <a:gd name="connsiteY167" fmla="*/ 9147 h 10000"/>
              <a:gd name="connsiteX168" fmla="*/ 1453 w 10012"/>
              <a:gd name="connsiteY168" fmla="*/ 9070 h 10000"/>
              <a:gd name="connsiteX169" fmla="*/ 1412 w 10012"/>
              <a:gd name="connsiteY169" fmla="*/ 8915 h 10000"/>
              <a:gd name="connsiteX170" fmla="*/ 1328 w 10012"/>
              <a:gd name="connsiteY170" fmla="*/ 8915 h 10000"/>
              <a:gd name="connsiteX171" fmla="*/ 1287 w 10012"/>
              <a:gd name="connsiteY171" fmla="*/ 8760 h 10000"/>
              <a:gd name="connsiteX172" fmla="*/ 1328 w 10012"/>
              <a:gd name="connsiteY172" fmla="*/ 8372 h 10000"/>
              <a:gd name="connsiteX173" fmla="*/ 1412 w 10012"/>
              <a:gd name="connsiteY173" fmla="*/ 8528 h 10000"/>
              <a:gd name="connsiteX174" fmla="*/ 1453 w 10012"/>
              <a:gd name="connsiteY174" fmla="*/ 8528 h 10000"/>
              <a:gd name="connsiteX175" fmla="*/ 1412 w 10012"/>
              <a:gd name="connsiteY175" fmla="*/ 8372 h 10000"/>
              <a:gd name="connsiteX176" fmla="*/ 1536 w 10012"/>
              <a:gd name="connsiteY176" fmla="*/ 8140 h 10000"/>
              <a:gd name="connsiteX177" fmla="*/ 1620 w 10012"/>
              <a:gd name="connsiteY177" fmla="*/ 8217 h 10000"/>
              <a:gd name="connsiteX178" fmla="*/ 1660 w 10012"/>
              <a:gd name="connsiteY178" fmla="*/ 8140 h 10000"/>
              <a:gd name="connsiteX179" fmla="*/ 1743 w 10012"/>
              <a:gd name="connsiteY179" fmla="*/ 8217 h 10000"/>
              <a:gd name="connsiteX180" fmla="*/ 1868 w 10012"/>
              <a:gd name="connsiteY180" fmla="*/ 8372 h 10000"/>
              <a:gd name="connsiteX181" fmla="*/ 1951 w 10012"/>
              <a:gd name="connsiteY181" fmla="*/ 8295 h 10000"/>
              <a:gd name="connsiteX182" fmla="*/ 2033 w 10012"/>
              <a:gd name="connsiteY182" fmla="*/ 8295 h 10000"/>
              <a:gd name="connsiteX183" fmla="*/ 2075 w 10012"/>
              <a:gd name="connsiteY183" fmla="*/ 8372 h 10000"/>
              <a:gd name="connsiteX184" fmla="*/ 2241 w 10012"/>
              <a:gd name="connsiteY184" fmla="*/ 8372 h 10000"/>
              <a:gd name="connsiteX185" fmla="*/ 2281 w 10012"/>
              <a:gd name="connsiteY185" fmla="*/ 8217 h 10000"/>
              <a:gd name="connsiteX186" fmla="*/ 2158 w 10012"/>
              <a:gd name="connsiteY186" fmla="*/ 8140 h 10000"/>
              <a:gd name="connsiteX187" fmla="*/ 2241 w 10012"/>
              <a:gd name="connsiteY187" fmla="*/ 8062 h 10000"/>
              <a:gd name="connsiteX188" fmla="*/ 2199 w 10012"/>
              <a:gd name="connsiteY188" fmla="*/ 7985 h 10000"/>
              <a:gd name="connsiteX189" fmla="*/ 2241 w 10012"/>
              <a:gd name="connsiteY189" fmla="*/ 7907 h 10000"/>
              <a:gd name="connsiteX190" fmla="*/ 2241 w 10012"/>
              <a:gd name="connsiteY190" fmla="*/ 7675 h 10000"/>
              <a:gd name="connsiteX191" fmla="*/ 2323 w 10012"/>
              <a:gd name="connsiteY191" fmla="*/ 7752 h 10000"/>
              <a:gd name="connsiteX192" fmla="*/ 2697 w 10012"/>
              <a:gd name="connsiteY192" fmla="*/ 7520 h 10000"/>
              <a:gd name="connsiteX193" fmla="*/ 2697 w 10012"/>
              <a:gd name="connsiteY193" fmla="*/ 7442 h 10000"/>
              <a:gd name="connsiteX194" fmla="*/ 2738 w 10012"/>
              <a:gd name="connsiteY194" fmla="*/ 7442 h 10000"/>
              <a:gd name="connsiteX195" fmla="*/ 2863 w 10012"/>
              <a:gd name="connsiteY195" fmla="*/ 7442 h 10000"/>
              <a:gd name="connsiteX196" fmla="*/ 2905 w 10012"/>
              <a:gd name="connsiteY196" fmla="*/ 7598 h 10000"/>
              <a:gd name="connsiteX197" fmla="*/ 2905 w 10012"/>
              <a:gd name="connsiteY197" fmla="*/ 7675 h 10000"/>
              <a:gd name="connsiteX198" fmla="*/ 2946 w 10012"/>
              <a:gd name="connsiteY198" fmla="*/ 7675 h 10000"/>
              <a:gd name="connsiteX199" fmla="*/ 3029 w 10012"/>
              <a:gd name="connsiteY199" fmla="*/ 7752 h 10000"/>
              <a:gd name="connsiteX200" fmla="*/ 3029 w 10012"/>
              <a:gd name="connsiteY200" fmla="*/ 7830 h 10000"/>
              <a:gd name="connsiteX201" fmla="*/ 3113 w 10012"/>
              <a:gd name="connsiteY201" fmla="*/ 7830 h 10000"/>
              <a:gd name="connsiteX202" fmla="*/ 3195 w 10012"/>
              <a:gd name="connsiteY202" fmla="*/ 7675 h 10000"/>
              <a:gd name="connsiteX203" fmla="*/ 3279 w 10012"/>
              <a:gd name="connsiteY203" fmla="*/ 7598 h 10000"/>
              <a:gd name="connsiteX204" fmla="*/ 3320 w 10012"/>
              <a:gd name="connsiteY204" fmla="*/ 7830 h 10000"/>
              <a:gd name="connsiteX205" fmla="*/ 3486 w 10012"/>
              <a:gd name="connsiteY205" fmla="*/ 8372 h 10000"/>
              <a:gd name="connsiteX206" fmla="*/ 3527 w 10012"/>
              <a:gd name="connsiteY206" fmla="*/ 8217 h 10000"/>
              <a:gd name="connsiteX207" fmla="*/ 3570 w 10012"/>
              <a:gd name="connsiteY207" fmla="*/ 8372 h 10000"/>
              <a:gd name="connsiteX208" fmla="*/ 3695 w 10012"/>
              <a:gd name="connsiteY208" fmla="*/ 8295 h 10000"/>
              <a:gd name="connsiteX209" fmla="*/ 3819 w 10012"/>
              <a:gd name="connsiteY209" fmla="*/ 8528 h 10000"/>
              <a:gd name="connsiteX210" fmla="*/ 3900 w 10012"/>
              <a:gd name="connsiteY210" fmla="*/ 8605 h 10000"/>
              <a:gd name="connsiteX211" fmla="*/ 3900 w 10012"/>
              <a:gd name="connsiteY211" fmla="*/ 8528 h 10000"/>
              <a:gd name="connsiteX212" fmla="*/ 3942 w 10012"/>
              <a:gd name="connsiteY212" fmla="*/ 8683 h 10000"/>
              <a:gd name="connsiteX213" fmla="*/ 3900 w 10012"/>
              <a:gd name="connsiteY213" fmla="*/ 8760 h 10000"/>
              <a:gd name="connsiteX214" fmla="*/ 3984 w 10012"/>
              <a:gd name="connsiteY214" fmla="*/ 8683 h 10000"/>
              <a:gd name="connsiteX215" fmla="*/ 4024 w 10012"/>
              <a:gd name="connsiteY215" fmla="*/ 8605 h 10000"/>
              <a:gd name="connsiteX216" fmla="*/ 4233 w 10012"/>
              <a:gd name="connsiteY216" fmla="*/ 8372 h 10000"/>
              <a:gd name="connsiteX217" fmla="*/ 4398 w 10012"/>
              <a:gd name="connsiteY217" fmla="*/ 8449 h 10000"/>
              <a:gd name="connsiteX218" fmla="*/ 4481 w 10012"/>
              <a:gd name="connsiteY218" fmla="*/ 8528 h 10000"/>
              <a:gd name="connsiteX219" fmla="*/ 4645 w 10012"/>
              <a:gd name="connsiteY219" fmla="*/ 8528 h 10000"/>
              <a:gd name="connsiteX220" fmla="*/ 4645 w 10012"/>
              <a:gd name="connsiteY220" fmla="*/ 8372 h 10000"/>
              <a:gd name="connsiteX221" fmla="*/ 4645 w 10012"/>
              <a:gd name="connsiteY221" fmla="*/ 8217 h 10000"/>
              <a:gd name="connsiteX222" fmla="*/ 4729 w 10012"/>
              <a:gd name="connsiteY222" fmla="*/ 8140 h 10000"/>
              <a:gd name="connsiteX223" fmla="*/ 4895 w 10012"/>
              <a:gd name="connsiteY223" fmla="*/ 8217 h 10000"/>
              <a:gd name="connsiteX224" fmla="*/ 4978 w 10012"/>
              <a:gd name="connsiteY224" fmla="*/ 8449 h 10000"/>
              <a:gd name="connsiteX225" fmla="*/ 5021 w 10012"/>
              <a:gd name="connsiteY225" fmla="*/ 8449 h 10000"/>
              <a:gd name="connsiteX226" fmla="*/ 5104 w 10012"/>
              <a:gd name="connsiteY226" fmla="*/ 8372 h 10000"/>
              <a:gd name="connsiteX227" fmla="*/ 5355 w 10012"/>
              <a:gd name="connsiteY227" fmla="*/ 8605 h 10000"/>
              <a:gd name="connsiteX228" fmla="*/ 5478 w 10012"/>
              <a:gd name="connsiteY228" fmla="*/ 8683 h 10000"/>
              <a:gd name="connsiteX229" fmla="*/ 5644 w 10012"/>
              <a:gd name="connsiteY229" fmla="*/ 8605 h 10000"/>
              <a:gd name="connsiteX230" fmla="*/ 5725 w 10012"/>
              <a:gd name="connsiteY230" fmla="*/ 8449 h 10000"/>
              <a:gd name="connsiteX231" fmla="*/ 5851 w 10012"/>
              <a:gd name="connsiteY231" fmla="*/ 8528 h 10000"/>
              <a:gd name="connsiteX232" fmla="*/ 5933 w 10012"/>
              <a:gd name="connsiteY232" fmla="*/ 8605 h 10000"/>
              <a:gd name="connsiteX233" fmla="*/ 7344 w 10012"/>
              <a:gd name="connsiteY233" fmla="*/ 7675 h 10000"/>
              <a:gd name="connsiteX234" fmla="*/ 7263 w 10012"/>
              <a:gd name="connsiteY234" fmla="*/ 7675 h 10000"/>
              <a:gd name="connsiteX235" fmla="*/ 7221 w 10012"/>
              <a:gd name="connsiteY235" fmla="*/ 7675 h 10000"/>
              <a:gd name="connsiteX236" fmla="*/ 7177 w 10012"/>
              <a:gd name="connsiteY236" fmla="*/ 7598 h 10000"/>
              <a:gd name="connsiteX237" fmla="*/ 7097 w 10012"/>
              <a:gd name="connsiteY237" fmla="*/ 7598 h 10000"/>
              <a:gd name="connsiteX238" fmla="*/ 7097 w 10012"/>
              <a:gd name="connsiteY238" fmla="*/ 7520 h 10000"/>
              <a:gd name="connsiteX239" fmla="*/ 7221 w 10012"/>
              <a:gd name="connsiteY239" fmla="*/ 7287 h 10000"/>
              <a:gd name="connsiteX240" fmla="*/ 7595 w 10012"/>
              <a:gd name="connsiteY240" fmla="*/ 6590 h 10000"/>
              <a:gd name="connsiteX241" fmla="*/ 7760 w 10012"/>
              <a:gd name="connsiteY241" fmla="*/ 6512 h 10000"/>
              <a:gd name="connsiteX242" fmla="*/ 7800 w 10012"/>
              <a:gd name="connsiteY242" fmla="*/ 6590 h 10000"/>
              <a:gd name="connsiteX243" fmla="*/ 7844 w 10012"/>
              <a:gd name="connsiteY243" fmla="*/ 6512 h 10000"/>
              <a:gd name="connsiteX244" fmla="*/ 7966 w 10012"/>
              <a:gd name="connsiteY244" fmla="*/ 6590 h 10000"/>
              <a:gd name="connsiteX245" fmla="*/ 8010 w 10012"/>
              <a:gd name="connsiteY245" fmla="*/ 6434 h 10000"/>
              <a:gd name="connsiteX246" fmla="*/ 8132 w 10012"/>
              <a:gd name="connsiteY246" fmla="*/ 6512 h 10000"/>
              <a:gd name="connsiteX247" fmla="*/ 8174 w 10012"/>
              <a:gd name="connsiteY247" fmla="*/ 6512 h 10000"/>
              <a:gd name="connsiteX248" fmla="*/ 8132 w 10012"/>
              <a:gd name="connsiteY248" fmla="*/ 6590 h 10000"/>
              <a:gd name="connsiteX249" fmla="*/ 8132 w 10012"/>
              <a:gd name="connsiteY249" fmla="*/ 6667 h 10000"/>
              <a:gd name="connsiteX250" fmla="*/ 8382 w 10012"/>
              <a:gd name="connsiteY250" fmla="*/ 6590 h 10000"/>
              <a:gd name="connsiteX251" fmla="*/ 8340 w 10012"/>
              <a:gd name="connsiteY251" fmla="*/ 6512 h 10000"/>
              <a:gd name="connsiteX252" fmla="*/ 8508 w 10012"/>
              <a:gd name="connsiteY252" fmla="*/ 5969 h 10000"/>
              <a:gd name="connsiteX253" fmla="*/ 8713 w 10012"/>
              <a:gd name="connsiteY253" fmla="*/ 5892 h 10000"/>
              <a:gd name="connsiteX254" fmla="*/ 8713 w 10012"/>
              <a:gd name="connsiteY254" fmla="*/ 6047 h 10000"/>
              <a:gd name="connsiteX255" fmla="*/ 8713 w 10012"/>
              <a:gd name="connsiteY255" fmla="*/ 6202 h 10000"/>
              <a:gd name="connsiteX256" fmla="*/ 8920 w 10012"/>
              <a:gd name="connsiteY256" fmla="*/ 5969 h 10000"/>
              <a:gd name="connsiteX257" fmla="*/ 8920 w 10012"/>
              <a:gd name="connsiteY257" fmla="*/ 5737 h 10000"/>
              <a:gd name="connsiteX258" fmla="*/ 9004 w 10012"/>
              <a:gd name="connsiteY258" fmla="*/ 5737 h 10000"/>
              <a:gd name="connsiteX259" fmla="*/ 8960 w 10012"/>
              <a:gd name="connsiteY259" fmla="*/ 5814 h 10000"/>
              <a:gd name="connsiteX260" fmla="*/ 8920 w 10012"/>
              <a:gd name="connsiteY260" fmla="*/ 6202 h 10000"/>
              <a:gd name="connsiteX261" fmla="*/ 8838 w 10012"/>
              <a:gd name="connsiteY261" fmla="*/ 6279 h 10000"/>
              <a:gd name="connsiteX262" fmla="*/ 8920 w 10012"/>
              <a:gd name="connsiteY262" fmla="*/ 6590 h 10000"/>
              <a:gd name="connsiteX263" fmla="*/ 8920 w 10012"/>
              <a:gd name="connsiteY263" fmla="*/ 6434 h 10000"/>
              <a:gd name="connsiteX264" fmla="*/ 9004 w 10012"/>
              <a:gd name="connsiteY264" fmla="*/ 6434 h 10000"/>
              <a:gd name="connsiteX265" fmla="*/ 9129 w 10012"/>
              <a:gd name="connsiteY265" fmla="*/ 6279 h 10000"/>
              <a:gd name="connsiteX266" fmla="*/ 9129 w 10012"/>
              <a:gd name="connsiteY266" fmla="*/ 6434 h 10000"/>
              <a:gd name="connsiteX267" fmla="*/ 9170 w 10012"/>
              <a:gd name="connsiteY267" fmla="*/ 6356 h 10000"/>
              <a:gd name="connsiteX268" fmla="*/ 9297 w 10012"/>
              <a:gd name="connsiteY268" fmla="*/ 6279 h 10000"/>
              <a:gd name="connsiteX269" fmla="*/ 9376 w 10012"/>
              <a:gd name="connsiteY269" fmla="*/ 6434 h 10000"/>
              <a:gd name="connsiteX270" fmla="*/ 9418 w 10012"/>
              <a:gd name="connsiteY270" fmla="*/ 6279 h 10000"/>
              <a:gd name="connsiteX271" fmla="*/ 9837 w 10012"/>
              <a:gd name="connsiteY271" fmla="*/ 5737 h 10000"/>
              <a:gd name="connsiteX272" fmla="*/ 9960 w 10012"/>
              <a:gd name="connsiteY272" fmla="*/ 5814 h 10000"/>
              <a:gd name="connsiteX273" fmla="*/ 10000 w 10012"/>
              <a:gd name="connsiteY273" fmla="*/ 3799 h 10000"/>
              <a:gd name="connsiteX274" fmla="*/ 9751 w 10012"/>
              <a:gd name="connsiteY274" fmla="*/ 3488 h 10000"/>
              <a:gd name="connsiteX275" fmla="*/ 9418 w 10012"/>
              <a:gd name="connsiteY275" fmla="*/ 3411 h 10000"/>
              <a:gd name="connsiteX276" fmla="*/ 9418 w 10012"/>
              <a:gd name="connsiteY276" fmla="*/ 3799 h 10000"/>
              <a:gd name="connsiteX277" fmla="*/ 9338 w 10012"/>
              <a:gd name="connsiteY277" fmla="*/ 3876 h 10000"/>
              <a:gd name="connsiteX278" fmla="*/ 9253 w 10012"/>
              <a:gd name="connsiteY278" fmla="*/ 3721 h 10000"/>
              <a:gd name="connsiteX279" fmla="*/ 9253 w 10012"/>
              <a:gd name="connsiteY279" fmla="*/ 3566 h 10000"/>
              <a:gd name="connsiteX280" fmla="*/ 9297 w 10012"/>
              <a:gd name="connsiteY280" fmla="*/ 3566 h 10000"/>
              <a:gd name="connsiteX281" fmla="*/ 9338 w 10012"/>
              <a:gd name="connsiteY281" fmla="*/ 3488 h 10000"/>
              <a:gd name="connsiteX282" fmla="*/ 9253 w 10012"/>
              <a:gd name="connsiteY282" fmla="*/ 3488 h 10000"/>
              <a:gd name="connsiteX283" fmla="*/ 9170 w 10012"/>
              <a:gd name="connsiteY283" fmla="*/ 3644 h 10000"/>
              <a:gd name="connsiteX284" fmla="*/ 8960 w 10012"/>
              <a:gd name="connsiteY284" fmla="*/ 3566 h 10000"/>
              <a:gd name="connsiteX285" fmla="*/ 8756 w 10012"/>
              <a:gd name="connsiteY285" fmla="*/ 3566 h 10000"/>
              <a:gd name="connsiteX286" fmla="*/ 8672 w 10012"/>
              <a:gd name="connsiteY286" fmla="*/ 3488 h 10000"/>
              <a:gd name="connsiteX287" fmla="*/ 8713 w 10012"/>
              <a:gd name="connsiteY287" fmla="*/ 3333 h 10000"/>
              <a:gd name="connsiteX288" fmla="*/ 8630 w 10012"/>
              <a:gd name="connsiteY288" fmla="*/ 3101 h 10000"/>
              <a:gd name="connsiteX289" fmla="*/ 8463 w 10012"/>
              <a:gd name="connsiteY289" fmla="*/ 3023 h 10000"/>
              <a:gd name="connsiteX290" fmla="*/ 8217 w 10012"/>
              <a:gd name="connsiteY290" fmla="*/ 3178 h 10000"/>
              <a:gd name="connsiteX291" fmla="*/ 8174 w 10012"/>
              <a:gd name="connsiteY291" fmla="*/ 2946 h 10000"/>
              <a:gd name="connsiteX292" fmla="*/ 8091 w 10012"/>
              <a:gd name="connsiteY292" fmla="*/ 2946 h 10000"/>
              <a:gd name="connsiteX293" fmla="*/ 8050 w 10012"/>
              <a:gd name="connsiteY293" fmla="*/ 2868 h 10000"/>
              <a:gd name="connsiteX294" fmla="*/ 8050 w 10012"/>
              <a:gd name="connsiteY294" fmla="*/ 2636 h 10000"/>
              <a:gd name="connsiteX295" fmla="*/ 7760 w 10012"/>
              <a:gd name="connsiteY295" fmla="*/ 2480 h 10000"/>
              <a:gd name="connsiteX296" fmla="*/ 7427 w 10012"/>
              <a:gd name="connsiteY296" fmla="*/ 2325 h 10000"/>
              <a:gd name="connsiteX297" fmla="*/ 7344 w 10012"/>
              <a:gd name="connsiteY297" fmla="*/ 2636 h 10000"/>
              <a:gd name="connsiteX298" fmla="*/ 7427 w 10012"/>
              <a:gd name="connsiteY298" fmla="*/ 2868 h 10000"/>
              <a:gd name="connsiteX299" fmla="*/ 7177 w 10012"/>
              <a:gd name="connsiteY299" fmla="*/ 2868 h 10000"/>
              <a:gd name="connsiteX300" fmla="*/ 7136 w 10012"/>
              <a:gd name="connsiteY300" fmla="*/ 2868 h 10000"/>
              <a:gd name="connsiteX301" fmla="*/ 7054 w 10012"/>
              <a:gd name="connsiteY301" fmla="*/ 2946 h 10000"/>
              <a:gd name="connsiteX302" fmla="*/ 6928 w 10012"/>
              <a:gd name="connsiteY302" fmla="*/ 2714 h 10000"/>
              <a:gd name="connsiteX303" fmla="*/ 6845 w 10012"/>
              <a:gd name="connsiteY303" fmla="*/ 3178 h 10000"/>
              <a:gd name="connsiteX304" fmla="*/ 6764 w 10012"/>
              <a:gd name="connsiteY304" fmla="*/ 3101 h 10000"/>
              <a:gd name="connsiteX305" fmla="*/ 6679 w 10012"/>
              <a:gd name="connsiteY305" fmla="*/ 2791 h 10000"/>
              <a:gd name="connsiteX306" fmla="*/ 6722 w 10012"/>
              <a:gd name="connsiteY306" fmla="*/ 2403 h 10000"/>
              <a:gd name="connsiteX307" fmla="*/ 6640 w 10012"/>
              <a:gd name="connsiteY307" fmla="*/ 2170 h 10000"/>
              <a:gd name="connsiteX308" fmla="*/ 6390 w 10012"/>
              <a:gd name="connsiteY308" fmla="*/ 2016 h 10000"/>
              <a:gd name="connsiteX309" fmla="*/ 6305 w 10012"/>
              <a:gd name="connsiteY309" fmla="*/ 2016 h 10000"/>
              <a:gd name="connsiteX310" fmla="*/ 6265 w 10012"/>
              <a:gd name="connsiteY310" fmla="*/ 2170 h 10000"/>
              <a:gd name="connsiteX311" fmla="*/ 6305 w 10012"/>
              <a:gd name="connsiteY311" fmla="*/ 2325 h 10000"/>
              <a:gd name="connsiteX312" fmla="*/ 5977 w 10012"/>
              <a:gd name="connsiteY312" fmla="*/ 2248 h 10000"/>
              <a:gd name="connsiteX313" fmla="*/ 6016 w 10012"/>
              <a:gd name="connsiteY313" fmla="*/ 2016 h 10000"/>
              <a:gd name="connsiteX314" fmla="*/ 5811 w 10012"/>
              <a:gd name="connsiteY314" fmla="*/ 1938 h 10000"/>
              <a:gd name="connsiteX315" fmla="*/ 5685 w 10012"/>
              <a:gd name="connsiteY315" fmla="*/ 2093 h 10000"/>
              <a:gd name="connsiteX316" fmla="*/ 5439 w 10012"/>
              <a:gd name="connsiteY316" fmla="*/ 1861 h 10000"/>
              <a:gd name="connsiteX0" fmla="*/ 5439 w 10001"/>
              <a:gd name="connsiteY0" fmla="*/ 1861 h 10000"/>
              <a:gd name="connsiteX1" fmla="*/ 5439 w 10001"/>
              <a:gd name="connsiteY1" fmla="*/ 1861 h 10000"/>
              <a:gd name="connsiteX2" fmla="*/ 5394 w 10001"/>
              <a:gd name="connsiteY2" fmla="*/ 1938 h 10000"/>
              <a:gd name="connsiteX3" fmla="*/ 5439 w 10001"/>
              <a:gd name="connsiteY3" fmla="*/ 2093 h 10000"/>
              <a:gd name="connsiteX4" fmla="*/ 5268 w 10001"/>
              <a:gd name="connsiteY4" fmla="*/ 2248 h 10000"/>
              <a:gd name="connsiteX5" fmla="*/ 5226 w 10001"/>
              <a:gd name="connsiteY5" fmla="*/ 2248 h 10000"/>
              <a:gd name="connsiteX6" fmla="*/ 5268 w 10001"/>
              <a:gd name="connsiteY6" fmla="*/ 2016 h 10000"/>
              <a:gd name="connsiteX7" fmla="*/ 5685 w 10001"/>
              <a:gd name="connsiteY7" fmla="*/ 1318 h 10000"/>
              <a:gd name="connsiteX8" fmla="*/ 5685 w 10001"/>
              <a:gd name="connsiteY8" fmla="*/ 853 h 10000"/>
              <a:gd name="connsiteX9" fmla="*/ 5519 w 10001"/>
              <a:gd name="connsiteY9" fmla="*/ 543 h 10000"/>
              <a:gd name="connsiteX10" fmla="*/ 5311 w 10001"/>
              <a:gd name="connsiteY10" fmla="*/ 543 h 10000"/>
              <a:gd name="connsiteX11" fmla="*/ 5311 w 10001"/>
              <a:gd name="connsiteY11" fmla="*/ 698 h 10000"/>
              <a:gd name="connsiteX12" fmla="*/ 5186 w 10001"/>
              <a:gd name="connsiteY12" fmla="*/ 698 h 10000"/>
              <a:gd name="connsiteX13" fmla="*/ 5268 w 10001"/>
              <a:gd name="connsiteY13" fmla="*/ 387 h 10000"/>
              <a:gd name="connsiteX14" fmla="*/ 5062 w 10001"/>
              <a:gd name="connsiteY14" fmla="*/ 310 h 10000"/>
              <a:gd name="connsiteX15" fmla="*/ 5186 w 10001"/>
              <a:gd name="connsiteY15" fmla="*/ 155 h 10000"/>
              <a:gd name="connsiteX16" fmla="*/ 5062 w 10001"/>
              <a:gd name="connsiteY16" fmla="*/ 0 h 10000"/>
              <a:gd name="connsiteX17" fmla="*/ 4854 w 10001"/>
              <a:gd name="connsiteY17" fmla="*/ 387 h 10000"/>
              <a:gd name="connsiteX18" fmla="*/ 4854 w 10001"/>
              <a:gd name="connsiteY18" fmla="*/ 698 h 10000"/>
              <a:gd name="connsiteX19" fmla="*/ 4729 w 10001"/>
              <a:gd name="connsiteY19" fmla="*/ 698 h 10000"/>
              <a:gd name="connsiteX20" fmla="*/ 4358 w 10001"/>
              <a:gd name="connsiteY20" fmla="*/ 853 h 10000"/>
              <a:gd name="connsiteX21" fmla="*/ 4024 w 10001"/>
              <a:gd name="connsiteY21" fmla="*/ 1240 h 10000"/>
              <a:gd name="connsiteX22" fmla="*/ 3900 w 10001"/>
              <a:gd name="connsiteY22" fmla="*/ 1551 h 10000"/>
              <a:gd name="connsiteX23" fmla="*/ 3942 w 10001"/>
              <a:gd name="connsiteY23" fmla="*/ 1938 h 10000"/>
              <a:gd name="connsiteX24" fmla="*/ 3486 w 10001"/>
              <a:gd name="connsiteY24" fmla="*/ 2093 h 10000"/>
              <a:gd name="connsiteX25" fmla="*/ 3527 w 10001"/>
              <a:gd name="connsiteY25" fmla="*/ 2559 h 10000"/>
              <a:gd name="connsiteX26" fmla="*/ 3653 w 10001"/>
              <a:gd name="connsiteY26" fmla="*/ 2791 h 10000"/>
              <a:gd name="connsiteX27" fmla="*/ 3570 w 10001"/>
              <a:gd name="connsiteY27" fmla="*/ 2868 h 10000"/>
              <a:gd name="connsiteX28" fmla="*/ 3445 w 10001"/>
              <a:gd name="connsiteY28" fmla="*/ 2559 h 10000"/>
              <a:gd name="connsiteX29" fmla="*/ 3320 w 10001"/>
              <a:gd name="connsiteY29" fmla="*/ 2480 h 10000"/>
              <a:gd name="connsiteX30" fmla="*/ 3279 w 10001"/>
              <a:gd name="connsiteY30" fmla="*/ 2559 h 10000"/>
              <a:gd name="connsiteX31" fmla="*/ 3195 w 10001"/>
              <a:gd name="connsiteY31" fmla="*/ 2403 h 10000"/>
              <a:gd name="connsiteX32" fmla="*/ 3113 w 10001"/>
              <a:gd name="connsiteY32" fmla="*/ 2248 h 10000"/>
              <a:gd name="connsiteX33" fmla="*/ 3113 w 10001"/>
              <a:gd name="connsiteY33" fmla="*/ 2325 h 10000"/>
              <a:gd name="connsiteX34" fmla="*/ 3155 w 10001"/>
              <a:gd name="connsiteY34" fmla="*/ 2559 h 10000"/>
              <a:gd name="connsiteX35" fmla="*/ 3029 w 10001"/>
              <a:gd name="connsiteY35" fmla="*/ 2946 h 10000"/>
              <a:gd name="connsiteX36" fmla="*/ 3113 w 10001"/>
              <a:gd name="connsiteY36" fmla="*/ 3256 h 10000"/>
              <a:gd name="connsiteX37" fmla="*/ 3070 w 10001"/>
              <a:gd name="connsiteY37" fmla="*/ 3566 h 10000"/>
              <a:gd name="connsiteX38" fmla="*/ 3070 w 10001"/>
              <a:gd name="connsiteY38" fmla="*/ 3799 h 10000"/>
              <a:gd name="connsiteX39" fmla="*/ 3195 w 10001"/>
              <a:gd name="connsiteY39" fmla="*/ 3799 h 10000"/>
              <a:gd name="connsiteX40" fmla="*/ 3113 w 10001"/>
              <a:gd name="connsiteY40" fmla="*/ 3876 h 10000"/>
              <a:gd name="connsiteX41" fmla="*/ 3155 w 10001"/>
              <a:gd name="connsiteY41" fmla="*/ 4263 h 10000"/>
              <a:gd name="connsiteX42" fmla="*/ 2905 w 10001"/>
              <a:gd name="connsiteY42" fmla="*/ 4652 h 10000"/>
              <a:gd name="connsiteX43" fmla="*/ 2863 w 10001"/>
              <a:gd name="connsiteY43" fmla="*/ 4574 h 10000"/>
              <a:gd name="connsiteX44" fmla="*/ 3029 w 10001"/>
              <a:gd name="connsiteY44" fmla="*/ 4186 h 10000"/>
              <a:gd name="connsiteX45" fmla="*/ 3070 w 10001"/>
              <a:gd name="connsiteY45" fmla="*/ 3954 h 10000"/>
              <a:gd name="connsiteX46" fmla="*/ 2984 w 10001"/>
              <a:gd name="connsiteY46" fmla="*/ 3799 h 10000"/>
              <a:gd name="connsiteX47" fmla="*/ 2984 w 10001"/>
              <a:gd name="connsiteY47" fmla="*/ 3023 h 10000"/>
              <a:gd name="connsiteX48" fmla="*/ 2946 w 10001"/>
              <a:gd name="connsiteY48" fmla="*/ 2868 h 10000"/>
              <a:gd name="connsiteX49" fmla="*/ 2984 w 10001"/>
              <a:gd name="connsiteY49" fmla="*/ 2403 h 10000"/>
              <a:gd name="connsiteX50" fmla="*/ 2905 w 10001"/>
              <a:gd name="connsiteY50" fmla="*/ 2325 h 10000"/>
              <a:gd name="connsiteX51" fmla="*/ 2946 w 10001"/>
              <a:gd name="connsiteY51" fmla="*/ 2248 h 10000"/>
              <a:gd name="connsiteX52" fmla="*/ 2905 w 10001"/>
              <a:gd name="connsiteY52" fmla="*/ 2093 h 10000"/>
              <a:gd name="connsiteX53" fmla="*/ 2819 w 10001"/>
              <a:gd name="connsiteY53" fmla="*/ 2170 h 10000"/>
              <a:gd name="connsiteX54" fmla="*/ 2614 w 10001"/>
              <a:gd name="connsiteY54" fmla="*/ 3178 h 10000"/>
              <a:gd name="connsiteX55" fmla="*/ 2614 w 10001"/>
              <a:gd name="connsiteY55" fmla="*/ 3566 h 10000"/>
              <a:gd name="connsiteX56" fmla="*/ 2738 w 10001"/>
              <a:gd name="connsiteY56" fmla="*/ 3876 h 10000"/>
              <a:gd name="connsiteX57" fmla="*/ 2738 w 10001"/>
              <a:gd name="connsiteY57" fmla="*/ 4031 h 10000"/>
              <a:gd name="connsiteX58" fmla="*/ 2614 w 10001"/>
              <a:gd name="connsiteY58" fmla="*/ 3876 h 10000"/>
              <a:gd name="connsiteX59" fmla="*/ 2118 w 10001"/>
              <a:gd name="connsiteY59" fmla="*/ 3256 h 10000"/>
              <a:gd name="connsiteX60" fmla="*/ 2075 w 10001"/>
              <a:gd name="connsiteY60" fmla="*/ 3411 h 10000"/>
              <a:gd name="connsiteX61" fmla="*/ 2241 w 10001"/>
              <a:gd name="connsiteY61" fmla="*/ 3799 h 10000"/>
              <a:gd name="connsiteX62" fmla="*/ 2158 w 10001"/>
              <a:gd name="connsiteY62" fmla="*/ 3876 h 10000"/>
              <a:gd name="connsiteX63" fmla="*/ 2118 w 10001"/>
              <a:gd name="connsiteY63" fmla="*/ 3799 h 10000"/>
              <a:gd name="connsiteX64" fmla="*/ 1868 w 10001"/>
              <a:gd name="connsiteY64" fmla="*/ 3954 h 10000"/>
              <a:gd name="connsiteX65" fmla="*/ 1826 w 10001"/>
              <a:gd name="connsiteY65" fmla="*/ 4109 h 10000"/>
              <a:gd name="connsiteX66" fmla="*/ 1784 w 10001"/>
              <a:gd name="connsiteY66" fmla="*/ 3954 h 10000"/>
              <a:gd name="connsiteX67" fmla="*/ 1784 w 10001"/>
              <a:gd name="connsiteY67" fmla="*/ 3799 h 10000"/>
              <a:gd name="connsiteX68" fmla="*/ 1368 w 10001"/>
              <a:gd name="connsiteY68" fmla="*/ 4263 h 10000"/>
              <a:gd name="connsiteX69" fmla="*/ 1368 w 10001"/>
              <a:gd name="connsiteY69" fmla="*/ 4418 h 10000"/>
              <a:gd name="connsiteX70" fmla="*/ 1287 w 10001"/>
              <a:gd name="connsiteY70" fmla="*/ 4496 h 10000"/>
              <a:gd name="connsiteX71" fmla="*/ 1162 w 10001"/>
              <a:gd name="connsiteY71" fmla="*/ 4341 h 10000"/>
              <a:gd name="connsiteX72" fmla="*/ 1287 w 10001"/>
              <a:gd name="connsiteY72" fmla="*/ 4186 h 10000"/>
              <a:gd name="connsiteX73" fmla="*/ 1246 w 10001"/>
              <a:gd name="connsiteY73" fmla="*/ 3954 h 10000"/>
              <a:gd name="connsiteX74" fmla="*/ 1080 w 10001"/>
              <a:gd name="connsiteY74" fmla="*/ 3876 h 10000"/>
              <a:gd name="connsiteX75" fmla="*/ 1122 w 10001"/>
              <a:gd name="connsiteY75" fmla="*/ 4031 h 10000"/>
              <a:gd name="connsiteX76" fmla="*/ 1122 w 10001"/>
              <a:gd name="connsiteY76" fmla="*/ 4418 h 10000"/>
              <a:gd name="connsiteX77" fmla="*/ 1162 w 10001"/>
              <a:gd name="connsiteY77" fmla="*/ 4574 h 10000"/>
              <a:gd name="connsiteX78" fmla="*/ 1122 w 10001"/>
              <a:gd name="connsiteY78" fmla="*/ 4729 h 10000"/>
              <a:gd name="connsiteX79" fmla="*/ 995 w 10001"/>
              <a:gd name="connsiteY79" fmla="*/ 4652 h 10000"/>
              <a:gd name="connsiteX80" fmla="*/ 829 w 10001"/>
              <a:gd name="connsiteY80" fmla="*/ 4884 h 10000"/>
              <a:gd name="connsiteX81" fmla="*/ 912 w 10001"/>
              <a:gd name="connsiteY81" fmla="*/ 5194 h 10000"/>
              <a:gd name="connsiteX82" fmla="*/ 663 w 10001"/>
              <a:gd name="connsiteY82" fmla="*/ 5039 h 10000"/>
              <a:gd name="connsiteX83" fmla="*/ 622 w 10001"/>
              <a:gd name="connsiteY83" fmla="*/ 5116 h 10000"/>
              <a:gd name="connsiteX84" fmla="*/ 706 w 10001"/>
              <a:gd name="connsiteY84" fmla="*/ 5349 h 10000"/>
              <a:gd name="connsiteX85" fmla="*/ 622 w 10001"/>
              <a:gd name="connsiteY85" fmla="*/ 5349 h 10000"/>
              <a:gd name="connsiteX86" fmla="*/ 499 w 10001"/>
              <a:gd name="connsiteY86" fmla="*/ 5194 h 10000"/>
              <a:gd name="connsiteX87" fmla="*/ 499 w 10001"/>
              <a:gd name="connsiteY87" fmla="*/ 4729 h 10000"/>
              <a:gd name="connsiteX88" fmla="*/ 374 w 10001"/>
              <a:gd name="connsiteY88" fmla="*/ 4574 h 10000"/>
              <a:gd name="connsiteX89" fmla="*/ 332 w 10001"/>
              <a:gd name="connsiteY89" fmla="*/ 4418 h 10000"/>
              <a:gd name="connsiteX90" fmla="*/ 415 w 10001"/>
              <a:gd name="connsiteY90" fmla="*/ 4496 h 10000"/>
              <a:gd name="connsiteX91" fmla="*/ 746 w 10001"/>
              <a:gd name="connsiteY91" fmla="*/ 4729 h 10000"/>
              <a:gd name="connsiteX92" fmla="*/ 954 w 10001"/>
              <a:gd name="connsiteY92" fmla="*/ 4496 h 10000"/>
              <a:gd name="connsiteX93" fmla="*/ 912 w 10001"/>
              <a:gd name="connsiteY93" fmla="*/ 4263 h 10000"/>
              <a:gd name="connsiteX94" fmla="*/ 663 w 10001"/>
              <a:gd name="connsiteY94" fmla="*/ 3799 h 10000"/>
              <a:gd name="connsiteX95" fmla="*/ 415 w 10001"/>
              <a:gd name="connsiteY95" fmla="*/ 3644 h 10000"/>
              <a:gd name="connsiteX96" fmla="*/ 415 w 10001"/>
              <a:gd name="connsiteY96" fmla="*/ 3566 h 10000"/>
              <a:gd name="connsiteX97" fmla="*/ 332 w 10001"/>
              <a:gd name="connsiteY97" fmla="*/ 3488 h 10000"/>
              <a:gd name="connsiteX98" fmla="*/ 248 w 10001"/>
              <a:gd name="connsiteY98" fmla="*/ 3566 h 10000"/>
              <a:gd name="connsiteX99" fmla="*/ 248 w 10001"/>
              <a:gd name="connsiteY99" fmla="*/ 3644 h 10000"/>
              <a:gd name="connsiteX100" fmla="*/ 208 w 10001"/>
              <a:gd name="connsiteY100" fmla="*/ 3644 h 10000"/>
              <a:gd name="connsiteX101" fmla="*/ 124 w 10001"/>
              <a:gd name="connsiteY101" fmla="*/ 3799 h 10000"/>
              <a:gd name="connsiteX102" fmla="*/ 124 w 10001"/>
              <a:gd name="connsiteY102" fmla="*/ 4031 h 10000"/>
              <a:gd name="connsiteX103" fmla="*/ 208 w 10001"/>
              <a:gd name="connsiteY103" fmla="*/ 4186 h 10000"/>
              <a:gd name="connsiteX104" fmla="*/ 165 w 10001"/>
              <a:gd name="connsiteY104" fmla="*/ 4418 h 10000"/>
              <a:gd name="connsiteX105" fmla="*/ 208 w 10001"/>
              <a:gd name="connsiteY105" fmla="*/ 4807 h 10000"/>
              <a:gd name="connsiteX106" fmla="*/ 165 w 10001"/>
              <a:gd name="connsiteY106" fmla="*/ 5039 h 10000"/>
              <a:gd name="connsiteX107" fmla="*/ 248 w 10001"/>
              <a:gd name="connsiteY107" fmla="*/ 5271 h 10000"/>
              <a:gd name="connsiteX108" fmla="*/ 208 w 10001"/>
              <a:gd name="connsiteY108" fmla="*/ 5426 h 10000"/>
              <a:gd name="connsiteX109" fmla="*/ 290 w 10001"/>
              <a:gd name="connsiteY109" fmla="*/ 5582 h 10000"/>
              <a:gd name="connsiteX110" fmla="*/ 290 w 10001"/>
              <a:gd name="connsiteY110" fmla="*/ 5659 h 10000"/>
              <a:gd name="connsiteX111" fmla="*/ 165 w 10001"/>
              <a:gd name="connsiteY111" fmla="*/ 6047 h 10000"/>
              <a:gd name="connsiteX112" fmla="*/ 40 w 10001"/>
              <a:gd name="connsiteY112" fmla="*/ 6202 h 10000"/>
              <a:gd name="connsiteX113" fmla="*/ 83 w 10001"/>
              <a:gd name="connsiteY113" fmla="*/ 6202 h 10000"/>
              <a:gd name="connsiteX114" fmla="*/ 165 w 10001"/>
              <a:gd name="connsiteY114" fmla="*/ 6356 h 10000"/>
              <a:gd name="connsiteX115" fmla="*/ 83 w 10001"/>
              <a:gd name="connsiteY115" fmla="*/ 6512 h 10000"/>
              <a:gd name="connsiteX116" fmla="*/ 40 w 10001"/>
              <a:gd name="connsiteY116" fmla="*/ 6590 h 10000"/>
              <a:gd name="connsiteX117" fmla="*/ 0 w 10001"/>
              <a:gd name="connsiteY117" fmla="*/ 6590 h 10000"/>
              <a:gd name="connsiteX118" fmla="*/ 40 w 10001"/>
              <a:gd name="connsiteY118" fmla="*/ 6822 h 10000"/>
              <a:gd name="connsiteX119" fmla="*/ 40 w 10001"/>
              <a:gd name="connsiteY119" fmla="*/ 6900 h 10000"/>
              <a:gd name="connsiteX120" fmla="*/ 40 w 10001"/>
              <a:gd name="connsiteY120" fmla="*/ 6977 h 10000"/>
              <a:gd name="connsiteX121" fmla="*/ 40 w 10001"/>
              <a:gd name="connsiteY121" fmla="*/ 7054 h 10000"/>
              <a:gd name="connsiteX122" fmla="*/ 83 w 10001"/>
              <a:gd name="connsiteY122" fmla="*/ 7209 h 10000"/>
              <a:gd name="connsiteX123" fmla="*/ 208 w 10001"/>
              <a:gd name="connsiteY123" fmla="*/ 7287 h 10000"/>
              <a:gd name="connsiteX124" fmla="*/ 248 w 10001"/>
              <a:gd name="connsiteY124" fmla="*/ 7364 h 10000"/>
              <a:gd name="connsiteX125" fmla="*/ 248 w 10001"/>
              <a:gd name="connsiteY125" fmla="*/ 7520 h 10000"/>
              <a:gd name="connsiteX126" fmla="*/ 332 w 10001"/>
              <a:gd name="connsiteY126" fmla="*/ 7752 h 10000"/>
              <a:gd name="connsiteX127" fmla="*/ 374 w 10001"/>
              <a:gd name="connsiteY127" fmla="*/ 7752 h 10000"/>
              <a:gd name="connsiteX128" fmla="*/ 332 w 10001"/>
              <a:gd name="connsiteY128" fmla="*/ 7907 h 10000"/>
              <a:gd name="connsiteX129" fmla="*/ 290 w 10001"/>
              <a:gd name="connsiteY129" fmla="*/ 7830 h 10000"/>
              <a:gd name="connsiteX130" fmla="*/ 290 w 10001"/>
              <a:gd name="connsiteY130" fmla="*/ 7907 h 10000"/>
              <a:gd name="connsiteX131" fmla="*/ 332 w 10001"/>
              <a:gd name="connsiteY131" fmla="*/ 8062 h 10000"/>
              <a:gd name="connsiteX132" fmla="*/ 457 w 10001"/>
              <a:gd name="connsiteY132" fmla="*/ 8062 h 10000"/>
              <a:gd name="connsiteX133" fmla="*/ 499 w 10001"/>
              <a:gd name="connsiteY133" fmla="*/ 8140 h 10000"/>
              <a:gd name="connsiteX134" fmla="*/ 457 w 10001"/>
              <a:gd name="connsiteY134" fmla="*/ 8140 h 10000"/>
              <a:gd name="connsiteX135" fmla="*/ 499 w 10001"/>
              <a:gd name="connsiteY135" fmla="*/ 8217 h 10000"/>
              <a:gd name="connsiteX136" fmla="*/ 538 w 10001"/>
              <a:gd name="connsiteY136" fmla="*/ 8217 h 10000"/>
              <a:gd name="connsiteX137" fmla="*/ 580 w 10001"/>
              <a:gd name="connsiteY137" fmla="*/ 8372 h 10000"/>
              <a:gd name="connsiteX138" fmla="*/ 622 w 10001"/>
              <a:gd name="connsiteY138" fmla="*/ 8449 h 10000"/>
              <a:gd name="connsiteX139" fmla="*/ 663 w 10001"/>
              <a:gd name="connsiteY139" fmla="*/ 8372 h 10000"/>
              <a:gd name="connsiteX140" fmla="*/ 872 w 10001"/>
              <a:gd name="connsiteY140" fmla="*/ 8605 h 10000"/>
              <a:gd name="connsiteX141" fmla="*/ 829 w 10001"/>
              <a:gd name="connsiteY141" fmla="*/ 8915 h 10000"/>
              <a:gd name="connsiteX142" fmla="*/ 786 w 10001"/>
              <a:gd name="connsiteY142" fmla="*/ 8838 h 10000"/>
              <a:gd name="connsiteX143" fmla="*/ 746 w 10001"/>
              <a:gd name="connsiteY143" fmla="*/ 8915 h 10000"/>
              <a:gd name="connsiteX144" fmla="*/ 746 w 10001"/>
              <a:gd name="connsiteY144" fmla="*/ 9070 h 10000"/>
              <a:gd name="connsiteX145" fmla="*/ 786 w 10001"/>
              <a:gd name="connsiteY145" fmla="*/ 8993 h 10000"/>
              <a:gd name="connsiteX146" fmla="*/ 829 w 10001"/>
              <a:gd name="connsiteY146" fmla="*/ 9070 h 10000"/>
              <a:gd name="connsiteX147" fmla="*/ 706 w 10001"/>
              <a:gd name="connsiteY147" fmla="*/ 9147 h 10000"/>
              <a:gd name="connsiteX148" fmla="*/ 746 w 10001"/>
              <a:gd name="connsiteY148" fmla="*/ 9225 h 10000"/>
              <a:gd name="connsiteX149" fmla="*/ 663 w 10001"/>
              <a:gd name="connsiteY149" fmla="*/ 9380 h 10000"/>
              <a:gd name="connsiteX150" fmla="*/ 622 w 10001"/>
              <a:gd name="connsiteY150" fmla="*/ 9380 h 10000"/>
              <a:gd name="connsiteX151" fmla="*/ 663 w 10001"/>
              <a:gd name="connsiteY151" fmla="*/ 9380 h 10000"/>
              <a:gd name="connsiteX152" fmla="*/ 829 w 10001"/>
              <a:gd name="connsiteY152" fmla="*/ 9691 h 10000"/>
              <a:gd name="connsiteX153" fmla="*/ 1038 w 10001"/>
              <a:gd name="connsiteY153" fmla="*/ 9691 h 10000"/>
              <a:gd name="connsiteX154" fmla="*/ 1122 w 10001"/>
              <a:gd name="connsiteY154" fmla="*/ 9768 h 10000"/>
              <a:gd name="connsiteX155" fmla="*/ 1203 w 10001"/>
              <a:gd name="connsiteY155" fmla="*/ 9768 h 10000"/>
              <a:gd name="connsiteX156" fmla="*/ 1287 w 10001"/>
              <a:gd name="connsiteY156" fmla="*/ 9923 h 10000"/>
              <a:gd name="connsiteX157" fmla="*/ 1328 w 10001"/>
              <a:gd name="connsiteY157" fmla="*/ 10000 h 10000"/>
              <a:gd name="connsiteX158" fmla="*/ 1368 w 10001"/>
              <a:gd name="connsiteY158" fmla="*/ 10000 h 10000"/>
              <a:gd name="connsiteX159" fmla="*/ 1412 w 10001"/>
              <a:gd name="connsiteY159" fmla="*/ 9923 h 10000"/>
              <a:gd name="connsiteX160" fmla="*/ 1328 w 10001"/>
              <a:gd name="connsiteY160" fmla="*/ 9768 h 10000"/>
              <a:gd name="connsiteX161" fmla="*/ 1328 w 10001"/>
              <a:gd name="connsiteY161" fmla="*/ 9613 h 10000"/>
              <a:gd name="connsiteX162" fmla="*/ 1287 w 10001"/>
              <a:gd name="connsiteY162" fmla="*/ 9457 h 10000"/>
              <a:gd name="connsiteX163" fmla="*/ 1368 w 10001"/>
              <a:gd name="connsiteY163" fmla="*/ 9225 h 10000"/>
              <a:gd name="connsiteX164" fmla="*/ 1412 w 10001"/>
              <a:gd name="connsiteY164" fmla="*/ 9302 h 10000"/>
              <a:gd name="connsiteX165" fmla="*/ 1453 w 10001"/>
              <a:gd name="connsiteY165" fmla="*/ 9225 h 10000"/>
              <a:gd name="connsiteX166" fmla="*/ 1453 w 10001"/>
              <a:gd name="connsiteY166" fmla="*/ 9147 h 10000"/>
              <a:gd name="connsiteX167" fmla="*/ 1412 w 10001"/>
              <a:gd name="connsiteY167" fmla="*/ 9147 h 10000"/>
              <a:gd name="connsiteX168" fmla="*/ 1453 w 10001"/>
              <a:gd name="connsiteY168" fmla="*/ 9070 h 10000"/>
              <a:gd name="connsiteX169" fmla="*/ 1412 w 10001"/>
              <a:gd name="connsiteY169" fmla="*/ 8915 h 10000"/>
              <a:gd name="connsiteX170" fmla="*/ 1328 w 10001"/>
              <a:gd name="connsiteY170" fmla="*/ 8915 h 10000"/>
              <a:gd name="connsiteX171" fmla="*/ 1287 w 10001"/>
              <a:gd name="connsiteY171" fmla="*/ 8760 h 10000"/>
              <a:gd name="connsiteX172" fmla="*/ 1328 w 10001"/>
              <a:gd name="connsiteY172" fmla="*/ 8372 h 10000"/>
              <a:gd name="connsiteX173" fmla="*/ 1412 w 10001"/>
              <a:gd name="connsiteY173" fmla="*/ 8528 h 10000"/>
              <a:gd name="connsiteX174" fmla="*/ 1453 w 10001"/>
              <a:gd name="connsiteY174" fmla="*/ 8528 h 10000"/>
              <a:gd name="connsiteX175" fmla="*/ 1412 w 10001"/>
              <a:gd name="connsiteY175" fmla="*/ 8372 h 10000"/>
              <a:gd name="connsiteX176" fmla="*/ 1536 w 10001"/>
              <a:gd name="connsiteY176" fmla="*/ 8140 h 10000"/>
              <a:gd name="connsiteX177" fmla="*/ 1620 w 10001"/>
              <a:gd name="connsiteY177" fmla="*/ 8217 h 10000"/>
              <a:gd name="connsiteX178" fmla="*/ 1660 w 10001"/>
              <a:gd name="connsiteY178" fmla="*/ 8140 h 10000"/>
              <a:gd name="connsiteX179" fmla="*/ 1743 w 10001"/>
              <a:gd name="connsiteY179" fmla="*/ 8217 h 10000"/>
              <a:gd name="connsiteX180" fmla="*/ 1868 w 10001"/>
              <a:gd name="connsiteY180" fmla="*/ 8372 h 10000"/>
              <a:gd name="connsiteX181" fmla="*/ 1951 w 10001"/>
              <a:gd name="connsiteY181" fmla="*/ 8295 h 10000"/>
              <a:gd name="connsiteX182" fmla="*/ 2033 w 10001"/>
              <a:gd name="connsiteY182" fmla="*/ 8295 h 10000"/>
              <a:gd name="connsiteX183" fmla="*/ 2075 w 10001"/>
              <a:gd name="connsiteY183" fmla="*/ 8372 h 10000"/>
              <a:gd name="connsiteX184" fmla="*/ 2241 w 10001"/>
              <a:gd name="connsiteY184" fmla="*/ 8372 h 10000"/>
              <a:gd name="connsiteX185" fmla="*/ 2281 w 10001"/>
              <a:gd name="connsiteY185" fmla="*/ 8217 h 10000"/>
              <a:gd name="connsiteX186" fmla="*/ 2158 w 10001"/>
              <a:gd name="connsiteY186" fmla="*/ 8140 h 10000"/>
              <a:gd name="connsiteX187" fmla="*/ 2241 w 10001"/>
              <a:gd name="connsiteY187" fmla="*/ 8062 h 10000"/>
              <a:gd name="connsiteX188" fmla="*/ 2199 w 10001"/>
              <a:gd name="connsiteY188" fmla="*/ 7985 h 10000"/>
              <a:gd name="connsiteX189" fmla="*/ 2241 w 10001"/>
              <a:gd name="connsiteY189" fmla="*/ 7907 h 10000"/>
              <a:gd name="connsiteX190" fmla="*/ 2241 w 10001"/>
              <a:gd name="connsiteY190" fmla="*/ 7675 h 10000"/>
              <a:gd name="connsiteX191" fmla="*/ 2323 w 10001"/>
              <a:gd name="connsiteY191" fmla="*/ 7752 h 10000"/>
              <a:gd name="connsiteX192" fmla="*/ 2697 w 10001"/>
              <a:gd name="connsiteY192" fmla="*/ 7520 h 10000"/>
              <a:gd name="connsiteX193" fmla="*/ 2697 w 10001"/>
              <a:gd name="connsiteY193" fmla="*/ 7442 h 10000"/>
              <a:gd name="connsiteX194" fmla="*/ 2738 w 10001"/>
              <a:gd name="connsiteY194" fmla="*/ 7442 h 10000"/>
              <a:gd name="connsiteX195" fmla="*/ 2863 w 10001"/>
              <a:gd name="connsiteY195" fmla="*/ 7442 h 10000"/>
              <a:gd name="connsiteX196" fmla="*/ 2905 w 10001"/>
              <a:gd name="connsiteY196" fmla="*/ 7598 h 10000"/>
              <a:gd name="connsiteX197" fmla="*/ 2905 w 10001"/>
              <a:gd name="connsiteY197" fmla="*/ 7675 h 10000"/>
              <a:gd name="connsiteX198" fmla="*/ 2946 w 10001"/>
              <a:gd name="connsiteY198" fmla="*/ 7675 h 10000"/>
              <a:gd name="connsiteX199" fmla="*/ 3029 w 10001"/>
              <a:gd name="connsiteY199" fmla="*/ 7752 h 10000"/>
              <a:gd name="connsiteX200" fmla="*/ 3029 w 10001"/>
              <a:gd name="connsiteY200" fmla="*/ 7830 h 10000"/>
              <a:gd name="connsiteX201" fmla="*/ 3113 w 10001"/>
              <a:gd name="connsiteY201" fmla="*/ 7830 h 10000"/>
              <a:gd name="connsiteX202" fmla="*/ 3195 w 10001"/>
              <a:gd name="connsiteY202" fmla="*/ 7675 h 10000"/>
              <a:gd name="connsiteX203" fmla="*/ 3279 w 10001"/>
              <a:gd name="connsiteY203" fmla="*/ 7598 h 10000"/>
              <a:gd name="connsiteX204" fmla="*/ 3320 w 10001"/>
              <a:gd name="connsiteY204" fmla="*/ 7830 h 10000"/>
              <a:gd name="connsiteX205" fmla="*/ 3486 w 10001"/>
              <a:gd name="connsiteY205" fmla="*/ 8372 h 10000"/>
              <a:gd name="connsiteX206" fmla="*/ 3527 w 10001"/>
              <a:gd name="connsiteY206" fmla="*/ 8217 h 10000"/>
              <a:gd name="connsiteX207" fmla="*/ 3570 w 10001"/>
              <a:gd name="connsiteY207" fmla="*/ 8372 h 10000"/>
              <a:gd name="connsiteX208" fmla="*/ 3695 w 10001"/>
              <a:gd name="connsiteY208" fmla="*/ 8295 h 10000"/>
              <a:gd name="connsiteX209" fmla="*/ 3819 w 10001"/>
              <a:gd name="connsiteY209" fmla="*/ 8528 h 10000"/>
              <a:gd name="connsiteX210" fmla="*/ 3900 w 10001"/>
              <a:gd name="connsiteY210" fmla="*/ 8605 h 10000"/>
              <a:gd name="connsiteX211" fmla="*/ 3900 w 10001"/>
              <a:gd name="connsiteY211" fmla="*/ 8528 h 10000"/>
              <a:gd name="connsiteX212" fmla="*/ 3942 w 10001"/>
              <a:gd name="connsiteY212" fmla="*/ 8683 h 10000"/>
              <a:gd name="connsiteX213" fmla="*/ 3900 w 10001"/>
              <a:gd name="connsiteY213" fmla="*/ 8760 h 10000"/>
              <a:gd name="connsiteX214" fmla="*/ 3984 w 10001"/>
              <a:gd name="connsiteY214" fmla="*/ 8683 h 10000"/>
              <a:gd name="connsiteX215" fmla="*/ 4024 w 10001"/>
              <a:gd name="connsiteY215" fmla="*/ 8605 h 10000"/>
              <a:gd name="connsiteX216" fmla="*/ 4233 w 10001"/>
              <a:gd name="connsiteY216" fmla="*/ 8372 h 10000"/>
              <a:gd name="connsiteX217" fmla="*/ 4398 w 10001"/>
              <a:gd name="connsiteY217" fmla="*/ 8449 h 10000"/>
              <a:gd name="connsiteX218" fmla="*/ 4481 w 10001"/>
              <a:gd name="connsiteY218" fmla="*/ 8528 h 10000"/>
              <a:gd name="connsiteX219" fmla="*/ 4645 w 10001"/>
              <a:gd name="connsiteY219" fmla="*/ 8528 h 10000"/>
              <a:gd name="connsiteX220" fmla="*/ 4645 w 10001"/>
              <a:gd name="connsiteY220" fmla="*/ 8372 h 10000"/>
              <a:gd name="connsiteX221" fmla="*/ 4645 w 10001"/>
              <a:gd name="connsiteY221" fmla="*/ 8217 h 10000"/>
              <a:gd name="connsiteX222" fmla="*/ 4729 w 10001"/>
              <a:gd name="connsiteY222" fmla="*/ 8140 h 10000"/>
              <a:gd name="connsiteX223" fmla="*/ 4895 w 10001"/>
              <a:gd name="connsiteY223" fmla="*/ 8217 h 10000"/>
              <a:gd name="connsiteX224" fmla="*/ 4978 w 10001"/>
              <a:gd name="connsiteY224" fmla="*/ 8449 h 10000"/>
              <a:gd name="connsiteX225" fmla="*/ 5021 w 10001"/>
              <a:gd name="connsiteY225" fmla="*/ 8449 h 10000"/>
              <a:gd name="connsiteX226" fmla="*/ 5104 w 10001"/>
              <a:gd name="connsiteY226" fmla="*/ 8372 h 10000"/>
              <a:gd name="connsiteX227" fmla="*/ 5355 w 10001"/>
              <a:gd name="connsiteY227" fmla="*/ 8605 h 10000"/>
              <a:gd name="connsiteX228" fmla="*/ 5478 w 10001"/>
              <a:gd name="connsiteY228" fmla="*/ 8683 h 10000"/>
              <a:gd name="connsiteX229" fmla="*/ 5644 w 10001"/>
              <a:gd name="connsiteY229" fmla="*/ 8605 h 10000"/>
              <a:gd name="connsiteX230" fmla="*/ 5725 w 10001"/>
              <a:gd name="connsiteY230" fmla="*/ 8449 h 10000"/>
              <a:gd name="connsiteX231" fmla="*/ 5851 w 10001"/>
              <a:gd name="connsiteY231" fmla="*/ 8528 h 10000"/>
              <a:gd name="connsiteX232" fmla="*/ 5933 w 10001"/>
              <a:gd name="connsiteY232" fmla="*/ 8605 h 10000"/>
              <a:gd name="connsiteX233" fmla="*/ 7344 w 10001"/>
              <a:gd name="connsiteY233" fmla="*/ 7675 h 10000"/>
              <a:gd name="connsiteX234" fmla="*/ 7263 w 10001"/>
              <a:gd name="connsiteY234" fmla="*/ 7675 h 10000"/>
              <a:gd name="connsiteX235" fmla="*/ 7221 w 10001"/>
              <a:gd name="connsiteY235" fmla="*/ 7675 h 10000"/>
              <a:gd name="connsiteX236" fmla="*/ 7177 w 10001"/>
              <a:gd name="connsiteY236" fmla="*/ 7598 h 10000"/>
              <a:gd name="connsiteX237" fmla="*/ 7097 w 10001"/>
              <a:gd name="connsiteY237" fmla="*/ 7598 h 10000"/>
              <a:gd name="connsiteX238" fmla="*/ 7097 w 10001"/>
              <a:gd name="connsiteY238" fmla="*/ 7520 h 10000"/>
              <a:gd name="connsiteX239" fmla="*/ 7221 w 10001"/>
              <a:gd name="connsiteY239" fmla="*/ 7287 h 10000"/>
              <a:gd name="connsiteX240" fmla="*/ 7595 w 10001"/>
              <a:gd name="connsiteY240" fmla="*/ 6590 h 10000"/>
              <a:gd name="connsiteX241" fmla="*/ 7760 w 10001"/>
              <a:gd name="connsiteY241" fmla="*/ 6512 h 10000"/>
              <a:gd name="connsiteX242" fmla="*/ 7800 w 10001"/>
              <a:gd name="connsiteY242" fmla="*/ 6590 h 10000"/>
              <a:gd name="connsiteX243" fmla="*/ 7844 w 10001"/>
              <a:gd name="connsiteY243" fmla="*/ 6512 h 10000"/>
              <a:gd name="connsiteX244" fmla="*/ 7966 w 10001"/>
              <a:gd name="connsiteY244" fmla="*/ 6590 h 10000"/>
              <a:gd name="connsiteX245" fmla="*/ 8010 w 10001"/>
              <a:gd name="connsiteY245" fmla="*/ 6434 h 10000"/>
              <a:gd name="connsiteX246" fmla="*/ 8132 w 10001"/>
              <a:gd name="connsiteY246" fmla="*/ 6512 h 10000"/>
              <a:gd name="connsiteX247" fmla="*/ 8174 w 10001"/>
              <a:gd name="connsiteY247" fmla="*/ 6512 h 10000"/>
              <a:gd name="connsiteX248" fmla="*/ 8132 w 10001"/>
              <a:gd name="connsiteY248" fmla="*/ 6590 h 10000"/>
              <a:gd name="connsiteX249" fmla="*/ 8132 w 10001"/>
              <a:gd name="connsiteY249" fmla="*/ 6667 h 10000"/>
              <a:gd name="connsiteX250" fmla="*/ 8382 w 10001"/>
              <a:gd name="connsiteY250" fmla="*/ 6590 h 10000"/>
              <a:gd name="connsiteX251" fmla="*/ 8340 w 10001"/>
              <a:gd name="connsiteY251" fmla="*/ 6512 h 10000"/>
              <a:gd name="connsiteX252" fmla="*/ 8508 w 10001"/>
              <a:gd name="connsiteY252" fmla="*/ 5969 h 10000"/>
              <a:gd name="connsiteX253" fmla="*/ 8713 w 10001"/>
              <a:gd name="connsiteY253" fmla="*/ 5892 h 10000"/>
              <a:gd name="connsiteX254" fmla="*/ 8713 w 10001"/>
              <a:gd name="connsiteY254" fmla="*/ 6047 h 10000"/>
              <a:gd name="connsiteX255" fmla="*/ 8713 w 10001"/>
              <a:gd name="connsiteY255" fmla="*/ 6202 h 10000"/>
              <a:gd name="connsiteX256" fmla="*/ 8920 w 10001"/>
              <a:gd name="connsiteY256" fmla="*/ 5969 h 10000"/>
              <a:gd name="connsiteX257" fmla="*/ 8920 w 10001"/>
              <a:gd name="connsiteY257" fmla="*/ 5737 h 10000"/>
              <a:gd name="connsiteX258" fmla="*/ 9004 w 10001"/>
              <a:gd name="connsiteY258" fmla="*/ 5737 h 10000"/>
              <a:gd name="connsiteX259" fmla="*/ 8960 w 10001"/>
              <a:gd name="connsiteY259" fmla="*/ 5814 h 10000"/>
              <a:gd name="connsiteX260" fmla="*/ 8920 w 10001"/>
              <a:gd name="connsiteY260" fmla="*/ 6202 h 10000"/>
              <a:gd name="connsiteX261" fmla="*/ 8838 w 10001"/>
              <a:gd name="connsiteY261" fmla="*/ 6279 h 10000"/>
              <a:gd name="connsiteX262" fmla="*/ 8920 w 10001"/>
              <a:gd name="connsiteY262" fmla="*/ 6590 h 10000"/>
              <a:gd name="connsiteX263" fmla="*/ 8920 w 10001"/>
              <a:gd name="connsiteY263" fmla="*/ 6434 h 10000"/>
              <a:gd name="connsiteX264" fmla="*/ 9004 w 10001"/>
              <a:gd name="connsiteY264" fmla="*/ 6434 h 10000"/>
              <a:gd name="connsiteX265" fmla="*/ 9129 w 10001"/>
              <a:gd name="connsiteY265" fmla="*/ 6279 h 10000"/>
              <a:gd name="connsiteX266" fmla="*/ 9129 w 10001"/>
              <a:gd name="connsiteY266" fmla="*/ 6434 h 10000"/>
              <a:gd name="connsiteX267" fmla="*/ 9170 w 10001"/>
              <a:gd name="connsiteY267" fmla="*/ 6356 h 10000"/>
              <a:gd name="connsiteX268" fmla="*/ 9297 w 10001"/>
              <a:gd name="connsiteY268" fmla="*/ 6279 h 10000"/>
              <a:gd name="connsiteX269" fmla="*/ 9376 w 10001"/>
              <a:gd name="connsiteY269" fmla="*/ 6434 h 10000"/>
              <a:gd name="connsiteX270" fmla="*/ 9418 w 10001"/>
              <a:gd name="connsiteY270" fmla="*/ 6279 h 10000"/>
              <a:gd name="connsiteX271" fmla="*/ 9837 w 10001"/>
              <a:gd name="connsiteY271" fmla="*/ 5737 h 10000"/>
              <a:gd name="connsiteX272" fmla="*/ 10000 w 10001"/>
              <a:gd name="connsiteY272" fmla="*/ 3799 h 10000"/>
              <a:gd name="connsiteX273" fmla="*/ 9751 w 10001"/>
              <a:gd name="connsiteY273" fmla="*/ 3488 h 10000"/>
              <a:gd name="connsiteX274" fmla="*/ 9418 w 10001"/>
              <a:gd name="connsiteY274" fmla="*/ 3411 h 10000"/>
              <a:gd name="connsiteX275" fmla="*/ 9418 w 10001"/>
              <a:gd name="connsiteY275" fmla="*/ 3799 h 10000"/>
              <a:gd name="connsiteX276" fmla="*/ 9338 w 10001"/>
              <a:gd name="connsiteY276" fmla="*/ 3876 h 10000"/>
              <a:gd name="connsiteX277" fmla="*/ 9253 w 10001"/>
              <a:gd name="connsiteY277" fmla="*/ 3721 h 10000"/>
              <a:gd name="connsiteX278" fmla="*/ 9253 w 10001"/>
              <a:gd name="connsiteY278" fmla="*/ 3566 h 10000"/>
              <a:gd name="connsiteX279" fmla="*/ 9297 w 10001"/>
              <a:gd name="connsiteY279" fmla="*/ 3566 h 10000"/>
              <a:gd name="connsiteX280" fmla="*/ 9338 w 10001"/>
              <a:gd name="connsiteY280" fmla="*/ 3488 h 10000"/>
              <a:gd name="connsiteX281" fmla="*/ 9253 w 10001"/>
              <a:gd name="connsiteY281" fmla="*/ 3488 h 10000"/>
              <a:gd name="connsiteX282" fmla="*/ 9170 w 10001"/>
              <a:gd name="connsiteY282" fmla="*/ 3644 h 10000"/>
              <a:gd name="connsiteX283" fmla="*/ 8960 w 10001"/>
              <a:gd name="connsiteY283" fmla="*/ 3566 h 10000"/>
              <a:gd name="connsiteX284" fmla="*/ 8756 w 10001"/>
              <a:gd name="connsiteY284" fmla="*/ 3566 h 10000"/>
              <a:gd name="connsiteX285" fmla="*/ 8672 w 10001"/>
              <a:gd name="connsiteY285" fmla="*/ 3488 h 10000"/>
              <a:gd name="connsiteX286" fmla="*/ 8713 w 10001"/>
              <a:gd name="connsiteY286" fmla="*/ 3333 h 10000"/>
              <a:gd name="connsiteX287" fmla="*/ 8630 w 10001"/>
              <a:gd name="connsiteY287" fmla="*/ 3101 h 10000"/>
              <a:gd name="connsiteX288" fmla="*/ 8463 w 10001"/>
              <a:gd name="connsiteY288" fmla="*/ 3023 h 10000"/>
              <a:gd name="connsiteX289" fmla="*/ 8217 w 10001"/>
              <a:gd name="connsiteY289" fmla="*/ 3178 h 10000"/>
              <a:gd name="connsiteX290" fmla="*/ 8174 w 10001"/>
              <a:gd name="connsiteY290" fmla="*/ 2946 h 10000"/>
              <a:gd name="connsiteX291" fmla="*/ 8091 w 10001"/>
              <a:gd name="connsiteY291" fmla="*/ 2946 h 10000"/>
              <a:gd name="connsiteX292" fmla="*/ 8050 w 10001"/>
              <a:gd name="connsiteY292" fmla="*/ 2868 h 10000"/>
              <a:gd name="connsiteX293" fmla="*/ 8050 w 10001"/>
              <a:gd name="connsiteY293" fmla="*/ 2636 h 10000"/>
              <a:gd name="connsiteX294" fmla="*/ 7760 w 10001"/>
              <a:gd name="connsiteY294" fmla="*/ 2480 h 10000"/>
              <a:gd name="connsiteX295" fmla="*/ 7427 w 10001"/>
              <a:gd name="connsiteY295" fmla="*/ 2325 h 10000"/>
              <a:gd name="connsiteX296" fmla="*/ 7344 w 10001"/>
              <a:gd name="connsiteY296" fmla="*/ 2636 h 10000"/>
              <a:gd name="connsiteX297" fmla="*/ 7427 w 10001"/>
              <a:gd name="connsiteY297" fmla="*/ 2868 h 10000"/>
              <a:gd name="connsiteX298" fmla="*/ 7177 w 10001"/>
              <a:gd name="connsiteY298" fmla="*/ 2868 h 10000"/>
              <a:gd name="connsiteX299" fmla="*/ 7136 w 10001"/>
              <a:gd name="connsiteY299" fmla="*/ 2868 h 10000"/>
              <a:gd name="connsiteX300" fmla="*/ 7054 w 10001"/>
              <a:gd name="connsiteY300" fmla="*/ 2946 h 10000"/>
              <a:gd name="connsiteX301" fmla="*/ 6928 w 10001"/>
              <a:gd name="connsiteY301" fmla="*/ 2714 h 10000"/>
              <a:gd name="connsiteX302" fmla="*/ 6845 w 10001"/>
              <a:gd name="connsiteY302" fmla="*/ 3178 h 10000"/>
              <a:gd name="connsiteX303" fmla="*/ 6764 w 10001"/>
              <a:gd name="connsiteY303" fmla="*/ 3101 h 10000"/>
              <a:gd name="connsiteX304" fmla="*/ 6679 w 10001"/>
              <a:gd name="connsiteY304" fmla="*/ 2791 h 10000"/>
              <a:gd name="connsiteX305" fmla="*/ 6722 w 10001"/>
              <a:gd name="connsiteY305" fmla="*/ 2403 h 10000"/>
              <a:gd name="connsiteX306" fmla="*/ 6640 w 10001"/>
              <a:gd name="connsiteY306" fmla="*/ 2170 h 10000"/>
              <a:gd name="connsiteX307" fmla="*/ 6390 w 10001"/>
              <a:gd name="connsiteY307" fmla="*/ 2016 h 10000"/>
              <a:gd name="connsiteX308" fmla="*/ 6305 w 10001"/>
              <a:gd name="connsiteY308" fmla="*/ 2016 h 10000"/>
              <a:gd name="connsiteX309" fmla="*/ 6265 w 10001"/>
              <a:gd name="connsiteY309" fmla="*/ 2170 h 10000"/>
              <a:gd name="connsiteX310" fmla="*/ 6305 w 10001"/>
              <a:gd name="connsiteY310" fmla="*/ 2325 h 10000"/>
              <a:gd name="connsiteX311" fmla="*/ 5977 w 10001"/>
              <a:gd name="connsiteY311" fmla="*/ 2248 h 10000"/>
              <a:gd name="connsiteX312" fmla="*/ 6016 w 10001"/>
              <a:gd name="connsiteY312" fmla="*/ 2016 h 10000"/>
              <a:gd name="connsiteX313" fmla="*/ 5811 w 10001"/>
              <a:gd name="connsiteY313" fmla="*/ 1938 h 10000"/>
              <a:gd name="connsiteX314" fmla="*/ 5685 w 10001"/>
              <a:gd name="connsiteY314" fmla="*/ 2093 h 10000"/>
              <a:gd name="connsiteX315" fmla="*/ 5439 w 10001"/>
              <a:gd name="connsiteY315" fmla="*/ 1861 h 10000"/>
              <a:gd name="connsiteX0" fmla="*/ 5439 w 10000"/>
              <a:gd name="connsiteY0" fmla="*/ 1861 h 10000"/>
              <a:gd name="connsiteX1" fmla="*/ 5439 w 10000"/>
              <a:gd name="connsiteY1" fmla="*/ 1861 h 10000"/>
              <a:gd name="connsiteX2" fmla="*/ 5394 w 10000"/>
              <a:gd name="connsiteY2" fmla="*/ 1938 h 10000"/>
              <a:gd name="connsiteX3" fmla="*/ 5439 w 10000"/>
              <a:gd name="connsiteY3" fmla="*/ 2093 h 10000"/>
              <a:gd name="connsiteX4" fmla="*/ 5268 w 10000"/>
              <a:gd name="connsiteY4" fmla="*/ 2248 h 10000"/>
              <a:gd name="connsiteX5" fmla="*/ 5226 w 10000"/>
              <a:gd name="connsiteY5" fmla="*/ 2248 h 10000"/>
              <a:gd name="connsiteX6" fmla="*/ 5268 w 10000"/>
              <a:gd name="connsiteY6" fmla="*/ 2016 h 10000"/>
              <a:gd name="connsiteX7" fmla="*/ 5685 w 10000"/>
              <a:gd name="connsiteY7" fmla="*/ 1318 h 10000"/>
              <a:gd name="connsiteX8" fmla="*/ 5685 w 10000"/>
              <a:gd name="connsiteY8" fmla="*/ 853 h 10000"/>
              <a:gd name="connsiteX9" fmla="*/ 5519 w 10000"/>
              <a:gd name="connsiteY9" fmla="*/ 543 h 10000"/>
              <a:gd name="connsiteX10" fmla="*/ 5311 w 10000"/>
              <a:gd name="connsiteY10" fmla="*/ 543 h 10000"/>
              <a:gd name="connsiteX11" fmla="*/ 5311 w 10000"/>
              <a:gd name="connsiteY11" fmla="*/ 698 h 10000"/>
              <a:gd name="connsiteX12" fmla="*/ 5186 w 10000"/>
              <a:gd name="connsiteY12" fmla="*/ 698 h 10000"/>
              <a:gd name="connsiteX13" fmla="*/ 5268 w 10000"/>
              <a:gd name="connsiteY13" fmla="*/ 387 h 10000"/>
              <a:gd name="connsiteX14" fmla="*/ 5062 w 10000"/>
              <a:gd name="connsiteY14" fmla="*/ 310 h 10000"/>
              <a:gd name="connsiteX15" fmla="*/ 5186 w 10000"/>
              <a:gd name="connsiteY15" fmla="*/ 155 h 10000"/>
              <a:gd name="connsiteX16" fmla="*/ 5062 w 10000"/>
              <a:gd name="connsiteY16" fmla="*/ 0 h 10000"/>
              <a:gd name="connsiteX17" fmla="*/ 4854 w 10000"/>
              <a:gd name="connsiteY17" fmla="*/ 387 h 10000"/>
              <a:gd name="connsiteX18" fmla="*/ 4854 w 10000"/>
              <a:gd name="connsiteY18" fmla="*/ 698 h 10000"/>
              <a:gd name="connsiteX19" fmla="*/ 4729 w 10000"/>
              <a:gd name="connsiteY19" fmla="*/ 698 h 10000"/>
              <a:gd name="connsiteX20" fmla="*/ 4358 w 10000"/>
              <a:gd name="connsiteY20" fmla="*/ 853 h 10000"/>
              <a:gd name="connsiteX21" fmla="*/ 4024 w 10000"/>
              <a:gd name="connsiteY21" fmla="*/ 1240 h 10000"/>
              <a:gd name="connsiteX22" fmla="*/ 3900 w 10000"/>
              <a:gd name="connsiteY22" fmla="*/ 1551 h 10000"/>
              <a:gd name="connsiteX23" fmla="*/ 3942 w 10000"/>
              <a:gd name="connsiteY23" fmla="*/ 1938 h 10000"/>
              <a:gd name="connsiteX24" fmla="*/ 3486 w 10000"/>
              <a:gd name="connsiteY24" fmla="*/ 2093 h 10000"/>
              <a:gd name="connsiteX25" fmla="*/ 3527 w 10000"/>
              <a:gd name="connsiteY25" fmla="*/ 2559 h 10000"/>
              <a:gd name="connsiteX26" fmla="*/ 3653 w 10000"/>
              <a:gd name="connsiteY26" fmla="*/ 2791 h 10000"/>
              <a:gd name="connsiteX27" fmla="*/ 3570 w 10000"/>
              <a:gd name="connsiteY27" fmla="*/ 2868 h 10000"/>
              <a:gd name="connsiteX28" fmla="*/ 3445 w 10000"/>
              <a:gd name="connsiteY28" fmla="*/ 2559 h 10000"/>
              <a:gd name="connsiteX29" fmla="*/ 3320 w 10000"/>
              <a:gd name="connsiteY29" fmla="*/ 2480 h 10000"/>
              <a:gd name="connsiteX30" fmla="*/ 3279 w 10000"/>
              <a:gd name="connsiteY30" fmla="*/ 2559 h 10000"/>
              <a:gd name="connsiteX31" fmla="*/ 3195 w 10000"/>
              <a:gd name="connsiteY31" fmla="*/ 2403 h 10000"/>
              <a:gd name="connsiteX32" fmla="*/ 3113 w 10000"/>
              <a:gd name="connsiteY32" fmla="*/ 2248 h 10000"/>
              <a:gd name="connsiteX33" fmla="*/ 3113 w 10000"/>
              <a:gd name="connsiteY33" fmla="*/ 2325 h 10000"/>
              <a:gd name="connsiteX34" fmla="*/ 3155 w 10000"/>
              <a:gd name="connsiteY34" fmla="*/ 2559 h 10000"/>
              <a:gd name="connsiteX35" fmla="*/ 3029 w 10000"/>
              <a:gd name="connsiteY35" fmla="*/ 2946 h 10000"/>
              <a:gd name="connsiteX36" fmla="*/ 3113 w 10000"/>
              <a:gd name="connsiteY36" fmla="*/ 3256 h 10000"/>
              <a:gd name="connsiteX37" fmla="*/ 3070 w 10000"/>
              <a:gd name="connsiteY37" fmla="*/ 3566 h 10000"/>
              <a:gd name="connsiteX38" fmla="*/ 3070 w 10000"/>
              <a:gd name="connsiteY38" fmla="*/ 3799 h 10000"/>
              <a:gd name="connsiteX39" fmla="*/ 3195 w 10000"/>
              <a:gd name="connsiteY39" fmla="*/ 3799 h 10000"/>
              <a:gd name="connsiteX40" fmla="*/ 3113 w 10000"/>
              <a:gd name="connsiteY40" fmla="*/ 3876 h 10000"/>
              <a:gd name="connsiteX41" fmla="*/ 3155 w 10000"/>
              <a:gd name="connsiteY41" fmla="*/ 4263 h 10000"/>
              <a:gd name="connsiteX42" fmla="*/ 2905 w 10000"/>
              <a:gd name="connsiteY42" fmla="*/ 4652 h 10000"/>
              <a:gd name="connsiteX43" fmla="*/ 2863 w 10000"/>
              <a:gd name="connsiteY43" fmla="*/ 4574 h 10000"/>
              <a:gd name="connsiteX44" fmla="*/ 3029 w 10000"/>
              <a:gd name="connsiteY44" fmla="*/ 4186 h 10000"/>
              <a:gd name="connsiteX45" fmla="*/ 3070 w 10000"/>
              <a:gd name="connsiteY45" fmla="*/ 3954 h 10000"/>
              <a:gd name="connsiteX46" fmla="*/ 2984 w 10000"/>
              <a:gd name="connsiteY46" fmla="*/ 3799 h 10000"/>
              <a:gd name="connsiteX47" fmla="*/ 2984 w 10000"/>
              <a:gd name="connsiteY47" fmla="*/ 3023 h 10000"/>
              <a:gd name="connsiteX48" fmla="*/ 2946 w 10000"/>
              <a:gd name="connsiteY48" fmla="*/ 2868 h 10000"/>
              <a:gd name="connsiteX49" fmla="*/ 2984 w 10000"/>
              <a:gd name="connsiteY49" fmla="*/ 2403 h 10000"/>
              <a:gd name="connsiteX50" fmla="*/ 2905 w 10000"/>
              <a:gd name="connsiteY50" fmla="*/ 2325 h 10000"/>
              <a:gd name="connsiteX51" fmla="*/ 2946 w 10000"/>
              <a:gd name="connsiteY51" fmla="*/ 2248 h 10000"/>
              <a:gd name="connsiteX52" fmla="*/ 2905 w 10000"/>
              <a:gd name="connsiteY52" fmla="*/ 2093 h 10000"/>
              <a:gd name="connsiteX53" fmla="*/ 2819 w 10000"/>
              <a:gd name="connsiteY53" fmla="*/ 2170 h 10000"/>
              <a:gd name="connsiteX54" fmla="*/ 2614 w 10000"/>
              <a:gd name="connsiteY54" fmla="*/ 3178 h 10000"/>
              <a:gd name="connsiteX55" fmla="*/ 2614 w 10000"/>
              <a:gd name="connsiteY55" fmla="*/ 3566 h 10000"/>
              <a:gd name="connsiteX56" fmla="*/ 2738 w 10000"/>
              <a:gd name="connsiteY56" fmla="*/ 3876 h 10000"/>
              <a:gd name="connsiteX57" fmla="*/ 2738 w 10000"/>
              <a:gd name="connsiteY57" fmla="*/ 4031 h 10000"/>
              <a:gd name="connsiteX58" fmla="*/ 2614 w 10000"/>
              <a:gd name="connsiteY58" fmla="*/ 3876 h 10000"/>
              <a:gd name="connsiteX59" fmla="*/ 2118 w 10000"/>
              <a:gd name="connsiteY59" fmla="*/ 3256 h 10000"/>
              <a:gd name="connsiteX60" fmla="*/ 2075 w 10000"/>
              <a:gd name="connsiteY60" fmla="*/ 3411 h 10000"/>
              <a:gd name="connsiteX61" fmla="*/ 2241 w 10000"/>
              <a:gd name="connsiteY61" fmla="*/ 3799 h 10000"/>
              <a:gd name="connsiteX62" fmla="*/ 2158 w 10000"/>
              <a:gd name="connsiteY62" fmla="*/ 3876 h 10000"/>
              <a:gd name="connsiteX63" fmla="*/ 2118 w 10000"/>
              <a:gd name="connsiteY63" fmla="*/ 3799 h 10000"/>
              <a:gd name="connsiteX64" fmla="*/ 1868 w 10000"/>
              <a:gd name="connsiteY64" fmla="*/ 3954 h 10000"/>
              <a:gd name="connsiteX65" fmla="*/ 1826 w 10000"/>
              <a:gd name="connsiteY65" fmla="*/ 4109 h 10000"/>
              <a:gd name="connsiteX66" fmla="*/ 1784 w 10000"/>
              <a:gd name="connsiteY66" fmla="*/ 3954 h 10000"/>
              <a:gd name="connsiteX67" fmla="*/ 1784 w 10000"/>
              <a:gd name="connsiteY67" fmla="*/ 3799 h 10000"/>
              <a:gd name="connsiteX68" fmla="*/ 1368 w 10000"/>
              <a:gd name="connsiteY68" fmla="*/ 4263 h 10000"/>
              <a:gd name="connsiteX69" fmla="*/ 1368 w 10000"/>
              <a:gd name="connsiteY69" fmla="*/ 4418 h 10000"/>
              <a:gd name="connsiteX70" fmla="*/ 1287 w 10000"/>
              <a:gd name="connsiteY70" fmla="*/ 4496 h 10000"/>
              <a:gd name="connsiteX71" fmla="*/ 1162 w 10000"/>
              <a:gd name="connsiteY71" fmla="*/ 4341 h 10000"/>
              <a:gd name="connsiteX72" fmla="*/ 1287 w 10000"/>
              <a:gd name="connsiteY72" fmla="*/ 4186 h 10000"/>
              <a:gd name="connsiteX73" fmla="*/ 1246 w 10000"/>
              <a:gd name="connsiteY73" fmla="*/ 3954 h 10000"/>
              <a:gd name="connsiteX74" fmla="*/ 1080 w 10000"/>
              <a:gd name="connsiteY74" fmla="*/ 3876 h 10000"/>
              <a:gd name="connsiteX75" fmla="*/ 1122 w 10000"/>
              <a:gd name="connsiteY75" fmla="*/ 4031 h 10000"/>
              <a:gd name="connsiteX76" fmla="*/ 1122 w 10000"/>
              <a:gd name="connsiteY76" fmla="*/ 4418 h 10000"/>
              <a:gd name="connsiteX77" fmla="*/ 1162 w 10000"/>
              <a:gd name="connsiteY77" fmla="*/ 4574 h 10000"/>
              <a:gd name="connsiteX78" fmla="*/ 1122 w 10000"/>
              <a:gd name="connsiteY78" fmla="*/ 4729 h 10000"/>
              <a:gd name="connsiteX79" fmla="*/ 995 w 10000"/>
              <a:gd name="connsiteY79" fmla="*/ 4652 h 10000"/>
              <a:gd name="connsiteX80" fmla="*/ 829 w 10000"/>
              <a:gd name="connsiteY80" fmla="*/ 4884 h 10000"/>
              <a:gd name="connsiteX81" fmla="*/ 912 w 10000"/>
              <a:gd name="connsiteY81" fmla="*/ 5194 h 10000"/>
              <a:gd name="connsiteX82" fmla="*/ 663 w 10000"/>
              <a:gd name="connsiteY82" fmla="*/ 5039 h 10000"/>
              <a:gd name="connsiteX83" fmla="*/ 622 w 10000"/>
              <a:gd name="connsiteY83" fmla="*/ 5116 h 10000"/>
              <a:gd name="connsiteX84" fmla="*/ 706 w 10000"/>
              <a:gd name="connsiteY84" fmla="*/ 5349 h 10000"/>
              <a:gd name="connsiteX85" fmla="*/ 622 w 10000"/>
              <a:gd name="connsiteY85" fmla="*/ 5349 h 10000"/>
              <a:gd name="connsiteX86" fmla="*/ 499 w 10000"/>
              <a:gd name="connsiteY86" fmla="*/ 5194 h 10000"/>
              <a:gd name="connsiteX87" fmla="*/ 499 w 10000"/>
              <a:gd name="connsiteY87" fmla="*/ 4729 h 10000"/>
              <a:gd name="connsiteX88" fmla="*/ 374 w 10000"/>
              <a:gd name="connsiteY88" fmla="*/ 4574 h 10000"/>
              <a:gd name="connsiteX89" fmla="*/ 332 w 10000"/>
              <a:gd name="connsiteY89" fmla="*/ 4418 h 10000"/>
              <a:gd name="connsiteX90" fmla="*/ 415 w 10000"/>
              <a:gd name="connsiteY90" fmla="*/ 4496 h 10000"/>
              <a:gd name="connsiteX91" fmla="*/ 746 w 10000"/>
              <a:gd name="connsiteY91" fmla="*/ 4729 h 10000"/>
              <a:gd name="connsiteX92" fmla="*/ 954 w 10000"/>
              <a:gd name="connsiteY92" fmla="*/ 4496 h 10000"/>
              <a:gd name="connsiteX93" fmla="*/ 912 w 10000"/>
              <a:gd name="connsiteY93" fmla="*/ 4263 h 10000"/>
              <a:gd name="connsiteX94" fmla="*/ 663 w 10000"/>
              <a:gd name="connsiteY94" fmla="*/ 3799 h 10000"/>
              <a:gd name="connsiteX95" fmla="*/ 415 w 10000"/>
              <a:gd name="connsiteY95" fmla="*/ 3644 h 10000"/>
              <a:gd name="connsiteX96" fmla="*/ 415 w 10000"/>
              <a:gd name="connsiteY96" fmla="*/ 3566 h 10000"/>
              <a:gd name="connsiteX97" fmla="*/ 332 w 10000"/>
              <a:gd name="connsiteY97" fmla="*/ 3488 h 10000"/>
              <a:gd name="connsiteX98" fmla="*/ 248 w 10000"/>
              <a:gd name="connsiteY98" fmla="*/ 3566 h 10000"/>
              <a:gd name="connsiteX99" fmla="*/ 248 w 10000"/>
              <a:gd name="connsiteY99" fmla="*/ 3644 h 10000"/>
              <a:gd name="connsiteX100" fmla="*/ 208 w 10000"/>
              <a:gd name="connsiteY100" fmla="*/ 3644 h 10000"/>
              <a:gd name="connsiteX101" fmla="*/ 124 w 10000"/>
              <a:gd name="connsiteY101" fmla="*/ 3799 h 10000"/>
              <a:gd name="connsiteX102" fmla="*/ 124 w 10000"/>
              <a:gd name="connsiteY102" fmla="*/ 4031 h 10000"/>
              <a:gd name="connsiteX103" fmla="*/ 208 w 10000"/>
              <a:gd name="connsiteY103" fmla="*/ 4186 h 10000"/>
              <a:gd name="connsiteX104" fmla="*/ 165 w 10000"/>
              <a:gd name="connsiteY104" fmla="*/ 4418 h 10000"/>
              <a:gd name="connsiteX105" fmla="*/ 208 w 10000"/>
              <a:gd name="connsiteY105" fmla="*/ 4807 h 10000"/>
              <a:gd name="connsiteX106" fmla="*/ 165 w 10000"/>
              <a:gd name="connsiteY106" fmla="*/ 5039 h 10000"/>
              <a:gd name="connsiteX107" fmla="*/ 248 w 10000"/>
              <a:gd name="connsiteY107" fmla="*/ 5271 h 10000"/>
              <a:gd name="connsiteX108" fmla="*/ 208 w 10000"/>
              <a:gd name="connsiteY108" fmla="*/ 5426 h 10000"/>
              <a:gd name="connsiteX109" fmla="*/ 290 w 10000"/>
              <a:gd name="connsiteY109" fmla="*/ 5582 h 10000"/>
              <a:gd name="connsiteX110" fmla="*/ 290 w 10000"/>
              <a:gd name="connsiteY110" fmla="*/ 5659 h 10000"/>
              <a:gd name="connsiteX111" fmla="*/ 165 w 10000"/>
              <a:gd name="connsiteY111" fmla="*/ 6047 h 10000"/>
              <a:gd name="connsiteX112" fmla="*/ 40 w 10000"/>
              <a:gd name="connsiteY112" fmla="*/ 6202 h 10000"/>
              <a:gd name="connsiteX113" fmla="*/ 83 w 10000"/>
              <a:gd name="connsiteY113" fmla="*/ 6202 h 10000"/>
              <a:gd name="connsiteX114" fmla="*/ 165 w 10000"/>
              <a:gd name="connsiteY114" fmla="*/ 6356 h 10000"/>
              <a:gd name="connsiteX115" fmla="*/ 83 w 10000"/>
              <a:gd name="connsiteY115" fmla="*/ 6512 h 10000"/>
              <a:gd name="connsiteX116" fmla="*/ 40 w 10000"/>
              <a:gd name="connsiteY116" fmla="*/ 6590 h 10000"/>
              <a:gd name="connsiteX117" fmla="*/ 0 w 10000"/>
              <a:gd name="connsiteY117" fmla="*/ 6590 h 10000"/>
              <a:gd name="connsiteX118" fmla="*/ 40 w 10000"/>
              <a:gd name="connsiteY118" fmla="*/ 6822 h 10000"/>
              <a:gd name="connsiteX119" fmla="*/ 40 w 10000"/>
              <a:gd name="connsiteY119" fmla="*/ 6900 h 10000"/>
              <a:gd name="connsiteX120" fmla="*/ 40 w 10000"/>
              <a:gd name="connsiteY120" fmla="*/ 6977 h 10000"/>
              <a:gd name="connsiteX121" fmla="*/ 40 w 10000"/>
              <a:gd name="connsiteY121" fmla="*/ 7054 h 10000"/>
              <a:gd name="connsiteX122" fmla="*/ 83 w 10000"/>
              <a:gd name="connsiteY122" fmla="*/ 7209 h 10000"/>
              <a:gd name="connsiteX123" fmla="*/ 208 w 10000"/>
              <a:gd name="connsiteY123" fmla="*/ 7287 h 10000"/>
              <a:gd name="connsiteX124" fmla="*/ 248 w 10000"/>
              <a:gd name="connsiteY124" fmla="*/ 7364 h 10000"/>
              <a:gd name="connsiteX125" fmla="*/ 248 w 10000"/>
              <a:gd name="connsiteY125" fmla="*/ 7520 h 10000"/>
              <a:gd name="connsiteX126" fmla="*/ 332 w 10000"/>
              <a:gd name="connsiteY126" fmla="*/ 7752 h 10000"/>
              <a:gd name="connsiteX127" fmla="*/ 374 w 10000"/>
              <a:gd name="connsiteY127" fmla="*/ 7752 h 10000"/>
              <a:gd name="connsiteX128" fmla="*/ 332 w 10000"/>
              <a:gd name="connsiteY128" fmla="*/ 7907 h 10000"/>
              <a:gd name="connsiteX129" fmla="*/ 290 w 10000"/>
              <a:gd name="connsiteY129" fmla="*/ 7830 h 10000"/>
              <a:gd name="connsiteX130" fmla="*/ 290 w 10000"/>
              <a:gd name="connsiteY130" fmla="*/ 7907 h 10000"/>
              <a:gd name="connsiteX131" fmla="*/ 332 w 10000"/>
              <a:gd name="connsiteY131" fmla="*/ 8062 h 10000"/>
              <a:gd name="connsiteX132" fmla="*/ 457 w 10000"/>
              <a:gd name="connsiteY132" fmla="*/ 8062 h 10000"/>
              <a:gd name="connsiteX133" fmla="*/ 499 w 10000"/>
              <a:gd name="connsiteY133" fmla="*/ 8140 h 10000"/>
              <a:gd name="connsiteX134" fmla="*/ 457 w 10000"/>
              <a:gd name="connsiteY134" fmla="*/ 8140 h 10000"/>
              <a:gd name="connsiteX135" fmla="*/ 499 w 10000"/>
              <a:gd name="connsiteY135" fmla="*/ 8217 h 10000"/>
              <a:gd name="connsiteX136" fmla="*/ 538 w 10000"/>
              <a:gd name="connsiteY136" fmla="*/ 8217 h 10000"/>
              <a:gd name="connsiteX137" fmla="*/ 580 w 10000"/>
              <a:gd name="connsiteY137" fmla="*/ 8372 h 10000"/>
              <a:gd name="connsiteX138" fmla="*/ 622 w 10000"/>
              <a:gd name="connsiteY138" fmla="*/ 8449 h 10000"/>
              <a:gd name="connsiteX139" fmla="*/ 663 w 10000"/>
              <a:gd name="connsiteY139" fmla="*/ 8372 h 10000"/>
              <a:gd name="connsiteX140" fmla="*/ 872 w 10000"/>
              <a:gd name="connsiteY140" fmla="*/ 8605 h 10000"/>
              <a:gd name="connsiteX141" fmla="*/ 829 w 10000"/>
              <a:gd name="connsiteY141" fmla="*/ 8915 h 10000"/>
              <a:gd name="connsiteX142" fmla="*/ 786 w 10000"/>
              <a:gd name="connsiteY142" fmla="*/ 8838 h 10000"/>
              <a:gd name="connsiteX143" fmla="*/ 746 w 10000"/>
              <a:gd name="connsiteY143" fmla="*/ 8915 h 10000"/>
              <a:gd name="connsiteX144" fmla="*/ 746 w 10000"/>
              <a:gd name="connsiteY144" fmla="*/ 9070 h 10000"/>
              <a:gd name="connsiteX145" fmla="*/ 786 w 10000"/>
              <a:gd name="connsiteY145" fmla="*/ 8993 h 10000"/>
              <a:gd name="connsiteX146" fmla="*/ 829 w 10000"/>
              <a:gd name="connsiteY146" fmla="*/ 9070 h 10000"/>
              <a:gd name="connsiteX147" fmla="*/ 706 w 10000"/>
              <a:gd name="connsiteY147" fmla="*/ 9147 h 10000"/>
              <a:gd name="connsiteX148" fmla="*/ 746 w 10000"/>
              <a:gd name="connsiteY148" fmla="*/ 9225 h 10000"/>
              <a:gd name="connsiteX149" fmla="*/ 663 w 10000"/>
              <a:gd name="connsiteY149" fmla="*/ 9380 h 10000"/>
              <a:gd name="connsiteX150" fmla="*/ 622 w 10000"/>
              <a:gd name="connsiteY150" fmla="*/ 9380 h 10000"/>
              <a:gd name="connsiteX151" fmla="*/ 663 w 10000"/>
              <a:gd name="connsiteY151" fmla="*/ 9380 h 10000"/>
              <a:gd name="connsiteX152" fmla="*/ 829 w 10000"/>
              <a:gd name="connsiteY152" fmla="*/ 9691 h 10000"/>
              <a:gd name="connsiteX153" fmla="*/ 1038 w 10000"/>
              <a:gd name="connsiteY153" fmla="*/ 9691 h 10000"/>
              <a:gd name="connsiteX154" fmla="*/ 1122 w 10000"/>
              <a:gd name="connsiteY154" fmla="*/ 9768 h 10000"/>
              <a:gd name="connsiteX155" fmla="*/ 1203 w 10000"/>
              <a:gd name="connsiteY155" fmla="*/ 9768 h 10000"/>
              <a:gd name="connsiteX156" fmla="*/ 1287 w 10000"/>
              <a:gd name="connsiteY156" fmla="*/ 9923 h 10000"/>
              <a:gd name="connsiteX157" fmla="*/ 1328 w 10000"/>
              <a:gd name="connsiteY157" fmla="*/ 10000 h 10000"/>
              <a:gd name="connsiteX158" fmla="*/ 1368 w 10000"/>
              <a:gd name="connsiteY158" fmla="*/ 10000 h 10000"/>
              <a:gd name="connsiteX159" fmla="*/ 1412 w 10000"/>
              <a:gd name="connsiteY159" fmla="*/ 9923 h 10000"/>
              <a:gd name="connsiteX160" fmla="*/ 1328 w 10000"/>
              <a:gd name="connsiteY160" fmla="*/ 9768 h 10000"/>
              <a:gd name="connsiteX161" fmla="*/ 1328 w 10000"/>
              <a:gd name="connsiteY161" fmla="*/ 9613 h 10000"/>
              <a:gd name="connsiteX162" fmla="*/ 1287 w 10000"/>
              <a:gd name="connsiteY162" fmla="*/ 9457 h 10000"/>
              <a:gd name="connsiteX163" fmla="*/ 1368 w 10000"/>
              <a:gd name="connsiteY163" fmla="*/ 9225 h 10000"/>
              <a:gd name="connsiteX164" fmla="*/ 1412 w 10000"/>
              <a:gd name="connsiteY164" fmla="*/ 9302 h 10000"/>
              <a:gd name="connsiteX165" fmla="*/ 1453 w 10000"/>
              <a:gd name="connsiteY165" fmla="*/ 9225 h 10000"/>
              <a:gd name="connsiteX166" fmla="*/ 1453 w 10000"/>
              <a:gd name="connsiteY166" fmla="*/ 9147 h 10000"/>
              <a:gd name="connsiteX167" fmla="*/ 1412 w 10000"/>
              <a:gd name="connsiteY167" fmla="*/ 9147 h 10000"/>
              <a:gd name="connsiteX168" fmla="*/ 1453 w 10000"/>
              <a:gd name="connsiteY168" fmla="*/ 9070 h 10000"/>
              <a:gd name="connsiteX169" fmla="*/ 1412 w 10000"/>
              <a:gd name="connsiteY169" fmla="*/ 8915 h 10000"/>
              <a:gd name="connsiteX170" fmla="*/ 1328 w 10000"/>
              <a:gd name="connsiteY170" fmla="*/ 8915 h 10000"/>
              <a:gd name="connsiteX171" fmla="*/ 1287 w 10000"/>
              <a:gd name="connsiteY171" fmla="*/ 8760 h 10000"/>
              <a:gd name="connsiteX172" fmla="*/ 1328 w 10000"/>
              <a:gd name="connsiteY172" fmla="*/ 8372 h 10000"/>
              <a:gd name="connsiteX173" fmla="*/ 1412 w 10000"/>
              <a:gd name="connsiteY173" fmla="*/ 8528 h 10000"/>
              <a:gd name="connsiteX174" fmla="*/ 1453 w 10000"/>
              <a:gd name="connsiteY174" fmla="*/ 8528 h 10000"/>
              <a:gd name="connsiteX175" fmla="*/ 1412 w 10000"/>
              <a:gd name="connsiteY175" fmla="*/ 8372 h 10000"/>
              <a:gd name="connsiteX176" fmla="*/ 1536 w 10000"/>
              <a:gd name="connsiteY176" fmla="*/ 8140 h 10000"/>
              <a:gd name="connsiteX177" fmla="*/ 1620 w 10000"/>
              <a:gd name="connsiteY177" fmla="*/ 8217 h 10000"/>
              <a:gd name="connsiteX178" fmla="*/ 1660 w 10000"/>
              <a:gd name="connsiteY178" fmla="*/ 8140 h 10000"/>
              <a:gd name="connsiteX179" fmla="*/ 1743 w 10000"/>
              <a:gd name="connsiteY179" fmla="*/ 8217 h 10000"/>
              <a:gd name="connsiteX180" fmla="*/ 1868 w 10000"/>
              <a:gd name="connsiteY180" fmla="*/ 8372 h 10000"/>
              <a:gd name="connsiteX181" fmla="*/ 1951 w 10000"/>
              <a:gd name="connsiteY181" fmla="*/ 8295 h 10000"/>
              <a:gd name="connsiteX182" fmla="*/ 2033 w 10000"/>
              <a:gd name="connsiteY182" fmla="*/ 8295 h 10000"/>
              <a:gd name="connsiteX183" fmla="*/ 2075 w 10000"/>
              <a:gd name="connsiteY183" fmla="*/ 8372 h 10000"/>
              <a:gd name="connsiteX184" fmla="*/ 2241 w 10000"/>
              <a:gd name="connsiteY184" fmla="*/ 8372 h 10000"/>
              <a:gd name="connsiteX185" fmla="*/ 2281 w 10000"/>
              <a:gd name="connsiteY185" fmla="*/ 8217 h 10000"/>
              <a:gd name="connsiteX186" fmla="*/ 2158 w 10000"/>
              <a:gd name="connsiteY186" fmla="*/ 8140 h 10000"/>
              <a:gd name="connsiteX187" fmla="*/ 2241 w 10000"/>
              <a:gd name="connsiteY187" fmla="*/ 8062 h 10000"/>
              <a:gd name="connsiteX188" fmla="*/ 2199 w 10000"/>
              <a:gd name="connsiteY188" fmla="*/ 7985 h 10000"/>
              <a:gd name="connsiteX189" fmla="*/ 2241 w 10000"/>
              <a:gd name="connsiteY189" fmla="*/ 7907 h 10000"/>
              <a:gd name="connsiteX190" fmla="*/ 2241 w 10000"/>
              <a:gd name="connsiteY190" fmla="*/ 7675 h 10000"/>
              <a:gd name="connsiteX191" fmla="*/ 2323 w 10000"/>
              <a:gd name="connsiteY191" fmla="*/ 7752 h 10000"/>
              <a:gd name="connsiteX192" fmla="*/ 2697 w 10000"/>
              <a:gd name="connsiteY192" fmla="*/ 7520 h 10000"/>
              <a:gd name="connsiteX193" fmla="*/ 2697 w 10000"/>
              <a:gd name="connsiteY193" fmla="*/ 7442 h 10000"/>
              <a:gd name="connsiteX194" fmla="*/ 2738 w 10000"/>
              <a:gd name="connsiteY194" fmla="*/ 7442 h 10000"/>
              <a:gd name="connsiteX195" fmla="*/ 2863 w 10000"/>
              <a:gd name="connsiteY195" fmla="*/ 7442 h 10000"/>
              <a:gd name="connsiteX196" fmla="*/ 2905 w 10000"/>
              <a:gd name="connsiteY196" fmla="*/ 7598 h 10000"/>
              <a:gd name="connsiteX197" fmla="*/ 2905 w 10000"/>
              <a:gd name="connsiteY197" fmla="*/ 7675 h 10000"/>
              <a:gd name="connsiteX198" fmla="*/ 2946 w 10000"/>
              <a:gd name="connsiteY198" fmla="*/ 7675 h 10000"/>
              <a:gd name="connsiteX199" fmla="*/ 3029 w 10000"/>
              <a:gd name="connsiteY199" fmla="*/ 7752 h 10000"/>
              <a:gd name="connsiteX200" fmla="*/ 3029 w 10000"/>
              <a:gd name="connsiteY200" fmla="*/ 7830 h 10000"/>
              <a:gd name="connsiteX201" fmla="*/ 3113 w 10000"/>
              <a:gd name="connsiteY201" fmla="*/ 7830 h 10000"/>
              <a:gd name="connsiteX202" fmla="*/ 3195 w 10000"/>
              <a:gd name="connsiteY202" fmla="*/ 7675 h 10000"/>
              <a:gd name="connsiteX203" fmla="*/ 3279 w 10000"/>
              <a:gd name="connsiteY203" fmla="*/ 7598 h 10000"/>
              <a:gd name="connsiteX204" fmla="*/ 3320 w 10000"/>
              <a:gd name="connsiteY204" fmla="*/ 7830 h 10000"/>
              <a:gd name="connsiteX205" fmla="*/ 3486 w 10000"/>
              <a:gd name="connsiteY205" fmla="*/ 8372 h 10000"/>
              <a:gd name="connsiteX206" fmla="*/ 3527 w 10000"/>
              <a:gd name="connsiteY206" fmla="*/ 8217 h 10000"/>
              <a:gd name="connsiteX207" fmla="*/ 3570 w 10000"/>
              <a:gd name="connsiteY207" fmla="*/ 8372 h 10000"/>
              <a:gd name="connsiteX208" fmla="*/ 3695 w 10000"/>
              <a:gd name="connsiteY208" fmla="*/ 8295 h 10000"/>
              <a:gd name="connsiteX209" fmla="*/ 3819 w 10000"/>
              <a:gd name="connsiteY209" fmla="*/ 8528 h 10000"/>
              <a:gd name="connsiteX210" fmla="*/ 3900 w 10000"/>
              <a:gd name="connsiteY210" fmla="*/ 8605 h 10000"/>
              <a:gd name="connsiteX211" fmla="*/ 3900 w 10000"/>
              <a:gd name="connsiteY211" fmla="*/ 8528 h 10000"/>
              <a:gd name="connsiteX212" fmla="*/ 3942 w 10000"/>
              <a:gd name="connsiteY212" fmla="*/ 8683 h 10000"/>
              <a:gd name="connsiteX213" fmla="*/ 3900 w 10000"/>
              <a:gd name="connsiteY213" fmla="*/ 8760 h 10000"/>
              <a:gd name="connsiteX214" fmla="*/ 3984 w 10000"/>
              <a:gd name="connsiteY214" fmla="*/ 8683 h 10000"/>
              <a:gd name="connsiteX215" fmla="*/ 4024 w 10000"/>
              <a:gd name="connsiteY215" fmla="*/ 8605 h 10000"/>
              <a:gd name="connsiteX216" fmla="*/ 4233 w 10000"/>
              <a:gd name="connsiteY216" fmla="*/ 8372 h 10000"/>
              <a:gd name="connsiteX217" fmla="*/ 4398 w 10000"/>
              <a:gd name="connsiteY217" fmla="*/ 8449 h 10000"/>
              <a:gd name="connsiteX218" fmla="*/ 4481 w 10000"/>
              <a:gd name="connsiteY218" fmla="*/ 8528 h 10000"/>
              <a:gd name="connsiteX219" fmla="*/ 4645 w 10000"/>
              <a:gd name="connsiteY219" fmla="*/ 8528 h 10000"/>
              <a:gd name="connsiteX220" fmla="*/ 4645 w 10000"/>
              <a:gd name="connsiteY220" fmla="*/ 8372 h 10000"/>
              <a:gd name="connsiteX221" fmla="*/ 4645 w 10000"/>
              <a:gd name="connsiteY221" fmla="*/ 8217 h 10000"/>
              <a:gd name="connsiteX222" fmla="*/ 4729 w 10000"/>
              <a:gd name="connsiteY222" fmla="*/ 8140 h 10000"/>
              <a:gd name="connsiteX223" fmla="*/ 4895 w 10000"/>
              <a:gd name="connsiteY223" fmla="*/ 8217 h 10000"/>
              <a:gd name="connsiteX224" fmla="*/ 4978 w 10000"/>
              <a:gd name="connsiteY224" fmla="*/ 8449 h 10000"/>
              <a:gd name="connsiteX225" fmla="*/ 5021 w 10000"/>
              <a:gd name="connsiteY225" fmla="*/ 8449 h 10000"/>
              <a:gd name="connsiteX226" fmla="*/ 5104 w 10000"/>
              <a:gd name="connsiteY226" fmla="*/ 8372 h 10000"/>
              <a:gd name="connsiteX227" fmla="*/ 5355 w 10000"/>
              <a:gd name="connsiteY227" fmla="*/ 8605 h 10000"/>
              <a:gd name="connsiteX228" fmla="*/ 5478 w 10000"/>
              <a:gd name="connsiteY228" fmla="*/ 8683 h 10000"/>
              <a:gd name="connsiteX229" fmla="*/ 5644 w 10000"/>
              <a:gd name="connsiteY229" fmla="*/ 8605 h 10000"/>
              <a:gd name="connsiteX230" fmla="*/ 5725 w 10000"/>
              <a:gd name="connsiteY230" fmla="*/ 8449 h 10000"/>
              <a:gd name="connsiteX231" fmla="*/ 5851 w 10000"/>
              <a:gd name="connsiteY231" fmla="*/ 8528 h 10000"/>
              <a:gd name="connsiteX232" fmla="*/ 5933 w 10000"/>
              <a:gd name="connsiteY232" fmla="*/ 8605 h 10000"/>
              <a:gd name="connsiteX233" fmla="*/ 7344 w 10000"/>
              <a:gd name="connsiteY233" fmla="*/ 7675 h 10000"/>
              <a:gd name="connsiteX234" fmla="*/ 7263 w 10000"/>
              <a:gd name="connsiteY234" fmla="*/ 7675 h 10000"/>
              <a:gd name="connsiteX235" fmla="*/ 7221 w 10000"/>
              <a:gd name="connsiteY235" fmla="*/ 7675 h 10000"/>
              <a:gd name="connsiteX236" fmla="*/ 7177 w 10000"/>
              <a:gd name="connsiteY236" fmla="*/ 7598 h 10000"/>
              <a:gd name="connsiteX237" fmla="*/ 7097 w 10000"/>
              <a:gd name="connsiteY237" fmla="*/ 7598 h 10000"/>
              <a:gd name="connsiteX238" fmla="*/ 7097 w 10000"/>
              <a:gd name="connsiteY238" fmla="*/ 7520 h 10000"/>
              <a:gd name="connsiteX239" fmla="*/ 7221 w 10000"/>
              <a:gd name="connsiteY239" fmla="*/ 7287 h 10000"/>
              <a:gd name="connsiteX240" fmla="*/ 7595 w 10000"/>
              <a:gd name="connsiteY240" fmla="*/ 6590 h 10000"/>
              <a:gd name="connsiteX241" fmla="*/ 7760 w 10000"/>
              <a:gd name="connsiteY241" fmla="*/ 6512 h 10000"/>
              <a:gd name="connsiteX242" fmla="*/ 7800 w 10000"/>
              <a:gd name="connsiteY242" fmla="*/ 6590 h 10000"/>
              <a:gd name="connsiteX243" fmla="*/ 7844 w 10000"/>
              <a:gd name="connsiteY243" fmla="*/ 6512 h 10000"/>
              <a:gd name="connsiteX244" fmla="*/ 7966 w 10000"/>
              <a:gd name="connsiteY244" fmla="*/ 6590 h 10000"/>
              <a:gd name="connsiteX245" fmla="*/ 8010 w 10000"/>
              <a:gd name="connsiteY245" fmla="*/ 6434 h 10000"/>
              <a:gd name="connsiteX246" fmla="*/ 8132 w 10000"/>
              <a:gd name="connsiteY246" fmla="*/ 6512 h 10000"/>
              <a:gd name="connsiteX247" fmla="*/ 8174 w 10000"/>
              <a:gd name="connsiteY247" fmla="*/ 6512 h 10000"/>
              <a:gd name="connsiteX248" fmla="*/ 8132 w 10000"/>
              <a:gd name="connsiteY248" fmla="*/ 6590 h 10000"/>
              <a:gd name="connsiteX249" fmla="*/ 8132 w 10000"/>
              <a:gd name="connsiteY249" fmla="*/ 6667 h 10000"/>
              <a:gd name="connsiteX250" fmla="*/ 8382 w 10000"/>
              <a:gd name="connsiteY250" fmla="*/ 6590 h 10000"/>
              <a:gd name="connsiteX251" fmla="*/ 8340 w 10000"/>
              <a:gd name="connsiteY251" fmla="*/ 6512 h 10000"/>
              <a:gd name="connsiteX252" fmla="*/ 8508 w 10000"/>
              <a:gd name="connsiteY252" fmla="*/ 5969 h 10000"/>
              <a:gd name="connsiteX253" fmla="*/ 8713 w 10000"/>
              <a:gd name="connsiteY253" fmla="*/ 5892 h 10000"/>
              <a:gd name="connsiteX254" fmla="*/ 8713 w 10000"/>
              <a:gd name="connsiteY254" fmla="*/ 6047 h 10000"/>
              <a:gd name="connsiteX255" fmla="*/ 8713 w 10000"/>
              <a:gd name="connsiteY255" fmla="*/ 6202 h 10000"/>
              <a:gd name="connsiteX256" fmla="*/ 8920 w 10000"/>
              <a:gd name="connsiteY256" fmla="*/ 5969 h 10000"/>
              <a:gd name="connsiteX257" fmla="*/ 8920 w 10000"/>
              <a:gd name="connsiteY257" fmla="*/ 5737 h 10000"/>
              <a:gd name="connsiteX258" fmla="*/ 9004 w 10000"/>
              <a:gd name="connsiteY258" fmla="*/ 5737 h 10000"/>
              <a:gd name="connsiteX259" fmla="*/ 8960 w 10000"/>
              <a:gd name="connsiteY259" fmla="*/ 5814 h 10000"/>
              <a:gd name="connsiteX260" fmla="*/ 8920 w 10000"/>
              <a:gd name="connsiteY260" fmla="*/ 6202 h 10000"/>
              <a:gd name="connsiteX261" fmla="*/ 8838 w 10000"/>
              <a:gd name="connsiteY261" fmla="*/ 6279 h 10000"/>
              <a:gd name="connsiteX262" fmla="*/ 8920 w 10000"/>
              <a:gd name="connsiteY262" fmla="*/ 6590 h 10000"/>
              <a:gd name="connsiteX263" fmla="*/ 8920 w 10000"/>
              <a:gd name="connsiteY263" fmla="*/ 6434 h 10000"/>
              <a:gd name="connsiteX264" fmla="*/ 9004 w 10000"/>
              <a:gd name="connsiteY264" fmla="*/ 6434 h 10000"/>
              <a:gd name="connsiteX265" fmla="*/ 9129 w 10000"/>
              <a:gd name="connsiteY265" fmla="*/ 6279 h 10000"/>
              <a:gd name="connsiteX266" fmla="*/ 9129 w 10000"/>
              <a:gd name="connsiteY266" fmla="*/ 6434 h 10000"/>
              <a:gd name="connsiteX267" fmla="*/ 9170 w 10000"/>
              <a:gd name="connsiteY267" fmla="*/ 6356 h 10000"/>
              <a:gd name="connsiteX268" fmla="*/ 9297 w 10000"/>
              <a:gd name="connsiteY268" fmla="*/ 6279 h 10000"/>
              <a:gd name="connsiteX269" fmla="*/ 9376 w 10000"/>
              <a:gd name="connsiteY269" fmla="*/ 6434 h 10000"/>
              <a:gd name="connsiteX270" fmla="*/ 9418 w 10000"/>
              <a:gd name="connsiteY270" fmla="*/ 6279 h 10000"/>
              <a:gd name="connsiteX271" fmla="*/ 10000 w 10000"/>
              <a:gd name="connsiteY271" fmla="*/ 3799 h 10000"/>
              <a:gd name="connsiteX272" fmla="*/ 9751 w 10000"/>
              <a:gd name="connsiteY272" fmla="*/ 3488 h 10000"/>
              <a:gd name="connsiteX273" fmla="*/ 9418 w 10000"/>
              <a:gd name="connsiteY273" fmla="*/ 3411 h 10000"/>
              <a:gd name="connsiteX274" fmla="*/ 9418 w 10000"/>
              <a:gd name="connsiteY274" fmla="*/ 3799 h 10000"/>
              <a:gd name="connsiteX275" fmla="*/ 9338 w 10000"/>
              <a:gd name="connsiteY275" fmla="*/ 3876 h 10000"/>
              <a:gd name="connsiteX276" fmla="*/ 9253 w 10000"/>
              <a:gd name="connsiteY276" fmla="*/ 3721 h 10000"/>
              <a:gd name="connsiteX277" fmla="*/ 9253 w 10000"/>
              <a:gd name="connsiteY277" fmla="*/ 3566 h 10000"/>
              <a:gd name="connsiteX278" fmla="*/ 9297 w 10000"/>
              <a:gd name="connsiteY278" fmla="*/ 3566 h 10000"/>
              <a:gd name="connsiteX279" fmla="*/ 9338 w 10000"/>
              <a:gd name="connsiteY279" fmla="*/ 3488 h 10000"/>
              <a:gd name="connsiteX280" fmla="*/ 9253 w 10000"/>
              <a:gd name="connsiteY280" fmla="*/ 3488 h 10000"/>
              <a:gd name="connsiteX281" fmla="*/ 9170 w 10000"/>
              <a:gd name="connsiteY281" fmla="*/ 3644 h 10000"/>
              <a:gd name="connsiteX282" fmla="*/ 8960 w 10000"/>
              <a:gd name="connsiteY282" fmla="*/ 3566 h 10000"/>
              <a:gd name="connsiteX283" fmla="*/ 8756 w 10000"/>
              <a:gd name="connsiteY283" fmla="*/ 3566 h 10000"/>
              <a:gd name="connsiteX284" fmla="*/ 8672 w 10000"/>
              <a:gd name="connsiteY284" fmla="*/ 3488 h 10000"/>
              <a:gd name="connsiteX285" fmla="*/ 8713 w 10000"/>
              <a:gd name="connsiteY285" fmla="*/ 3333 h 10000"/>
              <a:gd name="connsiteX286" fmla="*/ 8630 w 10000"/>
              <a:gd name="connsiteY286" fmla="*/ 3101 h 10000"/>
              <a:gd name="connsiteX287" fmla="*/ 8463 w 10000"/>
              <a:gd name="connsiteY287" fmla="*/ 3023 h 10000"/>
              <a:gd name="connsiteX288" fmla="*/ 8217 w 10000"/>
              <a:gd name="connsiteY288" fmla="*/ 3178 h 10000"/>
              <a:gd name="connsiteX289" fmla="*/ 8174 w 10000"/>
              <a:gd name="connsiteY289" fmla="*/ 2946 h 10000"/>
              <a:gd name="connsiteX290" fmla="*/ 8091 w 10000"/>
              <a:gd name="connsiteY290" fmla="*/ 2946 h 10000"/>
              <a:gd name="connsiteX291" fmla="*/ 8050 w 10000"/>
              <a:gd name="connsiteY291" fmla="*/ 2868 h 10000"/>
              <a:gd name="connsiteX292" fmla="*/ 8050 w 10000"/>
              <a:gd name="connsiteY292" fmla="*/ 2636 h 10000"/>
              <a:gd name="connsiteX293" fmla="*/ 7760 w 10000"/>
              <a:gd name="connsiteY293" fmla="*/ 2480 h 10000"/>
              <a:gd name="connsiteX294" fmla="*/ 7427 w 10000"/>
              <a:gd name="connsiteY294" fmla="*/ 2325 h 10000"/>
              <a:gd name="connsiteX295" fmla="*/ 7344 w 10000"/>
              <a:gd name="connsiteY295" fmla="*/ 2636 h 10000"/>
              <a:gd name="connsiteX296" fmla="*/ 7427 w 10000"/>
              <a:gd name="connsiteY296" fmla="*/ 2868 h 10000"/>
              <a:gd name="connsiteX297" fmla="*/ 7177 w 10000"/>
              <a:gd name="connsiteY297" fmla="*/ 2868 h 10000"/>
              <a:gd name="connsiteX298" fmla="*/ 7136 w 10000"/>
              <a:gd name="connsiteY298" fmla="*/ 2868 h 10000"/>
              <a:gd name="connsiteX299" fmla="*/ 7054 w 10000"/>
              <a:gd name="connsiteY299" fmla="*/ 2946 h 10000"/>
              <a:gd name="connsiteX300" fmla="*/ 6928 w 10000"/>
              <a:gd name="connsiteY300" fmla="*/ 2714 h 10000"/>
              <a:gd name="connsiteX301" fmla="*/ 6845 w 10000"/>
              <a:gd name="connsiteY301" fmla="*/ 3178 h 10000"/>
              <a:gd name="connsiteX302" fmla="*/ 6764 w 10000"/>
              <a:gd name="connsiteY302" fmla="*/ 3101 h 10000"/>
              <a:gd name="connsiteX303" fmla="*/ 6679 w 10000"/>
              <a:gd name="connsiteY303" fmla="*/ 2791 h 10000"/>
              <a:gd name="connsiteX304" fmla="*/ 6722 w 10000"/>
              <a:gd name="connsiteY304" fmla="*/ 2403 h 10000"/>
              <a:gd name="connsiteX305" fmla="*/ 6640 w 10000"/>
              <a:gd name="connsiteY305" fmla="*/ 2170 h 10000"/>
              <a:gd name="connsiteX306" fmla="*/ 6390 w 10000"/>
              <a:gd name="connsiteY306" fmla="*/ 2016 h 10000"/>
              <a:gd name="connsiteX307" fmla="*/ 6305 w 10000"/>
              <a:gd name="connsiteY307" fmla="*/ 2016 h 10000"/>
              <a:gd name="connsiteX308" fmla="*/ 6265 w 10000"/>
              <a:gd name="connsiteY308" fmla="*/ 2170 h 10000"/>
              <a:gd name="connsiteX309" fmla="*/ 6305 w 10000"/>
              <a:gd name="connsiteY309" fmla="*/ 2325 h 10000"/>
              <a:gd name="connsiteX310" fmla="*/ 5977 w 10000"/>
              <a:gd name="connsiteY310" fmla="*/ 2248 h 10000"/>
              <a:gd name="connsiteX311" fmla="*/ 6016 w 10000"/>
              <a:gd name="connsiteY311" fmla="*/ 2016 h 10000"/>
              <a:gd name="connsiteX312" fmla="*/ 5811 w 10000"/>
              <a:gd name="connsiteY312" fmla="*/ 1938 h 10000"/>
              <a:gd name="connsiteX313" fmla="*/ 5685 w 10000"/>
              <a:gd name="connsiteY313" fmla="*/ 2093 h 10000"/>
              <a:gd name="connsiteX314" fmla="*/ 5439 w 10000"/>
              <a:gd name="connsiteY314" fmla="*/ 1861 h 10000"/>
              <a:gd name="connsiteX0" fmla="*/ 5439 w 9751"/>
              <a:gd name="connsiteY0" fmla="*/ 1861 h 10000"/>
              <a:gd name="connsiteX1" fmla="*/ 5439 w 9751"/>
              <a:gd name="connsiteY1" fmla="*/ 1861 h 10000"/>
              <a:gd name="connsiteX2" fmla="*/ 5394 w 9751"/>
              <a:gd name="connsiteY2" fmla="*/ 1938 h 10000"/>
              <a:gd name="connsiteX3" fmla="*/ 5439 w 9751"/>
              <a:gd name="connsiteY3" fmla="*/ 2093 h 10000"/>
              <a:gd name="connsiteX4" fmla="*/ 5268 w 9751"/>
              <a:gd name="connsiteY4" fmla="*/ 2248 h 10000"/>
              <a:gd name="connsiteX5" fmla="*/ 5226 w 9751"/>
              <a:gd name="connsiteY5" fmla="*/ 2248 h 10000"/>
              <a:gd name="connsiteX6" fmla="*/ 5268 w 9751"/>
              <a:gd name="connsiteY6" fmla="*/ 2016 h 10000"/>
              <a:gd name="connsiteX7" fmla="*/ 5685 w 9751"/>
              <a:gd name="connsiteY7" fmla="*/ 1318 h 10000"/>
              <a:gd name="connsiteX8" fmla="*/ 5685 w 9751"/>
              <a:gd name="connsiteY8" fmla="*/ 853 h 10000"/>
              <a:gd name="connsiteX9" fmla="*/ 5519 w 9751"/>
              <a:gd name="connsiteY9" fmla="*/ 543 h 10000"/>
              <a:gd name="connsiteX10" fmla="*/ 5311 w 9751"/>
              <a:gd name="connsiteY10" fmla="*/ 543 h 10000"/>
              <a:gd name="connsiteX11" fmla="*/ 5311 w 9751"/>
              <a:gd name="connsiteY11" fmla="*/ 698 h 10000"/>
              <a:gd name="connsiteX12" fmla="*/ 5186 w 9751"/>
              <a:gd name="connsiteY12" fmla="*/ 698 h 10000"/>
              <a:gd name="connsiteX13" fmla="*/ 5268 w 9751"/>
              <a:gd name="connsiteY13" fmla="*/ 387 h 10000"/>
              <a:gd name="connsiteX14" fmla="*/ 5062 w 9751"/>
              <a:gd name="connsiteY14" fmla="*/ 310 h 10000"/>
              <a:gd name="connsiteX15" fmla="*/ 5186 w 9751"/>
              <a:gd name="connsiteY15" fmla="*/ 155 h 10000"/>
              <a:gd name="connsiteX16" fmla="*/ 5062 w 9751"/>
              <a:gd name="connsiteY16" fmla="*/ 0 h 10000"/>
              <a:gd name="connsiteX17" fmla="*/ 4854 w 9751"/>
              <a:gd name="connsiteY17" fmla="*/ 387 h 10000"/>
              <a:gd name="connsiteX18" fmla="*/ 4854 w 9751"/>
              <a:gd name="connsiteY18" fmla="*/ 698 h 10000"/>
              <a:gd name="connsiteX19" fmla="*/ 4729 w 9751"/>
              <a:gd name="connsiteY19" fmla="*/ 698 h 10000"/>
              <a:gd name="connsiteX20" fmla="*/ 4358 w 9751"/>
              <a:gd name="connsiteY20" fmla="*/ 853 h 10000"/>
              <a:gd name="connsiteX21" fmla="*/ 4024 w 9751"/>
              <a:gd name="connsiteY21" fmla="*/ 1240 h 10000"/>
              <a:gd name="connsiteX22" fmla="*/ 3900 w 9751"/>
              <a:gd name="connsiteY22" fmla="*/ 1551 h 10000"/>
              <a:gd name="connsiteX23" fmla="*/ 3942 w 9751"/>
              <a:gd name="connsiteY23" fmla="*/ 1938 h 10000"/>
              <a:gd name="connsiteX24" fmla="*/ 3486 w 9751"/>
              <a:gd name="connsiteY24" fmla="*/ 2093 h 10000"/>
              <a:gd name="connsiteX25" fmla="*/ 3527 w 9751"/>
              <a:gd name="connsiteY25" fmla="*/ 2559 h 10000"/>
              <a:gd name="connsiteX26" fmla="*/ 3653 w 9751"/>
              <a:gd name="connsiteY26" fmla="*/ 2791 h 10000"/>
              <a:gd name="connsiteX27" fmla="*/ 3570 w 9751"/>
              <a:gd name="connsiteY27" fmla="*/ 2868 h 10000"/>
              <a:gd name="connsiteX28" fmla="*/ 3445 w 9751"/>
              <a:gd name="connsiteY28" fmla="*/ 2559 h 10000"/>
              <a:gd name="connsiteX29" fmla="*/ 3320 w 9751"/>
              <a:gd name="connsiteY29" fmla="*/ 2480 h 10000"/>
              <a:gd name="connsiteX30" fmla="*/ 3279 w 9751"/>
              <a:gd name="connsiteY30" fmla="*/ 2559 h 10000"/>
              <a:gd name="connsiteX31" fmla="*/ 3195 w 9751"/>
              <a:gd name="connsiteY31" fmla="*/ 2403 h 10000"/>
              <a:gd name="connsiteX32" fmla="*/ 3113 w 9751"/>
              <a:gd name="connsiteY32" fmla="*/ 2248 h 10000"/>
              <a:gd name="connsiteX33" fmla="*/ 3113 w 9751"/>
              <a:gd name="connsiteY33" fmla="*/ 2325 h 10000"/>
              <a:gd name="connsiteX34" fmla="*/ 3155 w 9751"/>
              <a:gd name="connsiteY34" fmla="*/ 2559 h 10000"/>
              <a:gd name="connsiteX35" fmla="*/ 3029 w 9751"/>
              <a:gd name="connsiteY35" fmla="*/ 2946 h 10000"/>
              <a:gd name="connsiteX36" fmla="*/ 3113 w 9751"/>
              <a:gd name="connsiteY36" fmla="*/ 3256 h 10000"/>
              <a:gd name="connsiteX37" fmla="*/ 3070 w 9751"/>
              <a:gd name="connsiteY37" fmla="*/ 3566 h 10000"/>
              <a:gd name="connsiteX38" fmla="*/ 3070 w 9751"/>
              <a:gd name="connsiteY38" fmla="*/ 3799 h 10000"/>
              <a:gd name="connsiteX39" fmla="*/ 3195 w 9751"/>
              <a:gd name="connsiteY39" fmla="*/ 3799 h 10000"/>
              <a:gd name="connsiteX40" fmla="*/ 3113 w 9751"/>
              <a:gd name="connsiteY40" fmla="*/ 3876 h 10000"/>
              <a:gd name="connsiteX41" fmla="*/ 3155 w 9751"/>
              <a:gd name="connsiteY41" fmla="*/ 4263 h 10000"/>
              <a:gd name="connsiteX42" fmla="*/ 2905 w 9751"/>
              <a:gd name="connsiteY42" fmla="*/ 4652 h 10000"/>
              <a:gd name="connsiteX43" fmla="*/ 2863 w 9751"/>
              <a:gd name="connsiteY43" fmla="*/ 4574 h 10000"/>
              <a:gd name="connsiteX44" fmla="*/ 3029 w 9751"/>
              <a:gd name="connsiteY44" fmla="*/ 4186 h 10000"/>
              <a:gd name="connsiteX45" fmla="*/ 3070 w 9751"/>
              <a:gd name="connsiteY45" fmla="*/ 3954 h 10000"/>
              <a:gd name="connsiteX46" fmla="*/ 2984 w 9751"/>
              <a:gd name="connsiteY46" fmla="*/ 3799 h 10000"/>
              <a:gd name="connsiteX47" fmla="*/ 2984 w 9751"/>
              <a:gd name="connsiteY47" fmla="*/ 3023 h 10000"/>
              <a:gd name="connsiteX48" fmla="*/ 2946 w 9751"/>
              <a:gd name="connsiteY48" fmla="*/ 2868 h 10000"/>
              <a:gd name="connsiteX49" fmla="*/ 2984 w 9751"/>
              <a:gd name="connsiteY49" fmla="*/ 2403 h 10000"/>
              <a:gd name="connsiteX50" fmla="*/ 2905 w 9751"/>
              <a:gd name="connsiteY50" fmla="*/ 2325 h 10000"/>
              <a:gd name="connsiteX51" fmla="*/ 2946 w 9751"/>
              <a:gd name="connsiteY51" fmla="*/ 2248 h 10000"/>
              <a:gd name="connsiteX52" fmla="*/ 2905 w 9751"/>
              <a:gd name="connsiteY52" fmla="*/ 2093 h 10000"/>
              <a:gd name="connsiteX53" fmla="*/ 2819 w 9751"/>
              <a:gd name="connsiteY53" fmla="*/ 2170 h 10000"/>
              <a:gd name="connsiteX54" fmla="*/ 2614 w 9751"/>
              <a:gd name="connsiteY54" fmla="*/ 3178 h 10000"/>
              <a:gd name="connsiteX55" fmla="*/ 2614 w 9751"/>
              <a:gd name="connsiteY55" fmla="*/ 3566 h 10000"/>
              <a:gd name="connsiteX56" fmla="*/ 2738 w 9751"/>
              <a:gd name="connsiteY56" fmla="*/ 3876 h 10000"/>
              <a:gd name="connsiteX57" fmla="*/ 2738 w 9751"/>
              <a:gd name="connsiteY57" fmla="*/ 4031 h 10000"/>
              <a:gd name="connsiteX58" fmla="*/ 2614 w 9751"/>
              <a:gd name="connsiteY58" fmla="*/ 3876 h 10000"/>
              <a:gd name="connsiteX59" fmla="*/ 2118 w 9751"/>
              <a:gd name="connsiteY59" fmla="*/ 3256 h 10000"/>
              <a:gd name="connsiteX60" fmla="*/ 2075 w 9751"/>
              <a:gd name="connsiteY60" fmla="*/ 3411 h 10000"/>
              <a:gd name="connsiteX61" fmla="*/ 2241 w 9751"/>
              <a:gd name="connsiteY61" fmla="*/ 3799 h 10000"/>
              <a:gd name="connsiteX62" fmla="*/ 2158 w 9751"/>
              <a:gd name="connsiteY62" fmla="*/ 3876 h 10000"/>
              <a:gd name="connsiteX63" fmla="*/ 2118 w 9751"/>
              <a:gd name="connsiteY63" fmla="*/ 3799 h 10000"/>
              <a:gd name="connsiteX64" fmla="*/ 1868 w 9751"/>
              <a:gd name="connsiteY64" fmla="*/ 3954 h 10000"/>
              <a:gd name="connsiteX65" fmla="*/ 1826 w 9751"/>
              <a:gd name="connsiteY65" fmla="*/ 4109 h 10000"/>
              <a:gd name="connsiteX66" fmla="*/ 1784 w 9751"/>
              <a:gd name="connsiteY66" fmla="*/ 3954 h 10000"/>
              <a:gd name="connsiteX67" fmla="*/ 1784 w 9751"/>
              <a:gd name="connsiteY67" fmla="*/ 3799 h 10000"/>
              <a:gd name="connsiteX68" fmla="*/ 1368 w 9751"/>
              <a:gd name="connsiteY68" fmla="*/ 4263 h 10000"/>
              <a:gd name="connsiteX69" fmla="*/ 1368 w 9751"/>
              <a:gd name="connsiteY69" fmla="*/ 4418 h 10000"/>
              <a:gd name="connsiteX70" fmla="*/ 1287 w 9751"/>
              <a:gd name="connsiteY70" fmla="*/ 4496 h 10000"/>
              <a:gd name="connsiteX71" fmla="*/ 1162 w 9751"/>
              <a:gd name="connsiteY71" fmla="*/ 4341 h 10000"/>
              <a:gd name="connsiteX72" fmla="*/ 1287 w 9751"/>
              <a:gd name="connsiteY72" fmla="*/ 4186 h 10000"/>
              <a:gd name="connsiteX73" fmla="*/ 1246 w 9751"/>
              <a:gd name="connsiteY73" fmla="*/ 3954 h 10000"/>
              <a:gd name="connsiteX74" fmla="*/ 1080 w 9751"/>
              <a:gd name="connsiteY74" fmla="*/ 3876 h 10000"/>
              <a:gd name="connsiteX75" fmla="*/ 1122 w 9751"/>
              <a:gd name="connsiteY75" fmla="*/ 4031 h 10000"/>
              <a:gd name="connsiteX76" fmla="*/ 1122 w 9751"/>
              <a:gd name="connsiteY76" fmla="*/ 4418 h 10000"/>
              <a:gd name="connsiteX77" fmla="*/ 1162 w 9751"/>
              <a:gd name="connsiteY77" fmla="*/ 4574 h 10000"/>
              <a:gd name="connsiteX78" fmla="*/ 1122 w 9751"/>
              <a:gd name="connsiteY78" fmla="*/ 4729 h 10000"/>
              <a:gd name="connsiteX79" fmla="*/ 995 w 9751"/>
              <a:gd name="connsiteY79" fmla="*/ 4652 h 10000"/>
              <a:gd name="connsiteX80" fmla="*/ 829 w 9751"/>
              <a:gd name="connsiteY80" fmla="*/ 4884 h 10000"/>
              <a:gd name="connsiteX81" fmla="*/ 912 w 9751"/>
              <a:gd name="connsiteY81" fmla="*/ 5194 h 10000"/>
              <a:gd name="connsiteX82" fmla="*/ 663 w 9751"/>
              <a:gd name="connsiteY82" fmla="*/ 5039 h 10000"/>
              <a:gd name="connsiteX83" fmla="*/ 622 w 9751"/>
              <a:gd name="connsiteY83" fmla="*/ 5116 h 10000"/>
              <a:gd name="connsiteX84" fmla="*/ 706 w 9751"/>
              <a:gd name="connsiteY84" fmla="*/ 5349 h 10000"/>
              <a:gd name="connsiteX85" fmla="*/ 622 w 9751"/>
              <a:gd name="connsiteY85" fmla="*/ 5349 h 10000"/>
              <a:gd name="connsiteX86" fmla="*/ 499 w 9751"/>
              <a:gd name="connsiteY86" fmla="*/ 5194 h 10000"/>
              <a:gd name="connsiteX87" fmla="*/ 499 w 9751"/>
              <a:gd name="connsiteY87" fmla="*/ 4729 h 10000"/>
              <a:gd name="connsiteX88" fmla="*/ 374 w 9751"/>
              <a:gd name="connsiteY88" fmla="*/ 4574 h 10000"/>
              <a:gd name="connsiteX89" fmla="*/ 332 w 9751"/>
              <a:gd name="connsiteY89" fmla="*/ 4418 h 10000"/>
              <a:gd name="connsiteX90" fmla="*/ 415 w 9751"/>
              <a:gd name="connsiteY90" fmla="*/ 4496 h 10000"/>
              <a:gd name="connsiteX91" fmla="*/ 746 w 9751"/>
              <a:gd name="connsiteY91" fmla="*/ 4729 h 10000"/>
              <a:gd name="connsiteX92" fmla="*/ 954 w 9751"/>
              <a:gd name="connsiteY92" fmla="*/ 4496 h 10000"/>
              <a:gd name="connsiteX93" fmla="*/ 912 w 9751"/>
              <a:gd name="connsiteY93" fmla="*/ 4263 h 10000"/>
              <a:gd name="connsiteX94" fmla="*/ 663 w 9751"/>
              <a:gd name="connsiteY94" fmla="*/ 3799 h 10000"/>
              <a:gd name="connsiteX95" fmla="*/ 415 w 9751"/>
              <a:gd name="connsiteY95" fmla="*/ 3644 h 10000"/>
              <a:gd name="connsiteX96" fmla="*/ 415 w 9751"/>
              <a:gd name="connsiteY96" fmla="*/ 3566 h 10000"/>
              <a:gd name="connsiteX97" fmla="*/ 332 w 9751"/>
              <a:gd name="connsiteY97" fmla="*/ 3488 h 10000"/>
              <a:gd name="connsiteX98" fmla="*/ 248 w 9751"/>
              <a:gd name="connsiteY98" fmla="*/ 3566 h 10000"/>
              <a:gd name="connsiteX99" fmla="*/ 248 w 9751"/>
              <a:gd name="connsiteY99" fmla="*/ 3644 h 10000"/>
              <a:gd name="connsiteX100" fmla="*/ 208 w 9751"/>
              <a:gd name="connsiteY100" fmla="*/ 3644 h 10000"/>
              <a:gd name="connsiteX101" fmla="*/ 124 w 9751"/>
              <a:gd name="connsiteY101" fmla="*/ 3799 h 10000"/>
              <a:gd name="connsiteX102" fmla="*/ 124 w 9751"/>
              <a:gd name="connsiteY102" fmla="*/ 4031 h 10000"/>
              <a:gd name="connsiteX103" fmla="*/ 208 w 9751"/>
              <a:gd name="connsiteY103" fmla="*/ 4186 h 10000"/>
              <a:gd name="connsiteX104" fmla="*/ 165 w 9751"/>
              <a:gd name="connsiteY104" fmla="*/ 4418 h 10000"/>
              <a:gd name="connsiteX105" fmla="*/ 208 w 9751"/>
              <a:gd name="connsiteY105" fmla="*/ 4807 h 10000"/>
              <a:gd name="connsiteX106" fmla="*/ 165 w 9751"/>
              <a:gd name="connsiteY106" fmla="*/ 5039 h 10000"/>
              <a:gd name="connsiteX107" fmla="*/ 248 w 9751"/>
              <a:gd name="connsiteY107" fmla="*/ 5271 h 10000"/>
              <a:gd name="connsiteX108" fmla="*/ 208 w 9751"/>
              <a:gd name="connsiteY108" fmla="*/ 5426 h 10000"/>
              <a:gd name="connsiteX109" fmla="*/ 290 w 9751"/>
              <a:gd name="connsiteY109" fmla="*/ 5582 h 10000"/>
              <a:gd name="connsiteX110" fmla="*/ 290 w 9751"/>
              <a:gd name="connsiteY110" fmla="*/ 5659 h 10000"/>
              <a:gd name="connsiteX111" fmla="*/ 165 w 9751"/>
              <a:gd name="connsiteY111" fmla="*/ 6047 h 10000"/>
              <a:gd name="connsiteX112" fmla="*/ 40 w 9751"/>
              <a:gd name="connsiteY112" fmla="*/ 6202 h 10000"/>
              <a:gd name="connsiteX113" fmla="*/ 83 w 9751"/>
              <a:gd name="connsiteY113" fmla="*/ 6202 h 10000"/>
              <a:gd name="connsiteX114" fmla="*/ 165 w 9751"/>
              <a:gd name="connsiteY114" fmla="*/ 6356 h 10000"/>
              <a:gd name="connsiteX115" fmla="*/ 83 w 9751"/>
              <a:gd name="connsiteY115" fmla="*/ 6512 h 10000"/>
              <a:gd name="connsiteX116" fmla="*/ 40 w 9751"/>
              <a:gd name="connsiteY116" fmla="*/ 6590 h 10000"/>
              <a:gd name="connsiteX117" fmla="*/ 0 w 9751"/>
              <a:gd name="connsiteY117" fmla="*/ 6590 h 10000"/>
              <a:gd name="connsiteX118" fmla="*/ 40 w 9751"/>
              <a:gd name="connsiteY118" fmla="*/ 6822 h 10000"/>
              <a:gd name="connsiteX119" fmla="*/ 40 w 9751"/>
              <a:gd name="connsiteY119" fmla="*/ 6900 h 10000"/>
              <a:gd name="connsiteX120" fmla="*/ 40 w 9751"/>
              <a:gd name="connsiteY120" fmla="*/ 6977 h 10000"/>
              <a:gd name="connsiteX121" fmla="*/ 40 w 9751"/>
              <a:gd name="connsiteY121" fmla="*/ 7054 h 10000"/>
              <a:gd name="connsiteX122" fmla="*/ 83 w 9751"/>
              <a:gd name="connsiteY122" fmla="*/ 7209 h 10000"/>
              <a:gd name="connsiteX123" fmla="*/ 208 w 9751"/>
              <a:gd name="connsiteY123" fmla="*/ 7287 h 10000"/>
              <a:gd name="connsiteX124" fmla="*/ 248 w 9751"/>
              <a:gd name="connsiteY124" fmla="*/ 7364 h 10000"/>
              <a:gd name="connsiteX125" fmla="*/ 248 w 9751"/>
              <a:gd name="connsiteY125" fmla="*/ 7520 h 10000"/>
              <a:gd name="connsiteX126" fmla="*/ 332 w 9751"/>
              <a:gd name="connsiteY126" fmla="*/ 7752 h 10000"/>
              <a:gd name="connsiteX127" fmla="*/ 374 w 9751"/>
              <a:gd name="connsiteY127" fmla="*/ 7752 h 10000"/>
              <a:gd name="connsiteX128" fmla="*/ 332 w 9751"/>
              <a:gd name="connsiteY128" fmla="*/ 7907 h 10000"/>
              <a:gd name="connsiteX129" fmla="*/ 290 w 9751"/>
              <a:gd name="connsiteY129" fmla="*/ 7830 h 10000"/>
              <a:gd name="connsiteX130" fmla="*/ 290 w 9751"/>
              <a:gd name="connsiteY130" fmla="*/ 7907 h 10000"/>
              <a:gd name="connsiteX131" fmla="*/ 332 w 9751"/>
              <a:gd name="connsiteY131" fmla="*/ 8062 h 10000"/>
              <a:gd name="connsiteX132" fmla="*/ 457 w 9751"/>
              <a:gd name="connsiteY132" fmla="*/ 8062 h 10000"/>
              <a:gd name="connsiteX133" fmla="*/ 499 w 9751"/>
              <a:gd name="connsiteY133" fmla="*/ 8140 h 10000"/>
              <a:gd name="connsiteX134" fmla="*/ 457 w 9751"/>
              <a:gd name="connsiteY134" fmla="*/ 8140 h 10000"/>
              <a:gd name="connsiteX135" fmla="*/ 499 w 9751"/>
              <a:gd name="connsiteY135" fmla="*/ 8217 h 10000"/>
              <a:gd name="connsiteX136" fmla="*/ 538 w 9751"/>
              <a:gd name="connsiteY136" fmla="*/ 8217 h 10000"/>
              <a:gd name="connsiteX137" fmla="*/ 580 w 9751"/>
              <a:gd name="connsiteY137" fmla="*/ 8372 h 10000"/>
              <a:gd name="connsiteX138" fmla="*/ 622 w 9751"/>
              <a:gd name="connsiteY138" fmla="*/ 8449 h 10000"/>
              <a:gd name="connsiteX139" fmla="*/ 663 w 9751"/>
              <a:gd name="connsiteY139" fmla="*/ 8372 h 10000"/>
              <a:gd name="connsiteX140" fmla="*/ 872 w 9751"/>
              <a:gd name="connsiteY140" fmla="*/ 8605 h 10000"/>
              <a:gd name="connsiteX141" fmla="*/ 829 w 9751"/>
              <a:gd name="connsiteY141" fmla="*/ 8915 h 10000"/>
              <a:gd name="connsiteX142" fmla="*/ 786 w 9751"/>
              <a:gd name="connsiteY142" fmla="*/ 8838 h 10000"/>
              <a:gd name="connsiteX143" fmla="*/ 746 w 9751"/>
              <a:gd name="connsiteY143" fmla="*/ 8915 h 10000"/>
              <a:gd name="connsiteX144" fmla="*/ 746 w 9751"/>
              <a:gd name="connsiteY144" fmla="*/ 9070 h 10000"/>
              <a:gd name="connsiteX145" fmla="*/ 786 w 9751"/>
              <a:gd name="connsiteY145" fmla="*/ 8993 h 10000"/>
              <a:gd name="connsiteX146" fmla="*/ 829 w 9751"/>
              <a:gd name="connsiteY146" fmla="*/ 9070 h 10000"/>
              <a:gd name="connsiteX147" fmla="*/ 706 w 9751"/>
              <a:gd name="connsiteY147" fmla="*/ 9147 h 10000"/>
              <a:gd name="connsiteX148" fmla="*/ 746 w 9751"/>
              <a:gd name="connsiteY148" fmla="*/ 9225 h 10000"/>
              <a:gd name="connsiteX149" fmla="*/ 663 w 9751"/>
              <a:gd name="connsiteY149" fmla="*/ 9380 h 10000"/>
              <a:gd name="connsiteX150" fmla="*/ 622 w 9751"/>
              <a:gd name="connsiteY150" fmla="*/ 9380 h 10000"/>
              <a:gd name="connsiteX151" fmla="*/ 663 w 9751"/>
              <a:gd name="connsiteY151" fmla="*/ 9380 h 10000"/>
              <a:gd name="connsiteX152" fmla="*/ 829 w 9751"/>
              <a:gd name="connsiteY152" fmla="*/ 9691 h 10000"/>
              <a:gd name="connsiteX153" fmla="*/ 1038 w 9751"/>
              <a:gd name="connsiteY153" fmla="*/ 9691 h 10000"/>
              <a:gd name="connsiteX154" fmla="*/ 1122 w 9751"/>
              <a:gd name="connsiteY154" fmla="*/ 9768 h 10000"/>
              <a:gd name="connsiteX155" fmla="*/ 1203 w 9751"/>
              <a:gd name="connsiteY155" fmla="*/ 9768 h 10000"/>
              <a:gd name="connsiteX156" fmla="*/ 1287 w 9751"/>
              <a:gd name="connsiteY156" fmla="*/ 9923 h 10000"/>
              <a:gd name="connsiteX157" fmla="*/ 1328 w 9751"/>
              <a:gd name="connsiteY157" fmla="*/ 10000 h 10000"/>
              <a:gd name="connsiteX158" fmla="*/ 1368 w 9751"/>
              <a:gd name="connsiteY158" fmla="*/ 10000 h 10000"/>
              <a:gd name="connsiteX159" fmla="*/ 1412 w 9751"/>
              <a:gd name="connsiteY159" fmla="*/ 9923 h 10000"/>
              <a:gd name="connsiteX160" fmla="*/ 1328 w 9751"/>
              <a:gd name="connsiteY160" fmla="*/ 9768 h 10000"/>
              <a:gd name="connsiteX161" fmla="*/ 1328 w 9751"/>
              <a:gd name="connsiteY161" fmla="*/ 9613 h 10000"/>
              <a:gd name="connsiteX162" fmla="*/ 1287 w 9751"/>
              <a:gd name="connsiteY162" fmla="*/ 9457 h 10000"/>
              <a:gd name="connsiteX163" fmla="*/ 1368 w 9751"/>
              <a:gd name="connsiteY163" fmla="*/ 9225 h 10000"/>
              <a:gd name="connsiteX164" fmla="*/ 1412 w 9751"/>
              <a:gd name="connsiteY164" fmla="*/ 9302 h 10000"/>
              <a:gd name="connsiteX165" fmla="*/ 1453 w 9751"/>
              <a:gd name="connsiteY165" fmla="*/ 9225 h 10000"/>
              <a:gd name="connsiteX166" fmla="*/ 1453 w 9751"/>
              <a:gd name="connsiteY166" fmla="*/ 9147 h 10000"/>
              <a:gd name="connsiteX167" fmla="*/ 1412 w 9751"/>
              <a:gd name="connsiteY167" fmla="*/ 9147 h 10000"/>
              <a:gd name="connsiteX168" fmla="*/ 1453 w 9751"/>
              <a:gd name="connsiteY168" fmla="*/ 9070 h 10000"/>
              <a:gd name="connsiteX169" fmla="*/ 1412 w 9751"/>
              <a:gd name="connsiteY169" fmla="*/ 8915 h 10000"/>
              <a:gd name="connsiteX170" fmla="*/ 1328 w 9751"/>
              <a:gd name="connsiteY170" fmla="*/ 8915 h 10000"/>
              <a:gd name="connsiteX171" fmla="*/ 1287 w 9751"/>
              <a:gd name="connsiteY171" fmla="*/ 8760 h 10000"/>
              <a:gd name="connsiteX172" fmla="*/ 1328 w 9751"/>
              <a:gd name="connsiteY172" fmla="*/ 8372 h 10000"/>
              <a:gd name="connsiteX173" fmla="*/ 1412 w 9751"/>
              <a:gd name="connsiteY173" fmla="*/ 8528 h 10000"/>
              <a:gd name="connsiteX174" fmla="*/ 1453 w 9751"/>
              <a:gd name="connsiteY174" fmla="*/ 8528 h 10000"/>
              <a:gd name="connsiteX175" fmla="*/ 1412 w 9751"/>
              <a:gd name="connsiteY175" fmla="*/ 8372 h 10000"/>
              <a:gd name="connsiteX176" fmla="*/ 1536 w 9751"/>
              <a:gd name="connsiteY176" fmla="*/ 8140 h 10000"/>
              <a:gd name="connsiteX177" fmla="*/ 1620 w 9751"/>
              <a:gd name="connsiteY177" fmla="*/ 8217 h 10000"/>
              <a:gd name="connsiteX178" fmla="*/ 1660 w 9751"/>
              <a:gd name="connsiteY178" fmla="*/ 8140 h 10000"/>
              <a:gd name="connsiteX179" fmla="*/ 1743 w 9751"/>
              <a:gd name="connsiteY179" fmla="*/ 8217 h 10000"/>
              <a:gd name="connsiteX180" fmla="*/ 1868 w 9751"/>
              <a:gd name="connsiteY180" fmla="*/ 8372 h 10000"/>
              <a:gd name="connsiteX181" fmla="*/ 1951 w 9751"/>
              <a:gd name="connsiteY181" fmla="*/ 8295 h 10000"/>
              <a:gd name="connsiteX182" fmla="*/ 2033 w 9751"/>
              <a:gd name="connsiteY182" fmla="*/ 8295 h 10000"/>
              <a:gd name="connsiteX183" fmla="*/ 2075 w 9751"/>
              <a:gd name="connsiteY183" fmla="*/ 8372 h 10000"/>
              <a:gd name="connsiteX184" fmla="*/ 2241 w 9751"/>
              <a:gd name="connsiteY184" fmla="*/ 8372 h 10000"/>
              <a:gd name="connsiteX185" fmla="*/ 2281 w 9751"/>
              <a:gd name="connsiteY185" fmla="*/ 8217 h 10000"/>
              <a:gd name="connsiteX186" fmla="*/ 2158 w 9751"/>
              <a:gd name="connsiteY186" fmla="*/ 8140 h 10000"/>
              <a:gd name="connsiteX187" fmla="*/ 2241 w 9751"/>
              <a:gd name="connsiteY187" fmla="*/ 8062 h 10000"/>
              <a:gd name="connsiteX188" fmla="*/ 2199 w 9751"/>
              <a:gd name="connsiteY188" fmla="*/ 7985 h 10000"/>
              <a:gd name="connsiteX189" fmla="*/ 2241 w 9751"/>
              <a:gd name="connsiteY189" fmla="*/ 7907 h 10000"/>
              <a:gd name="connsiteX190" fmla="*/ 2241 w 9751"/>
              <a:gd name="connsiteY190" fmla="*/ 7675 h 10000"/>
              <a:gd name="connsiteX191" fmla="*/ 2323 w 9751"/>
              <a:gd name="connsiteY191" fmla="*/ 7752 h 10000"/>
              <a:gd name="connsiteX192" fmla="*/ 2697 w 9751"/>
              <a:gd name="connsiteY192" fmla="*/ 7520 h 10000"/>
              <a:gd name="connsiteX193" fmla="*/ 2697 w 9751"/>
              <a:gd name="connsiteY193" fmla="*/ 7442 h 10000"/>
              <a:gd name="connsiteX194" fmla="*/ 2738 w 9751"/>
              <a:gd name="connsiteY194" fmla="*/ 7442 h 10000"/>
              <a:gd name="connsiteX195" fmla="*/ 2863 w 9751"/>
              <a:gd name="connsiteY195" fmla="*/ 7442 h 10000"/>
              <a:gd name="connsiteX196" fmla="*/ 2905 w 9751"/>
              <a:gd name="connsiteY196" fmla="*/ 7598 h 10000"/>
              <a:gd name="connsiteX197" fmla="*/ 2905 w 9751"/>
              <a:gd name="connsiteY197" fmla="*/ 7675 h 10000"/>
              <a:gd name="connsiteX198" fmla="*/ 2946 w 9751"/>
              <a:gd name="connsiteY198" fmla="*/ 7675 h 10000"/>
              <a:gd name="connsiteX199" fmla="*/ 3029 w 9751"/>
              <a:gd name="connsiteY199" fmla="*/ 7752 h 10000"/>
              <a:gd name="connsiteX200" fmla="*/ 3029 w 9751"/>
              <a:gd name="connsiteY200" fmla="*/ 7830 h 10000"/>
              <a:gd name="connsiteX201" fmla="*/ 3113 w 9751"/>
              <a:gd name="connsiteY201" fmla="*/ 7830 h 10000"/>
              <a:gd name="connsiteX202" fmla="*/ 3195 w 9751"/>
              <a:gd name="connsiteY202" fmla="*/ 7675 h 10000"/>
              <a:gd name="connsiteX203" fmla="*/ 3279 w 9751"/>
              <a:gd name="connsiteY203" fmla="*/ 7598 h 10000"/>
              <a:gd name="connsiteX204" fmla="*/ 3320 w 9751"/>
              <a:gd name="connsiteY204" fmla="*/ 7830 h 10000"/>
              <a:gd name="connsiteX205" fmla="*/ 3486 w 9751"/>
              <a:gd name="connsiteY205" fmla="*/ 8372 h 10000"/>
              <a:gd name="connsiteX206" fmla="*/ 3527 w 9751"/>
              <a:gd name="connsiteY206" fmla="*/ 8217 h 10000"/>
              <a:gd name="connsiteX207" fmla="*/ 3570 w 9751"/>
              <a:gd name="connsiteY207" fmla="*/ 8372 h 10000"/>
              <a:gd name="connsiteX208" fmla="*/ 3695 w 9751"/>
              <a:gd name="connsiteY208" fmla="*/ 8295 h 10000"/>
              <a:gd name="connsiteX209" fmla="*/ 3819 w 9751"/>
              <a:gd name="connsiteY209" fmla="*/ 8528 h 10000"/>
              <a:gd name="connsiteX210" fmla="*/ 3900 w 9751"/>
              <a:gd name="connsiteY210" fmla="*/ 8605 h 10000"/>
              <a:gd name="connsiteX211" fmla="*/ 3900 w 9751"/>
              <a:gd name="connsiteY211" fmla="*/ 8528 h 10000"/>
              <a:gd name="connsiteX212" fmla="*/ 3942 w 9751"/>
              <a:gd name="connsiteY212" fmla="*/ 8683 h 10000"/>
              <a:gd name="connsiteX213" fmla="*/ 3900 w 9751"/>
              <a:gd name="connsiteY213" fmla="*/ 8760 h 10000"/>
              <a:gd name="connsiteX214" fmla="*/ 3984 w 9751"/>
              <a:gd name="connsiteY214" fmla="*/ 8683 h 10000"/>
              <a:gd name="connsiteX215" fmla="*/ 4024 w 9751"/>
              <a:gd name="connsiteY215" fmla="*/ 8605 h 10000"/>
              <a:gd name="connsiteX216" fmla="*/ 4233 w 9751"/>
              <a:gd name="connsiteY216" fmla="*/ 8372 h 10000"/>
              <a:gd name="connsiteX217" fmla="*/ 4398 w 9751"/>
              <a:gd name="connsiteY217" fmla="*/ 8449 h 10000"/>
              <a:gd name="connsiteX218" fmla="*/ 4481 w 9751"/>
              <a:gd name="connsiteY218" fmla="*/ 8528 h 10000"/>
              <a:gd name="connsiteX219" fmla="*/ 4645 w 9751"/>
              <a:gd name="connsiteY219" fmla="*/ 8528 h 10000"/>
              <a:gd name="connsiteX220" fmla="*/ 4645 w 9751"/>
              <a:gd name="connsiteY220" fmla="*/ 8372 h 10000"/>
              <a:gd name="connsiteX221" fmla="*/ 4645 w 9751"/>
              <a:gd name="connsiteY221" fmla="*/ 8217 h 10000"/>
              <a:gd name="connsiteX222" fmla="*/ 4729 w 9751"/>
              <a:gd name="connsiteY222" fmla="*/ 8140 h 10000"/>
              <a:gd name="connsiteX223" fmla="*/ 4895 w 9751"/>
              <a:gd name="connsiteY223" fmla="*/ 8217 h 10000"/>
              <a:gd name="connsiteX224" fmla="*/ 4978 w 9751"/>
              <a:gd name="connsiteY224" fmla="*/ 8449 h 10000"/>
              <a:gd name="connsiteX225" fmla="*/ 5021 w 9751"/>
              <a:gd name="connsiteY225" fmla="*/ 8449 h 10000"/>
              <a:gd name="connsiteX226" fmla="*/ 5104 w 9751"/>
              <a:gd name="connsiteY226" fmla="*/ 8372 h 10000"/>
              <a:gd name="connsiteX227" fmla="*/ 5355 w 9751"/>
              <a:gd name="connsiteY227" fmla="*/ 8605 h 10000"/>
              <a:gd name="connsiteX228" fmla="*/ 5478 w 9751"/>
              <a:gd name="connsiteY228" fmla="*/ 8683 h 10000"/>
              <a:gd name="connsiteX229" fmla="*/ 5644 w 9751"/>
              <a:gd name="connsiteY229" fmla="*/ 8605 h 10000"/>
              <a:gd name="connsiteX230" fmla="*/ 5725 w 9751"/>
              <a:gd name="connsiteY230" fmla="*/ 8449 h 10000"/>
              <a:gd name="connsiteX231" fmla="*/ 5851 w 9751"/>
              <a:gd name="connsiteY231" fmla="*/ 8528 h 10000"/>
              <a:gd name="connsiteX232" fmla="*/ 5933 w 9751"/>
              <a:gd name="connsiteY232" fmla="*/ 8605 h 10000"/>
              <a:gd name="connsiteX233" fmla="*/ 7344 w 9751"/>
              <a:gd name="connsiteY233" fmla="*/ 7675 h 10000"/>
              <a:gd name="connsiteX234" fmla="*/ 7263 w 9751"/>
              <a:gd name="connsiteY234" fmla="*/ 7675 h 10000"/>
              <a:gd name="connsiteX235" fmla="*/ 7221 w 9751"/>
              <a:gd name="connsiteY235" fmla="*/ 7675 h 10000"/>
              <a:gd name="connsiteX236" fmla="*/ 7177 w 9751"/>
              <a:gd name="connsiteY236" fmla="*/ 7598 h 10000"/>
              <a:gd name="connsiteX237" fmla="*/ 7097 w 9751"/>
              <a:gd name="connsiteY237" fmla="*/ 7598 h 10000"/>
              <a:gd name="connsiteX238" fmla="*/ 7097 w 9751"/>
              <a:gd name="connsiteY238" fmla="*/ 7520 h 10000"/>
              <a:gd name="connsiteX239" fmla="*/ 7221 w 9751"/>
              <a:gd name="connsiteY239" fmla="*/ 7287 h 10000"/>
              <a:gd name="connsiteX240" fmla="*/ 7595 w 9751"/>
              <a:gd name="connsiteY240" fmla="*/ 6590 h 10000"/>
              <a:gd name="connsiteX241" fmla="*/ 7760 w 9751"/>
              <a:gd name="connsiteY241" fmla="*/ 6512 h 10000"/>
              <a:gd name="connsiteX242" fmla="*/ 7800 w 9751"/>
              <a:gd name="connsiteY242" fmla="*/ 6590 h 10000"/>
              <a:gd name="connsiteX243" fmla="*/ 7844 w 9751"/>
              <a:gd name="connsiteY243" fmla="*/ 6512 h 10000"/>
              <a:gd name="connsiteX244" fmla="*/ 7966 w 9751"/>
              <a:gd name="connsiteY244" fmla="*/ 6590 h 10000"/>
              <a:gd name="connsiteX245" fmla="*/ 8010 w 9751"/>
              <a:gd name="connsiteY245" fmla="*/ 6434 h 10000"/>
              <a:gd name="connsiteX246" fmla="*/ 8132 w 9751"/>
              <a:gd name="connsiteY246" fmla="*/ 6512 h 10000"/>
              <a:gd name="connsiteX247" fmla="*/ 8174 w 9751"/>
              <a:gd name="connsiteY247" fmla="*/ 6512 h 10000"/>
              <a:gd name="connsiteX248" fmla="*/ 8132 w 9751"/>
              <a:gd name="connsiteY248" fmla="*/ 6590 h 10000"/>
              <a:gd name="connsiteX249" fmla="*/ 8132 w 9751"/>
              <a:gd name="connsiteY249" fmla="*/ 6667 h 10000"/>
              <a:gd name="connsiteX250" fmla="*/ 8382 w 9751"/>
              <a:gd name="connsiteY250" fmla="*/ 6590 h 10000"/>
              <a:gd name="connsiteX251" fmla="*/ 8340 w 9751"/>
              <a:gd name="connsiteY251" fmla="*/ 6512 h 10000"/>
              <a:gd name="connsiteX252" fmla="*/ 8508 w 9751"/>
              <a:gd name="connsiteY252" fmla="*/ 5969 h 10000"/>
              <a:gd name="connsiteX253" fmla="*/ 8713 w 9751"/>
              <a:gd name="connsiteY253" fmla="*/ 5892 h 10000"/>
              <a:gd name="connsiteX254" fmla="*/ 8713 w 9751"/>
              <a:gd name="connsiteY254" fmla="*/ 6047 h 10000"/>
              <a:gd name="connsiteX255" fmla="*/ 8713 w 9751"/>
              <a:gd name="connsiteY255" fmla="*/ 6202 h 10000"/>
              <a:gd name="connsiteX256" fmla="*/ 8920 w 9751"/>
              <a:gd name="connsiteY256" fmla="*/ 5969 h 10000"/>
              <a:gd name="connsiteX257" fmla="*/ 8920 w 9751"/>
              <a:gd name="connsiteY257" fmla="*/ 5737 h 10000"/>
              <a:gd name="connsiteX258" fmla="*/ 9004 w 9751"/>
              <a:gd name="connsiteY258" fmla="*/ 5737 h 10000"/>
              <a:gd name="connsiteX259" fmla="*/ 8960 w 9751"/>
              <a:gd name="connsiteY259" fmla="*/ 5814 h 10000"/>
              <a:gd name="connsiteX260" fmla="*/ 8920 w 9751"/>
              <a:gd name="connsiteY260" fmla="*/ 6202 h 10000"/>
              <a:gd name="connsiteX261" fmla="*/ 8838 w 9751"/>
              <a:gd name="connsiteY261" fmla="*/ 6279 h 10000"/>
              <a:gd name="connsiteX262" fmla="*/ 8920 w 9751"/>
              <a:gd name="connsiteY262" fmla="*/ 6590 h 10000"/>
              <a:gd name="connsiteX263" fmla="*/ 8920 w 9751"/>
              <a:gd name="connsiteY263" fmla="*/ 6434 h 10000"/>
              <a:gd name="connsiteX264" fmla="*/ 9004 w 9751"/>
              <a:gd name="connsiteY264" fmla="*/ 6434 h 10000"/>
              <a:gd name="connsiteX265" fmla="*/ 9129 w 9751"/>
              <a:gd name="connsiteY265" fmla="*/ 6279 h 10000"/>
              <a:gd name="connsiteX266" fmla="*/ 9129 w 9751"/>
              <a:gd name="connsiteY266" fmla="*/ 6434 h 10000"/>
              <a:gd name="connsiteX267" fmla="*/ 9170 w 9751"/>
              <a:gd name="connsiteY267" fmla="*/ 6356 h 10000"/>
              <a:gd name="connsiteX268" fmla="*/ 9297 w 9751"/>
              <a:gd name="connsiteY268" fmla="*/ 6279 h 10000"/>
              <a:gd name="connsiteX269" fmla="*/ 9376 w 9751"/>
              <a:gd name="connsiteY269" fmla="*/ 6434 h 10000"/>
              <a:gd name="connsiteX270" fmla="*/ 9418 w 9751"/>
              <a:gd name="connsiteY270" fmla="*/ 6279 h 10000"/>
              <a:gd name="connsiteX271" fmla="*/ 9751 w 9751"/>
              <a:gd name="connsiteY271" fmla="*/ 3488 h 10000"/>
              <a:gd name="connsiteX272" fmla="*/ 9418 w 9751"/>
              <a:gd name="connsiteY272" fmla="*/ 3411 h 10000"/>
              <a:gd name="connsiteX273" fmla="*/ 9418 w 9751"/>
              <a:gd name="connsiteY273" fmla="*/ 3799 h 10000"/>
              <a:gd name="connsiteX274" fmla="*/ 9338 w 9751"/>
              <a:gd name="connsiteY274" fmla="*/ 3876 h 10000"/>
              <a:gd name="connsiteX275" fmla="*/ 9253 w 9751"/>
              <a:gd name="connsiteY275" fmla="*/ 3721 h 10000"/>
              <a:gd name="connsiteX276" fmla="*/ 9253 w 9751"/>
              <a:gd name="connsiteY276" fmla="*/ 3566 h 10000"/>
              <a:gd name="connsiteX277" fmla="*/ 9297 w 9751"/>
              <a:gd name="connsiteY277" fmla="*/ 3566 h 10000"/>
              <a:gd name="connsiteX278" fmla="*/ 9338 w 9751"/>
              <a:gd name="connsiteY278" fmla="*/ 3488 h 10000"/>
              <a:gd name="connsiteX279" fmla="*/ 9253 w 9751"/>
              <a:gd name="connsiteY279" fmla="*/ 3488 h 10000"/>
              <a:gd name="connsiteX280" fmla="*/ 9170 w 9751"/>
              <a:gd name="connsiteY280" fmla="*/ 3644 h 10000"/>
              <a:gd name="connsiteX281" fmla="*/ 8960 w 9751"/>
              <a:gd name="connsiteY281" fmla="*/ 3566 h 10000"/>
              <a:gd name="connsiteX282" fmla="*/ 8756 w 9751"/>
              <a:gd name="connsiteY282" fmla="*/ 3566 h 10000"/>
              <a:gd name="connsiteX283" fmla="*/ 8672 w 9751"/>
              <a:gd name="connsiteY283" fmla="*/ 3488 h 10000"/>
              <a:gd name="connsiteX284" fmla="*/ 8713 w 9751"/>
              <a:gd name="connsiteY284" fmla="*/ 3333 h 10000"/>
              <a:gd name="connsiteX285" fmla="*/ 8630 w 9751"/>
              <a:gd name="connsiteY285" fmla="*/ 3101 h 10000"/>
              <a:gd name="connsiteX286" fmla="*/ 8463 w 9751"/>
              <a:gd name="connsiteY286" fmla="*/ 3023 h 10000"/>
              <a:gd name="connsiteX287" fmla="*/ 8217 w 9751"/>
              <a:gd name="connsiteY287" fmla="*/ 3178 h 10000"/>
              <a:gd name="connsiteX288" fmla="*/ 8174 w 9751"/>
              <a:gd name="connsiteY288" fmla="*/ 2946 h 10000"/>
              <a:gd name="connsiteX289" fmla="*/ 8091 w 9751"/>
              <a:gd name="connsiteY289" fmla="*/ 2946 h 10000"/>
              <a:gd name="connsiteX290" fmla="*/ 8050 w 9751"/>
              <a:gd name="connsiteY290" fmla="*/ 2868 h 10000"/>
              <a:gd name="connsiteX291" fmla="*/ 8050 w 9751"/>
              <a:gd name="connsiteY291" fmla="*/ 2636 h 10000"/>
              <a:gd name="connsiteX292" fmla="*/ 7760 w 9751"/>
              <a:gd name="connsiteY292" fmla="*/ 2480 h 10000"/>
              <a:gd name="connsiteX293" fmla="*/ 7427 w 9751"/>
              <a:gd name="connsiteY293" fmla="*/ 2325 h 10000"/>
              <a:gd name="connsiteX294" fmla="*/ 7344 w 9751"/>
              <a:gd name="connsiteY294" fmla="*/ 2636 h 10000"/>
              <a:gd name="connsiteX295" fmla="*/ 7427 w 9751"/>
              <a:gd name="connsiteY295" fmla="*/ 2868 h 10000"/>
              <a:gd name="connsiteX296" fmla="*/ 7177 w 9751"/>
              <a:gd name="connsiteY296" fmla="*/ 2868 h 10000"/>
              <a:gd name="connsiteX297" fmla="*/ 7136 w 9751"/>
              <a:gd name="connsiteY297" fmla="*/ 2868 h 10000"/>
              <a:gd name="connsiteX298" fmla="*/ 7054 w 9751"/>
              <a:gd name="connsiteY298" fmla="*/ 2946 h 10000"/>
              <a:gd name="connsiteX299" fmla="*/ 6928 w 9751"/>
              <a:gd name="connsiteY299" fmla="*/ 2714 h 10000"/>
              <a:gd name="connsiteX300" fmla="*/ 6845 w 9751"/>
              <a:gd name="connsiteY300" fmla="*/ 3178 h 10000"/>
              <a:gd name="connsiteX301" fmla="*/ 6764 w 9751"/>
              <a:gd name="connsiteY301" fmla="*/ 3101 h 10000"/>
              <a:gd name="connsiteX302" fmla="*/ 6679 w 9751"/>
              <a:gd name="connsiteY302" fmla="*/ 2791 h 10000"/>
              <a:gd name="connsiteX303" fmla="*/ 6722 w 9751"/>
              <a:gd name="connsiteY303" fmla="*/ 2403 h 10000"/>
              <a:gd name="connsiteX304" fmla="*/ 6640 w 9751"/>
              <a:gd name="connsiteY304" fmla="*/ 2170 h 10000"/>
              <a:gd name="connsiteX305" fmla="*/ 6390 w 9751"/>
              <a:gd name="connsiteY305" fmla="*/ 2016 h 10000"/>
              <a:gd name="connsiteX306" fmla="*/ 6305 w 9751"/>
              <a:gd name="connsiteY306" fmla="*/ 2016 h 10000"/>
              <a:gd name="connsiteX307" fmla="*/ 6265 w 9751"/>
              <a:gd name="connsiteY307" fmla="*/ 2170 h 10000"/>
              <a:gd name="connsiteX308" fmla="*/ 6305 w 9751"/>
              <a:gd name="connsiteY308" fmla="*/ 2325 h 10000"/>
              <a:gd name="connsiteX309" fmla="*/ 5977 w 9751"/>
              <a:gd name="connsiteY309" fmla="*/ 2248 h 10000"/>
              <a:gd name="connsiteX310" fmla="*/ 6016 w 9751"/>
              <a:gd name="connsiteY310" fmla="*/ 2016 h 10000"/>
              <a:gd name="connsiteX311" fmla="*/ 5811 w 9751"/>
              <a:gd name="connsiteY311" fmla="*/ 1938 h 10000"/>
              <a:gd name="connsiteX312" fmla="*/ 5685 w 9751"/>
              <a:gd name="connsiteY312" fmla="*/ 2093 h 10000"/>
              <a:gd name="connsiteX313" fmla="*/ 5439 w 9751"/>
              <a:gd name="connsiteY313" fmla="*/ 1861 h 10000"/>
              <a:gd name="connsiteX0" fmla="*/ 5578 w 9658"/>
              <a:gd name="connsiteY0" fmla="*/ 1861 h 10000"/>
              <a:gd name="connsiteX1" fmla="*/ 5578 w 9658"/>
              <a:gd name="connsiteY1" fmla="*/ 1861 h 10000"/>
              <a:gd name="connsiteX2" fmla="*/ 5532 w 9658"/>
              <a:gd name="connsiteY2" fmla="*/ 1938 h 10000"/>
              <a:gd name="connsiteX3" fmla="*/ 5578 w 9658"/>
              <a:gd name="connsiteY3" fmla="*/ 2093 h 10000"/>
              <a:gd name="connsiteX4" fmla="*/ 5403 w 9658"/>
              <a:gd name="connsiteY4" fmla="*/ 2248 h 10000"/>
              <a:gd name="connsiteX5" fmla="*/ 5359 w 9658"/>
              <a:gd name="connsiteY5" fmla="*/ 2248 h 10000"/>
              <a:gd name="connsiteX6" fmla="*/ 5403 w 9658"/>
              <a:gd name="connsiteY6" fmla="*/ 2016 h 10000"/>
              <a:gd name="connsiteX7" fmla="*/ 5830 w 9658"/>
              <a:gd name="connsiteY7" fmla="*/ 1318 h 10000"/>
              <a:gd name="connsiteX8" fmla="*/ 5830 w 9658"/>
              <a:gd name="connsiteY8" fmla="*/ 853 h 10000"/>
              <a:gd name="connsiteX9" fmla="*/ 5660 w 9658"/>
              <a:gd name="connsiteY9" fmla="*/ 543 h 10000"/>
              <a:gd name="connsiteX10" fmla="*/ 5447 w 9658"/>
              <a:gd name="connsiteY10" fmla="*/ 543 h 10000"/>
              <a:gd name="connsiteX11" fmla="*/ 5447 w 9658"/>
              <a:gd name="connsiteY11" fmla="*/ 698 h 10000"/>
              <a:gd name="connsiteX12" fmla="*/ 5318 w 9658"/>
              <a:gd name="connsiteY12" fmla="*/ 698 h 10000"/>
              <a:gd name="connsiteX13" fmla="*/ 5403 w 9658"/>
              <a:gd name="connsiteY13" fmla="*/ 387 h 10000"/>
              <a:gd name="connsiteX14" fmla="*/ 5191 w 9658"/>
              <a:gd name="connsiteY14" fmla="*/ 310 h 10000"/>
              <a:gd name="connsiteX15" fmla="*/ 5318 w 9658"/>
              <a:gd name="connsiteY15" fmla="*/ 155 h 10000"/>
              <a:gd name="connsiteX16" fmla="*/ 5191 w 9658"/>
              <a:gd name="connsiteY16" fmla="*/ 0 h 10000"/>
              <a:gd name="connsiteX17" fmla="*/ 4978 w 9658"/>
              <a:gd name="connsiteY17" fmla="*/ 387 h 10000"/>
              <a:gd name="connsiteX18" fmla="*/ 4978 w 9658"/>
              <a:gd name="connsiteY18" fmla="*/ 698 h 10000"/>
              <a:gd name="connsiteX19" fmla="*/ 4850 w 9658"/>
              <a:gd name="connsiteY19" fmla="*/ 698 h 10000"/>
              <a:gd name="connsiteX20" fmla="*/ 4469 w 9658"/>
              <a:gd name="connsiteY20" fmla="*/ 853 h 10000"/>
              <a:gd name="connsiteX21" fmla="*/ 4127 w 9658"/>
              <a:gd name="connsiteY21" fmla="*/ 1240 h 10000"/>
              <a:gd name="connsiteX22" fmla="*/ 4000 w 9658"/>
              <a:gd name="connsiteY22" fmla="*/ 1551 h 10000"/>
              <a:gd name="connsiteX23" fmla="*/ 4043 w 9658"/>
              <a:gd name="connsiteY23" fmla="*/ 1938 h 10000"/>
              <a:gd name="connsiteX24" fmla="*/ 3575 w 9658"/>
              <a:gd name="connsiteY24" fmla="*/ 2093 h 10000"/>
              <a:gd name="connsiteX25" fmla="*/ 3617 w 9658"/>
              <a:gd name="connsiteY25" fmla="*/ 2559 h 10000"/>
              <a:gd name="connsiteX26" fmla="*/ 3746 w 9658"/>
              <a:gd name="connsiteY26" fmla="*/ 2791 h 10000"/>
              <a:gd name="connsiteX27" fmla="*/ 3661 w 9658"/>
              <a:gd name="connsiteY27" fmla="*/ 2868 h 10000"/>
              <a:gd name="connsiteX28" fmla="*/ 3533 w 9658"/>
              <a:gd name="connsiteY28" fmla="*/ 2559 h 10000"/>
              <a:gd name="connsiteX29" fmla="*/ 3405 w 9658"/>
              <a:gd name="connsiteY29" fmla="*/ 2480 h 10000"/>
              <a:gd name="connsiteX30" fmla="*/ 3363 w 9658"/>
              <a:gd name="connsiteY30" fmla="*/ 2559 h 10000"/>
              <a:gd name="connsiteX31" fmla="*/ 3277 w 9658"/>
              <a:gd name="connsiteY31" fmla="*/ 2403 h 10000"/>
              <a:gd name="connsiteX32" fmla="*/ 3192 w 9658"/>
              <a:gd name="connsiteY32" fmla="*/ 2248 h 10000"/>
              <a:gd name="connsiteX33" fmla="*/ 3192 w 9658"/>
              <a:gd name="connsiteY33" fmla="*/ 2325 h 10000"/>
              <a:gd name="connsiteX34" fmla="*/ 3236 w 9658"/>
              <a:gd name="connsiteY34" fmla="*/ 2559 h 10000"/>
              <a:gd name="connsiteX35" fmla="*/ 3106 w 9658"/>
              <a:gd name="connsiteY35" fmla="*/ 2946 h 10000"/>
              <a:gd name="connsiteX36" fmla="*/ 3192 w 9658"/>
              <a:gd name="connsiteY36" fmla="*/ 3256 h 10000"/>
              <a:gd name="connsiteX37" fmla="*/ 3148 w 9658"/>
              <a:gd name="connsiteY37" fmla="*/ 3566 h 10000"/>
              <a:gd name="connsiteX38" fmla="*/ 3148 w 9658"/>
              <a:gd name="connsiteY38" fmla="*/ 3799 h 10000"/>
              <a:gd name="connsiteX39" fmla="*/ 3277 w 9658"/>
              <a:gd name="connsiteY39" fmla="*/ 3799 h 10000"/>
              <a:gd name="connsiteX40" fmla="*/ 3192 w 9658"/>
              <a:gd name="connsiteY40" fmla="*/ 3876 h 10000"/>
              <a:gd name="connsiteX41" fmla="*/ 3236 w 9658"/>
              <a:gd name="connsiteY41" fmla="*/ 4263 h 10000"/>
              <a:gd name="connsiteX42" fmla="*/ 2979 w 9658"/>
              <a:gd name="connsiteY42" fmla="*/ 4652 h 10000"/>
              <a:gd name="connsiteX43" fmla="*/ 2936 w 9658"/>
              <a:gd name="connsiteY43" fmla="*/ 4574 h 10000"/>
              <a:gd name="connsiteX44" fmla="*/ 3106 w 9658"/>
              <a:gd name="connsiteY44" fmla="*/ 4186 h 10000"/>
              <a:gd name="connsiteX45" fmla="*/ 3148 w 9658"/>
              <a:gd name="connsiteY45" fmla="*/ 3954 h 10000"/>
              <a:gd name="connsiteX46" fmla="*/ 3060 w 9658"/>
              <a:gd name="connsiteY46" fmla="*/ 3799 h 10000"/>
              <a:gd name="connsiteX47" fmla="*/ 3060 w 9658"/>
              <a:gd name="connsiteY47" fmla="*/ 3023 h 10000"/>
              <a:gd name="connsiteX48" fmla="*/ 3021 w 9658"/>
              <a:gd name="connsiteY48" fmla="*/ 2868 h 10000"/>
              <a:gd name="connsiteX49" fmla="*/ 3060 w 9658"/>
              <a:gd name="connsiteY49" fmla="*/ 2403 h 10000"/>
              <a:gd name="connsiteX50" fmla="*/ 2979 w 9658"/>
              <a:gd name="connsiteY50" fmla="*/ 2325 h 10000"/>
              <a:gd name="connsiteX51" fmla="*/ 3021 w 9658"/>
              <a:gd name="connsiteY51" fmla="*/ 2248 h 10000"/>
              <a:gd name="connsiteX52" fmla="*/ 2979 w 9658"/>
              <a:gd name="connsiteY52" fmla="*/ 2093 h 10000"/>
              <a:gd name="connsiteX53" fmla="*/ 2891 w 9658"/>
              <a:gd name="connsiteY53" fmla="*/ 2170 h 10000"/>
              <a:gd name="connsiteX54" fmla="*/ 2681 w 9658"/>
              <a:gd name="connsiteY54" fmla="*/ 3178 h 10000"/>
              <a:gd name="connsiteX55" fmla="*/ 2681 w 9658"/>
              <a:gd name="connsiteY55" fmla="*/ 3566 h 10000"/>
              <a:gd name="connsiteX56" fmla="*/ 2808 w 9658"/>
              <a:gd name="connsiteY56" fmla="*/ 3876 h 10000"/>
              <a:gd name="connsiteX57" fmla="*/ 2808 w 9658"/>
              <a:gd name="connsiteY57" fmla="*/ 4031 h 10000"/>
              <a:gd name="connsiteX58" fmla="*/ 2681 w 9658"/>
              <a:gd name="connsiteY58" fmla="*/ 3876 h 10000"/>
              <a:gd name="connsiteX59" fmla="*/ 2172 w 9658"/>
              <a:gd name="connsiteY59" fmla="*/ 3256 h 10000"/>
              <a:gd name="connsiteX60" fmla="*/ 2128 w 9658"/>
              <a:gd name="connsiteY60" fmla="*/ 3411 h 10000"/>
              <a:gd name="connsiteX61" fmla="*/ 2298 w 9658"/>
              <a:gd name="connsiteY61" fmla="*/ 3799 h 10000"/>
              <a:gd name="connsiteX62" fmla="*/ 2213 w 9658"/>
              <a:gd name="connsiteY62" fmla="*/ 3876 h 10000"/>
              <a:gd name="connsiteX63" fmla="*/ 2172 w 9658"/>
              <a:gd name="connsiteY63" fmla="*/ 3799 h 10000"/>
              <a:gd name="connsiteX64" fmla="*/ 1916 w 9658"/>
              <a:gd name="connsiteY64" fmla="*/ 3954 h 10000"/>
              <a:gd name="connsiteX65" fmla="*/ 1873 w 9658"/>
              <a:gd name="connsiteY65" fmla="*/ 4109 h 10000"/>
              <a:gd name="connsiteX66" fmla="*/ 1830 w 9658"/>
              <a:gd name="connsiteY66" fmla="*/ 3954 h 10000"/>
              <a:gd name="connsiteX67" fmla="*/ 1830 w 9658"/>
              <a:gd name="connsiteY67" fmla="*/ 3799 h 10000"/>
              <a:gd name="connsiteX68" fmla="*/ 1403 w 9658"/>
              <a:gd name="connsiteY68" fmla="*/ 4263 h 10000"/>
              <a:gd name="connsiteX69" fmla="*/ 1403 w 9658"/>
              <a:gd name="connsiteY69" fmla="*/ 4418 h 10000"/>
              <a:gd name="connsiteX70" fmla="*/ 1320 w 9658"/>
              <a:gd name="connsiteY70" fmla="*/ 4496 h 10000"/>
              <a:gd name="connsiteX71" fmla="*/ 1192 w 9658"/>
              <a:gd name="connsiteY71" fmla="*/ 4341 h 10000"/>
              <a:gd name="connsiteX72" fmla="*/ 1320 w 9658"/>
              <a:gd name="connsiteY72" fmla="*/ 4186 h 10000"/>
              <a:gd name="connsiteX73" fmla="*/ 1278 w 9658"/>
              <a:gd name="connsiteY73" fmla="*/ 3954 h 10000"/>
              <a:gd name="connsiteX74" fmla="*/ 1108 w 9658"/>
              <a:gd name="connsiteY74" fmla="*/ 3876 h 10000"/>
              <a:gd name="connsiteX75" fmla="*/ 1151 w 9658"/>
              <a:gd name="connsiteY75" fmla="*/ 4031 h 10000"/>
              <a:gd name="connsiteX76" fmla="*/ 1151 w 9658"/>
              <a:gd name="connsiteY76" fmla="*/ 4418 h 10000"/>
              <a:gd name="connsiteX77" fmla="*/ 1192 w 9658"/>
              <a:gd name="connsiteY77" fmla="*/ 4574 h 10000"/>
              <a:gd name="connsiteX78" fmla="*/ 1151 w 9658"/>
              <a:gd name="connsiteY78" fmla="*/ 4729 h 10000"/>
              <a:gd name="connsiteX79" fmla="*/ 1020 w 9658"/>
              <a:gd name="connsiteY79" fmla="*/ 4652 h 10000"/>
              <a:gd name="connsiteX80" fmla="*/ 850 w 9658"/>
              <a:gd name="connsiteY80" fmla="*/ 4884 h 10000"/>
              <a:gd name="connsiteX81" fmla="*/ 935 w 9658"/>
              <a:gd name="connsiteY81" fmla="*/ 5194 h 10000"/>
              <a:gd name="connsiteX82" fmla="*/ 680 w 9658"/>
              <a:gd name="connsiteY82" fmla="*/ 5039 h 10000"/>
              <a:gd name="connsiteX83" fmla="*/ 638 w 9658"/>
              <a:gd name="connsiteY83" fmla="*/ 5116 h 10000"/>
              <a:gd name="connsiteX84" fmla="*/ 724 w 9658"/>
              <a:gd name="connsiteY84" fmla="*/ 5349 h 10000"/>
              <a:gd name="connsiteX85" fmla="*/ 638 w 9658"/>
              <a:gd name="connsiteY85" fmla="*/ 5349 h 10000"/>
              <a:gd name="connsiteX86" fmla="*/ 512 w 9658"/>
              <a:gd name="connsiteY86" fmla="*/ 5194 h 10000"/>
              <a:gd name="connsiteX87" fmla="*/ 512 w 9658"/>
              <a:gd name="connsiteY87" fmla="*/ 4729 h 10000"/>
              <a:gd name="connsiteX88" fmla="*/ 384 w 9658"/>
              <a:gd name="connsiteY88" fmla="*/ 4574 h 10000"/>
              <a:gd name="connsiteX89" fmla="*/ 340 w 9658"/>
              <a:gd name="connsiteY89" fmla="*/ 4418 h 10000"/>
              <a:gd name="connsiteX90" fmla="*/ 426 w 9658"/>
              <a:gd name="connsiteY90" fmla="*/ 4496 h 10000"/>
              <a:gd name="connsiteX91" fmla="*/ 765 w 9658"/>
              <a:gd name="connsiteY91" fmla="*/ 4729 h 10000"/>
              <a:gd name="connsiteX92" fmla="*/ 978 w 9658"/>
              <a:gd name="connsiteY92" fmla="*/ 4496 h 10000"/>
              <a:gd name="connsiteX93" fmla="*/ 935 w 9658"/>
              <a:gd name="connsiteY93" fmla="*/ 4263 h 10000"/>
              <a:gd name="connsiteX94" fmla="*/ 680 w 9658"/>
              <a:gd name="connsiteY94" fmla="*/ 3799 h 10000"/>
              <a:gd name="connsiteX95" fmla="*/ 426 w 9658"/>
              <a:gd name="connsiteY95" fmla="*/ 3644 h 10000"/>
              <a:gd name="connsiteX96" fmla="*/ 426 w 9658"/>
              <a:gd name="connsiteY96" fmla="*/ 3566 h 10000"/>
              <a:gd name="connsiteX97" fmla="*/ 340 w 9658"/>
              <a:gd name="connsiteY97" fmla="*/ 3488 h 10000"/>
              <a:gd name="connsiteX98" fmla="*/ 254 w 9658"/>
              <a:gd name="connsiteY98" fmla="*/ 3566 h 10000"/>
              <a:gd name="connsiteX99" fmla="*/ 254 w 9658"/>
              <a:gd name="connsiteY99" fmla="*/ 3644 h 10000"/>
              <a:gd name="connsiteX100" fmla="*/ 213 w 9658"/>
              <a:gd name="connsiteY100" fmla="*/ 3644 h 10000"/>
              <a:gd name="connsiteX101" fmla="*/ 127 w 9658"/>
              <a:gd name="connsiteY101" fmla="*/ 3799 h 10000"/>
              <a:gd name="connsiteX102" fmla="*/ 127 w 9658"/>
              <a:gd name="connsiteY102" fmla="*/ 4031 h 10000"/>
              <a:gd name="connsiteX103" fmla="*/ 213 w 9658"/>
              <a:gd name="connsiteY103" fmla="*/ 4186 h 10000"/>
              <a:gd name="connsiteX104" fmla="*/ 169 w 9658"/>
              <a:gd name="connsiteY104" fmla="*/ 4418 h 10000"/>
              <a:gd name="connsiteX105" fmla="*/ 213 w 9658"/>
              <a:gd name="connsiteY105" fmla="*/ 4807 h 10000"/>
              <a:gd name="connsiteX106" fmla="*/ 169 w 9658"/>
              <a:gd name="connsiteY106" fmla="*/ 5039 h 10000"/>
              <a:gd name="connsiteX107" fmla="*/ 254 w 9658"/>
              <a:gd name="connsiteY107" fmla="*/ 5271 h 10000"/>
              <a:gd name="connsiteX108" fmla="*/ 213 w 9658"/>
              <a:gd name="connsiteY108" fmla="*/ 5426 h 10000"/>
              <a:gd name="connsiteX109" fmla="*/ 297 w 9658"/>
              <a:gd name="connsiteY109" fmla="*/ 5582 h 10000"/>
              <a:gd name="connsiteX110" fmla="*/ 297 w 9658"/>
              <a:gd name="connsiteY110" fmla="*/ 5659 h 10000"/>
              <a:gd name="connsiteX111" fmla="*/ 169 w 9658"/>
              <a:gd name="connsiteY111" fmla="*/ 6047 h 10000"/>
              <a:gd name="connsiteX112" fmla="*/ 41 w 9658"/>
              <a:gd name="connsiteY112" fmla="*/ 6202 h 10000"/>
              <a:gd name="connsiteX113" fmla="*/ 85 w 9658"/>
              <a:gd name="connsiteY113" fmla="*/ 6202 h 10000"/>
              <a:gd name="connsiteX114" fmla="*/ 169 w 9658"/>
              <a:gd name="connsiteY114" fmla="*/ 6356 h 10000"/>
              <a:gd name="connsiteX115" fmla="*/ 85 w 9658"/>
              <a:gd name="connsiteY115" fmla="*/ 6512 h 10000"/>
              <a:gd name="connsiteX116" fmla="*/ 41 w 9658"/>
              <a:gd name="connsiteY116" fmla="*/ 6590 h 10000"/>
              <a:gd name="connsiteX117" fmla="*/ 0 w 9658"/>
              <a:gd name="connsiteY117" fmla="*/ 6590 h 10000"/>
              <a:gd name="connsiteX118" fmla="*/ 41 w 9658"/>
              <a:gd name="connsiteY118" fmla="*/ 6822 h 10000"/>
              <a:gd name="connsiteX119" fmla="*/ 41 w 9658"/>
              <a:gd name="connsiteY119" fmla="*/ 6900 h 10000"/>
              <a:gd name="connsiteX120" fmla="*/ 41 w 9658"/>
              <a:gd name="connsiteY120" fmla="*/ 6977 h 10000"/>
              <a:gd name="connsiteX121" fmla="*/ 41 w 9658"/>
              <a:gd name="connsiteY121" fmla="*/ 7054 h 10000"/>
              <a:gd name="connsiteX122" fmla="*/ 85 w 9658"/>
              <a:gd name="connsiteY122" fmla="*/ 7209 h 10000"/>
              <a:gd name="connsiteX123" fmla="*/ 213 w 9658"/>
              <a:gd name="connsiteY123" fmla="*/ 7287 h 10000"/>
              <a:gd name="connsiteX124" fmla="*/ 254 w 9658"/>
              <a:gd name="connsiteY124" fmla="*/ 7364 h 10000"/>
              <a:gd name="connsiteX125" fmla="*/ 254 w 9658"/>
              <a:gd name="connsiteY125" fmla="*/ 7520 h 10000"/>
              <a:gd name="connsiteX126" fmla="*/ 340 w 9658"/>
              <a:gd name="connsiteY126" fmla="*/ 7752 h 10000"/>
              <a:gd name="connsiteX127" fmla="*/ 384 w 9658"/>
              <a:gd name="connsiteY127" fmla="*/ 7752 h 10000"/>
              <a:gd name="connsiteX128" fmla="*/ 340 w 9658"/>
              <a:gd name="connsiteY128" fmla="*/ 7907 h 10000"/>
              <a:gd name="connsiteX129" fmla="*/ 297 w 9658"/>
              <a:gd name="connsiteY129" fmla="*/ 7830 h 10000"/>
              <a:gd name="connsiteX130" fmla="*/ 297 w 9658"/>
              <a:gd name="connsiteY130" fmla="*/ 7907 h 10000"/>
              <a:gd name="connsiteX131" fmla="*/ 340 w 9658"/>
              <a:gd name="connsiteY131" fmla="*/ 8062 h 10000"/>
              <a:gd name="connsiteX132" fmla="*/ 469 w 9658"/>
              <a:gd name="connsiteY132" fmla="*/ 8062 h 10000"/>
              <a:gd name="connsiteX133" fmla="*/ 512 w 9658"/>
              <a:gd name="connsiteY133" fmla="*/ 8140 h 10000"/>
              <a:gd name="connsiteX134" fmla="*/ 469 w 9658"/>
              <a:gd name="connsiteY134" fmla="*/ 8140 h 10000"/>
              <a:gd name="connsiteX135" fmla="*/ 512 w 9658"/>
              <a:gd name="connsiteY135" fmla="*/ 8217 h 10000"/>
              <a:gd name="connsiteX136" fmla="*/ 552 w 9658"/>
              <a:gd name="connsiteY136" fmla="*/ 8217 h 10000"/>
              <a:gd name="connsiteX137" fmla="*/ 595 w 9658"/>
              <a:gd name="connsiteY137" fmla="*/ 8372 h 10000"/>
              <a:gd name="connsiteX138" fmla="*/ 638 w 9658"/>
              <a:gd name="connsiteY138" fmla="*/ 8449 h 10000"/>
              <a:gd name="connsiteX139" fmla="*/ 680 w 9658"/>
              <a:gd name="connsiteY139" fmla="*/ 8372 h 10000"/>
              <a:gd name="connsiteX140" fmla="*/ 894 w 9658"/>
              <a:gd name="connsiteY140" fmla="*/ 8605 h 10000"/>
              <a:gd name="connsiteX141" fmla="*/ 850 w 9658"/>
              <a:gd name="connsiteY141" fmla="*/ 8915 h 10000"/>
              <a:gd name="connsiteX142" fmla="*/ 806 w 9658"/>
              <a:gd name="connsiteY142" fmla="*/ 8838 h 10000"/>
              <a:gd name="connsiteX143" fmla="*/ 765 w 9658"/>
              <a:gd name="connsiteY143" fmla="*/ 8915 h 10000"/>
              <a:gd name="connsiteX144" fmla="*/ 765 w 9658"/>
              <a:gd name="connsiteY144" fmla="*/ 9070 h 10000"/>
              <a:gd name="connsiteX145" fmla="*/ 806 w 9658"/>
              <a:gd name="connsiteY145" fmla="*/ 8993 h 10000"/>
              <a:gd name="connsiteX146" fmla="*/ 850 w 9658"/>
              <a:gd name="connsiteY146" fmla="*/ 9070 h 10000"/>
              <a:gd name="connsiteX147" fmla="*/ 724 w 9658"/>
              <a:gd name="connsiteY147" fmla="*/ 9147 h 10000"/>
              <a:gd name="connsiteX148" fmla="*/ 765 w 9658"/>
              <a:gd name="connsiteY148" fmla="*/ 9225 h 10000"/>
              <a:gd name="connsiteX149" fmla="*/ 680 w 9658"/>
              <a:gd name="connsiteY149" fmla="*/ 9380 h 10000"/>
              <a:gd name="connsiteX150" fmla="*/ 638 w 9658"/>
              <a:gd name="connsiteY150" fmla="*/ 9380 h 10000"/>
              <a:gd name="connsiteX151" fmla="*/ 680 w 9658"/>
              <a:gd name="connsiteY151" fmla="*/ 9380 h 10000"/>
              <a:gd name="connsiteX152" fmla="*/ 850 w 9658"/>
              <a:gd name="connsiteY152" fmla="*/ 9691 h 10000"/>
              <a:gd name="connsiteX153" fmla="*/ 1065 w 9658"/>
              <a:gd name="connsiteY153" fmla="*/ 9691 h 10000"/>
              <a:gd name="connsiteX154" fmla="*/ 1151 w 9658"/>
              <a:gd name="connsiteY154" fmla="*/ 9768 h 10000"/>
              <a:gd name="connsiteX155" fmla="*/ 1234 w 9658"/>
              <a:gd name="connsiteY155" fmla="*/ 9768 h 10000"/>
              <a:gd name="connsiteX156" fmla="*/ 1320 w 9658"/>
              <a:gd name="connsiteY156" fmla="*/ 9923 h 10000"/>
              <a:gd name="connsiteX157" fmla="*/ 1362 w 9658"/>
              <a:gd name="connsiteY157" fmla="*/ 10000 h 10000"/>
              <a:gd name="connsiteX158" fmla="*/ 1403 w 9658"/>
              <a:gd name="connsiteY158" fmla="*/ 10000 h 10000"/>
              <a:gd name="connsiteX159" fmla="*/ 1448 w 9658"/>
              <a:gd name="connsiteY159" fmla="*/ 9923 h 10000"/>
              <a:gd name="connsiteX160" fmla="*/ 1362 w 9658"/>
              <a:gd name="connsiteY160" fmla="*/ 9768 h 10000"/>
              <a:gd name="connsiteX161" fmla="*/ 1362 w 9658"/>
              <a:gd name="connsiteY161" fmla="*/ 9613 h 10000"/>
              <a:gd name="connsiteX162" fmla="*/ 1320 w 9658"/>
              <a:gd name="connsiteY162" fmla="*/ 9457 h 10000"/>
              <a:gd name="connsiteX163" fmla="*/ 1403 w 9658"/>
              <a:gd name="connsiteY163" fmla="*/ 9225 h 10000"/>
              <a:gd name="connsiteX164" fmla="*/ 1448 w 9658"/>
              <a:gd name="connsiteY164" fmla="*/ 9302 h 10000"/>
              <a:gd name="connsiteX165" fmla="*/ 1490 w 9658"/>
              <a:gd name="connsiteY165" fmla="*/ 9225 h 10000"/>
              <a:gd name="connsiteX166" fmla="*/ 1490 w 9658"/>
              <a:gd name="connsiteY166" fmla="*/ 9147 h 10000"/>
              <a:gd name="connsiteX167" fmla="*/ 1448 w 9658"/>
              <a:gd name="connsiteY167" fmla="*/ 9147 h 10000"/>
              <a:gd name="connsiteX168" fmla="*/ 1490 w 9658"/>
              <a:gd name="connsiteY168" fmla="*/ 9070 h 10000"/>
              <a:gd name="connsiteX169" fmla="*/ 1448 w 9658"/>
              <a:gd name="connsiteY169" fmla="*/ 8915 h 10000"/>
              <a:gd name="connsiteX170" fmla="*/ 1362 w 9658"/>
              <a:gd name="connsiteY170" fmla="*/ 8915 h 10000"/>
              <a:gd name="connsiteX171" fmla="*/ 1320 w 9658"/>
              <a:gd name="connsiteY171" fmla="*/ 8760 h 10000"/>
              <a:gd name="connsiteX172" fmla="*/ 1362 w 9658"/>
              <a:gd name="connsiteY172" fmla="*/ 8372 h 10000"/>
              <a:gd name="connsiteX173" fmla="*/ 1448 w 9658"/>
              <a:gd name="connsiteY173" fmla="*/ 8528 h 10000"/>
              <a:gd name="connsiteX174" fmla="*/ 1490 w 9658"/>
              <a:gd name="connsiteY174" fmla="*/ 8528 h 10000"/>
              <a:gd name="connsiteX175" fmla="*/ 1448 w 9658"/>
              <a:gd name="connsiteY175" fmla="*/ 8372 h 10000"/>
              <a:gd name="connsiteX176" fmla="*/ 1575 w 9658"/>
              <a:gd name="connsiteY176" fmla="*/ 8140 h 10000"/>
              <a:gd name="connsiteX177" fmla="*/ 1661 w 9658"/>
              <a:gd name="connsiteY177" fmla="*/ 8217 h 10000"/>
              <a:gd name="connsiteX178" fmla="*/ 1702 w 9658"/>
              <a:gd name="connsiteY178" fmla="*/ 8140 h 10000"/>
              <a:gd name="connsiteX179" fmla="*/ 1788 w 9658"/>
              <a:gd name="connsiteY179" fmla="*/ 8217 h 10000"/>
              <a:gd name="connsiteX180" fmla="*/ 1916 w 9658"/>
              <a:gd name="connsiteY180" fmla="*/ 8372 h 10000"/>
              <a:gd name="connsiteX181" fmla="*/ 2001 w 9658"/>
              <a:gd name="connsiteY181" fmla="*/ 8295 h 10000"/>
              <a:gd name="connsiteX182" fmla="*/ 2085 w 9658"/>
              <a:gd name="connsiteY182" fmla="*/ 8295 h 10000"/>
              <a:gd name="connsiteX183" fmla="*/ 2128 w 9658"/>
              <a:gd name="connsiteY183" fmla="*/ 8372 h 10000"/>
              <a:gd name="connsiteX184" fmla="*/ 2298 w 9658"/>
              <a:gd name="connsiteY184" fmla="*/ 8372 h 10000"/>
              <a:gd name="connsiteX185" fmla="*/ 2339 w 9658"/>
              <a:gd name="connsiteY185" fmla="*/ 8217 h 10000"/>
              <a:gd name="connsiteX186" fmla="*/ 2213 w 9658"/>
              <a:gd name="connsiteY186" fmla="*/ 8140 h 10000"/>
              <a:gd name="connsiteX187" fmla="*/ 2298 w 9658"/>
              <a:gd name="connsiteY187" fmla="*/ 8062 h 10000"/>
              <a:gd name="connsiteX188" fmla="*/ 2255 w 9658"/>
              <a:gd name="connsiteY188" fmla="*/ 7985 h 10000"/>
              <a:gd name="connsiteX189" fmla="*/ 2298 w 9658"/>
              <a:gd name="connsiteY189" fmla="*/ 7907 h 10000"/>
              <a:gd name="connsiteX190" fmla="*/ 2298 w 9658"/>
              <a:gd name="connsiteY190" fmla="*/ 7675 h 10000"/>
              <a:gd name="connsiteX191" fmla="*/ 2382 w 9658"/>
              <a:gd name="connsiteY191" fmla="*/ 7752 h 10000"/>
              <a:gd name="connsiteX192" fmla="*/ 2766 w 9658"/>
              <a:gd name="connsiteY192" fmla="*/ 7520 h 10000"/>
              <a:gd name="connsiteX193" fmla="*/ 2766 w 9658"/>
              <a:gd name="connsiteY193" fmla="*/ 7442 h 10000"/>
              <a:gd name="connsiteX194" fmla="*/ 2808 w 9658"/>
              <a:gd name="connsiteY194" fmla="*/ 7442 h 10000"/>
              <a:gd name="connsiteX195" fmla="*/ 2936 w 9658"/>
              <a:gd name="connsiteY195" fmla="*/ 7442 h 10000"/>
              <a:gd name="connsiteX196" fmla="*/ 2979 w 9658"/>
              <a:gd name="connsiteY196" fmla="*/ 7598 h 10000"/>
              <a:gd name="connsiteX197" fmla="*/ 2979 w 9658"/>
              <a:gd name="connsiteY197" fmla="*/ 7675 h 10000"/>
              <a:gd name="connsiteX198" fmla="*/ 3021 w 9658"/>
              <a:gd name="connsiteY198" fmla="*/ 7675 h 10000"/>
              <a:gd name="connsiteX199" fmla="*/ 3106 w 9658"/>
              <a:gd name="connsiteY199" fmla="*/ 7752 h 10000"/>
              <a:gd name="connsiteX200" fmla="*/ 3106 w 9658"/>
              <a:gd name="connsiteY200" fmla="*/ 7830 h 10000"/>
              <a:gd name="connsiteX201" fmla="*/ 3192 w 9658"/>
              <a:gd name="connsiteY201" fmla="*/ 7830 h 10000"/>
              <a:gd name="connsiteX202" fmla="*/ 3277 w 9658"/>
              <a:gd name="connsiteY202" fmla="*/ 7675 h 10000"/>
              <a:gd name="connsiteX203" fmla="*/ 3363 w 9658"/>
              <a:gd name="connsiteY203" fmla="*/ 7598 h 10000"/>
              <a:gd name="connsiteX204" fmla="*/ 3405 w 9658"/>
              <a:gd name="connsiteY204" fmla="*/ 7830 h 10000"/>
              <a:gd name="connsiteX205" fmla="*/ 3575 w 9658"/>
              <a:gd name="connsiteY205" fmla="*/ 8372 h 10000"/>
              <a:gd name="connsiteX206" fmla="*/ 3617 w 9658"/>
              <a:gd name="connsiteY206" fmla="*/ 8217 h 10000"/>
              <a:gd name="connsiteX207" fmla="*/ 3661 w 9658"/>
              <a:gd name="connsiteY207" fmla="*/ 8372 h 10000"/>
              <a:gd name="connsiteX208" fmla="*/ 3789 w 9658"/>
              <a:gd name="connsiteY208" fmla="*/ 8295 h 10000"/>
              <a:gd name="connsiteX209" fmla="*/ 3917 w 9658"/>
              <a:gd name="connsiteY209" fmla="*/ 8528 h 10000"/>
              <a:gd name="connsiteX210" fmla="*/ 4000 w 9658"/>
              <a:gd name="connsiteY210" fmla="*/ 8605 h 10000"/>
              <a:gd name="connsiteX211" fmla="*/ 4000 w 9658"/>
              <a:gd name="connsiteY211" fmla="*/ 8528 h 10000"/>
              <a:gd name="connsiteX212" fmla="*/ 4043 w 9658"/>
              <a:gd name="connsiteY212" fmla="*/ 8683 h 10000"/>
              <a:gd name="connsiteX213" fmla="*/ 4000 w 9658"/>
              <a:gd name="connsiteY213" fmla="*/ 8760 h 10000"/>
              <a:gd name="connsiteX214" fmla="*/ 4086 w 9658"/>
              <a:gd name="connsiteY214" fmla="*/ 8683 h 10000"/>
              <a:gd name="connsiteX215" fmla="*/ 4127 w 9658"/>
              <a:gd name="connsiteY215" fmla="*/ 8605 h 10000"/>
              <a:gd name="connsiteX216" fmla="*/ 4341 w 9658"/>
              <a:gd name="connsiteY216" fmla="*/ 8372 h 10000"/>
              <a:gd name="connsiteX217" fmla="*/ 4510 w 9658"/>
              <a:gd name="connsiteY217" fmla="*/ 8449 h 10000"/>
              <a:gd name="connsiteX218" fmla="*/ 4595 w 9658"/>
              <a:gd name="connsiteY218" fmla="*/ 8528 h 10000"/>
              <a:gd name="connsiteX219" fmla="*/ 4764 w 9658"/>
              <a:gd name="connsiteY219" fmla="*/ 8528 h 10000"/>
              <a:gd name="connsiteX220" fmla="*/ 4764 w 9658"/>
              <a:gd name="connsiteY220" fmla="*/ 8372 h 10000"/>
              <a:gd name="connsiteX221" fmla="*/ 4764 w 9658"/>
              <a:gd name="connsiteY221" fmla="*/ 8217 h 10000"/>
              <a:gd name="connsiteX222" fmla="*/ 4850 w 9658"/>
              <a:gd name="connsiteY222" fmla="*/ 8140 h 10000"/>
              <a:gd name="connsiteX223" fmla="*/ 5020 w 9658"/>
              <a:gd name="connsiteY223" fmla="*/ 8217 h 10000"/>
              <a:gd name="connsiteX224" fmla="*/ 5105 w 9658"/>
              <a:gd name="connsiteY224" fmla="*/ 8449 h 10000"/>
              <a:gd name="connsiteX225" fmla="*/ 5149 w 9658"/>
              <a:gd name="connsiteY225" fmla="*/ 8449 h 10000"/>
              <a:gd name="connsiteX226" fmla="*/ 5234 w 9658"/>
              <a:gd name="connsiteY226" fmla="*/ 8372 h 10000"/>
              <a:gd name="connsiteX227" fmla="*/ 5492 w 9658"/>
              <a:gd name="connsiteY227" fmla="*/ 8605 h 10000"/>
              <a:gd name="connsiteX228" fmla="*/ 5618 w 9658"/>
              <a:gd name="connsiteY228" fmla="*/ 8683 h 10000"/>
              <a:gd name="connsiteX229" fmla="*/ 5788 w 9658"/>
              <a:gd name="connsiteY229" fmla="*/ 8605 h 10000"/>
              <a:gd name="connsiteX230" fmla="*/ 5871 w 9658"/>
              <a:gd name="connsiteY230" fmla="*/ 8449 h 10000"/>
              <a:gd name="connsiteX231" fmla="*/ 6000 w 9658"/>
              <a:gd name="connsiteY231" fmla="*/ 8528 h 10000"/>
              <a:gd name="connsiteX232" fmla="*/ 6085 w 9658"/>
              <a:gd name="connsiteY232" fmla="*/ 8605 h 10000"/>
              <a:gd name="connsiteX233" fmla="*/ 7532 w 9658"/>
              <a:gd name="connsiteY233" fmla="*/ 7675 h 10000"/>
              <a:gd name="connsiteX234" fmla="*/ 7448 w 9658"/>
              <a:gd name="connsiteY234" fmla="*/ 7675 h 10000"/>
              <a:gd name="connsiteX235" fmla="*/ 7405 w 9658"/>
              <a:gd name="connsiteY235" fmla="*/ 7675 h 10000"/>
              <a:gd name="connsiteX236" fmla="*/ 7360 w 9658"/>
              <a:gd name="connsiteY236" fmla="*/ 7598 h 10000"/>
              <a:gd name="connsiteX237" fmla="*/ 7278 w 9658"/>
              <a:gd name="connsiteY237" fmla="*/ 7598 h 10000"/>
              <a:gd name="connsiteX238" fmla="*/ 7278 w 9658"/>
              <a:gd name="connsiteY238" fmla="*/ 7520 h 10000"/>
              <a:gd name="connsiteX239" fmla="*/ 7405 w 9658"/>
              <a:gd name="connsiteY239" fmla="*/ 7287 h 10000"/>
              <a:gd name="connsiteX240" fmla="*/ 7789 w 9658"/>
              <a:gd name="connsiteY240" fmla="*/ 6590 h 10000"/>
              <a:gd name="connsiteX241" fmla="*/ 7958 w 9658"/>
              <a:gd name="connsiteY241" fmla="*/ 6512 h 10000"/>
              <a:gd name="connsiteX242" fmla="*/ 7999 w 9658"/>
              <a:gd name="connsiteY242" fmla="*/ 6590 h 10000"/>
              <a:gd name="connsiteX243" fmla="*/ 8044 w 9658"/>
              <a:gd name="connsiteY243" fmla="*/ 6512 h 10000"/>
              <a:gd name="connsiteX244" fmla="*/ 8169 w 9658"/>
              <a:gd name="connsiteY244" fmla="*/ 6590 h 10000"/>
              <a:gd name="connsiteX245" fmla="*/ 8215 w 9658"/>
              <a:gd name="connsiteY245" fmla="*/ 6434 h 10000"/>
              <a:gd name="connsiteX246" fmla="*/ 8340 w 9658"/>
              <a:gd name="connsiteY246" fmla="*/ 6512 h 10000"/>
              <a:gd name="connsiteX247" fmla="*/ 8383 w 9658"/>
              <a:gd name="connsiteY247" fmla="*/ 6512 h 10000"/>
              <a:gd name="connsiteX248" fmla="*/ 8340 w 9658"/>
              <a:gd name="connsiteY248" fmla="*/ 6590 h 10000"/>
              <a:gd name="connsiteX249" fmla="*/ 8340 w 9658"/>
              <a:gd name="connsiteY249" fmla="*/ 6667 h 10000"/>
              <a:gd name="connsiteX250" fmla="*/ 8596 w 9658"/>
              <a:gd name="connsiteY250" fmla="*/ 6590 h 10000"/>
              <a:gd name="connsiteX251" fmla="*/ 8553 w 9658"/>
              <a:gd name="connsiteY251" fmla="*/ 6512 h 10000"/>
              <a:gd name="connsiteX252" fmla="*/ 8725 w 9658"/>
              <a:gd name="connsiteY252" fmla="*/ 5969 h 10000"/>
              <a:gd name="connsiteX253" fmla="*/ 8935 w 9658"/>
              <a:gd name="connsiteY253" fmla="*/ 5892 h 10000"/>
              <a:gd name="connsiteX254" fmla="*/ 8935 w 9658"/>
              <a:gd name="connsiteY254" fmla="*/ 6047 h 10000"/>
              <a:gd name="connsiteX255" fmla="*/ 8935 w 9658"/>
              <a:gd name="connsiteY255" fmla="*/ 6202 h 10000"/>
              <a:gd name="connsiteX256" fmla="*/ 9148 w 9658"/>
              <a:gd name="connsiteY256" fmla="*/ 5969 h 10000"/>
              <a:gd name="connsiteX257" fmla="*/ 9148 w 9658"/>
              <a:gd name="connsiteY257" fmla="*/ 5737 h 10000"/>
              <a:gd name="connsiteX258" fmla="*/ 9234 w 9658"/>
              <a:gd name="connsiteY258" fmla="*/ 5737 h 10000"/>
              <a:gd name="connsiteX259" fmla="*/ 9189 w 9658"/>
              <a:gd name="connsiteY259" fmla="*/ 5814 h 10000"/>
              <a:gd name="connsiteX260" fmla="*/ 9148 w 9658"/>
              <a:gd name="connsiteY260" fmla="*/ 6202 h 10000"/>
              <a:gd name="connsiteX261" fmla="*/ 9064 w 9658"/>
              <a:gd name="connsiteY261" fmla="*/ 6279 h 10000"/>
              <a:gd name="connsiteX262" fmla="*/ 9148 w 9658"/>
              <a:gd name="connsiteY262" fmla="*/ 6590 h 10000"/>
              <a:gd name="connsiteX263" fmla="*/ 9148 w 9658"/>
              <a:gd name="connsiteY263" fmla="*/ 6434 h 10000"/>
              <a:gd name="connsiteX264" fmla="*/ 9234 w 9658"/>
              <a:gd name="connsiteY264" fmla="*/ 6434 h 10000"/>
              <a:gd name="connsiteX265" fmla="*/ 9362 w 9658"/>
              <a:gd name="connsiteY265" fmla="*/ 6279 h 10000"/>
              <a:gd name="connsiteX266" fmla="*/ 9362 w 9658"/>
              <a:gd name="connsiteY266" fmla="*/ 6434 h 10000"/>
              <a:gd name="connsiteX267" fmla="*/ 9404 w 9658"/>
              <a:gd name="connsiteY267" fmla="*/ 6356 h 10000"/>
              <a:gd name="connsiteX268" fmla="*/ 9534 w 9658"/>
              <a:gd name="connsiteY268" fmla="*/ 6279 h 10000"/>
              <a:gd name="connsiteX269" fmla="*/ 9615 w 9658"/>
              <a:gd name="connsiteY269" fmla="*/ 6434 h 10000"/>
              <a:gd name="connsiteX270" fmla="*/ 9658 w 9658"/>
              <a:gd name="connsiteY270" fmla="*/ 6279 h 10000"/>
              <a:gd name="connsiteX271" fmla="*/ 9658 w 9658"/>
              <a:gd name="connsiteY271" fmla="*/ 3411 h 10000"/>
              <a:gd name="connsiteX272" fmla="*/ 9658 w 9658"/>
              <a:gd name="connsiteY272" fmla="*/ 3799 h 10000"/>
              <a:gd name="connsiteX273" fmla="*/ 9576 w 9658"/>
              <a:gd name="connsiteY273" fmla="*/ 3876 h 10000"/>
              <a:gd name="connsiteX274" fmla="*/ 9489 w 9658"/>
              <a:gd name="connsiteY274" fmla="*/ 3721 h 10000"/>
              <a:gd name="connsiteX275" fmla="*/ 9489 w 9658"/>
              <a:gd name="connsiteY275" fmla="*/ 3566 h 10000"/>
              <a:gd name="connsiteX276" fmla="*/ 9534 w 9658"/>
              <a:gd name="connsiteY276" fmla="*/ 3566 h 10000"/>
              <a:gd name="connsiteX277" fmla="*/ 9576 w 9658"/>
              <a:gd name="connsiteY277" fmla="*/ 3488 h 10000"/>
              <a:gd name="connsiteX278" fmla="*/ 9489 w 9658"/>
              <a:gd name="connsiteY278" fmla="*/ 3488 h 10000"/>
              <a:gd name="connsiteX279" fmla="*/ 9404 w 9658"/>
              <a:gd name="connsiteY279" fmla="*/ 3644 h 10000"/>
              <a:gd name="connsiteX280" fmla="*/ 9189 w 9658"/>
              <a:gd name="connsiteY280" fmla="*/ 3566 h 10000"/>
              <a:gd name="connsiteX281" fmla="*/ 8980 w 9658"/>
              <a:gd name="connsiteY281" fmla="*/ 3566 h 10000"/>
              <a:gd name="connsiteX282" fmla="*/ 8893 w 9658"/>
              <a:gd name="connsiteY282" fmla="*/ 3488 h 10000"/>
              <a:gd name="connsiteX283" fmla="*/ 8935 w 9658"/>
              <a:gd name="connsiteY283" fmla="*/ 3333 h 10000"/>
              <a:gd name="connsiteX284" fmla="*/ 8850 w 9658"/>
              <a:gd name="connsiteY284" fmla="*/ 3101 h 10000"/>
              <a:gd name="connsiteX285" fmla="*/ 8679 w 9658"/>
              <a:gd name="connsiteY285" fmla="*/ 3023 h 10000"/>
              <a:gd name="connsiteX286" fmla="*/ 8427 w 9658"/>
              <a:gd name="connsiteY286" fmla="*/ 3178 h 10000"/>
              <a:gd name="connsiteX287" fmla="*/ 8383 w 9658"/>
              <a:gd name="connsiteY287" fmla="*/ 2946 h 10000"/>
              <a:gd name="connsiteX288" fmla="*/ 8298 w 9658"/>
              <a:gd name="connsiteY288" fmla="*/ 2946 h 10000"/>
              <a:gd name="connsiteX289" fmla="*/ 8256 w 9658"/>
              <a:gd name="connsiteY289" fmla="*/ 2868 h 10000"/>
              <a:gd name="connsiteX290" fmla="*/ 8256 w 9658"/>
              <a:gd name="connsiteY290" fmla="*/ 2636 h 10000"/>
              <a:gd name="connsiteX291" fmla="*/ 7958 w 9658"/>
              <a:gd name="connsiteY291" fmla="*/ 2480 h 10000"/>
              <a:gd name="connsiteX292" fmla="*/ 7617 w 9658"/>
              <a:gd name="connsiteY292" fmla="*/ 2325 h 10000"/>
              <a:gd name="connsiteX293" fmla="*/ 7532 w 9658"/>
              <a:gd name="connsiteY293" fmla="*/ 2636 h 10000"/>
              <a:gd name="connsiteX294" fmla="*/ 7617 w 9658"/>
              <a:gd name="connsiteY294" fmla="*/ 2868 h 10000"/>
              <a:gd name="connsiteX295" fmla="*/ 7360 w 9658"/>
              <a:gd name="connsiteY295" fmla="*/ 2868 h 10000"/>
              <a:gd name="connsiteX296" fmla="*/ 7318 w 9658"/>
              <a:gd name="connsiteY296" fmla="*/ 2868 h 10000"/>
              <a:gd name="connsiteX297" fmla="*/ 7234 w 9658"/>
              <a:gd name="connsiteY297" fmla="*/ 2946 h 10000"/>
              <a:gd name="connsiteX298" fmla="*/ 7105 w 9658"/>
              <a:gd name="connsiteY298" fmla="*/ 2714 h 10000"/>
              <a:gd name="connsiteX299" fmla="*/ 7020 w 9658"/>
              <a:gd name="connsiteY299" fmla="*/ 3178 h 10000"/>
              <a:gd name="connsiteX300" fmla="*/ 6937 w 9658"/>
              <a:gd name="connsiteY300" fmla="*/ 3101 h 10000"/>
              <a:gd name="connsiteX301" fmla="*/ 6850 w 9658"/>
              <a:gd name="connsiteY301" fmla="*/ 2791 h 10000"/>
              <a:gd name="connsiteX302" fmla="*/ 6894 w 9658"/>
              <a:gd name="connsiteY302" fmla="*/ 2403 h 10000"/>
              <a:gd name="connsiteX303" fmla="*/ 6810 w 9658"/>
              <a:gd name="connsiteY303" fmla="*/ 2170 h 10000"/>
              <a:gd name="connsiteX304" fmla="*/ 6553 w 9658"/>
              <a:gd name="connsiteY304" fmla="*/ 2016 h 10000"/>
              <a:gd name="connsiteX305" fmla="*/ 6466 w 9658"/>
              <a:gd name="connsiteY305" fmla="*/ 2016 h 10000"/>
              <a:gd name="connsiteX306" fmla="*/ 6425 w 9658"/>
              <a:gd name="connsiteY306" fmla="*/ 2170 h 10000"/>
              <a:gd name="connsiteX307" fmla="*/ 6466 w 9658"/>
              <a:gd name="connsiteY307" fmla="*/ 2325 h 10000"/>
              <a:gd name="connsiteX308" fmla="*/ 6130 w 9658"/>
              <a:gd name="connsiteY308" fmla="*/ 2248 h 10000"/>
              <a:gd name="connsiteX309" fmla="*/ 6170 w 9658"/>
              <a:gd name="connsiteY309" fmla="*/ 2016 h 10000"/>
              <a:gd name="connsiteX310" fmla="*/ 5959 w 9658"/>
              <a:gd name="connsiteY310" fmla="*/ 1938 h 10000"/>
              <a:gd name="connsiteX311" fmla="*/ 5830 w 9658"/>
              <a:gd name="connsiteY311" fmla="*/ 2093 h 10000"/>
              <a:gd name="connsiteX312" fmla="*/ 5578 w 9658"/>
              <a:gd name="connsiteY312" fmla="*/ 1861 h 10000"/>
              <a:gd name="connsiteX0" fmla="*/ 5776 w 10000"/>
              <a:gd name="connsiteY0" fmla="*/ 1861 h 10000"/>
              <a:gd name="connsiteX1" fmla="*/ 5776 w 10000"/>
              <a:gd name="connsiteY1" fmla="*/ 1861 h 10000"/>
              <a:gd name="connsiteX2" fmla="*/ 5728 w 10000"/>
              <a:gd name="connsiteY2" fmla="*/ 1938 h 10000"/>
              <a:gd name="connsiteX3" fmla="*/ 5776 w 10000"/>
              <a:gd name="connsiteY3" fmla="*/ 2093 h 10000"/>
              <a:gd name="connsiteX4" fmla="*/ 5594 w 10000"/>
              <a:gd name="connsiteY4" fmla="*/ 2248 h 10000"/>
              <a:gd name="connsiteX5" fmla="*/ 5549 w 10000"/>
              <a:gd name="connsiteY5" fmla="*/ 2248 h 10000"/>
              <a:gd name="connsiteX6" fmla="*/ 5594 w 10000"/>
              <a:gd name="connsiteY6" fmla="*/ 2016 h 10000"/>
              <a:gd name="connsiteX7" fmla="*/ 6036 w 10000"/>
              <a:gd name="connsiteY7" fmla="*/ 1318 h 10000"/>
              <a:gd name="connsiteX8" fmla="*/ 6036 w 10000"/>
              <a:gd name="connsiteY8" fmla="*/ 853 h 10000"/>
              <a:gd name="connsiteX9" fmla="*/ 5860 w 10000"/>
              <a:gd name="connsiteY9" fmla="*/ 543 h 10000"/>
              <a:gd name="connsiteX10" fmla="*/ 5640 w 10000"/>
              <a:gd name="connsiteY10" fmla="*/ 543 h 10000"/>
              <a:gd name="connsiteX11" fmla="*/ 5640 w 10000"/>
              <a:gd name="connsiteY11" fmla="*/ 698 h 10000"/>
              <a:gd name="connsiteX12" fmla="*/ 5506 w 10000"/>
              <a:gd name="connsiteY12" fmla="*/ 698 h 10000"/>
              <a:gd name="connsiteX13" fmla="*/ 5594 w 10000"/>
              <a:gd name="connsiteY13" fmla="*/ 387 h 10000"/>
              <a:gd name="connsiteX14" fmla="*/ 5375 w 10000"/>
              <a:gd name="connsiteY14" fmla="*/ 310 h 10000"/>
              <a:gd name="connsiteX15" fmla="*/ 5506 w 10000"/>
              <a:gd name="connsiteY15" fmla="*/ 155 h 10000"/>
              <a:gd name="connsiteX16" fmla="*/ 5375 w 10000"/>
              <a:gd name="connsiteY16" fmla="*/ 0 h 10000"/>
              <a:gd name="connsiteX17" fmla="*/ 5154 w 10000"/>
              <a:gd name="connsiteY17" fmla="*/ 387 h 10000"/>
              <a:gd name="connsiteX18" fmla="*/ 5154 w 10000"/>
              <a:gd name="connsiteY18" fmla="*/ 698 h 10000"/>
              <a:gd name="connsiteX19" fmla="*/ 5022 w 10000"/>
              <a:gd name="connsiteY19" fmla="*/ 698 h 10000"/>
              <a:gd name="connsiteX20" fmla="*/ 4627 w 10000"/>
              <a:gd name="connsiteY20" fmla="*/ 853 h 10000"/>
              <a:gd name="connsiteX21" fmla="*/ 4273 w 10000"/>
              <a:gd name="connsiteY21" fmla="*/ 1240 h 10000"/>
              <a:gd name="connsiteX22" fmla="*/ 4142 w 10000"/>
              <a:gd name="connsiteY22" fmla="*/ 1551 h 10000"/>
              <a:gd name="connsiteX23" fmla="*/ 4186 w 10000"/>
              <a:gd name="connsiteY23" fmla="*/ 1938 h 10000"/>
              <a:gd name="connsiteX24" fmla="*/ 3702 w 10000"/>
              <a:gd name="connsiteY24" fmla="*/ 2093 h 10000"/>
              <a:gd name="connsiteX25" fmla="*/ 3745 w 10000"/>
              <a:gd name="connsiteY25" fmla="*/ 2559 h 10000"/>
              <a:gd name="connsiteX26" fmla="*/ 3879 w 10000"/>
              <a:gd name="connsiteY26" fmla="*/ 2791 h 10000"/>
              <a:gd name="connsiteX27" fmla="*/ 3791 w 10000"/>
              <a:gd name="connsiteY27" fmla="*/ 2868 h 10000"/>
              <a:gd name="connsiteX28" fmla="*/ 3658 w 10000"/>
              <a:gd name="connsiteY28" fmla="*/ 2559 h 10000"/>
              <a:gd name="connsiteX29" fmla="*/ 3526 w 10000"/>
              <a:gd name="connsiteY29" fmla="*/ 2480 h 10000"/>
              <a:gd name="connsiteX30" fmla="*/ 3482 w 10000"/>
              <a:gd name="connsiteY30" fmla="*/ 2559 h 10000"/>
              <a:gd name="connsiteX31" fmla="*/ 3393 w 10000"/>
              <a:gd name="connsiteY31" fmla="*/ 2403 h 10000"/>
              <a:gd name="connsiteX32" fmla="*/ 3305 w 10000"/>
              <a:gd name="connsiteY32" fmla="*/ 2248 h 10000"/>
              <a:gd name="connsiteX33" fmla="*/ 3305 w 10000"/>
              <a:gd name="connsiteY33" fmla="*/ 2325 h 10000"/>
              <a:gd name="connsiteX34" fmla="*/ 3351 w 10000"/>
              <a:gd name="connsiteY34" fmla="*/ 2559 h 10000"/>
              <a:gd name="connsiteX35" fmla="*/ 3216 w 10000"/>
              <a:gd name="connsiteY35" fmla="*/ 2946 h 10000"/>
              <a:gd name="connsiteX36" fmla="*/ 3305 w 10000"/>
              <a:gd name="connsiteY36" fmla="*/ 3256 h 10000"/>
              <a:gd name="connsiteX37" fmla="*/ 3259 w 10000"/>
              <a:gd name="connsiteY37" fmla="*/ 3566 h 10000"/>
              <a:gd name="connsiteX38" fmla="*/ 3259 w 10000"/>
              <a:gd name="connsiteY38" fmla="*/ 3799 h 10000"/>
              <a:gd name="connsiteX39" fmla="*/ 3393 w 10000"/>
              <a:gd name="connsiteY39" fmla="*/ 3799 h 10000"/>
              <a:gd name="connsiteX40" fmla="*/ 3305 w 10000"/>
              <a:gd name="connsiteY40" fmla="*/ 3876 h 10000"/>
              <a:gd name="connsiteX41" fmla="*/ 3351 w 10000"/>
              <a:gd name="connsiteY41" fmla="*/ 4263 h 10000"/>
              <a:gd name="connsiteX42" fmla="*/ 3084 w 10000"/>
              <a:gd name="connsiteY42" fmla="*/ 4652 h 10000"/>
              <a:gd name="connsiteX43" fmla="*/ 3040 w 10000"/>
              <a:gd name="connsiteY43" fmla="*/ 4574 h 10000"/>
              <a:gd name="connsiteX44" fmla="*/ 3216 w 10000"/>
              <a:gd name="connsiteY44" fmla="*/ 4186 h 10000"/>
              <a:gd name="connsiteX45" fmla="*/ 3259 w 10000"/>
              <a:gd name="connsiteY45" fmla="*/ 3954 h 10000"/>
              <a:gd name="connsiteX46" fmla="*/ 3168 w 10000"/>
              <a:gd name="connsiteY46" fmla="*/ 3799 h 10000"/>
              <a:gd name="connsiteX47" fmla="*/ 3168 w 10000"/>
              <a:gd name="connsiteY47" fmla="*/ 3023 h 10000"/>
              <a:gd name="connsiteX48" fmla="*/ 3128 w 10000"/>
              <a:gd name="connsiteY48" fmla="*/ 2868 h 10000"/>
              <a:gd name="connsiteX49" fmla="*/ 3168 w 10000"/>
              <a:gd name="connsiteY49" fmla="*/ 2403 h 10000"/>
              <a:gd name="connsiteX50" fmla="*/ 3084 w 10000"/>
              <a:gd name="connsiteY50" fmla="*/ 2325 h 10000"/>
              <a:gd name="connsiteX51" fmla="*/ 3128 w 10000"/>
              <a:gd name="connsiteY51" fmla="*/ 2248 h 10000"/>
              <a:gd name="connsiteX52" fmla="*/ 3084 w 10000"/>
              <a:gd name="connsiteY52" fmla="*/ 2093 h 10000"/>
              <a:gd name="connsiteX53" fmla="*/ 2993 w 10000"/>
              <a:gd name="connsiteY53" fmla="*/ 2170 h 10000"/>
              <a:gd name="connsiteX54" fmla="*/ 2776 w 10000"/>
              <a:gd name="connsiteY54" fmla="*/ 3178 h 10000"/>
              <a:gd name="connsiteX55" fmla="*/ 2776 w 10000"/>
              <a:gd name="connsiteY55" fmla="*/ 3566 h 10000"/>
              <a:gd name="connsiteX56" fmla="*/ 2907 w 10000"/>
              <a:gd name="connsiteY56" fmla="*/ 3876 h 10000"/>
              <a:gd name="connsiteX57" fmla="*/ 2907 w 10000"/>
              <a:gd name="connsiteY57" fmla="*/ 4031 h 10000"/>
              <a:gd name="connsiteX58" fmla="*/ 2776 w 10000"/>
              <a:gd name="connsiteY58" fmla="*/ 3876 h 10000"/>
              <a:gd name="connsiteX59" fmla="*/ 2249 w 10000"/>
              <a:gd name="connsiteY59" fmla="*/ 3256 h 10000"/>
              <a:gd name="connsiteX60" fmla="*/ 2203 w 10000"/>
              <a:gd name="connsiteY60" fmla="*/ 3411 h 10000"/>
              <a:gd name="connsiteX61" fmla="*/ 2379 w 10000"/>
              <a:gd name="connsiteY61" fmla="*/ 3799 h 10000"/>
              <a:gd name="connsiteX62" fmla="*/ 2291 w 10000"/>
              <a:gd name="connsiteY62" fmla="*/ 3876 h 10000"/>
              <a:gd name="connsiteX63" fmla="*/ 2249 w 10000"/>
              <a:gd name="connsiteY63" fmla="*/ 3799 h 10000"/>
              <a:gd name="connsiteX64" fmla="*/ 1984 w 10000"/>
              <a:gd name="connsiteY64" fmla="*/ 3954 h 10000"/>
              <a:gd name="connsiteX65" fmla="*/ 1939 w 10000"/>
              <a:gd name="connsiteY65" fmla="*/ 4109 h 10000"/>
              <a:gd name="connsiteX66" fmla="*/ 1895 w 10000"/>
              <a:gd name="connsiteY66" fmla="*/ 3954 h 10000"/>
              <a:gd name="connsiteX67" fmla="*/ 1895 w 10000"/>
              <a:gd name="connsiteY67" fmla="*/ 3799 h 10000"/>
              <a:gd name="connsiteX68" fmla="*/ 1453 w 10000"/>
              <a:gd name="connsiteY68" fmla="*/ 4263 h 10000"/>
              <a:gd name="connsiteX69" fmla="*/ 1453 w 10000"/>
              <a:gd name="connsiteY69" fmla="*/ 4418 h 10000"/>
              <a:gd name="connsiteX70" fmla="*/ 1367 w 10000"/>
              <a:gd name="connsiteY70" fmla="*/ 4496 h 10000"/>
              <a:gd name="connsiteX71" fmla="*/ 1234 w 10000"/>
              <a:gd name="connsiteY71" fmla="*/ 4341 h 10000"/>
              <a:gd name="connsiteX72" fmla="*/ 1367 w 10000"/>
              <a:gd name="connsiteY72" fmla="*/ 4186 h 10000"/>
              <a:gd name="connsiteX73" fmla="*/ 1323 w 10000"/>
              <a:gd name="connsiteY73" fmla="*/ 3954 h 10000"/>
              <a:gd name="connsiteX74" fmla="*/ 1147 w 10000"/>
              <a:gd name="connsiteY74" fmla="*/ 3876 h 10000"/>
              <a:gd name="connsiteX75" fmla="*/ 1192 w 10000"/>
              <a:gd name="connsiteY75" fmla="*/ 4031 h 10000"/>
              <a:gd name="connsiteX76" fmla="*/ 1192 w 10000"/>
              <a:gd name="connsiteY76" fmla="*/ 4418 h 10000"/>
              <a:gd name="connsiteX77" fmla="*/ 1234 w 10000"/>
              <a:gd name="connsiteY77" fmla="*/ 4574 h 10000"/>
              <a:gd name="connsiteX78" fmla="*/ 1192 w 10000"/>
              <a:gd name="connsiteY78" fmla="*/ 4729 h 10000"/>
              <a:gd name="connsiteX79" fmla="*/ 1056 w 10000"/>
              <a:gd name="connsiteY79" fmla="*/ 4652 h 10000"/>
              <a:gd name="connsiteX80" fmla="*/ 880 w 10000"/>
              <a:gd name="connsiteY80" fmla="*/ 4884 h 10000"/>
              <a:gd name="connsiteX81" fmla="*/ 968 w 10000"/>
              <a:gd name="connsiteY81" fmla="*/ 5194 h 10000"/>
              <a:gd name="connsiteX82" fmla="*/ 704 w 10000"/>
              <a:gd name="connsiteY82" fmla="*/ 5039 h 10000"/>
              <a:gd name="connsiteX83" fmla="*/ 661 w 10000"/>
              <a:gd name="connsiteY83" fmla="*/ 5116 h 10000"/>
              <a:gd name="connsiteX84" fmla="*/ 750 w 10000"/>
              <a:gd name="connsiteY84" fmla="*/ 5349 h 10000"/>
              <a:gd name="connsiteX85" fmla="*/ 661 w 10000"/>
              <a:gd name="connsiteY85" fmla="*/ 5349 h 10000"/>
              <a:gd name="connsiteX86" fmla="*/ 530 w 10000"/>
              <a:gd name="connsiteY86" fmla="*/ 5194 h 10000"/>
              <a:gd name="connsiteX87" fmla="*/ 530 w 10000"/>
              <a:gd name="connsiteY87" fmla="*/ 4729 h 10000"/>
              <a:gd name="connsiteX88" fmla="*/ 398 w 10000"/>
              <a:gd name="connsiteY88" fmla="*/ 4574 h 10000"/>
              <a:gd name="connsiteX89" fmla="*/ 352 w 10000"/>
              <a:gd name="connsiteY89" fmla="*/ 4418 h 10000"/>
              <a:gd name="connsiteX90" fmla="*/ 441 w 10000"/>
              <a:gd name="connsiteY90" fmla="*/ 4496 h 10000"/>
              <a:gd name="connsiteX91" fmla="*/ 792 w 10000"/>
              <a:gd name="connsiteY91" fmla="*/ 4729 h 10000"/>
              <a:gd name="connsiteX92" fmla="*/ 1013 w 10000"/>
              <a:gd name="connsiteY92" fmla="*/ 4496 h 10000"/>
              <a:gd name="connsiteX93" fmla="*/ 968 w 10000"/>
              <a:gd name="connsiteY93" fmla="*/ 4263 h 10000"/>
              <a:gd name="connsiteX94" fmla="*/ 704 w 10000"/>
              <a:gd name="connsiteY94" fmla="*/ 3799 h 10000"/>
              <a:gd name="connsiteX95" fmla="*/ 441 w 10000"/>
              <a:gd name="connsiteY95" fmla="*/ 3644 h 10000"/>
              <a:gd name="connsiteX96" fmla="*/ 441 w 10000"/>
              <a:gd name="connsiteY96" fmla="*/ 3566 h 10000"/>
              <a:gd name="connsiteX97" fmla="*/ 352 w 10000"/>
              <a:gd name="connsiteY97" fmla="*/ 3488 h 10000"/>
              <a:gd name="connsiteX98" fmla="*/ 263 w 10000"/>
              <a:gd name="connsiteY98" fmla="*/ 3566 h 10000"/>
              <a:gd name="connsiteX99" fmla="*/ 263 w 10000"/>
              <a:gd name="connsiteY99" fmla="*/ 3644 h 10000"/>
              <a:gd name="connsiteX100" fmla="*/ 221 w 10000"/>
              <a:gd name="connsiteY100" fmla="*/ 3644 h 10000"/>
              <a:gd name="connsiteX101" fmla="*/ 131 w 10000"/>
              <a:gd name="connsiteY101" fmla="*/ 3799 h 10000"/>
              <a:gd name="connsiteX102" fmla="*/ 131 w 10000"/>
              <a:gd name="connsiteY102" fmla="*/ 4031 h 10000"/>
              <a:gd name="connsiteX103" fmla="*/ 221 w 10000"/>
              <a:gd name="connsiteY103" fmla="*/ 4186 h 10000"/>
              <a:gd name="connsiteX104" fmla="*/ 175 w 10000"/>
              <a:gd name="connsiteY104" fmla="*/ 4418 h 10000"/>
              <a:gd name="connsiteX105" fmla="*/ 221 w 10000"/>
              <a:gd name="connsiteY105" fmla="*/ 4807 h 10000"/>
              <a:gd name="connsiteX106" fmla="*/ 175 w 10000"/>
              <a:gd name="connsiteY106" fmla="*/ 5039 h 10000"/>
              <a:gd name="connsiteX107" fmla="*/ 263 w 10000"/>
              <a:gd name="connsiteY107" fmla="*/ 5271 h 10000"/>
              <a:gd name="connsiteX108" fmla="*/ 221 w 10000"/>
              <a:gd name="connsiteY108" fmla="*/ 5426 h 10000"/>
              <a:gd name="connsiteX109" fmla="*/ 308 w 10000"/>
              <a:gd name="connsiteY109" fmla="*/ 5582 h 10000"/>
              <a:gd name="connsiteX110" fmla="*/ 308 w 10000"/>
              <a:gd name="connsiteY110" fmla="*/ 5659 h 10000"/>
              <a:gd name="connsiteX111" fmla="*/ 175 w 10000"/>
              <a:gd name="connsiteY111" fmla="*/ 6047 h 10000"/>
              <a:gd name="connsiteX112" fmla="*/ 42 w 10000"/>
              <a:gd name="connsiteY112" fmla="*/ 6202 h 10000"/>
              <a:gd name="connsiteX113" fmla="*/ 88 w 10000"/>
              <a:gd name="connsiteY113" fmla="*/ 6202 h 10000"/>
              <a:gd name="connsiteX114" fmla="*/ 175 w 10000"/>
              <a:gd name="connsiteY114" fmla="*/ 6356 h 10000"/>
              <a:gd name="connsiteX115" fmla="*/ 88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88 w 10000"/>
              <a:gd name="connsiteY122" fmla="*/ 7209 h 10000"/>
              <a:gd name="connsiteX123" fmla="*/ 221 w 10000"/>
              <a:gd name="connsiteY123" fmla="*/ 7287 h 10000"/>
              <a:gd name="connsiteX124" fmla="*/ 263 w 10000"/>
              <a:gd name="connsiteY124" fmla="*/ 7364 h 10000"/>
              <a:gd name="connsiteX125" fmla="*/ 263 w 10000"/>
              <a:gd name="connsiteY125" fmla="*/ 7520 h 10000"/>
              <a:gd name="connsiteX126" fmla="*/ 352 w 10000"/>
              <a:gd name="connsiteY126" fmla="*/ 7752 h 10000"/>
              <a:gd name="connsiteX127" fmla="*/ 398 w 10000"/>
              <a:gd name="connsiteY127" fmla="*/ 7752 h 10000"/>
              <a:gd name="connsiteX128" fmla="*/ 352 w 10000"/>
              <a:gd name="connsiteY128" fmla="*/ 7907 h 10000"/>
              <a:gd name="connsiteX129" fmla="*/ 308 w 10000"/>
              <a:gd name="connsiteY129" fmla="*/ 7830 h 10000"/>
              <a:gd name="connsiteX130" fmla="*/ 308 w 10000"/>
              <a:gd name="connsiteY130" fmla="*/ 7907 h 10000"/>
              <a:gd name="connsiteX131" fmla="*/ 352 w 10000"/>
              <a:gd name="connsiteY131" fmla="*/ 8062 h 10000"/>
              <a:gd name="connsiteX132" fmla="*/ 486 w 10000"/>
              <a:gd name="connsiteY132" fmla="*/ 8062 h 10000"/>
              <a:gd name="connsiteX133" fmla="*/ 530 w 10000"/>
              <a:gd name="connsiteY133" fmla="*/ 8140 h 10000"/>
              <a:gd name="connsiteX134" fmla="*/ 486 w 10000"/>
              <a:gd name="connsiteY134" fmla="*/ 8140 h 10000"/>
              <a:gd name="connsiteX135" fmla="*/ 530 w 10000"/>
              <a:gd name="connsiteY135" fmla="*/ 8217 h 10000"/>
              <a:gd name="connsiteX136" fmla="*/ 572 w 10000"/>
              <a:gd name="connsiteY136" fmla="*/ 8217 h 10000"/>
              <a:gd name="connsiteX137" fmla="*/ 616 w 10000"/>
              <a:gd name="connsiteY137" fmla="*/ 8372 h 10000"/>
              <a:gd name="connsiteX138" fmla="*/ 661 w 10000"/>
              <a:gd name="connsiteY138" fmla="*/ 8449 h 10000"/>
              <a:gd name="connsiteX139" fmla="*/ 704 w 10000"/>
              <a:gd name="connsiteY139" fmla="*/ 8372 h 10000"/>
              <a:gd name="connsiteX140" fmla="*/ 926 w 10000"/>
              <a:gd name="connsiteY140" fmla="*/ 8605 h 10000"/>
              <a:gd name="connsiteX141" fmla="*/ 880 w 10000"/>
              <a:gd name="connsiteY141" fmla="*/ 8915 h 10000"/>
              <a:gd name="connsiteX142" fmla="*/ 835 w 10000"/>
              <a:gd name="connsiteY142" fmla="*/ 8838 h 10000"/>
              <a:gd name="connsiteX143" fmla="*/ 792 w 10000"/>
              <a:gd name="connsiteY143" fmla="*/ 8915 h 10000"/>
              <a:gd name="connsiteX144" fmla="*/ 792 w 10000"/>
              <a:gd name="connsiteY144" fmla="*/ 9070 h 10000"/>
              <a:gd name="connsiteX145" fmla="*/ 835 w 10000"/>
              <a:gd name="connsiteY145" fmla="*/ 8993 h 10000"/>
              <a:gd name="connsiteX146" fmla="*/ 880 w 10000"/>
              <a:gd name="connsiteY146" fmla="*/ 9070 h 10000"/>
              <a:gd name="connsiteX147" fmla="*/ 750 w 10000"/>
              <a:gd name="connsiteY147" fmla="*/ 9147 h 10000"/>
              <a:gd name="connsiteX148" fmla="*/ 792 w 10000"/>
              <a:gd name="connsiteY148" fmla="*/ 9225 h 10000"/>
              <a:gd name="connsiteX149" fmla="*/ 704 w 10000"/>
              <a:gd name="connsiteY149" fmla="*/ 9380 h 10000"/>
              <a:gd name="connsiteX150" fmla="*/ 661 w 10000"/>
              <a:gd name="connsiteY150" fmla="*/ 9380 h 10000"/>
              <a:gd name="connsiteX151" fmla="*/ 704 w 10000"/>
              <a:gd name="connsiteY151" fmla="*/ 9380 h 10000"/>
              <a:gd name="connsiteX152" fmla="*/ 880 w 10000"/>
              <a:gd name="connsiteY152" fmla="*/ 9691 h 10000"/>
              <a:gd name="connsiteX153" fmla="*/ 1103 w 10000"/>
              <a:gd name="connsiteY153" fmla="*/ 9691 h 10000"/>
              <a:gd name="connsiteX154" fmla="*/ 1192 w 10000"/>
              <a:gd name="connsiteY154" fmla="*/ 9768 h 10000"/>
              <a:gd name="connsiteX155" fmla="*/ 1278 w 10000"/>
              <a:gd name="connsiteY155" fmla="*/ 9768 h 10000"/>
              <a:gd name="connsiteX156" fmla="*/ 1367 w 10000"/>
              <a:gd name="connsiteY156" fmla="*/ 9923 h 10000"/>
              <a:gd name="connsiteX157" fmla="*/ 1410 w 10000"/>
              <a:gd name="connsiteY157" fmla="*/ 10000 h 10000"/>
              <a:gd name="connsiteX158" fmla="*/ 1453 w 10000"/>
              <a:gd name="connsiteY158" fmla="*/ 10000 h 10000"/>
              <a:gd name="connsiteX159" fmla="*/ 1499 w 10000"/>
              <a:gd name="connsiteY159" fmla="*/ 9923 h 10000"/>
              <a:gd name="connsiteX160" fmla="*/ 1410 w 10000"/>
              <a:gd name="connsiteY160" fmla="*/ 9768 h 10000"/>
              <a:gd name="connsiteX161" fmla="*/ 1410 w 10000"/>
              <a:gd name="connsiteY161" fmla="*/ 9613 h 10000"/>
              <a:gd name="connsiteX162" fmla="*/ 1367 w 10000"/>
              <a:gd name="connsiteY162" fmla="*/ 9457 h 10000"/>
              <a:gd name="connsiteX163" fmla="*/ 1453 w 10000"/>
              <a:gd name="connsiteY163" fmla="*/ 9225 h 10000"/>
              <a:gd name="connsiteX164" fmla="*/ 1499 w 10000"/>
              <a:gd name="connsiteY164" fmla="*/ 9302 h 10000"/>
              <a:gd name="connsiteX165" fmla="*/ 1543 w 10000"/>
              <a:gd name="connsiteY165" fmla="*/ 9225 h 10000"/>
              <a:gd name="connsiteX166" fmla="*/ 1543 w 10000"/>
              <a:gd name="connsiteY166" fmla="*/ 9147 h 10000"/>
              <a:gd name="connsiteX167" fmla="*/ 1499 w 10000"/>
              <a:gd name="connsiteY167" fmla="*/ 9147 h 10000"/>
              <a:gd name="connsiteX168" fmla="*/ 1543 w 10000"/>
              <a:gd name="connsiteY168" fmla="*/ 9070 h 10000"/>
              <a:gd name="connsiteX169" fmla="*/ 1499 w 10000"/>
              <a:gd name="connsiteY169" fmla="*/ 8915 h 10000"/>
              <a:gd name="connsiteX170" fmla="*/ 1410 w 10000"/>
              <a:gd name="connsiteY170" fmla="*/ 8915 h 10000"/>
              <a:gd name="connsiteX171" fmla="*/ 1367 w 10000"/>
              <a:gd name="connsiteY171" fmla="*/ 8760 h 10000"/>
              <a:gd name="connsiteX172" fmla="*/ 1410 w 10000"/>
              <a:gd name="connsiteY172" fmla="*/ 8372 h 10000"/>
              <a:gd name="connsiteX173" fmla="*/ 1499 w 10000"/>
              <a:gd name="connsiteY173" fmla="*/ 8528 h 10000"/>
              <a:gd name="connsiteX174" fmla="*/ 1543 w 10000"/>
              <a:gd name="connsiteY174" fmla="*/ 8528 h 10000"/>
              <a:gd name="connsiteX175" fmla="*/ 1499 w 10000"/>
              <a:gd name="connsiteY175" fmla="*/ 8372 h 10000"/>
              <a:gd name="connsiteX176" fmla="*/ 1631 w 10000"/>
              <a:gd name="connsiteY176" fmla="*/ 8140 h 10000"/>
              <a:gd name="connsiteX177" fmla="*/ 1720 w 10000"/>
              <a:gd name="connsiteY177" fmla="*/ 8217 h 10000"/>
              <a:gd name="connsiteX178" fmla="*/ 1762 w 10000"/>
              <a:gd name="connsiteY178" fmla="*/ 8140 h 10000"/>
              <a:gd name="connsiteX179" fmla="*/ 1851 w 10000"/>
              <a:gd name="connsiteY179" fmla="*/ 8217 h 10000"/>
              <a:gd name="connsiteX180" fmla="*/ 1984 w 10000"/>
              <a:gd name="connsiteY180" fmla="*/ 8372 h 10000"/>
              <a:gd name="connsiteX181" fmla="*/ 2072 w 10000"/>
              <a:gd name="connsiteY181" fmla="*/ 8295 h 10000"/>
              <a:gd name="connsiteX182" fmla="*/ 2159 w 10000"/>
              <a:gd name="connsiteY182" fmla="*/ 8295 h 10000"/>
              <a:gd name="connsiteX183" fmla="*/ 2203 w 10000"/>
              <a:gd name="connsiteY183" fmla="*/ 8372 h 10000"/>
              <a:gd name="connsiteX184" fmla="*/ 2379 w 10000"/>
              <a:gd name="connsiteY184" fmla="*/ 8372 h 10000"/>
              <a:gd name="connsiteX185" fmla="*/ 2422 w 10000"/>
              <a:gd name="connsiteY185" fmla="*/ 8217 h 10000"/>
              <a:gd name="connsiteX186" fmla="*/ 2291 w 10000"/>
              <a:gd name="connsiteY186" fmla="*/ 8140 h 10000"/>
              <a:gd name="connsiteX187" fmla="*/ 2379 w 10000"/>
              <a:gd name="connsiteY187" fmla="*/ 8062 h 10000"/>
              <a:gd name="connsiteX188" fmla="*/ 2335 w 10000"/>
              <a:gd name="connsiteY188" fmla="*/ 7985 h 10000"/>
              <a:gd name="connsiteX189" fmla="*/ 2379 w 10000"/>
              <a:gd name="connsiteY189" fmla="*/ 7907 h 10000"/>
              <a:gd name="connsiteX190" fmla="*/ 2379 w 10000"/>
              <a:gd name="connsiteY190" fmla="*/ 7675 h 10000"/>
              <a:gd name="connsiteX191" fmla="*/ 2466 w 10000"/>
              <a:gd name="connsiteY191" fmla="*/ 7752 h 10000"/>
              <a:gd name="connsiteX192" fmla="*/ 2864 w 10000"/>
              <a:gd name="connsiteY192" fmla="*/ 7520 h 10000"/>
              <a:gd name="connsiteX193" fmla="*/ 2864 w 10000"/>
              <a:gd name="connsiteY193" fmla="*/ 7442 h 10000"/>
              <a:gd name="connsiteX194" fmla="*/ 2907 w 10000"/>
              <a:gd name="connsiteY194" fmla="*/ 7442 h 10000"/>
              <a:gd name="connsiteX195" fmla="*/ 3040 w 10000"/>
              <a:gd name="connsiteY195" fmla="*/ 7442 h 10000"/>
              <a:gd name="connsiteX196" fmla="*/ 3084 w 10000"/>
              <a:gd name="connsiteY196" fmla="*/ 7598 h 10000"/>
              <a:gd name="connsiteX197" fmla="*/ 3084 w 10000"/>
              <a:gd name="connsiteY197" fmla="*/ 7675 h 10000"/>
              <a:gd name="connsiteX198" fmla="*/ 3128 w 10000"/>
              <a:gd name="connsiteY198" fmla="*/ 7675 h 10000"/>
              <a:gd name="connsiteX199" fmla="*/ 3216 w 10000"/>
              <a:gd name="connsiteY199" fmla="*/ 7752 h 10000"/>
              <a:gd name="connsiteX200" fmla="*/ 3216 w 10000"/>
              <a:gd name="connsiteY200" fmla="*/ 7830 h 10000"/>
              <a:gd name="connsiteX201" fmla="*/ 3305 w 10000"/>
              <a:gd name="connsiteY201" fmla="*/ 7830 h 10000"/>
              <a:gd name="connsiteX202" fmla="*/ 3393 w 10000"/>
              <a:gd name="connsiteY202" fmla="*/ 7675 h 10000"/>
              <a:gd name="connsiteX203" fmla="*/ 3482 w 10000"/>
              <a:gd name="connsiteY203" fmla="*/ 7598 h 10000"/>
              <a:gd name="connsiteX204" fmla="*/ 3526 w 10000"/>
              <a:gd name="connsiteY204" fmla="*/ 7830 h 10000"/>
              <a:gd name="connsiteX205" fmla="*/ 3702 w 10000"/>
              <a:gd name="connsiteY205" fmla="*/ 8372 h 10000"/>
              <a:gd name="connsiteX206" fmla="*/ 3745 w 10000"/>
              <a:gd name="connsiteY206" fmla="*/ 8217 h 10000"/>
              <a:gd name="connsiteX207" fmla="*/ 3791 w 10000"/>
              <a:gd name="connsiteY207" fmla="*/ 8372 h 10000"/>
              <a:gd name="connsiteX208" fmla="*/ 3923 w 10000"/>
              <a:gd name="connsiteY208" fmla="*/ 8295 h 10000"/>
              <a:gd name="connsiteX209" fmla="*/ 4056 w 10000"/>
              <a:gd name="connsiteY209" fmla="*/ 8528 h 10000"/>
              <a:gd name="connsiteX210" fmla="*/ 4142 w 10000"/>
              <a:gd name="connsiteY210" fmla="*/ 8605 h 10000"/>
              <a:gd name="connsiteX211" fmla="*/ 4142 w 10000"/>
              <a:gd name="connsiteY211" fmla="*/ 8528 h 10000"/>
              <a:gd name="connsiteX212" fmla="*/ 4186 w 10000"/>
              <a:gd name="connsiteY212" fmla="*/ 8683 h 10000"/>
              <a:gd name="connsiteX213" fmla="*/ 4142 w 10000"/>
              <a:gd name="connsiteY213" fmla="*/ 8760 h 10000"/>
              <a:gd name="connsiteX214" fmla="*/ 4231 w 10000"/>
              <a:gd name="connsiteY214" fmla="*/ 8683 h 10000"/>
              <a:gd name="connsiteX215" fmla="*/ 4273 w 10000"/>
              <a:gd name="connsiteY215" fmla="*/ 8605 h 10000"/>
              <a:gd name="connsiteX216" fmla="*/ 4495 w 10000"/>
              <a:gd name="connsiteY216" fmla="*/ 8372 h 10000"/>
              <a:gd name="connsiteX217" fmla="*/ 4670 w 10000"/>
              <a:gd name="connsiteY217" fmla="*/ 8449 h 10000"/>
              <a:gd name="connsiteX218" fmla="*/ 4758 w 10000"/>
              <a:gd name="connsiteY218" fmla="*/ 8528 h 10000"/>
              <a:gd name="connsiteX219" fmla="*/ 4933 w 10000"/>
              <a:gd name="connsiteY219" fmla="*/ 8528 h 10000"/>
              <a:gd name="connsiteX220" fmla="*/ 4933 w 10000"/>
              <a:gd name="connsiteY220" fmla="*/ 8372 h 10000"/>
              <a:gd name="connsiteX221" fmla="*/ 4933 w 10000"/>
              <a:gd name="connsiteY221" fmla="*/ 8217 h 10000"/>
              <a:gd name="connsiteX222" fmla="*/ 5022 w 10000"/>
              <a:gd name="connsiteY222" fmla="*/ 8140 h 10000"/>
              <a:gd name="connsiteX223" fmla="*/ 5198 w 10000"/>
              <a:gd name="connsiteY223" fmla="*/ 8217 h 10000"/>
              <a:gd name="connsiteX224" fmla="*/ 5286 w 10000"/>
              <a:gd name="connsiteY224" fmla="*/ 8449 h 10000"/>
              <a:gd name="connsiteX225" fmla="*/ 5331 w 10000"/>
              <a:gd name="connsiteY225" fmla="*/ 8449 h 10000"/>
              <a:gd name="connsiteX226" fmla="*/ 5419 w 10000"/>
              <a:gd name="connsiteY226" fmla="*/ 8372 h 10000"/>
              <a:gd name="connsiteX227" fmla="*/ 5686 w 10000"/>
              <a:gd name="connsiteY227" fmla="*/ 8605 h 10000"/>
              <a:gd name="connsiteX228" fmla="*/ 5817 w 10000"/>
              <a:gd name="connsiteY228" fmla="*/ 8683 h 10000"/>
              <a:gd name="connsiteX229" fmla="*/ 5993 w 10000"/>
              <a:gd name="connsiteY229" fmla="*/ 8605 h 10000"/>
              <a:gd name="connsiteX230" fmla="*/ 6079 w 10000"/>
              <a:gd name="connsiteY230" fmla="*/ 8449 h 10000"/>
              <a:gd name="connsiteX231" fmla="*/ 6212 w 10000"/>
              <a:gd name="connsiteY231" fmla="*/ 8528 h 10000"/>
              <a:gd name="connsiteX232" fmla="*/ 6300 w 10000"/>
              <a:gd name="connsiteY232" fmla="*/ 8605 h 10000"/>
              <a:gd name="connsiteX233" fmla="*/ 7799 w 10000"/>
              <a:gd name="connsiteY233" fmla="*/ 7675 h 10000"/>
              <a:gd name="connsiteX234" fmla="*/ 7712 w 10000"/>
              <a:gd name="connsiteY234" fmla="*/ 7675 h 10000"/>
              <a:gd name="connsiteX235" fmla="*/ 7667 w 10000"/>
              <a:gd name="connsiteY235" fmla="*/ 7675 h 10000"/>
              <a:gd name="connsiteX236" fmla="*/ 7621 w 10000"/>
              <a:gd name="connsiteY236" fmla="*/ 7598 h 10000"/>
              <a:gd name="connsiteX237" fmla="*/ 7536 w 10000"/>
              <a:gd name="connsiteY237" fmla="*/ 7598 h 10000"/>
              <a:gd name="connsiteX238" fmla="*/ 7536 w 10000"/>
              <a:gd name="connsiteY238" fmla="*/ 7520 h 10000"/>
              <a:gd name="connsiteX239" fmla="*/ 7667 w 10000"/>
              <a:gd name="connsiteY239" fmla="*/ 7287 h 10000"/>
              <a:gd name="connsiteX240" fmla="*/ 8065 w 10000"/>
              <a:gd name="connsiteY240" fmla="*/ 6590 h 10000"/>
              <a:gd name="connsiteX241" fmla="*/ 8240 w 10000"/>
              <a:gd name="connsiteY241" fmla="*/ 6512 h 10000"/>
              <a:gd name="connsiteX242" fmla="*/ 8282 w 10000"/>
              <a:gd name="connsiteY242" fmla="*/ 6590 h 10000"/>
              <a:gd name="connsiteX243" fmla="*/ 8329 w 10000"/>
              <a:gd name="connsiteY243" fmla="*/ 6512 h 10000"/>
              <a:gd name="connsiteX244" fmla="*/ 8458 w 10000"/>
              <a:gd name="connsiteY244" fmla="*/ 6590 h 10000"/>
              <a:gd name="connsiteX245" fmla="*/ 8506 w 10000"/>
              <a:gd name="connsiteY245" fmla="*/ 6434 h 10000"/>
              <a:gd name="connsiteX246" fmla="*/ 8635 w 10000"/>
              <a:gd name="connsiteY246" fmla="*/ 6512 h 10000"/>
              <a:gd name="connsiteX247" fmla="*/ 8680 w 10000"/>
              <a:gd name="connsiteY247" fmla="*/ 6512 h 10000"/>
              <a:gd name="connsiteX248" fmla="*/ 8635 w 10000"/>
              <a:gd name="connsiteY248" fmla="*/ 6590 h 10000"/>
              <a:gd name="connsiteX249" fmla="*/ 8635 w 10000"/>
              <a:gd name="connsiteY249" fmla="*/ 6667 h 10000"/>
              <a:gd name="connsiteX250" fmla="*/ 8900 w 10000"/>
              <a:gd name="connsiteY250" fmla="*/ 6590 h 10000"/>
              <a:gd name="connsiteX251" fmla="*/ 8856 w 10000"/>
              <a:gd name="connsiteY251" fmla="*/ 6512 h 10000"/>
              <a:gd name="connsiteX252" fmla="*/ 9034 w 10000"/>
              <a:gd name="connsiteY252" fmla="*/ 5969 h 10000"/>
              <a:gd name="connsiteX253" fmla="*/ 9251 w 10000"/>
              <a:gd name="connsiteY253" fmla="*/ 5892 h 10000"/>
              <a:gd name="connsiteX254" fmla="*/ 9251 w 10000"/>
              <a:gd name="connsiteY254" fmla="*/ 6047 h 10000"/>
              <a:gd name="connsiteX255" fmla="*/ 9251 w 10000"/>
              <a:gd name="connsiteY255" fmla="*/ 6202 h 10000"/>
              <a:gd name="connsiteX256" fmla="*/ 9472 w 10000"/>
              <a:gd name="connsiteY256" fmla="*/ 5969 h 10000"/>
              <a:gd name="connsiteX257" fmla="*/ 9472 w 10000"/>
              <a:gd name="connsiteY257" fmla="*/ 5737 h 10000"/>
              <a:gd name="connsiteX258" fmla="*/ 9561 w 10000"/>
              <a:gd name="connsiteY258" fmla="*/ 5737 h 10000"/>
              <a:gd name="connsiteX259" fmla="*/ 9514 w 10000"/>
              <a:gd name="connsiteY259" fmla="*/ 5814 h 10000"/>
              <a:gd name="connsiteX260" fmla="*/ 9472 w 10000"/>
              <a:gd name="connsiteY260" fmla="*/ 6202 h 10000"/>
              <a:gd name="connsiteX261" fmla="*/ 9385 w 10000"/>
              <a:gd name="connsiteY261" fmla="*/ 6279 h 10000"/>
              <a:gd name="connsiteX262" fmla="*/ 9472 w 10000"/>
              <a:gd name="connsiteY262" fmla="*/ 6590 h 10000"/>
              <a:gd name="connsiteX263" fmla="*/ 9472 w 10000"/>
              <a:gd name="connsiteY263" fmla="*/ 6434 h 10000"/>
              <a:gd name="connsiteX264" fmla="*/ 9561 w 10000"/>
              <a:gd name="connsiteY264" fmla="*/ 6434 h 10000"/>
              <a:gd name="connsiteX265" fmla="*/ 9694 w 10000"/>
              <a:gd name="connsiteY265" fmla="*/ 6279 h 10000"/>
              <a:gd name="connsiteX266" fmla="*/ 9694 w 10000"/>
              <a:gd name="connsiteY266" fmla="*/ 6434 h 10000"/>
              <a:gd name="connsiteX267" fmla="*/ 9737 w 10000"/>
              <a:gd name="connsiteY267" fmla="*/ 6356 h 10000"/>
              <a:gd name="connsiteX268" fmla="*/ 9872 w 10000"/>
              <a:gd name="connsiteY268" fmla="*/ 6279 h 10000"/>
              <a:gd name="connsiteX269" fmla="*/ 9955 w 10000"/>
              <a:gd name="connsiteY269" fmla="*/ 6434 h 10000"/>
              <a:gd name="connsiteX270" fmla="*/ 10000 w 10000"/>
              <a:gd name="connsiteY270" fmla="*/ 6279 h 10000"/>
              <a:gd name="connsiteX271" fmla="*/ 10000 w 10000"/>
              <a:gd name="connsiteY271" fmla="*/ 3799 h 10000"/>
              <a:gd name="connsiteX272" fmla="*/ 9915 w 10000"/>
              <a:gd name="connsiteY272" fmla="*/ 3876 h 10000"/>
              <a:gd name="connsiteX273" fmla="*/ 9825 w 10000"/>
              <a:gd name="connsiteY273" fmla="*/ 3721 h 10000"/>
              <a:gd name="connsiteX274" fmla="*/ 9825 w 10000"/>
              <a:gd name="connsiteY274" fmla="*/ 3566 h 10000"/>
              <a:gd name="connsiteX275" fmla="*/ 9872 w 10000"/>
              <a:gd name="connsiteY275" fmla="*/ 3566 h 10000"/>
              <a:gd name="connsiteX276" fmla="*/ 9915 w 10000"/>
              <a:gd name="connsiteY276" fmla="*/ 3488 h 10000"/>
              <a:gd name="connsiteX277" fmla="*/ 9825 w 10000"/>
              <a:gd name="connsiteY277" fmla="*/ 3488 h 10000"/>
              <a:gd name="connsiteX278" fmla="*/ 9737 w 10000"/>
              <a:gd name="connsiteY278" fmla="*/ 3644 h 10000"/>
              <a:gd name="connsiteX279" fmla="*/ 9514 w 10000"/>
              <a:gd name="connsiteY279" fmla="*/ 3566 h 10000"/>
              <a:gd name="connsiteX280" fmla="*/ 9298 w 10000"/>
              <a:gd name="connsiteY280" fmla="*/ 3566 h 10000"/>
              <a:gd name="connsiteX281" fmla="*/ 9208 w 10000"/>
              <a:gd name="connsiteY281" fmla="*/ 3488 h 10000"/>
              <a:gd name="connsiteX282" fmla="*/ 9251 w 10000"/>
              <a:gd name="connsiteY282" fmla="*/ 3333 h 10000"/>
              <a:gd name="connsiteX283" fmla="*/ 9163 w 10000"/>
              <a:gd name="connsiteY283" fmla="*/ 3101 h 10000"/>
              <a:gd name="connsiteX284" fmla="*/ 8986 w 10000"/>
              <a:gd name="connsiteY284" fmla="*/ 3023 h 10000"/>
              <a:gd name="connsiteX285" fmla="*/ 8725 w 10000"/>
              <a:gd name="connsiteY285" fmla="*/ 3178 h 10000"/>
              <a:gd name="connsiteX286" fmla="*/ 8680 w 10000"/>
              <a:gd name="connsiteY286" fmla="*/ 2946 h 10000"/>
              <a:gd name="connsiteX287" fmla="*/ 8592 w 10000"/>
              <a:gd name="connsiteY287" fmla="*/ 2946 h 10000"/>
              <a:gd name="connsiteX288" fmla="*/ 8548 w 10000"/>
              <a:gd name="connsiteY288" fmla="*/ 2868 h 10000"/>
              <a:gd name="connsiteX289" fmla="*/ 8548 w 10000"/>
              <a:gd name="connsiteY289" fmla="*/ 2636 h 10000"/>
              <a:gd name="connsiteX290" fmla="*/ 8240 w 10000"/>
              <a:gd name="connsiteY290" fmla="*/ 2480 h 10000"/>
              <a:gd name="connsiteX291" fmla="*/ 7887 w 10000"/>
              <a:gd name="connsiteY291" fmla="*/ 2325 h 10000"/>
              <a:gd name="connsiteX292" fmla="*/ 7799 w 10000"/>
              <a:gd name="connsiteY292" fmla="*/ 2636 h 10000"/>
              <a:gd name="connsiteX293" fmla="*/ 7887 w 10000"/>
              <a:gd name="connsiteY293" fmla="*/ 2868 h 10000"/>
              <a:gd name="connsiteX294" fmla="*/ 7621 w 10000"/>
              <a:gd name="connsiteY294" fmla="*/ 2868 h 10000"/>
              <a:gd name="connsiteX295" fmla="*/ 7577 w 10000"/>
              <a:gd name="connsiteY295" fmla="*/ 2868 h 10000"/>
              <a:gd name="connsiteX296" fmla="*/ 7490 w 10000"/>
              <a:gd name="connsiteY296" fmla="*/ 2946 h 10000"/>
              <a:gd name="connsiteX297" fmla="*/ 7357 w 10000"/>
              <a:gd name="connsiteY297" fmla="*/ 2714 h 10000"/>
              <a:gd name="connsiteX298" fmla="*/ 7269 w 10000"/>
              <a:gd name="connsiteY298" fmla="*/ 3178 h 10000"/>
              <a:gd name="connsiteX299" fmla="*/ 7183 w 10000"/>
              <a:gd name="connsiteY299" fmla="*/ 3101 h 10000"/>
              <a:gd name="connsiteX300" fmla="*/ 7093 w 10000"/>
              <a:gd name="connsiteY300" fmla="*/ 2791 h 10000"/>
              <a:gd name="connsiteX301" fmla="*/ 7138 w 10000"/>
              <a:gd name="connsiteY301" fmla="*/ 2403 h 10000"/>
              <a:gd name="connsiteX302" fmla="*/ 7051 w 10000"/>
              <a:gd name="connsiteY302" fmla="*/ 2170 h 10000"/>
              <a:gd name="connsiteX303" fmla="*/ 6785 w 10000"/>
              <a:gd name="connsiteY303" fmla="*/ 2016 h 10000"/>
              <a:gd name="connsiteX304" fmla="*/ 6695 w 10000"/>
              <a:gd name="connsiteY304" fmla="*/ 2016 h 10000"/>
              <a:gd name="connsiteX305" fmla="*/ 6653 w 10000"/>
              <a:gd name="connsiteY305" fmla="*/ 2170 h 10000"/>
              <a:gd name="connsiteX306" fmla="*/ 6695 w 10000"/>
              <a:gd name="connsiteY306" fmla="*/ 2325 h 10000"/>
              <a:gd name="connsiteX307" fmla="*/ 6347 w 10000"/>
              <a:gd name="connsiteY307" fmla="*/ 2248 h 10000"/>
              <a:gd name="connsiteX308" fmla="*/ 6388 w 10000"/>
              <a:gd name="connsiteY308" fmla="*/ 2016 h 10000"/>
              <a:gd name="connsiteX309" fmla="*/ 6170 w 10000"/>
              <a:gd name="connsiteY309" fmla="*/ 1938 h 10000"/>
              <a:gd name="connsiteX310" fmla="*/ 6036 w 10000"/>
              <a:gd name="connsiteY310" fmla="*/ 2093 h 10000"/>
              <a:gd name="connsiteX311" fmla="*/ 5776 w 10000"/>
              <a:gd name="connsiteY311" fmla="*/ 1861 h 10000"/>
              <a:gd name="connsiteX0" fmla="*/ 5776 w 10000"/>
              <a:gd name="connsiteY0" fmla="*/ 1861 h 10000"/>
              <a:gd name="connsiteX1" fmla="*/ 5776 w 10000"/>
              <a:gd name="connsiteY1" fmla="*/ 1861 h 10000"/>
              <a:gd name="connsiteX2" fmla="*/ 5728 w 10000"/>
              <a:gd name="connsiteY2" fmla="*/ 1938 h 10000"/>
              <a:gd name="connsiteX3" fmla="*/ 5776 w 10000"/>
              <a:gd name="connsiteY3" fmla="*/ 2093 h 10000"/>
              <a:gd name="connsiteX4" fmla="*/ 5594 w 10000"/>
              <a:gd name="connsiteY4" fmla="*/ 2248 h 10000"/>
              <a:gd name="connsiteX5" fmla="*/ 5549 w 10000"/>
              <a:gd name="connsiteY5" fmla="*/ 2248 h 10000"/>
              <a:gd name="connsiteX6" fmla="*/ 5594 w 10000"/>
              <a:gd name="connsiteY6" fmla="*/ 2016 h 10000"/>
              <a:gd name="connsiteX7" fmla="*/ 6036 w 10000"/>
              <a:gd name="connsiteY7" fmla="*/ 1318 h 10000"/>
              <a:gd name="connsiteX8" fmla="*/ 6036 w 10000"/>
              <a:gd name="connsiteY8" fmla="*/ 853 h 10000"/>
              <a:gd name="connsiteX9" fmla="*/ 5860 w 10000"/>
              <a:gd name="connsiteY9" fmla="*/ 543 h 10000"/>
              <a:gd name="connsiteX10" fmla="*/ 5640 w 10000"/>
              <a:gd name="connsiteY10" fmla="*/ 543 h 10000"/>
              <a:gd name="connsiteX11" fmla="*/ 5640 w 10000"/>
              <a:gd name="connsiteY11" fmla="*/ 698 h 10000"/>
              <a:gd name="connsiteX12" fmla="*/ 5506 w 10000"/>
              <a:gd name="connsiteY12" fmla="*/ 698 h 10000"/>
              <a:gd name="connsiteX13" fmla="*/ 5594 w 10000"/>
              <a:gd name="connsiteY13" fmla="*/ 387 h 10000"/>
              <a:gd name="connsiteX14" fmla="*/ 5375 w 10000"/>
              <a:gd name="connsiteY14" fmla="*/ 310 h 10000"/>
              <a:gd name="connsiteX15" fmla="*/ 5506 w 10000"/>
              <a:gd name="connsiteY15" fmla="*/ 155 h 10000"/>
              <a:gd name="connsiteX16" fmla="*/ 5375 w 10000"/>
              <a:gd name="connsiteY16" fmla="*/ 0 h 10000"/>
              <a:gd name="connsiteX17" fmla="*/ 5154 w 10000"/>
              <a:gd name="connsiteY17" fmla="*/ 387 h 10000"/>
              <a:gd name="connsiteX18" fmla="*/ 5154 w 10000"/>
              <a:gd name="connsiteY18" fmla="*/ 698 h 10000"/>
              <a:gd name="connsiteX19" fmla="*/ 5022 w 10000"/>
              <a:gd name="connsiteY19" fmla="*/ 698 h 10000"/>
              <a:gd name="connsiteX20" fmla="*/ 4627 w 10000"/>
              <a:gd name="connsiteY20" fmla="*/ 853 h 10000"/>
              <a:gd name="connsiteX21" fmla="*/ 4273 w 10000"/>
              <a:gd name="connsiteY21" fmla="*/ 1240 h 10000"/>
              <a:gd name="connsiteX22" fmla="*/ 4142 w 10000"/>
              <a:gd name="connsiteY22" fmla="*/ 1551 h 10000"/>
              <a:gd name="connsiteX23" fmla="*/ 4186 w 10000"/>
              <a:gd name="connsiteY23" fmla="*/ 1938 h 10000"/>
              <a:gd name="connsiteX24" fmla="*/ 3702 w 10000"/>
              <a:gd name="connsiteY24" fmla="*/ 2093 h 10000"/>
              <a:gd name="connsiteX25" fmla="*/ 3745 w 10000"/>
              <a:gd name="connsiteY25" fmla="*/ 2559 h 10000"/>
              <a:gd name="connsiteX26" fmla="*/ 3879 w 10000"/>
              <a:gd name="connsiteY26" fmla="*/ 2791 h 10000"/>
              <a:gd name="connsiteX27" fmla="*/ 3791 w 10000"/>
              <a:gd name="connsiteY27" fmla="*/ 2868 h 10000"/>
              <a:gd name="connsiteX28" fmla="*/ 3658 w 10000"/>
              <a:gd name="connsiteY28" fmla="*/ 2559 h 10000"/>
              <a:gd name="connsiteX29" fmla="*/ 3526 w 10000"/>
              <a:gd name="connsiteY29" fmla="*/ 2480 h 10000"/>
              <a:gd name="connsiteX30" fmla="*/ 3482 w 10000"/>
              <a:gd name="connsiteY30" fmla="*/ 2559 h 10000"/>
              <a:gd name="connsiteX31" fmla="*/ 3393 w 10000"/>
              <a:gd name="connsiteY31" fmla="*/ 2403 h 10000"/>
              <a:gd name="connsiteX32" fmla="*/ 3305 w 10000"/>
              <a:gd name="connsiteY32" fmla="*/ 2248 h 10000"/>
              <a:gd name="connsiteX33" fmla="*/ 3305 w 10000"/>
              <a:gd name="connsiteY33" fmla="*/ 2325 h 10000"/>
              <a:gd name="connsiteX34" fmla="*/ 3351 w 10000"/>
              <a:gd name="connsiteY34" fmla="*/ 2559 h 10000"/>
              <a:gd name="connsiteX35" fmla="*/ 3216 w 10000"/>
              <a:gd name="connsiteY35" fmla="*/ 2946 h 10000"/>
              <a:gd name="connsiteX36" fmla="*/ 3305 w 10000"/>
              <a:gd name="connsiteY36" fmla="*/ 3256 h 10000"/>
              <a:gd name="connsiteX37" fmla="*/ 3259 w 10000"/>
              <a:gd name="connsiteY37" fmla="*/ 3566 h 10000"/>
              <a:gd name="connsiteX38" fmla="*/ 3259 w 10000"/>
              <a:gd name="connsiteY38" fmla="*/ 3799 h 10000"/>
              <a:gd name="connsiteX39" fmla="*/ 3393 w 10000"/>
              <a:gd name="connsiteY39" fmla="*/ 3799 h 10000"/>
              <a:gd name="connsiteX40" fmla="*/ 3305 w 10000"/>
              <a:gd name="connsiteY40" fmla="*/ 3876 h 10000"/>
              <a:gd name="connsiteX41" fmla="*/ 3351 w 10000"/>
              <a:gd name="connsiteY41" fmla="*/ 4263 h 10000"/>
              <a:gd name="connsiteX42" fmla="*/ 3084 w 10000"/>
              <a:gd name="connsiteY42" fmla="*/ 4652 h 10000"/>
              <a:gd name="connsiteX43" fmla="*/ 3040 w 10000"/>
              <a:gd name="connsiteY43" fmla="*/ 4574 h 10000"/>
              <a:gd name="connsiteX44" fmla="*/ 3216 w 10000"/>
              <a:gd name="connsiteY44" fmla="*/ 4186 h 10000"/>
              <a:gd name="connsiteX45" fmla="*/ 3259 w 10000"/>
              <a:gd name="connsiteY45" fmla="*/ 3954 h 10000"/>
              <a:gd name="connsiteX46" fmla="*/ 3168 w 10000"/>
              <a:gd name="connsiteY46" fmla="*/ 3799 h 10000"/>
              <a:gd name="connsiteX47" fmla="*/ 3168 w 10000"/>
              <a:gd name="connsiteY47" fmla="*/ 3023 h 10000"/>
              <a:gd name="connsiteX48" fmla="*/ 3128 w 10000"/>
              <a:gd name="connsiteY48" fmla="*/ 2868 h 10000"/>
              <a:gd name="connsiteX49" fmla="*/ 3168 w 10000"/>
              <a:gd name="connsiteY49" fmla="*/ 2403 h 10000"/>
              <a:gd name="connsiteX50" fmla="*/ 3084 w 10000"/>
              <a:gd name="connsiteY50" fmla="*/ 2325 h 10000"/>
              <a:gd name="connsiteX51" fmla="*/ 3128 w 10000"/>
              <a:gd name="connsiteY51" fmla="*/ 2248 h 10000"/>
              <a:gd name="connsiteX52" fmla="*/ 3084 w 10000"/>
              <a:gd name="connsiteY52" fmla="*/ 2093 h 10000"/>
              <a:gd name="connsiteX53" fmla="*/ 2993 w 10000"/>
              <a:gd name="connsiteY53" fmla="*/ 2170 h 10000"/>
              <a:gd name="connsiteX54" fmla="*/ 2776 w 10000"/>
              <a:gd name="connsiteY54" fmla="*/ 3178 h 10000"/>
              <a:gd name="connsiteX55" fmla="*/ 2776 w 10000"/>
              <a:gd name="connsiteY55" fmla="*/ 3566 h 10000"/>
              <a:gd name="connsiteX56" fmla="*/ 2907 w 10000"/>
              <a:gd name="connsiteY56" fmla="*/ 3876 h 10000"/>
              <a:gd name="connsiteX57" fmla="*/ 2907 w 10000"/>
              <a:gd name="connsiteY57" fmla="*/ 4031 h 10000"/>
              <a:gd name="connsiteX58" fmla="*/ 2776 w 10000"/>
              <a:gd name="connsiteY58" fmla="*/ 3876 h 10000"/>
              <a:gd name="connsiteX59" fmla="*/ 2249 w 10000"/>
              <a:gd name="connsiteY59" fmla="*/ 3256 h 10000"/>
              <a:gd name="connsiteX60" fmla="*/ 2203 w 10000"/>
              <a:gd name="connsiteY60" fmla="*/ 3411 h 10000"/>
              <a:gd name="connsiteX61" fmla="*/ 2379 w 10000"/>
              <a:gd name="connsiteY61" fmla="*/ 3799 h 10000"/>
              <a:gd name="connsiteX62" fmla="*/ 2291 w 10000"/>
              <a:gd name="connsiteY62" fmla="*/ 3876 h 10000"/>
              <a:gd name="connsiteX63" fmla="*/ 2249 w 10000"/>
              <a:gd name="connsiteY63" fmla="*/ 3799 h 10000"/>
              <a:gd name="connsiteX64" fmla="*/ 1984 w 10000"/>
              <a:gd name="connsiteY64" fmla="*/ 3954 h 10000"/>
              <a:gd name="connsiteX65" fmla="*/ 1939 w 10000"/>
              <a:gd name="connsiteY65" fmla="*/ 4109 h 10000"/>
              <a:gd name="connsiteX66" fmla="*/ 1895 w 10000"/>
              <a:gd name="connsiteY66" fmla="*/ 3954 h 10000"/>
              <a:gd name="connsiteX67" fmla="*/ 1895 w 10000"/>
              <a:gd name="connsiteY67" fmla="*/ 3799 h 10000"/>
              <a:gd name="connsiteX68" fmla="*/ 1453 w 10000"/>
              <a:gd name="connsiteY68" fmla="*/ 4263 h 10000"/>
              <a:gd name="connsiteX69" fmla="*/ 1453 w 10000"/>
              <a:gd name="connsiteY69" fmla="*/ 4418 h 10000"/>
              <a:gd name="connsiteX70" fmla="*/ 1367 w 10000"/>
              <a:gd name="connsiteY70" fmla="*/ 4496 h 10000"/>
              <a:gd name="connsiteX71" fmla="*/ 1234 w 10000"/>
              <a:gd name="connsiteY71" fmla="*/ 4341 h 10000"/>
              <a:gd name="connsiteX72" fmla="*/ 1367 w 10000"/>
              <a:gd name="connsiteY72" fmla="*/ 4186 h 10000"/>
              <a:gd name="connsiteX73" fmla="*/ 1323 w 10000"/>
              <a:gd name="connsiteY73" fmla="*/ 3954 h 10000"/>
              <a:gd name="connsiteX74" fmla="*/ 1147 w 10000"/>
              <a:gd name="connsiteY74" fmla="*/ 3876 h 10000"/>
              <a:gd name="connsiteX75" fmla="*/ 1192 w 10000"/>
              <a:gd name="connsiteY75" fmla="*/ 4031 h 10000"/>
              <a:gd name="connsiteX76" fmla="*/ 1192 w 10000"/>
              <a:gd name="connsiteY76" fmla="*/ 4418 h 10000"/>
              <a:gd name="connsiteX77" fmla="*/ 1234 w 10000"/>
              <a:gd name="connsiteY77" fmla="*/ 4574 h 10000"/>
              <a:gd name="connsiteX78" fmla="*/ 1192 w 10000"/>
              <a:gd name="connsiteY78" fmla="*/ 4729 h 10000"/>
              <a:gd name="connsiteX79" fmla="*/ 1056 w 10000"/>
              <a:gd name="connsiteY79" fmla="*/ 4652 h 10000"/>
              <a:gd name="connsiteX80" fmla="*/ 880 w 10000"/>
              <a:gd name="connsiteY80" fmla="*/ 4884 h 10000"/>
              <a:gd name="connsiteX81" fmla="*/ 968 w 10000"/>
              <a:gd name="connsiteY81" fmla="*/ 5194 h 10000"/>
              <a:gd name="connsiteX82" fmla="*/ 704 w 10000"/>
              <a:gd name="connsiteY82" fmla="*/ 5039 h 10000"/>
              <a:gd name="connsiteX83" fmla="*/ 661 w 10000"/>
              <a:gd name="connsiteY83" fmla="*/ 5116 h 10000"/>
              <a:gd name="connsiteX84" fmla="*/ 750 w 10000"/>
              <a:gd name="connsiteY84" fmla="*/ 5349 h 10000"/>
              <a:gd name="connsiteX85" fmla="*/ 661 w 10000"/>
              <a:gd name="connsiteY85" fmla="*/ 5349 h 10000"/>
              <a:gd name="connsiteX86" fmla="*/ 530 w 10000"/>
              <a:gd name="connsiteY86" fmla="*/ 5194 h 10000"/>
              <a:gd name="connsiteX87" fmla="*/ 530 w 10000"/>
              <a:gd name="connsiteY87" fmla="*/ 4729 h 10000"/>
              <a:gd name="connsiteX88" fmla="*/ 398 w 10000"/>
              <a:gd name="connsiteY88" fmla="*/ 4574 h 10000"/>
              <a:gd name="connsiteX89" fmla="*/ 352 w 10000"/>
              <a:gd name="connsiteY89" fmla="*/ 4418 h 10000"/>
              <a:gd name="connsiteX90" fmla="*/ 441 w 10000"/>
              <a:gd name="connsiteY90" fmla="*/ 4496 h 10000"/>
              <a:gd name="connsiteX91" fmla="*/ 792 w 10000"/>
              <a:gd name="connsiteY91" fmla="*/ 4729 h 10000"/>
              <a:gd name="connsiteX92" fmla="*/ 1013 w 10000"/>
              <a:gd name="connsiteY92" fmla="*/ 4496 h 10000"/>
              <a:gd name="connsiteX93" fmla="*/ 968 w 10000"/>
              <a:gd name="connsiteY93" fmla="*/ 4263 h 10000"/>
              <a:gd name="connsiteX94" fmla="*/ 704 w 10000"/>
              <a:gd name="connsiteY94" fmla="*/ 3799 h 10000"/>
              <a:gd name="connsiteX95" fmla="*/ 441 w 10000"/>
              <a:gd name="connsiteY95" fmla="*/ 3644 h 10000"/>
              <a:gd name="connsiteX96" fmla="*/ 441 w 10000"/>
              <a:gd name="connsiteY96" fmla="*/ 3566 h 10000"/>
              <a:gd name="connsiteX97" fmla="*/ 352 w 10000"/>
              <a:gd name="connsiteY97" fmla="*/ 3488 h 10000"/>
              <a:gd name="connsiteX98" fmla="*/ 263 w 10000"/>
              <a:gd name="connsiteY98" fmla="*/ 3566 h 10000"/>
              <a:gd name="connsiteX99" fmla="*/ 263 w 10000"/>
              <a:gd name="connsiteY99" fmla="*/ 3644 h 10000"/>
              <a:gd name="connsiteX100" fmla="*/ 221 w 10000"/>
              <a:gd name="connsiteY100" fmla="*/ 3644 h 10000"/>
              <a:gd name="connsiteX101" fmla="*/ 131 w 10000"/>
              <a:gd name="connsiteY101" fmla="*/ 3799 h 10000"/>
              <a:gd name="connsiteX102" fmla="*/ 131 w 10000"/>
              <a:gd name="connsiteY102" fmla="*/ 4031 h 10000"/>
              <a:gd name="connsiteX103" fmla="*/ 221 w 10000"/>
              <a:gd name="connsiteY103" fmla="*/ 4186 h 10000"/>
              <a:gd name="connsiteX104" fmla="*/ 175 w 10000"/>
              <a:gd name="connsiteY104" fmla="*/ 4418 h 10000"/>
              <a:gd name="connsiteX105" fmla="*/ 221 w 10000"/>
              <a:gd name="connsiteY105" fmla="*/ 4807 h 10000"/>
              <a:gd name="connsiteX106" fmla="*/ 175 w 10000"/>
              <a:gd name="connsiteY106" fmla="*/ 5039 h 10000"/>
              <a:gd name="connsiteX107" fmla="*/ 263 w 10000"/>
              <a:gd name="connsiteY107" fmla="*/ 5271 h 10000"/>
              <a:gd name="connsiteX108" fmla="*/ 221 w 10000"/>
              <a:gd name="connsiteY108" fmla="*/ 5426 h 10000"/>
              <a:gd name="connsiteX109" fmla="*/ 308 w 10000"/>
              <a:gd name="connsiteY109" fmla="*/ 5582 h 10000"/>
              <a:gd name="connsiteX110" fmla="*/ 308 w 10000"/>
              <a:gd name="connsiteY110" fmla="*/ 5659 h 10000"/>
              <a:gd name="connsiteX111" fmla="*/ 175 w 10000"/>
              <a:gd name="connsiteY111" fmla="*/ 6047 h 10000"/>
              <a:gd name="connsiteX112" fmla="*/ 42 w 10000"/>
              <a:gd name="connsiteY112" fmla="*/ 6202 h 10000"/>
              <a:gd name="connsiteX113" fmla="*/ 88 w 10000"/>
              <a:gd name="connsiteY113" fmla="*/ 6202 h 10000"/>
              <a:gd name="connsiteX114" fmla="*/ 175 w 10000"/>
              <a:gd name="connsiteY114" fmla="*/ 6356 h 10000"/>
              <a:gd name="connsiteX115" fmla="*/ 88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88 w 10000"/>
              <a:gd name="connsiteY122" fmla="*/ 7209 h 10000"/>
              <a:gd name="connsiteX123" fmla="*/ 221 w 10000"/>
              <a:gd name="connsiteY123" fmla="*/ 7287 h 10000"/>
              <a:gd name="connsiteX124" fmla="*/ 263 w 10000"/>
              <a:gd name="connsiteY124" fmla="*/ 7364 h 10000"/>
              <a:gd name="connsiteX125" fmla="*/ 263 w 10000"/>
              <a:gd name="connsiteY125" fmla="*/ 7520 h 10000"/>
              <a:gd name="connsiteX126" fmla="*/ 352 w 10000"/>
              <a:gd name="connsiteY126" fmla="*/ 7752 h 10000"/>
              <a:gd name="connsiteX127" fmla="*/ 398 w 10000"/>
              <a:gd name="connsiteY127" fmla="*/ 7752 h 10000"/>
              <a:gd name="connsiteX128" fmla="*/ 352 w 10000"/>
              <a:gd name="connsiteY128" fmla="*/ 7907 h 10000"/>
              <a:gd name="connsiteX129" fmla="*/ 308 w 10000"/>
              <a:gd name="connsiteY129" fmla="*/ 7830 h 10000"/>
              <a:gd name="connsiteX130" fmla="*/ 308 w 10000"/>
              <a:gd name="connsiteY130" fmla="*/ 7907 h 10000"/>
              <a:gd name="connsiteX131" fmla="*/ 352 w 10000"/>
              <a:gd name="connsiteY131" fmla="*/ 8062 h 10000"/>
              <a:gd name="connsiteX132" fmla="*/ 486 w 10000"/>
              <a:gd name="connsiteY132" fmla="*/ 8062 h 10000"/>
              <a:gd name="connsiteX133" fmla="*/ 530 w 10000"/>
              <a:gd name="connsiteY133" fmla="*/ 8140 h 10000"/>
              <a:gd name="connsiteX134" fmla="*/ 486 w 10000"/>
              <a:gd name="connsiteY134" fmla="*/ 8140 h 10000"/>
              <a:gd name="connsiteX135" fmla="*/ 530 w 10000"/>
              <a:gd name="connsiteY135" fmla="*/ 8217 h 10000"/>
              <a:gd name="connsiteX136" fmla="*/ 572 w 10000"/>
              <a:gd name="connsiteY136" fmla="*/ 8217 h 10000"/>
              <a:gd name="connsiteX137" fmla="*/ 616 w 10000"/>
              <a:gd name="connsiteY137" fmla="*/ 8372 h 10000"/>
              <a:gd name="connsiteX138" fmla="*/ 661 w 10000"/>
              <a:gd name="connsiteY138" fmla="*/ 8449 h 10000"/>
              <a:gd name="connsiteX139" fmla="*/ 704 w 10000"/>
              <a:gd name="connsiteY139" fmla="*/ 8372 h 10000"/>
              <a:gd name="connsiteX140" fmla="*/ 926 w 10000"/>
              <a:gd name="connsiteY140" fmla="*/ 8605 h 10000"/>
              <a:gd name="connsiteX141" fmla="*/ 880 w 10000"/>
              <a:gd name="connsiteY141" fmla="*/ 8915 h 10000"/>
              <a:gd name="connsiteX142" fmla="*/ 835 w 10000"/>
              <a:gd name="connsiteY142" fmla="*/ 8838 h 10000"/>
              <a:gd name="connsiteX143" fmla="*/ 792 w 10000"/>
              <a:gd name="connsiteY143" fmla="*/ 8915 h 10000"/>
              <a:gd name="connsiteX144" fmla="*/ 792 w 10000"/>
              <a:gd name="connsiteY144" fmla="*/ 9070 h 10000"/>
              <a:gd name="connsiteX145" fmla="*/ 835 w 10000"/>
              <a:gd name="connsiteY145" fmla="*/ 8993 h 10000"/>
              <a:gd name="connsiteX146" fmla="*/ 880 w 10000"/>
              <a:gd name="connsiteY146" fmla="*/ 9070 h 10000"/>
              <a:gd name="connsiteX147" fmla="*/ 750 w 10000"/>
              <a:gd name="connsiteY147" fmla="*/ 9147 h 10000"/>
              <a:gd name="connsiteX148" fmla="*/ 792 w 10000"/>
              <a:gd name="connsiteY148" fmla="*/ 9225 h 10000"/>
              <a:gd name="connsiteX149" fmla="*/ 704 w 10000"/>
              <a:gd name="connsiteY149" fmla="*/ 9380 h 10000"/>
              <a:gd name="connsiteX150" fmla="*/ 661 w 10000"/>
              <a:gd name="connsiteY150" fmla="*/ 9380 h 10000"/>
              <a:gd name="connsiteX151" fmla="*/ 704 w 10000"/>
              <a:gd name="connsiteY151" fmla="*/ 9380 h 10000"/>
              <a:gd name="connsiteX152" fmla="*/ 880 w 10000"/>
              <a:gd name="connsiteY152" fmla="*/ 9691 h 10000"/>
              <a:gd name="connsiteX153" fmla="*/ 1103 w 10000"/>
              <a:gd name="connsiteY153" fmla="*/ 9691 h 10000"/>
              <a:gd name="connsiteX154" fmla="*/ 1192 w 10000"/>
              <a:gd name="connsiteY154" fmla="*/ 9768 h 10000"/>
              <a:gd name="connsiteX155" fmla="*/ 1278 w 10000"/>
              <a:gd name="connsiteY155" fmla="*/ 9768 h 10000"/>
              <a:gd name="connsiteX156" fmla="*/ 1367 w 10000"/>
              <a:gd name="connsiteY156" fmla="*/ 9923 h 10000"/>
              <a:gd name="connsiteX157" fmla="*/ 1410 w 10000"/>
              <a:gd name="connsiteY157" fmla="*/ 10000 h 10000"/>
              <a:gd name="connsiteX158" fmla="*/ 1453 w 10000"/>
              <a:gd name="connsiteY158" fmla="*/ 10000 h 10000"/>
              <a:gd name="connsiteX159" fmla="*/ 1499 w 10000"/>
              <a:gd name="connsiteY159" fmla="*/ 9923 h 10000"/>
              <a:gd name="connsiteX160" fmla="*/ 1410 w 10000"/>
              <a:gd name="connsiteY160" fmla="*/ 9768 h 10000"/>
              <a:gd name="connsiteX161" fmla="*/ 1410 w 10000"/>
              <a:gd name="connsiteY161" fmla="*/ 9613 h 10000"/>
              <a:gd name="connsiteX162" fmla="*/ 1367 w 10000"/>
              <a:gd name="connsiteY162" fmla="*/ 9457 h 10000"/>
              <a:gd name="connsiteX163" fmla="*/ 1453 w 10000"/>
              <a:gd name="connsiteY163" fmla="*/ 9225 h 10000"/>
              <a:gd name="connsiteX164" fmla="*/ 1499 w 10000"/>
              <a:gd name="connsiteY164" fmla="*/ 9302 h 10000"/>
              <a:gd name="connsiteX165" fmla="*/ 1543 w 10000"/>
              <a:gd name="connsiteY165" fmla="*/ 9225 h 10000"/>
              <a:gd name="connsiteX166" fmla="*/ 1543 w 10000"/>
              <a:gd name="connsiteY166" fmla="*/ 9147 h 10000"/>
              <a:gd name="connsiteX167" fmla="*/ 1499 w 10000"/>
              <a:gd name="connsiteY167" fmla="*/ 9147 h 10000"/>
              <a:gd name="connsiteX168" fmla="*/ 1543 w 10000"/>
              <a:gd name="connsiteY168" fmla="*/ 9070 h 10000"/>
              <a:gd name="connsiteX169" fmla="*/ 1499 w 10000"/>
              <a:gd name="connsiteY169" fmla="*/ 8915 h 10000"/>
              <a:gd name="connsiteX170" fmla="*/ 1410 w 10000"/>
              <a:gd name="connsiteY170" fmla="*/ 8915 h 10000"/>
              <a:gd name="connsiteX171" fmla="*/ 1367 w 10000"/>
              <a:gd name="connsiteY171" fmla="*/ 8760 h 10000"/>
              <a:gd name="connsiteX172" fmla="*/ 1410 w 10000"/>
              <a:gd name="connsiteY172" fmla="*/ 8372 h 10000"/>
              <a:gd name="connsiteX173" fmla="*/ 1499 w 10000"/>
              <a:gd name="connsiteY173" fmla="*/ 8528 h 10000"/>
              <a:gd name="connsiteX174" fmla="*/ 1543 w 10000"/>
              <a:gd name="connsiteY174" fmla="*/ 8528 h 10000"/>
              <a:gd name="connsiteX175" fmla="*/ 1499 w 10000"/>
              <a:gd name="connsiteY175" fmla="*/ 8372 h 10000"/>
              <a:gd name="connsiteX176" fmla="*/ 1631 w 10000"/>
              <a:gd name="connsiteY176" fmla="*/ 8140 h 10000"/>
              <a:gd name="connsiteX177" fmla="*/ 1720 w 10000"/>
              <a:gd name="connsiteY177" fmla="*/ 8217 h 10000"/>
              <a:gd name="connsiteX178" fmla="*/ 1762 w 10000"/>
              <a:gd name="connsiteY178" fmla="*/ 8140 h 10000"/>
              <a:gd name="connsiteX179" fmla="*/ 1851 w 10000"/>
              <a:gd name="connsiteY179" fmla="*/ 8217 h 10000"/>
              <a:gd name="connsiteX180" fmla="*/ 1984 w 10000"/>
              <a:gd name="connsiteY180" fmla="*/ 8372 h 10000"/>
              <a:gd name="connsiteX181" fmla="*/ 2072 w 10000"/>
              <a:gd name="connsiteY181" fmla="*/ 8295 h 10000"/>
              <a:gd name="connsiteX182" fmla="*/ 2159 w 10000"/>
              <a:gd name="connsiteY182" fmla="*/ 8295 h 10000"/>
              <a:gd name="connsiteX183" fmla="*/ 2203 w 10000"/>
              <a:gd name="connsiteY183" fmla="*/ 8372 h 10000"/>
              <a:gd name="connsiteX184" fmla="*/ 2379 w 10000"/>
              <a:gd name="connsiteY184" fmla="*/ 8372 h 10000"/>
              <a:gd name="connsiteX185" fmla="*/ 2422 w 10000"/>
              <a:gd name="connsiteY185" fmla="*/ 8217 h 10000"/>
              <a:gd name="connsiteX186" fmla="*/ 2291 w 10000"/>
              <a:gd name="connsiteY186" fmla="*/ 8140 h 10000"/>
              <a:gd name="connsiteX187" fmla="*/ 2379 w 10000"/>
              <a:gd name="connsiteY187" fmla="*/ 8062 h 10000"/>
              <a:gd name="connsiteX188" fmla="*/ 2335 w 10000"/>
              <a:gd name="connsiteY188" fmla="*/ 7985 h 10000"/>
              <a:gd name="connsiteX189" fmla="*/ 2379 w 10000"/>
              <a:gd name="connsiteY189" fmla="*/ 7907 h 10000"/>
              <a:gd name="connsiteX190" fmla="*/ 2379 w 10000"/>
              <a:gd name="connsiteY190" fmla="*/ 7675 h 10000"/>
              <a:gd name="connsiteX191" fmla="*/ 2466 w 10000"/>
              <a:gd name="connsiteY191" fmla="*/ 7752 h 10000"/>
              <a:gd name="connsiteX192" fmla="*/ 2864 w 10000"/>
              <a:gd name="connsiteY192" fmla="*/ 7520 h 10000"/>
              <a:gd name="connsiteX193" fmla="*/ 2864 w 10000"/>
              <a:gd name="connsiteY193" fmla="*/ 7442 h 10000"/>
              <a:gd name="connsiteX194" fmla="*/ 2907 w 10000"/>
              <a:gd name="connsiteY194" fmla="*/ 7442 h 10000"/>
              <a:gd name="connsiteX195" fmla="*/ 3040 w 10000"/>
              <a:gd name="connsiteY195" fmla="*/ 7442 h 10000"/>
              <a:gd name="connsiteX196" fmla="*/ 3084 w 10000"/>
              <a:gd name="connsiteY196" fmla="*/ 7598 h 10000"/>
              <a:gd name="connsiteX197" fmla="*/ 3084 w 10000"/>
              <a:gd name="connsiteY197" fmla="*/ 7675 h 10000"/>
              <a:gd name="connsiteX198" fmla="*/ 3128 w 10000"/>
              <a:gd name="connsiteY198" fmla="*/ 7675 h 10000"/>
              <a:gd name="connsiteX199" fmla="*/ 3216 w 10000"/>
              <a:gd name="connsiteY199" fmla="*/ 7752 h 10000"/>
              <a:gd name="connsiteX200" fmla="*/ 3216 w 10000"/>
              <a:gd name="connsiteY200" fmla="*/ 7830 h 10000"/>
              <a:gd name="connsiteX201" fmla="*/ 3305 w 10000"/>
              <a:gd name="connsiteY201" fmla="*/ 7830 h 10000"/>
              <a:gd name="connsiteX202" fmla="*/ 3393 w 10000"/>
              <a:gd name="connsiteY202" fmla="*/ 7675 h 10000"/>
              <a:gd name="connsiteX203" fmla="*/ 3482 w 10000"/>
              <a:gd name="connsiteY203" fmla="*/ 7598 h 10000"/>
              <a:gd name="connsiteX204" fmla="*/ 3526 w 10000"/>
              <a:gd name="connsiteY204" fmla="*/ 7830 h 10000"/>
              <a:gd name="connsiteX205" fmla="*/ 3702 w 10000"/>
              <a:gd name="connsiteY205" fmla="*/ 8372 h 10000"/>
              <a:gd name="connsiteX206" fmla="*/ 3745 w 10000"/>
              <a:gd name="connsiteY206" fmla="*/ 8217 h 10000"/>
              <a:gd name="connsiteX207" fmla="*/ 3791 w 10000"/>
              <a:gd name="connsiteY207" fmla="*/ 8372 h 10000"/>
              <a:gd name="connsiteX208" fmla="*/ 3923 w 10000"/>
              <a:gd name="connsiteY208" fmla="*/ 8295 h 10000"/>
              <a:gd name="connsiteX209" fmla="*/ 4056 w 10000"/>
              <a:gd name="connsiteY209" fmla="*/ 8528 h 10000"/>
              <a:gd name="connsiteX210" fmla="*/ 4142 w 10000"/>
              <a:gd name="connsiteY210" fmla="*/ 8605 h 10000"/>
              <a:gd name="connsiteX211" fmla="*/ 4142 w 10000"/>
              <a:gd name="connsiteY211" fmla="*/ 8528 h 10000"/>
              <a:gd name="connsiteX212" fmla="*/ 4186 w 10000"/>
              <a:gd name="connsiteY212" fmla="*/ 8683 h 10000"/>
              <a:gd name="connsiteX213" fmla="*/ 4142 w 10000"/>
              <a:gd name="connsiteY213" fmla="*/ 8760 h 10000"/>
              <a:gd name="connsiteX214" fmla="*/ 4231 w 10000"/>
              <a:gd name="connsiteY214" fmla="*/ 8683 h 10000"/>
              <a:gd name="connsiteX215" fmla="*/ 4273 w 10000"/>
              <a:gd name="connsiteY215" fmla="*/ 8605 h 10000"/>
              <a:gd name="connsiteX216" fmla="*/ 4495 w 10000"/>
              <a:gd name="connsiteY216" fmla="*/ 8372 h 10000"/>
              <a:gd name="connsiteX217" fmla="*/ 4670 w 10000"/>
              <a:gd name="connsiteY217" fmla="*/ 8449 h 10000"/>
              <a:gd name="connsiteX218" fmla="*/ 4758 w 10000"/>
              <a:gd name="connsiteY218" fmla="*/ 8528 h 10000"/>
              <a:gd name="connsiteX219" fmla="*/ 4933 w 10000"/>
              <a:gd name="connsiteY219" fmla="*/ 8528 h 10000"/>
              <a:gd name="connsiteX220" fmla="*/ 4933 w 10000"/>
              <a:gd name="connsiteY220" fmla="*/ 8372 h 10000"/>
              <a:gd name="connsiteX221" fmla="*/ 4933 w 10000"/>
              <a:gd name="connsiteY221" fmla="*/ 8217 h 10000"/>
              <a:gd name="connsiteX222" fmla="*/ 5022 w 10000"/>
              <a:gd name="connsiteY222" fmla="*/ 8140 h 10000"/>
              <a:gd name="connsiteX223" fmla="*/ 5198 w 10000"/>
              <a:gd name="connsiteY223" fmla="*/ 8217 h 10000"/>
              <a:gd name="connsiteX224" fmla="*/ 5286 w 10000"/>
              <a:gd name="connsiteY224" fmla="*/ 8449 h 10000"/>
              <a:gd name="connsiteX225" fmla="*/ 5331 w 10000"/>
              <a:gd name="connsiteY225" fmla="*/ 8449 h 10000"/>
              <a:gd name="connsiteX226" fmla="*/ 5419 w 10000"/>
              <a:gd name="connsiteY226" fmla="*/ 8372 h 10000"/>
              <a:gd name="connsiteX227" fmla="*/ 5686 w 10000"/>
              <a:gd name="connsiteY227" fmla="*/ 8605 h 10000"/>
              <a:gd name="connsiteX228" fmla="*/ 5817 w 10000"/>
              <a:gd name="connsiteY228" fmla="*/ 8683 h 10000"/>
              <a:gd name="connsiteX229" fmla="*/ 5993 w 10000"/>
              <a:gd name="connsiteY229" fmla="*/ 8605 h 10000"/>
              <a:gd name="connsiteX230" fmla="*/ 6079 w 10000"/>
              <a:gd name="connsiteY230" fmla="*/ 8449 h 10000"/>
              <a:gd name="connsiteX231" fmla="*/ 6212 w 10000"/>
              <a:gd name="connsiteY231" fmla="*/ 8528 h 10000"/>
              <a:gd name="connsiteX232" fmla="*/ 6300 w 10000"/>
              <a:gd name="connsiteY232" fmla="*/ 8605 h 10000"/>
              <a:gd name="connsiteX233" fmla="*/ 7799 w 10000"/>
              <a:gd name="connsiteY233" fmla="*/ 7675 h 10000"/>
              <a:gd name="connsiteX234" fmla="*/ 7712 w 10000"/>
              <a:gd name="connsiteY234" fmla="*/ 7675 h 10000"/>
              <a:gd name="connsiteX235" fmla="*/ 7667 w 10000"/>
              <a:gd name="connsiteY235" fmla="*/ 7675 h 10000"/>
              <a:gd name="connsiteX236" fmla="*/ 7621 w 10000"/>
              <a:gd name="connsiteY236" fmla="*/ 7598 h 10000"/>
              <a:gd name="connsiteX237" fmla="*/ 7536 w 10000"/>
              <a:gd name="connsiteY237" fmla="*/ 7598 h 10000"/>
              <a:gd name="connsiteX238" fmla="*/ 7536 w 10000"/>
              <a:gd name="connsiteY238" fmla="*/ 7520 h 10000"/>
              <a:gd name="connsiteX239" fmla="*/ 7667 w 10000"/>
              <a:gd name="connsiteY239" fmla="*/ 7287 h 10000"/>
              <a:gd name="connsiteX240" fmla="*/ 8065 w 10000"/>
              <a:gd name="connsiteY240" fmla="*/ 6590 h 10000"/>
              <a:gd name="connsiteX241" fmla="*/ 8240 w 10000"/>
              <a:gd name="connsiteY241" fmla="*/ 6512 h 10000"/>
              <a:gd name="connsiteX242" fmla="*/ 8282 w 10000"/>
              <a:gd name="connsiteY242" fmla="*/ 6590 h 10000"/>
              <a:gd name="connsiteX243" fmla="*/ 8329 w 10000"/>
              <a:gd name="connsiteY243" fmla="*/ 6512 h 10000"/>
              <a:gd name="connsiteX244" fmla="*/ 8458 w 10000"/>
              <a:gd name="connsiteY244" fmla="*/ 6590 h 10000"/>
              <a:gd name="connsiteX245" fmla="*/ 8506 w 10000"/>
              <a:gd name="connsiteY245" fmla="*/ 6434 h 10000"/>
              <a:gd name="connsiteX246" fmla="*/ 8635 w 10000"/>
              <a:gd name="connsiteY246" fmla="*/ 6512 h 10000"/>
              <a:gd name="connsiteX247" fmla="*/ 8680 w 10000"/>
              <a:gd name="connsiteY247" fmla="*/ 6512 h 10000"/>
              <a:gd name="connsiteX248" fmla="*/ 8635 w 10000"/>
              <a:gd name="connsiteY248" fmla="*/ 6590 h 10000"/>
              <a:gd name="connsiteX249" fmla="*/ 8635 w 10000"/>
              <a:gd name="connsiteY249" fmla="*/ 6667 h 10000"/>
              <a:gd name="connsiteX250" fmla="*/ 8900 w 10000"/>
              <a:gd name="connsiteY250" fmla="*/ 6590 h 10000"/>
              <a:gd name="connsiteX251" fmla="*/ 8856 w 10000"/>
              <a:gd name="connsiteY251" fmla="*/ 6512 h 10000"/>
              <a:gd name="connsiteX252" fmla="*/ 9034 w 10000"/>
              <a:gd name="connsiteY252" fmla="*/ 5969 h 10000"/>
              <a:gd name="connsiteX253" fmla="*/ 9251 w 10000"/>
              <a:gd name="connsiteY253" fmla="*/ 5892 h 10000"/>
              <a:gd name="connsiteX254" fmla="*/ 9251 w 10000"/>
              <a:gd name="connsiteY254" fmla="*/ 6047 h 10000"/>
              <a:gd name="connsiteX255" fmla="*/ 9251 w 10000"/>
              <a:gd name="connsiteY255" fmla="*/ 6202 h 10000"/>
              <a:gd name="connsiteX256" fmla="*/ 9472 w 10000"/>
              <a:gd name="connsiteY256" fmla="*/ 5969 h 10000"/>
              <a:gd name="connsiteX257" fmla="*/ 9472 w 10000"/>
              <a:gd name="connsiteY257" fmla="*/ 5737 h 10000"/>
              <a:gd name="connsiteX258" fmla="*/ 9561 w 10000"/>
              <a:gd name="connsiteY258" fmla="*/ 5737 h 10000"/>
              <a:gd name="connsiteX259" fmla="*/ 9514 w 10000"/>
              <a:gd name="connsiteY259" fmla="*/ 5814 h 10000"/>
              <a:gd name="connsiteX260" fmla="*/ 9472 w 10000"/>
              <a:gd name="connsiteY260" fmla="*/ 6202 h 10000"/>
              <a:gd name="connsiteX261" fmla="*/ 9385 w 10000"/>
              <a:gd name="connsiteY261" fmla="*/ 6279 h 10000"/>
              <a:gd name="connsiteX262" fmla="*/ 9472 w 10000"/>
              <a:gd name="connsiteY262" fmla="*/ 6590 h 10000"/>
              <a:gd name="connsiteX263" fmla="*/ 9472 w 10000"/>
              <a:gd name="connsiteY263" fmla="*/ 6434 h 10000"/>
              <a:gd name="connsiteX264" fmla="*/ 9561 w 10000"/>
              <a:gd name="connsiteY264" fmla="*/ 6434 h 10000"/>
              <a:gd name="connsiteX265" fmla="*/ 9694 w 10000"/>
              <a:gd name="connsiteY265" fmla="*/ 6279 h 10000"/>
              <a:gd name="connsiteX266" fmla="*/ 9694 w 10000"/>
              <a:gd name="connsiteY266" fmla="*/ 6434 h 10000"/>
              <a:gd name="connsiteX267" fmla="*/ 9737 w 10000"/>
              <a:gd name="connsiteY267" fmla="*/ 6356 h 10000"/>
              <a:gd name="connsiteX268" fmla="*/ 9872 w 10000"/>
              <a:gd name="connsiteY268" fmla="*/ 6279 h 10000"/>
              <a:gd name="connsiteX269" fmla="*/ 9955 w 10000"/>
              <a:gd name="connsiteY269" fmla="*/ 6434 h 10000"/>
              <a:gd name="connsiteX270" fmla="*/ 10000 w 10000"/>
              <a:gd name="connsiteY270" fmla="*/ 6279 h 10000"/>
              <a:gd name="connsiteX271" fmla="*/ 9915 w 10000"/>
              <a:gd name="connsiteY271" fmla="*/ 3876 h 10000"/>
              <a:gd name="connsiteX272" fmla="*/ 9825 w 10000"/>
              <a:gd name="connsiteY272" fmla="*/ 3721 h 10000"/>
              <a:gd name="connsiteX273" fmla="*/ 9825 w 10000"/>
              <a:gd name="connsiteY273" fmla="*/ 3566 h 10000"/>
              <a:gd name="connsiteX274" fmla="*/ 9872 w 10000"/>
              <a:gd name="connsiteY274" fmla="*/ 3566 h 10000"/>
              <a:gd name="connsiteX275" fmla="*/ 9915 w 10000"/>
              <a:gd name="connsiteY275" fmla="*/ 3488 h 10000"/>
              <a:gd name="connsiteX276" fmla="*/ 9825 w 10000"/>
              <a:gd name="connsiteY276" fmla="*/ 3488 h 10000"/>
              <a:gd name="connsiteX277" fmla="*/ 9737 w 10000"/>
              <a:gd name="connsiteY277" fmla="*/ 3644 h 10000"/>
              <a:gd name="connsiteX278" fmla="*/ 9514 w 10000"/>
              <a:gd name="connsiteY278" fmla="*/ 3566 h 10000"/>
              <a:gd name="connsiteX279" fmla="*/ 9298 w 10000"/>
              <a:gd name="connsiteY279" fmla="*/ 3566 h 10000"/>
              <a:gd name="connsiteX280" fmla="*/ 9208 w 10000"/>
              <a:gd name="connsiteY280" fmla="*/ 3488 h 10000"/>
              <a:gd name="connsiteX281" fmla="*/ 9251 w 10000"/>
              <a:gd name="connsiteY281" fmla="*/ 3333 h 10000"/>
              <a:gd name="connsiteX282" fmla="*/ 9163 w 10000"/>
              <a:gd name="connsiteY282" fmla="*/ 3101 h 10000"/>
              <a:gd name="connsiteX283" fmla="*/ 8986 w 10000"/>
              <a:gd name="connsiteY283" fmla="*/ 3023 h 10000"/>
              <a:gd name="connsiteX284" fmla="*/ 8725 w 10000"/>
              <a:gd name="connsiteY284" fmla="*/ 3178 h 10000"/>
              <a:gd name="connsiteX285" fmla="*/ 8680 w 10000"/>
              <a:gd name="connsiteY285" fmla="*/ 2946 h 10000"/>
              <a:gd name="connsiteX286" fmla="*/ 8592 w 10000"/>
              <a:gd name="connsiteY286" fmla="*/ 2946 h 10000"/>
              <a:gd name="connsiteX287" fmla="*/ 8548 w 10000"/>
              <a:gd name="connsiteY287" fmla="*/ 2868 h 10000"/>
              <a:gd name="connsiteX288" fmla="*/ 8548 w 10000"/>
              <a:gd name="connsiteY288" fmla="*/ 2636 h 10000"/>
              <a:gd name="connsiteX289" fmla="*/ 8240 w 10000"/>
              <a:gd name="connsiteY289" fmla="*/ 2480 h 10000"/>
              <a:gd name="connsiteX290" fmla="*/ 7887 w 10000"/>
              <a:gd name="connsiteY290" fmla="*/ 2325 h 10000"/>
              <a:gd name="connsiteX291" fmla="*/ 7799 w 10000"/>
              <a:gd name="connsiteY291" fmla="*/ 2636 h 10000"/>
              <a:gd name="connsiteX292" fmla="*/ 7887 w 10000"/>
              <a:gd name="connsiteY292" fmla="*/ 2868 h 10000"/>
              <a:gd name="connsiteX293" fmla="*/ 7621 w 10000"/>
              <a:gd name="connsiteY293" fmla="*/ 2868 h 10000"/>
              <a:gd name="connsiteX294" fmla="*/ 7577 w 10000"/>
              <a:gd name="connsiteY294" fmla="*/ 2868 h 10000"/>
              <a:gd name="connsiteX295" fmla="*/ 7490 w 10000"/>
              <a:gd name="connsiteY295" fmla="*/ 2946 h 10000"/>
              <a:gd name="connsiteX296" fmla="*/ 7357 w 10000"/>
              <a:gd name="connsiteY296" fmla="*/ 2714 h 10000"/>
              <a:gd name="connsiteX297" fmla="*/ 7269 w 10000"/>
              <a:gd name="connsiteY297" fmla="*/ 3178 h 10000"/>
              <a:gd name="connsiteX298" fmla="*/ 7183 w 10000"/>
              <a:gd name="connsiteY298" fmla="*/ 3101 h 10000"/>
              <a:gd name="connsiteX299" fmla="*/ 7093 w 10000"/>
              <a:gd name="connsiteY299" fmla="*/ 2791 h 10000"/>
              <a:gd name="connsiteX300" fmla="*/ 7138 w 10000"/>
              <a:gd name="connsiteY300" fmla="*/ 2403 h 10000"/>
              <a:gd name="connsiteX301" fmla="*/ 7051 w 10000"/>
              <a:gd name="connsiteY301" fmla="*/ 2170 h 10000"/>
              <a:gd name="connsiteX302" fmla="*/ 6785 w 10000"/>
              <a:gd name="connsiteY302" fmla="*/ 2016 h 10000"/>
              <a:gd name="connsiteX303" fmla="*/ 6695 w 10000"/>
              <a:gd name="connsiteY303" fmla="*/ 2016 h 10000"/>
              <a:gd name="connsiteX304" fmla="*/ 6653 w 10000"/>
              <a:gd name="connsiteY304" fmla="*/ 2170 h 10000"/>
              <a:gd name="connsiteX305" fmla="*/ 6695 w 10000"/>
              <a:gd name="connsiteY305" fmla="*/ 2325 h 10000"/>
              <a:gd name="connsiteX306" fmla="*/ 6347 w 10000"/>
              <a:gd name="connsiteY306" fmla="*/ 2248 h 10000"/>
              <a:gd name="connsiteX307" fmla="*/ 6388 w 10000"/>
              <a:gd name="connsiteY307" fmla="*/ 2016 h 10000"/>
              <a:gd name="connsiteX308" fmla="*/ 6170 w 10000"/>
              <a:gd name="connsiteY308" fmla="*/ 1938 h 10000"/>
              <a:gd name="connsiteX309" fmla="*/ 6036 w 10000"/>
              <a:gd name="connsiteY309" fmla="*/ 2093 h 10000"/>
              <a:gd name="connsiteX310" fmla="*/ 5776 w 10000"/>
              <a:gd name="connsiteY310" fmla="*/ 1861 h 10000"/>
              <a:gd name="connsiteX0" fmla="*/ 5776 w 9956"/>
              <a:gd name="connsiteY0" fmla="*/ 1861 h 10000"/>
              <a:gd name="connsiteX1" fmla="*/ 5776 w 9956"/>
              <a:gd name="connsiteY1" fmla="*/ 1861 h 10000"/>
              <a:gd name="connsiteX2" fmla="*/ 5728 w 9956"/>
              <a:gd name="connsiteY2" fmla="*/ 1938 h 10000"/>
              <a:gd name="connsiteX3" fmla="*/ 5776 w 9956"/>
              <a:gd name="connsiteY3" fmla="*/ 2093 h 10000"/>
              <a:gd name="connsiteX4" fmla="*/ 5594 w 9956"/>
              <a:gd name="connsiteY4" fmla="*/ 2248 h 10000"/>
              <a:gd name="connsiteX5" fmla="*/ 5549 w 9956"/>
              <a:gd name="connsiteY5" fmla="*/ 2248 h 10000"/>
              <a:gd name="connsiteX6" fmla="*/ 5594 w 9956"/>
              <a:gd name="connsiteY6" fmla="*/ 2016 h 10000"/>
              <a:gd name="connsiteX7" fmla="*/ 6036 w 9956"/>
              <a:gd name="connsiteY7" fmla="*/ 1318 h 10000"/>
              <a:gd name="connsiteX8" fmla="*/ 6036 w 9956"/>
              <a:gd name="connsiteY8" fmla="*/ 853 h 10000"/>
              <a:gd name="connsiteX9" fmla="*/ 5860 w 9956"/>
              <a:gd name="connsiteY9" fmla="*/ 543 h 10000"/>
              <a:gd name="connsiteX10" fmla="*/ 5640 w 9956"/>
              <a:gd name="connsiteY10" fmla="*/ 543 h 10000"/>
              <a:gd name="connsiteX11" fmla="*/ 5640 w 9956"/>
              <a:gd name="connsiteY11" fmla="*/ 698 h 10000"/>
              <a:gd name="connsiteX12" fmla="*/ 5506 w 9956"/>
              <a:gd name="connsiteY12" fmla="*/ 698 h 10000"/>
              <a:gd name="connsiteX13" fmla="*/ 5594 w 9956"/>
              <a:gd name="connsiteY13" fmla="*/ 387 h 10000"/>
              <a:gd name="connsiteX14" fmla="*/ 5375 w 9956"/>
              <a:gd name="connsiteY14" fmla="*/ 310 h 10000"/>
              <a:gd name="connsiteX15" fmla="*/ 5506 w 9956"/>
              <a:gd name="connsiteY15" fmla="*/ 155 h 10000"/>
              <a:gd name="connsiteX16" fmla="*/ 5375 w 9956"/>
              <a:gd name="connsiteY16" fmla="*/ 0 h 10000"/>
              <a:gd name="connsiteX17" fmla="*/ 5154 w 9956"/>
              <a:gd name="connsiteY17" fmla="*/ 387 h 10000"/>
              <a:gd name="connsiteX18" fmla="*/ 5154 w 9956"/>
              <a:gd name="connsiteY18" fmla="*/ 698 h 10000"/>
              <a:gd name="connsiteX19" fmla="*/ 5022 w 9956"/>
              <a:gd name="connsiteY19" fmla="*/ 698 h 10000"/>
              <a:gd name="connsiteX20" fmla="*/ 4627 w 9956"/>
              <a:gd name="connsiteY20" fmla="*/ 853 h 10000"/>
              <a:gd name="connsiteX21" fmla="*/ 4273 w 9956"/>
              <a:gd name="connsiteY21" fmla="*/ 1240 h 10000"/>
              <a:gd name="connsiteX22" fmla="*/ 4142 w 9956"/>
              <a:gd name="connsiteY22" fmla="*/ 1551 h 10000"/>
              <a:gd name="connsiteX23" fmla="*/ 4186 w 9956"/>
              <a:gd name="connsiteY23" fmla="*/ 1938 h 10000"/>
              <a:gd name="connsiteX24" fmla="*/ 3702 w 9956"/>
              <a:gd name="connsiteY24" fmla="*/ 2093 h 10000"/>
              <a:gd name="connsiteX25" fmla="*/ 3745 w 9956"/>
              <a:gd name="connsiteY25" fmla="*/ 2559 h 10000"/>
              <a:gd name="connsiteX26" fmla="*/ 3879 w 9956"/>
              <a:gd name="connsiteY26" fmla="*/ 2791 h 10000"/>
              <a:gd name="connsiteX27" fmla="*/ 3791 w 9956"/>
              <a:gd name="connsiteY27" fmla="*/ 2868 h 10000"/>
              <a:gd name="connsiteX28" fmla="*/ 3658 w 9956"/>
              <a:gd name="connsiteY28" fmla="*/ 2559 h 10000"/>
              <a:gd name="connsiteX29" fmla="*/ 3526 w 9956"/>
              <a:gd name="connsiteY29" fmla="*/ 2480 h 10000"/>
              <a:gd name="connsiteX30" fmla="*/ 3482 w 9956"/>
              <a:gd name="connsiteY30" fmla="*/ 2559 h 10000"/>
              <a:gd name="connsiteX31" fmla="*/ 3393 w 9956"/>
              <a:gd name="connsiteY31" fmla="*/ 2403 h 10000"/>
              <a:gd name="connsiteX32" fmla="*/ 3305 w 9956"/>
              <a:gd name="connsiteY32" fmla="*/ 2248 h 10000"/>
              <a:gd name="connsiteX33" fmla="*/ 3305 w 9956"/>
              <a:gd name="connsiteY33" fmla="*/ 2325 h 10000"/>
              <a:gd name="connsiteX34" fmla="*/ 3351 w 9956"/>
              <a:gd name="connsiteY34" fmla="*/ 2559 h 10000"/>
              <a:gd name="connsiteX35" fmla="*/ 3216 w 9956"/>
              <a:gd name="connsiteY35" fmla="*/ 2946 h 10000"/>
              <a:gd name="connsiteX36" fmla="*/ 3305 w 9956"/>
              <a:gd name="connsiteY36" fmla="*/ 3256 h 10000"/>
              <a:gd name="connsiteX37" fmla="*/ 3259 w 9956"/>
              <a:gd name="connsiteY37" fmla="*/ 3566 h 10000"/>
              <a:gd name="connsiteX38" fmla="*/ 3259 w 9956"/>
              <a:gd name="connsiteY38" fmla="*/ 3799 h 10000"/>
              <a:gd name="connsiteX39" fmla="*/ 3393 w 9956"/>
              <a:gd name="connsiteY39" fmla="*/ 3799 h 10000"/>
              <a:gd name="connsiteX40" fmla="*/ 3305 w 9956"/>
              <a:gd name="connsiteY40" fmla="*/ 3876 h 10000"/>
              <a:gd name="connsiteX41" fmla="*/ 3351 w 9956"/>
              <a:gd name="connsiteY41" fmla="*/ 4263 h 10000"/>
              <a:gd name="connsiteX42" fmla="*/ 3084 w 9956"/>
              <a:gd name="connsiteY42" fmla="*/ 4652 h 10000"/>
              <a:gd name="connsiteX43" fmla="*/ 3040 w 9956"/>
              <a:gd name="connsiteY43" fmla="*/ 4574 h 10000"/>
              <a:gd name="connsiteX44" fmla="*/ 3216 w 9956"/>
              <a:gd name="connsiteY44" fmla="*/ 4186 h 10000"/>
              <a:gd name="connsiteX45" fmla="*/ 3259 w 9956"/>
              <a:gd name="connsiteY45" fmla="*/ 3954 h 10000"/>
              <a:gd name="connsiteX46" fmla="*/ 3168 w 9956"/>
              <a:gd name="connsiteY46" fmla="*/ 3799 h 10000"/>
              <a:gd name="connsiteX47" fmla="*/ 3168 w 9956"/>
              <a:gd name="connsiteY47" fmla="*/ 3023 h 10000"/>
              <a:gd name="connsiteX48" fmla="*/ 3128 w 9956"/>
              <a:gd name="connsiteY48" fmla="*/ 2868 h 10000"/>
              <a:gd name="connsiteX49" fmla="*/ 3168 w 9956"/>
              <a:gd name="connsiteY49" fmla="*/ 2403 h 10000"/>
              <a:gd name="connsiteX50" fmla="*/ 3084 w 9956"/>
              <a:gd name="connsiteY50" fmla="*/ 2325 h 10000"/>
              <a:gd name="connsiteX51" fmla="*/ 3128 w 9956"/>
              <a:gd name="connsiteY51" fmla="*/ 2248 h 10000"/>
              <a:gd name="connsiteX52" fmla="*/ 3084 w 9956"/>
              <a:gd name="connsiteY52" fmla="*/ 2093 h 10000"/>
              <a:gd name="connsiteX53" fmla="*/ 2993 w 9956"/>
              <a:gd name="connsiteY53" fmla="*/ 2170 h 10000"/>
              <a:gd name="connsiteX54" fmla="*/ 2776 w 9956"/>
              <a:gd name="connsiteY54" fmla="*/ 3178 h 10000"/>
              <a:gd name="connsiteX55" fmla="*/ 2776 w 9956"/>
              <a:gd name="connsiteY55" fmla="*/ 3566 h 10000"/>
              <a:gd name="connsiteX56" fmla="*/ 2907 w 9956"/>
              <a:gd name="connsiteY56" fmla="*/ 3876 h 10000"/>
              <a:gd name="connsiteX57" fmla="*/ 2907 w 9956"/>
              <a:gd name="connsiteY57" fmla="*/ 4031 h 10000"/>
              <a:gd name="connsiteX58" fmla="*/ 2776 w 9956"/>
              <a:gd name="connsiteY58" fmla="*/ 3876 h 10000"/>
              <a:gd name="connsiteX59" fmla="*/ 2249 w 9956"/>
              <a:gd name="connsiteY59" fmla="*/ 3256 h 10000"/>
              <a:gd name="connsiteX60" fmla="*/ 2203 w 9956"/>
              <a:gd name="connsiteY60" fmla="*/ 3411 h 10000"/>
              <a:gd name="connsiteX61" fmla="*/ 2379 w 9956"/>
              <a:gd name="connsiteY61" fmla="*/ 3799 h 10000"/>
              <a:gd name="connsiteX62" fmla="*/ 2291 w 9956"/>
              <a:gd name="connsiteY62" fmla="*/ 3876 h 10000"/>
              <a:gd name="connsiteX63" fmla="*/ 2249 w 9956"/>
              <a:gd name="connsiteY63" fmla="*/ 3799 h 10000"/>
              <a:gd name="connsiteX64" fmla="*/ 1984 w 9956"/>
              <a:gd name="connsiteY64" fmla="*/ 3954 h 10000"/>
              <a:gd name="connsiteX65" fmla="*/ 1939 w 9956"/>
              <a:gd name="connsiteY65" fmla="*/ 4109 h 10000"/>
              <a:gd name="connsiteX66" fmla="*/ 1895 w 9956"/>
              <a:gd name="connsiteY66" fmla="*/ 3954 h 10000"/>
              <a:gd name="connsiteX67" fmla="*/ 1895 w 9956"/>
              <a:gd name="connsiteY67" fmla="*/ 3799 h 10000"/>
              <a:gd name="connsiteX68" fmla="*/ 1453 w 9956"/>
              <a:gd name="connsiteY68" fmla="*/ 4263 h 10000"/>
              <a:gd name="connsiteX69" fmla="*/ 1453 w 9956"/>
              <a:gd name="connsiteY69" fmla="*/ 4418 h 10000"/>
              <a:gd name="connsiteX70" fmla="*/ 1367 w 9956"/>
              <a:gd name="connsiteY70" fmla="*/ 4496 h 10000"/>
              <a:gd name="connsiteX71" fmla="*/ 1234 w 9956"/>
              <a:gd name="connsiteY71" fmla="*/ 4341 h 10000"/>
              <a:gd name="connsiteX72" fmla="*/ 1367 w 9956"/>
              <a:gd name="connsiteY72" fmla="*/ 4186 h 10000"/>
              <a:gd name="connsiteX73" fmla="*/ 1323 w 9956"/>
              <a:gd name="connsiteY73" fmla="*/ 3954 h 10000"/>
              <a:gd name="connsiteX74" fmla="*/ 1147 w 9956"/>
              <a:gd name="connsiteY74" fmla="*/ 3876 h 10000"/>
              <a:gd name="connsiteX75" fmla="*/ 1192 w 9956"/>
              <a:gd name="connsiteY75" fmla="*/ 4031 h 10000"/>
              <a:gd name="connsiteX76" fmla="*/ 1192 w 9956"/>
              <a:gd name="connsiteY76" fmla="*/ 4418 h 10000"/>
              <a:gd name="connsiteX77" fmla="*/ 1234 w 9956"/>
              <a:gd name="connsiteY77" fmla="*/ 4574 h 10000"/>
              <a:gd name="connsiteX78" fmla="*/ 1192 w 9956"/>
              <a:gd name="connsiteY78" fmla="*/ 4729 h 10000"/>
              <a:gd name="connsiteX79" fmla="*/ 1056 w 9956"/>
              <a:gd name="connsiteY79" fmla="*/ 4652 h 10000"/>
              <a:gd name="connsiteX80" fmla="*/ 880 w 9956"/>
              <a:gd name="connsiteY80" fmla="*/ 4884 h 10000"/>
              <a:gd name="connsiteX81" fmla="*/ 968 w 9956"/>
              <a:gd name="connsiteY81" fmla="*/ 5194 h 10000"/>
              <a:gd name="connsiteX82" fmla="*/ 704 w 9956"/>
              <a:gd name="connsiteY82" fmla="*/ 5039 h 10000"/>
              <a:gd name="connsiteX83" fmla="*/ 661 w 9956"/>
              <a:gd name="connsiteY83" fmla="*/ 5116 h 10000"/>
              <a:gd name="connsiteX84" fmla="*/ 750 w 9956"/>
              <a:gd name="connsiteY84" fmla="*/ 5349 h 10000"/>
              <a:gd name="connsiteX85" fmla="*/ 661 w 9956"/>
              <a:gd name="connsiteY85" fmla="*/ 5349 h 10000"/>
              <a:gd name="connsiteX86" fmla="*/ 530 w 9956"/>
              <a:gd name="connsiteY86" fmla="*/ 5194 h 10000"/>
              <a:gd name="connsiteX87" fmla="*/ 530 w 9956"/>
              <a:gd name="connsiteY87" fmla="*/ 4729 h 10000"/>
              <a:gd name="connsiteX88" fmla="*/ 398 w 9956"/>
              <a:gd name="connsiteY88" fmla="*/ 4574 h 10000"/>
              <a:gd name="connsiteX89" fmla="*/ 352 w 9956"/>
              <a:gd name="connsiteY89" fmla="*/ 4418 h 10000"/>
              <a:gd name="connsiteX90" fmla="*/ 441 w 9956"/>
              <a:gd name="connsiteY90" fmla="*/ 4496 h 10000"/>
              <a:gd name="connsiteX91" fmla="*/ 792 w 9956"/>
              <a:gd name="connsiteY91" fmla="*/ 4729 h 10000"/>
              <a:gd name="connsiteX92" fmla="*/ 1013 w 9956"/>
              <a:gd name="connsiteY92" fmla="*/ 4496 h 10000"/>
              <a:gd name="connsiteX93" fmla="*/ 968 w 9956"/>
              <a:gd name="connsiteY93" fmla="*/ 4263 h 10000"/>
              <a:gd name="connsiteX94" fmla="*/ 704 w 9956"/>
              <a:gd name="connsiteY94" fmla="*/ 3799 h 10000"/>
              <a:gd name="connsiteX95" fmla="*/ 441 w 9956"/>
              <a:gd name="connsiteY95" fmla="*/ 3644 h 10000"/>
              <a:gd name="connsiteX96" fmla="*/ 441 w 9956"/>
              <a:gd name="connsiteY96" fmla="*/ 3566 h 10000"/>
              <a:gd name="connsiteX97" fmla="*/ 352 w 9956"/>
              <a:gd name="connsiteY97" fmla="*/ 3488 h 10000"/>
              <a:gd name="connsiteX98" fmla="*/ 263 w 9956"/>
              <a:gd name="connsiteY98" fmla="*/ 3566 h 10000"/>
              <a:gd name="connsiteX99" fmla="*/ 263 w 9956"/>
              <a:gd name="connsiteY99" fmla="*/ 3644 h 10000"/>
              <a:gd name="connsiteX100" fmla="*/ 221 w 9956"/>
              <a:gd name="connsiteY100" fmla="*/ 3644 h 10000"/>
              <a:gd name="connsiteX101" fmla="*/ 131 w 9956"/>
              <a:gd name="connsiteY101" fmla="*/ 3799 h 10000"/>
              <a:gd name="connsiteX102" fmla="*/ 131 w 9956"/>
              <a:gd name="connsiteY102" fmla="*/ 4031 h 10000"/>
              <a:gd name="connsiteX103" fmla="*/ 221 w 9956"/>
              <a:gd name="connsiteY103" fmla="*/ 4186 h 10000"/>
              <a:gd name="connsiteX104" fmla="*/ 175 w 9956"/>
              <a:gd name="connsiteY104" fmla="*/ 4418 h 10000"/>
              <a:gd name="connsiteX105" fmla="*/ 221 w 9956"/>
              <a:gd name="connsiteY105" fmla="*/ 4807 h 10000"/>
              <a:gd name="connsiteX106" fmla="*/ 175 w 9956"/>
              <a:gd name="connsiteY106" fmla="*/ 5039 h 10000"/>
              <a:gd name="connsiteX107" fmla="*/ 263 w 9956"/>
              <a:gd name="connsiteY107" fmla="*/ 5271 h 10000"/>
              <a:gd name="connsiteX108" fmla="*/ 221 w 9956"/>
              <a:gd name="connsiteY108" fmla="*/ 5426 h 10000"/>
              <a:gd name="connsiteX109" fmla="*/ 308 w 9956"/>
              <a:gd name="connsiteY109" fmla="*/ 5582 h 10000"/>
              <a:gd name="connsiteX110" fmla="*/ 308 w 9956"/>
              <a:gd name="connsiteY110" fmla="*/ 5659 h 10000"/>
              <a:gd name="connsiteX111" fmla="*/ 175 w 9956"/>
              <a:gd name="connsiteY111" fmla="*/ 6047 h 10000"/>
              <a:gd name="connsiteX112" fmla="*/ 42 w 9956"/>
              <a:gd name="connsiteY112" fmla="*/ 6202 h 10000"/>
              <a:gd name="connsiteX113" fmla="*/ 88 w 9956"/>
              <a:gd name="connsiteY113" fmla="*/ 6202 h 10000"/>
              <a:gd name="connsiteX114" fmla="*/ 175 w 9956"/>
              <a:gd name="connsiteY114" fmla="*/ 6356 h 10000"/>
              <a:gd name="connsiteX115" fmla="*/ 88 w 9956"/>
              <a:gd name="connsiteY115" fmla="*/ 6512 h 10000"/>
              <a:gd name="connsiteX116" fmla="*/ 42 w 9956"/>
              <a:gd name="connsiteY116" fmla="*/ 6590 h 10000"/>
              <a:gd name="connsiteX117" fmla="*/ 0 w 9956"/>
              <a:gd name="connsiteY117" fmla="*/ 6590 h 10000"/>
              <a:gd name="connsiteX118" fmla="*/ 42 w 9956"/>
              <a:gd name="connsiteY118" fmla="*/ 6822 h 10000"/>
              <a:gd name="connsiteX119" fmla="*/ 42 w 9956"/>
              <a:gd name="connsiteY119" fmla="*/ 6900 h 10000"/>
              <a:gd name="connsiteX120" fmla="*/ 42 w 9956"/>
              <a:gd name="connsiteY120" fmla="*/ 6977 h 10000"/>
              <a:gd name="connsiteX121" fmla="*/ 42 w 9956"/>
              <a:gd name="connsiteY121" fmla="*/ 7054 h 10000"/>
              <a:gd name="connsiteX122" fmla="*/ 88 w 9956"/>
              <a:gd name="connsiteY122" fmla="*/ 7209 h 10000"/>
              <a:gd name="connsiteX123" fmla="*/ 221 w 9956"/>
              <a:gd name="connsiteY123" fmla="*/ 7287 h 10000"/>
              <a:gd name="connsiteX124" fmla="*/ 263 w 9956"/>
              <a:gd name="connsiteY124" fmla="*/ 7364 h 10000"/>
              <a:gd name="connsiteX125" fmla="*/ 263 w 9956"/>
              <a:gd name="connsiteY125" fmla="*/ 7520 h 10000"/>
              <a:gd name="connsiteX126" fmla="*/ 352 w 9956"/>
              <a:gd name="connsiteY126" fmla="*/ 7752 h 10000"/>
              <a:gd name="connsiteX127" fmla="*/ 398 w 9956"/>
              <a:gd name="connsiteY127" fmla="*/ 7752 h 10000"/>
              <a:gd name="connsiteX128" fmla="*/ 352 w 9956"/>
              <a:gd name="connsiteY128" fmla="*/ 7907 h 10000"/>
              <a:gd name="connsiteX129" fmla="*/ 308 w 9956"/>
              <a:gd name="connsiteY129" fmla="*/ 7830 h 10000"/>
              <a:gd name="connsiteX130" fmla="*/ 308 w 9956"/>
              <a:gd name="connsiteY130" fmla="*/ 7907 h 10000"/>
              <a:gd name="connsiteX131" fmla="*/ 352 w 9956"/>
              <a:gd name="connsiteY131" fmla="*/ 8062 h 10000"/>
              <a:gd name="connsiteX132" fmla="*/ 486 w 9956"/>
              <a:gd name="connsiteY132" fmla="*/ 8062 h 10000"/>
              <a:gd name="connsiteX133" fmla="*/ 530 w 9956"/>
              <a:gd name="connsiteY133" fmla="*/ 8140 h 10000"/>
              <a:gd name="connsiteX134" fmla="*/ 486 w 9956"/>
              <a:gd name="connsiteY134" fmla="*/ 8140 h 10000"/>
              <a:gd name="connsiteX135" fmla="*/ 530 w 9956"/>
              <a:gd name="connsiteY135" fmla="*/ 8217 h 10000"/>
              <a:gd name="connsiteX136" fmla="*/ 572 w 9956"/>
              <a:gd name="connsiteY136" fmla="*/ 8217 h 10000"/>
              <a:gd name="connsiteX137" fmla="*/ 616 w 9956"/>
              <a:gd name="connsiteY137" fmla="*/ 8372 h 10000"/>
              <a:gd name="connsiteX138" fmla="*/ 661 w 9956"/>
              <a:gd name="connsiteY138" fmla="*/ 8449 h 10000"/>
              <a:gd name="connsiteX139" fmla="*/ 704 w 9956"/>
              <a:gd name="connsiteY139" fmla="*/ 8372 h 10000"/>
              <a:gd name="connsiteX140" fmla="*/ 926 w 9956"/>
              <a:gd name="connsiteY140" fmla="*/ 8605 h 10000"/>
              <a:gd name="connsiteX141" fmla="*/ 880 w 9956"/>
              <a:gd name="connsiteY141" fmla="*/ 8915 h 10000"/>
              <a:gd name="connsiteX142" fmla="*/ 835 w 9956"/>
              <a:gd name="connsiteY142" fmla="*/ 8838 h 10000"/>
              <a:gd name="connsiteX143" fmla="*/ 792 w 9956"/>
              <a:gd name="connsiteY143" fmla="*/ 8915 h 10000"/>
              <a:gd name="connsiteX144" fmla="*/ 792 w 9956"/>
              <a:gd name="connsiteY144" fmla="*/ 9070 h 10000"/>
              <a:gd name="connsiteX145" fmla="*/ 835 w 9956"/>
              <a:gd name="connsiteY145" fmla="*/ 8993 h 10000"/>
              <a:gd name="connsiteX146" fmla="*/ 880 w 9956"/>
              <a:gd name="connsiteY146" fmla="*/ 9070 h 10000"/>
              <a:gd name="connsiteX147" fmla="*/ 750 w 9956"/>
              <a:gd name="connsiteY147" fmla="*/ 9147 h 10000"/>
              <a:gd name="connsiteX148" fmla="*/ 792 w 9956"/>
              <a:gd name="connsiteY148" fmla="*/ 9225 h 10000"/>
              <a:gd name="connsiteX149" fmla="*/ 704 w 9956"/>
              <a:gd name="connsiteY149" fmla="*/ 9380 h 10000"/>
              <a:gd name="connsiteX150" fmla="*/ 661 w 9956"/>
              <a:gd name="connsiteY150" fmla="*/ 9380 h 10000"/>
              <a:gd name="connsiteX151" fmla="*/ 704 w 9956"/>
              <a:gd name="connsiteY151" fmla="*/ 9380 h 10000"/>
              <a:gd name="connsiteX152" fmla="*/ 880 w 9956"/>
              <a:gd name="connsiteY152" fmla="*/ 9691 h 10000"/>
              <a:gd name="connsiteX153" fmla="*/ 1103 w 9956"/>
              <a:gd name="connsiteY153" fmla="*/ 9691 h 10000"/>
              <a:gd name="connsiteX154" fmla="*/ 1192 w 9956"/>
              <a:gd name="connsiteY154" fmla="*/ 9768 h 10000"/>
              <a:gd name="connsiteX155" fmla="*/ 1278 w 9956"/>
              <a:gd name="connsiteY155" fmla="*/ 9768 h 10000"/>
              <a:gd name="connsiteX156" fmla="*/ 1367 w 9956"/>
              <a:gd name="connsiteY156" fmla="*/ 9923 h 10000"/>
              <a:gd name="connsiteX157" fmla="*/ 1410 w 9956"/>
              <a:gd name="connsiteY157" fmla="*/ 10000 h 10000"/>
              <a:gd name="connsiteX158" fmla="*/ 1453 w 9956"/>
              <a:gd name="connsiteY158" fmla="*/ 10000 h 10000"/>
              <a:gd name="connsiteX159" fmla="*/ 1499 w 9956"/>
              <a:gd name="connsiteY159" fmla="*/ 9923 h 10000"/>
              <a:gd name="connsiteX160" fmla="*/ 1410 w 9956"/>
              <a:gd name="connsiteY160" fmla="*/ 9768 h 10000"/>
              <a:gd name="connsiteX161" fmla="*/ 1410 w 9956"/>
              <a:gd name="connsiteY161" fmla="*/ 9613 h 10000"/>
              <a:gd name="connsiteX162" fmla="*/ 1367 w 9956"/>
              <a:gd name="connsiteY162" fmla="*/ 9457 h 10000"/>
              <a:gd name="connsiteX163" fmla="*/ 1453 w 9956"/>
              <a:gd name="connsiteY163" fmla="*/ 9225 h 10000"/>
              <a:gd name="connsiteX164" fmla="*/ 1499 w 9956"/>
              <a:gd name="connsiteY164" fmla="*/ 9302 h 10000"/>
              <a:gd name="connsiteX165" fmla="*/ 1543 w 9956"/>
              <a:gd name="connsiteY165" fmla="*/ 9225 h 10000"/>
              <a:gd name="connsiteX166" fmla="*/ 1543 w 9956"/>
              <a:gd name="connsiteY166" fmla="*/ 9147 h 10000"/>
              <a:gd name="connsiteX167" fmla="*/ 1499 w 9956"/>
              <a:gd name="connsiteY167" fmla="*/ 9147 h 10000"/>
              <a:gd name="connsiteX168" fmla="*/ 1543 w 9956"/>
              <a:gd name="connsiteY168" fmla="*/ 9070 h 10000"/>
              <a:gd name="connsiteX169" fmla="*/ 1499 w 9956"/>
              <a:gd name="connsiteY169" fmla="*/ 8915 h 10000"/>
              <a:gd name="connsiteX170" fmla="*/ 1410 w 9956"/>
              <a:gd name="connsiteY170" fmla="*/ 8915 h 10000"/>
              <a:gd name="connsiteX171" fmla="*/ 1367 w 9956"/>
              <a:gd name="connsiteY171" fmla="*/ 8760 h 10000"/>
              <a:gd name="connsiteX172" fmla="*/ 1410 w 9956"/>
              <a:gd name="connsiteY172" fmla="*/ 8372 h 10000"/>
              <a:gd name="connsiteX173" fmla="*/ 1499 w 9956"/>
              <a:gd name="connsiteY173" fmla="*/ 8528 h 10000"/>
              <a:gd name="connsiteX174" fmla="*/ 1543 w 9956"/>
              <a:gd name="connsiteY174" fmla="*/ 8528 h 10000"/>
              <a:gd name="connsiteX175" fmla="*/ 1499 w 9956"/>
              <a:gd name="connsiteY175" fmla="*/ 8372 h 10000"/>
              <a:gd name="connsiteX176" fmla="*/ 1631 w 9956"/>
              <a:gd name="connsiteY176" fmla="*/ 8140 h 10000"/>
              <a:gd name="connsiteX177" fmla="*/ 1720 w 9956"/>
              <a:gd name="connsiteY177" fmla="*/ 8217 h 10000"/>
              <a:gd name="connsiteX178" fmla="*/ 1762 w 9956"/>
              <a:gd name="connsiteY178" fmla="*/ 8140 h 10000"/>
              <a:gd name="connsiteX179" fmla="*/ 1851 w 9956"/>
              <a:gd name="connsiteY179" fmla="*/ 8217 h 10000"/>
              <a:gd name="connsiteX180" fmla="*/ 1984 w 9956"/>
              <a:gd name="connsiteY180" fmla="*/ 8372 h 10000"/>
              <a:gd name="connsiteX181" fmla="*/ 2072 w 9956"/>
              <a:gd name="connsiteY181" fmla="*/ 8295 h 10000"/>
              <a:gd name="connsiteX182" fmla="*/ 2159 w 9956"/>
              <a:gd name="connsiteY182" fmla="*/ 8295 h 10000"/>
              <a:gd name="connsiteX183" fmla="*/ 2203 w 9956"/>
              <a:gd name="connsiteY183" fmla="*/ 8372 h 10000"/>
              <a:gd name="connsiteX184" fmla="*/ 2379 w 9956"/>
              <a:gd name="connsiteY184" fmla="*/ 8372 h 10000"/>
              <a:gd name="connsiteX185" fmla="*/ 2422 w 9956"/>
              <a:gd name="connsiteY185" fmla="*/ 8217 h 10000"/>
              <a:gd name="connsiteX186" fmla="*/ 2291 w 9956"/>
              <a:gd name="connsiteY186" fmla="*/ 8140 h 10000"/>
              <a:gd name="connsiteX187" fmla="*/ 2379 w 9956"/>
              <a:gd name="connsiteY187" fmla="*/ 8062 h 10000"/>
              <a:gd name="connsiteX188" fmla="*/ 2335 w 9956"/>
              <a:gd name="connsiteY188" fmla="*/ 7985 h 10000"/>
              <a:gd name="connsiteX189" fmla="*/ 2379 w 9956"/>
              <a:gd name="connsiteY189" fmla="*/ 7907 h 10000"/>
              <a:gd name="connsiteX190" fmla="*/ 2379 w 9956"/>
              <a:gd name="connsiteY190" fmla="*/ 7675 h 10000"/>
              <a:gd name="connsiteX191" fmla="*/ 2466 w 9956"/>
              <a:gd name="connsiteY191" fmla="*/ 7752 h 10000"/>
              <a:gd name="connsiteX192" fmla="*/ 2864 w 9956"/>
              <a:gd name="connsiteY192" fmla="*/ 7520 h 10000"/>
              <a:gd name="connsiteX193" fmla="*/ 2864 w 9956"/>
              <a:gd name="connsiteY193" fmla="*/ 7442 h 10000"/>
              <a:gd name="connsiteX194" fmla="*/ 2907 w 9956"/>
              <a:gd name="connsiteY194" fmla="*/ 7442 h 10000"/>
              <a:gd name="connsiteX195" fmla="*/ 3040 w 9956"/>
              <a:gd name="connsiteY195" fmla="*/ 7442 h 10000"/>
              <a:gd name="connsiteX196" fmla="*/ 3084 w 9956"/>
              <a:gd name="connsiteY196" fmla="*/ 7598 h 10000"/>
              <a:gd name="connsiteX197" fmla="*/ 3084 w 9956"/>
              <a:gd name="connsiteY197" fmla="*/ 7675 h 10000"/>
              <a:gd name="connsiteX198" fmla="*/ 3128 w 9956"/>
              <a:gd name="connsiteY198" fmla="*/ 7675 h 10000"/>
              <a:gd name="connsiteX199" fmla="*/ 3216 w 9956"/>
              <a:gd name="connsiteY199" fmla="*/ 7752 h 10000"/>
              <a:gd name="connsiteX200" fmla="*/ 3216 w 9956"/>
              <a:gd name="connsiteY200" fmla="*/ 7830 h 10000"/>
              <a:gd name="connsiteX201" fmla="*/ 3305 w 9956"/>
              <a:gd name="connsiteY201" fmla="*/ 7830 h 10000"/>
              <a:gd name="connsiteX202" fmla="*/ 3393 w 9956"/>
              <a:gd name="connsiteY202" fmla="*/ 7675 h 10000"/>
              <a:gd name="connsiteX203" fmla="*/ 3482 w 9956"/>
              <a:gd name="connsiteY203" fmla="*/ 7598 h 10000"/>
              <a:gd name="connsiteX204" fmla="*/ 3526 w 9956"/>
              <a:gd name="connsiteY204" fmla="*/ 7830 h 10000"/>
              <a:gd name="connsiteX205" fmla="*/ 3702 w 9956"/>
              <a:gd name="connsiteY205" fmla="*/ 8372 h 10000"/>
              <a:gd name="connsiteX206" fmla="*/ 3745 w 9956"/>
              <a:gd name="connsiteY206" fmla="*/ 8217 h 10000"/>
              <a:gd name="connsiteX207" fmla="*/ 3791 w 9956"/>
              <a:gd name="connsiteY207" fmla="*/ 8372 h 10000"/>
              <a:gd name="connsiteX208" fmla="*/ 3923 w 9956"/>
              <a:gd name="connsiteY208" fmla="*/ 8295 h 10000"/>
              <a:gd name="connsiteX209" fmla="*/ 4056 w 9956"/>
              <a:gd name="connsiteY209" fmla="*/ 8528 h 10000"/>
              <a:gd name="connsiteX210" fmla="*/ 4142 w 9956"/>
              <a:gd name="connsiteY210" fmla="*/ 8605 h 10000"/>
              <a:gd name="connsiteX211" fmla="*/ 4142 w 9956"/>
              <a:gd name="connsiteY211" fmla="*/ 8528 h 10000"/>
              <a:gd name="connsiteX212" fmla="*/ 4186 w 9956"/>
              <a:gd name="connsiteY212" fmla="*/ 8683 h 10000"/>
              <a:gd name="connsiteX213" fmla="*/ 4142 w 9956"/>
              <a:gd name="connsiteY213" fmla="*/ 8760 h 10000"/>
              <a:gd name="connsiteX214" fmla="*/ 4231 w 9956"/>
              <a:gd name="connsiteY214" fmla="*/ 8683 h 10000"/>
              <a:gd name="connsiteX215" fmla="*/ 4273 w 9956"/>
              <a:gd name="connsiteY215" fmla="*/ 8605 h 10000"/>
              <a:gd name="connsiteX216" fmla="*/ 4495 w 9956"/>
              <a:gd name="connsiteY216" fmla="*/ 8372 h 10000"/>
              <a:gd name="connsiteX217" fmla="*/ 4670 w 9956"/>
              <a:gd name="connsiteY217" fmla="*/ 8449 h 10000"/>
              <a:gd name="connsiteX218" fmla="*/ 4758 w 9956"/>
              <a:gd name="connsiteY218" fmla="*/ 8528 h 10000"/>
              <a:gd name="connsiteX219" fmla="*/ 4933 w 9956"/>
              <a:gd name="connsiteY219" fmla="*/ 8528 h 10000"/>
              <a:gd name="connsiteX220" fmla="*/ 4933 w 9956"/>
              <a:gd name="connsiteY220" fmla="*/ 8372 h 10000"/>
              <a:gd name="connsiteX221" fmla="*/ 4933 w 9956"/>
              <a:gd name="connsiteY221" fmla="*/ 8217 h 10000"/>
              <a:gd name="connsiteX222" fmla="*/ 5022 w 9956"/>
              <a:gd name="connsiteY222" fmla="*/ 8140 h 10000"/>
              <a:gd name="connsiteX223" fmla="*/ 5198 w 9956"/>
              <a:gd name="connsiteY223" fmla="*/ 8217 h 10000"/>
              <a:gd name="connsiteX224" fmla="*/ 5286 w 9956"/>
              <a:gd name="connsiteY224" fmla="*/ 8449 h 10000"/>
              <a:gd name="connsiteX225" fmla="*/ 5331 w 9956"/>
              <a:gd name="connsiteY225" fmla="*/ 8449 h 10000"/>
              <a:gd name="connsiteX226" fmla="*/ 5419 w 9956"/>
              <a:gd name="connsiteY226" fmla="*/ 8372 h 10000"/>
              <a:gd name="connsiteX227" fmla="*/ 5686 w 9956"/>
              <a:gd name="connsiteY227" fmla="*/ 8605 h 10000"/>
              <a:gd name="connsiteX228" fmla="*/ 5817 w 9956"/>
              <a:gd name="connsiteY228" fmla="*/ 8683 h 10000"/>
              <a:gd name="connsiteX229" fmla="*/ 5993 w 9956"/>
              <a:gd name="connsiteY229" fmla="*/ 8605 h 10000"/>
              <a:gd name="connsiteX230" fmla="*/ 6079 w 9956"/>
              <a:gd name="connsiteY230" fmla="*/ 8449 h 10000"/>
              <a:gd name="connsiteX231" fmla="*/ 6212 w 9956"/>
              <a:gd name="connsiteY231" fmla="*/ 8528 h 10000"/>
              <a:gd name="connsiteX232" fmla="*/ 6300 w 9956"/>
              <a:gd name="connsiteY232" fmla="*/ 8605 h 10000"/>
              <a:gd name="connsiteX233" fmla="*/ 7799 w 9956"/>
              <a:gd name="connsiteY233" fmla="*/ 7675 h 10000"/>
              <a:gd name="connsiteX234" fmla="*/ 7712 w 9956"/>
              <a:gd name="connsiteY234" fmla="*/ 7675 h 10000"/>
              <a:gd name="connsiteX235" fmla="*/ 7667 w 9956"/>
              <a:gd name="connsiteY235" fmla="*/ 7675 h 10000"/>
              <a:gd name="connsiteX236" fmla="*/ 7621 w 9956"/>
              <a:gd name="connsiteY236" fmla="*/ 7598 h 10000"/>
              <a:gd name="connsiteX237" fmla="*/ 7536 w 9956"/>
              <a:gd name="connsiteY237" fmla="*/ 7598 h 10000"/>
              <a:gd name="connsiteX238" fmla="*/ 7536 w 9956"/>
              <a:gd name="connsiteY238" fmla="*/ 7520 h 10000"/>
              <a:gd name="connsiteX239" fmla="*/ 7667 w 9956"/>
              <a:gd name="connsiteY239" fmla="*/ 7287 h 10000"/>
              <a:gd name="connsiteX240" fmla="*/ 8065 w 9956"/>
              <a:gd name="connsiteY240" fmla="*/ 6590 h 10000"/>
              <a:gd name="connsiteX241" fmla="*/ 8240 w 9956"/>
              <a:gd name="connsiteY241" fmla="*/ 6512 h 10000"/>
              <a:gd name="connsiteX242" fmla="*/ 8282 w 9956"/>
              <a:gd name="connsiteY242" fmla="*/ 6590 h 10000"/>
              <a:gd name="connsiteX243" fmla="*/ 8329 w 9956"/>
              <a:gd name="connsiteY243" fmla="*/ 6512 h 10000"/>
              <a:gd name="connsiteX244" fmla="*/ 8458 w 9956"/>
              <a:gd name="connsiteY244" fmla="*/ 6590 h 10000"/>
              <a:gd name="connsiteX245" fmla="*/ 8506 w 9956"/>
              <a:gd name="connsiteY245" fmla="*/ 6434 h 10000"/>
              <a:gd name="connsiteX246" fmla="*/ 8635 w 9956"/>
              <a:gd name="connsiteY246" fmla="*/ 6512 h 10000"/>
              <a:gd name="connsiteX247" fmla="*/ 8680 w 9956"/>
              <a:gd name="connsiteY247" fmla="*/ 6512 h 10000"/>
              <a:gd name="connsiteX248" fmla="*/ 8635 w 9956"/>
              <a:gd name="connsiteY248" fmla="*/ 6590 h 10000"/>
              <a:gd name="connsiteX249" fmla="*/ 8635 w 9956"/>
              <a:gd name="connsiteY249" fmla="*/ 6667 h 10000"/>
              <a:gd name="connsiteX250" fmla="*/ 8900 w 9956"/>
              <a:gd name="connsiteY250" fmla="*/ 6590 h 10000"/>
              <a:gd name="connsiteX251" fmla="*/ 8856 w 9956"/>
              <a:gd name="connsiteY251" fmla="*/ 6512 h 10000"/>
              <a:gd name="connsiteX252" fmla="*/ 9034 w 9956"/>
              <a:gd name="connsiteY252" fmla="*/ 5969 h 10000"/>
              <a:gd name="connsiteX253" fmla="*/ 9251 w 9956"/>
              <a:gd name="connsiteY253" fmla="*/ 5892 h 10000"/>
              <a:gd name="connsiteX254" fmla="*/ 9251 w 9956"/>
              <a:gd name="connsiteY254" fmla="*/ 6047 h 10000"/>
              <a:gd name="connsiteX255" fmla="*/ 9251 w 9956"/>
              <a:gd name="connsiteY255" fmla="*/ 6202 h 10000"/>
              <a:gd name="connsiteX256" fmla="*/ 9472 w 9956"/>
              <a:gd name="connsiteY256" fmla="*/ 5969 h 10000"/>
              <a:gd name="connsiteX257" fmla="*/ 9472 w 9956"/>
              <a:gd name="connsiteY257" fmla="*/ 5737 h 10000"/>
              <a:gd name="connsiteX258" fmla="*/ 9561 w 9956"/>
              <a:gd name="connsiteY258" fmla="*/ 5737 h 10000"/>
              <a:gd name="connsiteX259" fmla="*/ 9514 w 9956"/>
              <a:gd name="connsiteY259" fmla="*/ 5814 h 10000"/>
              <a:gd name="connsiteX260" fmla="*/ 9472 w 9956"/>
              <a:gd name="connsiteY260" fmla="*/ 6202 h 10000"/>
              <a:gd name="connsiteX261" fmla="*/ 9385 w 9956"/>
              <a:gd name="connsiteY261" fmla="*/ 6279 h 10000"/>
              <a:gd name="connsiteX262" fmla="*/ 9472 w 9956"/>
              <a:gd name="connsiteY262" fmla="*/ 6590 h 10000"/>
              <a:gd name="connsiteX263" fmla="*/ 9472 w 9956"/>
              <a:gd name="connsiteY263" fmla="*/ 6434 h 10000"/>
              <a:gd name="connsiteX264" fmla="*/ 9561 w 9956"/>
              <a:gd name="connsiteY264" fmla="*/ 6434 h 10000"/>
              <a:gd name="connsiteX265" fmla="*/ 9694 w 9956"/>
              <a:gd name="connsiteY265" fmla="*/ 6279 h 10000"/>
              <a:gd name="connsiteX266" fmla="*/ 9694 w 9956"/>
              <a:gd name="connsiteY266" fmla="*/ 6434 h 10000"/>
              <a:gd name="connsiteX267" fmla="*/ 9737 w 9956"/>
              <a:gd name="connsiteY267" fmla="*/ 6356 h 10000"/>
              <a:gd name="connsiteX268" fmla="*/ 9872 w 9956"/>
              <a:gd name="connsiteY268" fmla="*/ 6279 h 10000"/>
              <a:gd name="connsiteX269" fmla="*/ 9955 w 9956"/>
              <a:gd name="connsiteY269" fmla="*/ 6434 h 10000"/>
              <a:gd name="connsiteX270" fmla="*/ 9915 w 9956"/>
              <a:gd name="connsiteY270" fmla="*/ 3876 h 10000"/>
              <a:gd name="connsiteX271" fmla="*/ 9825 w 9956"/>
              <a:gd name="connsiteY271" fmla="*/ 3721 h 10000"/>
              <a:gd name="connsiteX272" fmla="*/ 9825 w 9956"/>
              <a:gd name="connsiteY272" fmla="*/ 3566 h 10000"/>
              <a:gd name="connsiteX273" fmla="*/ 9872 w 9956"/>
              <a:gd name="connsiteY273" fmla="*/ 3566 h 10000"/>
              <a:gd name="connsiteX274" fmla="*/ 9915 w 9956"/>
              <a:gd name="connsiteY274" fmla="*/ 3488 h 10000"/>
              <a:gd name="connsiteX275" fmla="*/ 9825 w 9956"/>
              <a:gd name="connsiteY275" fmla="*/ 3488 h 10000"/>
              <a:gd name="connsiteX276" fmla="*/ 9737 w 9956"/>
              <a:gd name="connsiteY276" fmla="*/ 3644 h 10000"/>
              <a:gd name="connsiteX277" fmla="*/ 9514 w 9956"/>
              <a:gd name="connsiteY277" fmla="*/ 3566 h 10000"/>
              <a:gd name="connsiteX278" fmla="*/ 9298 w 9956"/>
              <a:gd name="connsiteY278" fmla="*/ 3566 h 10000"/>
              <a:gd name="connsiteX279" fmla="*/ 9208 w 9956"/>
              <a:gd name="connsiteY279" fmla="*/ 3488 h 10000"/>
              <a:gd name="connsiteX280" fmla="*/ 9251 w 9956"/>
              <a:gd name="connsiteY280" fmla="*/ 3333 h 10000"/>
              <a:gd name="connsiteX281" fmla="*/ 9163 w 9956"/>
              <a:gd name="connsiteY281" fmla="*/ 3101 h 10000"/>
              <a:gd name="connsiteX282" fmla="*/ 8986 w 9956"/>
              <a:gd name="connsiteY282" fmla="*/ 3023 h 10000"/>
              <a:gd name="connsiteX283" fmla="*/ 8725 w 9956"/>
              <a:gd name="connsiteY283" fmla="*/ 3178 h 10000"/>
              <a:gd name="connsiteX284" fmla="*/ 8680 w 9956"/>
              <a:gd name="connsiteY284" fmla="*/ 2946 h 10000"/>
              <a:gd name="connsiteX285" fmla="*/ 8592 w 9956"/>
              <a:gd name="connsiteY285" fmla="*/ 2946 h 10000"/>
              <a:gd name="connsiteX286" fmla="*/ 8548 w 9956"/>
              <a:gd name="connsiteY286" fmla="*/ 2868 h 10000"/>
              <a:gd name="connsiteX287" fmla="*/ 8548 w 9956"/>
              <a:gd name="connsiteY287" fmla="*/ 2636 h 10000"/>
              <a:gd name="connsiteX288" fmla="*/ 8240 w 9956"/>
              <a:gd name="connsiteY288" fmla="*/ 2480 h 10000"/>
              <a:gd name="connsiteX289" fmla="*/ 7887 w 9956"/>
              <a:gd name="connsiteY289" fmla="*/ 2325 h 10000"/>
              <a:gd name="connsiteX290" fmla="*/ 7799 w 9956"/>
              <a:gd name="connsiteY290" fmla="*/ 2636 h 10000"/>
              <a:gd name="connsiteX291" fmla="*/ 7887 w 9956"/>
              <a:gd name="connsiteY291" fmla="*/ 2868 h 10000"/>
              <a:gd name="connsiteX292" fmla="*/ 7621 w 9956"/>
              <a:gd name="connsiteY292" fmla="*/ 2868 h 10000"/>
              <a:gd name="connsiteX293" fmla="*/ 7577 w 9956"/>
              <a:gd name="connsiteY293" fmla="*/ 2868 h 10000"/>
              <a:gd name="connsiteX294" fmla="*/ 7490 w 9956"/>
              <a:gd name="connsiteY294" fmla="*/ 2946 h 10000"/>
              <a:gd name="connsiteX295" fmla="*/ 7357 w 9956"/>
              <a:gd name="connsiteY295" fmla="*/ 2714 h 10000"/>
              <a:gd name="connsiteX296" fmla="*/ 7269 w 9956"/>
              <a:gd name="connsiteY296" fmla="*/ 3178 h 10000"/>
              <a:gd name="connsiteX297" fmla="*/ 7183 w 9956"/>
              <a:gd name="connsiteY297" fmla="*/ 3101 h 10000"/>
              <a:gd name="connsiteX298" fmla="*/ 7093 w 9956"/>
              <a:gd name="connsiteY298" fmla="*/ 2791 h 10000"/>
              <a:gd name="connsiteX299" fmla="*/ 7138 w 9956"/>
              <a:gd name="connsiteY299" fmla="*/ 2403 h 10000"/>
              <a:gd name="connsiteX300" fmla="*/ 7051 w 9956"/>
              <a:gd name="connsiteY300" fmla="*/ 2170 h 10000"/>
              <a:gd name="connsiteX301" fmla="*/ 6785 w 9956"/>
              <a:gd name="connsiteY301" fmla="*/ 2016 h 10000"/>
              <a:gd name="connsiteX302" fmla="*/ 6695 w 9956"/>
              <a:gd name="connsiteY302" fmla="*/ 2016 h 10000"/>
              <a:gd name="connsiteX303" fmla="*/ 6653 w 9956"/>
              <a:gd name="connsiteY303" fmla="*/ 2170 h 10000"/>
              <a:gd name="connsiteX304" fmla="*/ 6695 w 9956"/>
              <a:gd name="connsiteY304" fmla="*/ 2325 h 10000"/>
              <a:gd name="connsiteX305" fmla="*/ 6347 w 9956"/>
              <a:gd name="connsiteY305" fmla="*/ 2248 h 10000"/>
              <a:gd name="connsiteX306" fmla="*/ 6388 w 9956"/>
              <a:gd name="connsiteY306" fmla="*/ 2016 h 10000"/>
              <a:gd name="connsiteX307" fmla="*/ 6170 w 9956"/>
              <a:gd name="connsiteY307" fmla="*/ 1938 h 10000"/>
              <a:gd name="connsiteX308" fmla="*/ 6036 w 9956"/>
              <a:gd name="connsiteY308" fmla="*/ 2093 h 10000"/>
              <a:gd name="connsiteX309" fmla="*/ 5776 w 9956"/>
              <a:gd name="connsiteY309" fmla="*/ 1861 h 10000"/>
              <a:gd name="connsiteX0" fmla="*/ 5802 w 9960"/>
              <a:gd name="connsiteY0" fmla="*/ 1861 h 10000"/>
              <a:gd name="connsiteX1" fmla="*/ 5802 w 9960"/>
              <a:gd name="connsiteY1" fmla="*/ 1861 h 10000"/>
              <a:gd name="connsiteX2" fmla="*/ 5753 w 9960"/>
              <a:gd name="connsiteY2" fmla="*/ 1938 h 10000"/>
              <a:gd name="connsiteX3" fmla="*/ 5802 w 9960"/>
              <a:gd name="connsiteY3" fmla="*/ 2093 h 10000"/>
              <a:gd name="connsiteX4" fmla="*/ 5619 w 9960"/>
              <a:gd name="connsiteY4" fmla="*/ 2248 h 10000"/>
              <a:gd name="connsiteX5" fmla="*/ 5574 w 9960"/>
              <a:gd name="connsiteY5" fmla="*/ 2248 h 10000"/>
              <a:gd name="connsiteX6" fmla="*/ 5619 w 9960"/>
              <a:gd name="connsiteY6" fmla="*/ 2016 h 10000"/>
              <a:gd name="connsiteX7" fmla="*/ 6063 w 9960"/>
              <a:gd name="connsiteY7" fmla="*/ 1318 h 10000"/>
              <a:gd name="connsiteX8" fmla="*/ 6063 w 9960"/>
              <a:gd name="connsiteY8" fmla="*/ 853 h 10000"/>
              <a:gd name="connsiteX9" fmla="*/ 5886 w 9960"/>
              <a:gd name="connsiteY9" fmla="*/ 543 h 10000"/>
              <a:gd name="connsiteX10" fmla="*/ 5665 w 9960"/>
              <a:gd name="connsiteY10" fmla="*/ 543 h 10000"/>
              <a:gd name="connsiteX11" fmla="*/ 5665 w 9960"/>
              <a:gd name="connsiteY11" fmla="*/ 698 h 10000"/>
              <a:gd name="connsiteX12" fmla="*/ 5530 w 9960"/>
              <a:gd name="connsiteY12" fmla="*/ 698 h 10000"/>
              <a:gd name="connsiteX13" fmla="*/ 5619 w 9960"/>
              <a:gd name="connsiteY13" fmla="*/ 387 h 10000"/>
              <a:gd name="connsiteX14" fmla="*/ 5399 w 9960"/>
              <a:gd name="connsiteY14" fmla="*/ 310 h 10000"/>
              <a:gd name="connsiteX15" fmla="*/ 5530 w 9960"/>
              <a:gd name="connsiteY15" fmla="*/ 155 h 10000"/>
              <a:gd name="connsiteX16" fmla="*/ 5399 w 9960"/>
              <a:gd name="connsiteY16" fmla="*/ 0 h 10000"/>
              <a:gd name="connsiteX17" fmla="*/ 5177 w 9960"/>
              <a:gd name="connsiteY17" fmla="*/ 387 h 10000"/>
              <a:gd name="connsiteX18" fmla="*/ 5177 w 9960"/>
              <a:gd name="connsiteY18" fmla="*/ 698 h 10000"/>
              <a:gd name="connsiteX19" fmla="*/ 5044 w 9960"/>
              <a:gd name="connsiteY19" fmla="*/ 698 h 10000"/>
              <a:gd name="connsiteX20" fmla="*/ 4647 w 9960"/>
              <a:gd name="connsiteY20" fmla="*/ 853 h 10000"/>
              <a:gd name="connsiteX21" fmla="*/ 4292 w 9960"/>
              <a:gd name="connsiteY21" fmla="*/ 1240 h 10000"/>
              <a:gd name="connsiteX22" fmla="*/ 4160 w 9960"/>
              <a:gd name="connsiteY22" fmla="*/ 1551 h 10000"/>
              <a:gd name="connsiteX23" fmla="*/ 4204 w 9960"/>
              <a:gd name="connsiteY23" fmla="*/ 1938 h 10000"/>
              <a:gd name="connsiteX24" fmla="*/ 3718 w 9960"/>
              <a:gd name="connsiteY24" fmla="*/ 2093 h 10000"/>
              <a:gd name="connsiteX25" fmla="*/ 3762 w 9960"/>
              <a:gd name="connsiteY25" fmla="*/ 2559 h 10000"/>
              <a:gd name="connsiteX26" fmla="*/ 3896 w 9960"/>
              <a:gd name="connsiteY26" fmla="*/ 2791 h 10000"/>
              <a:gd name="connsiteX27" fmla="*/ 3808 w 9960"/>
              <a:gd name="connsiteY27" fmla="*/ 2868 h 10000"/>
              <a:gd name="connsiteX28" fmla="*/ 3674 w 9960"/>
              <a:gd name="connsiteY28" fmla="*/ 2559 h 10000"/>
              <a:gd name="connsiteX29" fmla="*/ 3542 w 9960"/>
              <a:gd name="connsiteY29" fmla="*/ 2480 h 10000"/>
              <a:gd name="connsiteX30" fmla="*/ 3497 w 9960"/>
              <a:gd name="connsiteY30" fmla="*/ 2559 h 10000"/>
              <a:gd name="connsiteX31" fmla="*/ 3408 w 9960"/>
              <a:gd name="connsiteY31" fmla="*/ 2403 h 10000"/>
              <a:gd name="connsiteX32" fmla="*/ 3320 w 9960"/>
              <a:gd name="connsiteY32" fmla="*/ 2248 h 10000"/>
              <a:gd name="connsiteX33" fmla="*/ 3320 w 9960"/>
              <a:gd name="connsiteY33" fmla="*/ 2325 h 10000"/>
              <a:gd name="connsiteX34" fmla="*/ 3366 w 9960"/>
              <a:gd name="connsiteY34" fmla="*/ 2559 h 10000"/>
              <a:gd name="connsiteX35" fmla="*/ 3230 w 9960"/>
              <a:gd name="connsiteY35" fmla="*/ 2946 h 10000"/>
              <a:gd name="connsiteX36" fmla="*/ 3320 w 9960"/>
              <a:gd name="connsiteY36" fmla="*/ 3256 h 10000"/>
              <a:gd name="connsiteX37" fmla="*/ 3273 w 9960"/>
              <a:gd name="connsiteY37" fmla="*/ 3566 h 10000"/>
              <a:gd name="connsiteX38" fmla="*/ 3273 w 9960"/>
              <a:gd name="connsiteY38" fmla="*/ 3799 h 10000"/>
              <a:gd name="connsiteX39" fmla="*/ 3408 w 9960"/>
              <a:gd name="connsiteY39" fmla="*/ 3799 h 10000"/>
              <a:gd name="connsiteX40" fmla="*/ 3320 w 9960"/>
              <a:gd name="connsiteY40" fmla="*/ 3876 h 10000"/>
              <a:gd name="connsiteX41" fmla="*/ 3366 w 9960"/>
              <a:gd name="connsiteY41" fmla="*/ 4263 h 10000"/>
              <a:gd name="connsiteX42" fmla="*/ 3098 w 9960"/>
              <a:gd name="connsiteY42" fmla="*/ 4652 h 10000"/>
              <a:gd name="connsiteX43" fmla="*/ 3053 w 9960"/>
              <a:gd name="connsiteY43" fmla="*/ 4574 h 10000"/>
              <a:gd name="connsiteX44" fmla="*/ 3230 w 9960"/>
              <a:gd name="connsiteY44" fmla="*/ 4186 h 10000"/>
              <a:gd name="connsiteX45" fmla="*/ 3273 w 9960"/>
              <a:gd name="connsiteY45" fmla="*/ 3954 h 10000"/>
              <a:gd name="connsiteX46" fmla="*/ 3182 w 9960"/>
              <a:gd name="connsiteY46" fmla="*/ 3799 h 10000"/>
              <a:gd name="connsiteX47" fmla="*/ 3182 w 9960"/>
              <a:gd name="connsiteY47" fmla="*/ 3023 h 10000"/>
              <a:gd name="connsiteX48" fmla="*/ 3142 w 9960"/>
              <a:gd name="connsiteY48" fmla="*/ 2868 h 10000"/>
              <a:gd name="connsiteX49" fmla="*/ 3182 w 9960"/>
              <a:gd name="connsiteY49" fmla="*/ 2403 h 10000"/>
              <a:gd name="connsiteX50" fmla="*/ 3098 w 9960"/>
              <a:gd name="connsiteY50" fmla="*/ 2325 h 10000"/>
              <a:gd name="connsiteX51" fmla="*/ 3142 w 9960"/>
              <a:gd name="connsiteY51" fmla="*/ 2248 h 10000"/>
              <a:gd name="connsiteX52" fmla="*/ 3098 w 9960"/>
              <a:gd name="connsiteY52" fmla="*/ 2093 h 10000"/>
              <a:gd name="connsiteX53" fmla="*/ 3006 w 9960"/>
              <a:gd name="connsiteY53" fmla="*/ 2170 h 10000"/>
              <a:gd name="connsiteX54" fmla="*/ 2788 w 9960"/>
              <a:gd name="connsiteY54" fmla="*/ 3178 h 10000"/>
              <a:gd name="connsiteX55" fmla="*/ 2788 w 9960"/>
              <a:gd name="connsiteY55" fmla="*/ 3566 h 10000"/>
              <a:gd name="connsiteX56" fmla="*/ 2920 w 9960"/>
              <a:gd name="connsiteY56" fmla="*/ 3876 h 10000"/>
              <a:gd name="connsiteX57" fmla="*/ 2920 w 9960"/>
              <a:gd name="connsiteY57" fmla="*/ 4031 h 10000"/>
              <a:gd name="connsiteX58" fmla="*/ 2788 w 9960"/>
              <a:gd name="connsiteY58" fmla="*/ 3876 h 10000"/>
              <a:gd name="connsiteX59" fmla="*/ 2259 w 9960"/>
              <a:gd name="connsiteY59" fmla="*/ 3256 h 10000"/>
              <a:gd name="connsiteX60" fmla="*/ 2213 w 9960"/>
              <a:gd name="connsiteY60" fmla="*/ 3411 h 10000"/>
              <a:gd name="connsiteX61" fmla="*/ 2390 w 9960"/>
              <a:gd name="connsiteY61" fmla="*/ 3799 h 10000"/>
              <a:gd name="connsiteX62" fmla="*/ 2301 w 9960"/>
              <a:gd name="connsiteY62" fmla="*/ 3876 h 10000"/>
              <a:gd name="connsiteX63" fmla="*/ 2259 w 9960"/>
              <a:gd name="connsiteY63" fmla="*/ 3799 h 10000"/>
              <a:gd name="connsiteX64" fmla="*/ 1993 w 9960"/>
              <a:gd name="connsiteY64" fmla="*/ 3954 h 10000"/>
              <a:gd name="connsiteX65" fmla="*/ 1948 w 9960"/>
              <a:gd name="connsiteY65" fmla="*/ 4109 h 10000"/>
              <a:gd name="connsiteX66" fmla="*/ 1903 w 9960"/>
              <a:gd name="connsiteY66" fmla="*/ 3954 h 10000"/>
              <a:gd name="connsiteX67" fmla="*/ 1903 w 9960"/>
              <a:gd name="connsiteY67" fmla="*/ 3799 h 10000"/>
              <a:gd name="connsiteX68" fmla="*/ 1459 w 9960"/>
              <a:gd name="connsiteY68" fmla="*/ 4263 h 10000"/>
              <a:gd name="connsiteX69" fmla="*/ 1459 w 9960"/>
              <a:gd name="connsiteY69" fmla="*/ 4418 h 10000"/>
              <a:gd name="connsiteX70" fmla="*/ 1373 w 9960"/>
              <a:gd name="connsiteY70" fmla="*/ 4496 h 10000"/>
              <a:gd name="connsiteX71" fmla="*/ 1239 w 9960"/>
              <a:gd name="connsiteY71" fmla="*/ 4341 h 10000"/>
              <a:gd name="connsiteX72" fmla="*/ 1373 w 9960"/>
              <a:gd name="connsiteY72" fmla="*/ 4186 h 10000"/>
              <a:gd name="connsiteX73" fmla="*/ 1329 w 9960"/>
              <a:gd name="connsiteY73" fmla="*/ 3954 h 10000"/>
              <a:gd name="connsiteX74" fmla="*/ 1152 w 9960"/>
              <a:gd name="connsiteY74" fmla="*/ 3876 h 10000"/>
              <a:gd name="connsiteX75" fmla="*/ 1197 w 9960"/>
              <a:gd name="connsiteY75" fmla="*/ 4031 h 10000"/>
              <a:gd name="connsiteX76" fmla="*/ 1197 w 9960"/>
              <a:gd name="connsiteY76" fmla="*/ 4418 h 10000"/>
              <a:gd name="connsiteX77" fmla="*/ 1239 w 9960"/>
              <a:gd name="connsiteY77" fmla="*/ 4574 h 10000"/>
              <a:gd name="connsiteX78" fmla="*/ 1197 w 9960"/>
              <a:gd name="connsiteY78" fmla="*/ 4729 h 10000"/>
              <a:gd name="connsiteX79" fmla="*/ 1061 w 9960"/>
              <a:gd name="connsiteY79" fmla="*/ 4652 h 10000"/>
              <a:gd name="connsiteX80" fmla="*/ 884 w 9960"/>
              <a:gd name="connsiteY80" fmla="*/ 4884 h 10000"/>
              <a:gd name="connsiteX81" fmla="*/ 972 w 9960"/>
              <a:gd name="connsiteY81" fmla="*/ 5194 h 10000"/>
              <a:gd name="connsiteX82" fmla="*/ 707 w 9960"/>
              <a:gd name="connsiteY82" fmla="*/ 5039 h 10000"/>
              <a:gd name="connsiteX83" fmla="*/ 664 w 9960"/>
              <a:gd name="connsiteY83" fmla="*/ 5116 h 10000"/>
              <a:gd name="connsiteX84" fmla="*/ 753 w 9960"/>
              <a:gd name="connsiteY84" fmla="*/ 5349 h 10000"/>
              <a:gd name="connsiteX85" fmla="*/ 664 w 9960"/>
              <a:gd name="connsiteY85" fmla="*/ 5349 h 10000"/>
              <a:gd name="connsiteX86" fmla="*/ 532 w 9960"/>
              <a:gd name="connsiteY86" fmla="*/ 5194 h 10000"/>
              <a:gd name="connsiteX87" fmla="*/ 532 w 9960"/>
              <a:gd name="connsiteY87" fmla="*/ 4729 h 10000"/>
              <a:gd name="connsiteX88" fmla="*/ 400 w 9960"/>
              <a:gd name="connsiteY88" fmla="*/ 4574 h 10000"/>
              <a:gd name="connsiteX89" fmla="*/ 354 w 9960"/>
              <a:gd name="connsiteY89" fmla="*/ 4418 h 10000"/>
              <a:gd name="connsiteX90" fmla="*/ 443 w 9960"/>
              <a:gd name="connsiteY90" fmla="*/ 4496 h 10000"/>
              <a:gd name="connsiteX91" fmla="*/ 796 w 9960"/>
              <a:gd name="connsiteY91" fmla="*/ 4729 h 10000"/>
              <a:gd name="connsiteX92" fmla="*/ 1017 w 9960"/>
              <a:gd name="connsiteY92" fmla="*/ 4496 h 10000"/>
              <a:gd name="connsiteX93" fmla="*/ 972 w 9960"/>
              <a:gd name="connsiteY93" fmla="*/ 4263 h 10000"/>
              <a:gd name="connsiteX94" fmla="*/ 707 w 9960"/>
              <a:gd name="connsiteY94" fmla="*/ 3799 h 10000"/>
              <a:gd name="connsiteX95" fmla="*/ 443 w 9960"/>
              <a:gd name="connsiteY95" fmla="*/ 3644 h 10000"/>
              <a:gd name="connsiteX96" fmla="*/ 443 w 9960"/>
              <a:gd name="connsiteY96" fmla="*/ 3566 h 10000"/>
              <a:gd name="connsiteX97" fmla="*/ 354 w 9960"/>
              <a:gd name="connsiteY97" fmla="*/ 3488 h 10000"/>
              <a:gd name="connsiteX98" fmla="*/ 264 w 9960"/>
              <a:gd name="connsiteY98" fmla="*/ 3566 h 10000"/>
              <a:gd name="connsiteX99" fmla="*/ 264 w 9960"/>
              <a:gd name="connsiteY99" fmla="*/ 3644 h 10000"/>
              <a:gd name="connsiteX100" fmla="*/ 222 w 9960"/>
              <a:gd name="connsiteY100" fmla="*/ 3644 h 10000"/>
              <a:gd name="connsiteX101" fmla="*/ 132 w 9960"/>
              <a:gd name="connsiteY101" fmla="*/ 3799 h 10000"/>
              <a:gd name="connsiteX102" fmla="*/ 132 w 9960"/>
              <a:gd name="connsiteY102" fmla="*/ 4031 h 10000"/>
              <a:gd name="connsiteX103" fmla="*/ 222 w 9960"/>
              <a:gd name="connsiteY103" fmla="*/ 4186 h 10000"/>
              <a:gd name="connsiteX104" fmla="*/ 176 w 9960"/>
              <a:gd name="connsiteY104" fmla="*/ 4418 h 10000"/>
              <a:gd name="connsiteX105" fmla="*/ 222 w 9960"/>
              <a:gd name="connsiteY105" fmla="*/ 4807 h 10000"/>
              <a:gd name="connsiteX106" fmla="*/ 176 w 9960"/>
              <a:gd name="connsiteY106" fmla="*/ 5039 h 10000"/>
              <a:gd name="connsiteX107" fmla="*/ 264 w 9960"/>
              <a:gd name="connsiteY107" fmla="*/ 5271 h 10000"/>
              <a:gd name="connsiteX108" fmla="*/ 222 w 9960"/>
              <a:gd name="connsiteY108" fmla="*/ 5426 h 10000"/>
              <a:gd name="connsiteX109" fmla="*/ 309 w 9960"/>
              <a:gd name="connsiteY109" fmla="*/ 5582 h 10000"/>
              <a:gd name="connsiteX110" fmla="*/ 309 w 9960"/>
              <a:gd name="connsiteY110" fmla="*/ 5659 h 10000"/>
              <a:gd name="connsiteX111" fmla="*/ 176 w 9960"/>
              <a:gd name="connsiteY111" fmla="*/ 6047 h 10000"/>
              <a:gd name="connsiteX112" fmla="*/ 42 w 9960"/>
              <a:gd name="connsiteY112" fmla="*/ 6202 h 10000"/>
              <a:gd name="connsiteX113" fmla="*/ 88 w 9960"/>
              <a:gd name="connsiteY113" fmla="*/ 6202 h 10000"/>
              <a:gd name="connsiteX114" fmla="*/ 176 w 9960"/>
              <a:gd name="connsiteY114" fmla="*/ 6356 h 10000"/>
              <a:gd name="connsiteX115" fmla="*/ 88 w 9960"/>
              <a:gd name="connsiteY115" fmla="*/ 6512 h 10000"/>
              <a:gd name="connsiteX116" fmla="*/ 42 w 9960"/>
              <a:gd name="connsiteY116" fmla="*/ 6590 h 10000"/>
              <a:gd name="connsiteX117" fmla="*/ 0 w 9960"/>
              <a:gd name="connsiteY117" fmla="*/ 6590 h 10000"/>
              <a:gd name="connsiteX118" fmla="*/ 42 w 9960"/>
              <a:gd name="connsiteY118" fmla="*/ 6822 h 10000"/>
              <a:gd name="connsiteX119" fmla="*/ 42 w 9960"/>
              <a:gd name="connsiteY119" fmla="*/ 6900 h 10000"/>
              <a:gd name="connsiteX120" fmla="*/ 42 w 9960"/>
              <a:gd name="connsiteY120" fmla="*/ 6977 h 10000"/>
              <a:gd name="connsiteX121" fmla="*/ 42 w 9960"/>
              <a:gd name="connsiteY121" fmla="*/ 7054 h 10000"/>
              <a:gd name="connsiteX122" fmla="*/ 88 w 9960"/>
              <a:gd name="connsiteY122" fmla="*/ 7209 h 10000"/>
              <a:gd name="connsiteX123" fmla="*/ 222 w 9960"/>
              <a:gd name="connsiteY123" fmla="*/ 7287 h 10000"/>
              <a:gd name="connsiteX124" fmla="*/ 264 w 9960"/>
              <a:gd name="connsiteY124" fmla="*/ 7364 h 10000"/>
              <a:gd name="connsiteX125" fmla="*/ 264 w 9960"/>
              <a:gd name="connsiteY125" fmla="*/ 7520 h 10000"/>
              <a:gd name="connsiteX126" fmla="*/ 354 w 9960"/>
              <a:gd name="connsiteY126" fmla="*/ 7752 h 10000"/>
              <a:gd name="connsiteX127" fmla="*/ 400 w 9960"/>
              <a:gd name="connsiteY127" fmla="*/ 7752 h 10000"/>
              <a:gd name="connsiteX128" fmla="*/ 354 w 9960"/>
              <a:gd name="connsiteY128" fmla="*/ 7907 h 10000"/>
              <a:gd name="connsiteX129" fmla="*/ 309 w 9960"/>
              <a:gd name="connsiteY129" fmla="*/ 7830 h 10000"/>
              <a:gd name="connsiteX130" fmla="*/ 309 w 9960"/>
              <a:gd name="connsiteY130" fmla="*/ 7907 h 10000"/>
              <a:gd name="connsiteX131" fmla="*/ 354 w 9960"/>
              <a:gd name="connsiteY131" fmla="*/ 8062 h 10000"/>
              <a:gd name="connsiteX132" fmla="*/ 488 w 9960"/>
              <a:gd name="connsiteY132" fmla="*/ 8062 h 10000"/>
              <a:gd name="connsiteX133" fmla="*/ 532 w 9960"/>
              <a:gd name="connsiteY133" fmla="*/ 8140 h 10000"/>
              <a:gd name="connsiteX134" fmla="*/ 488 w 9960"/>
              <a:gd name="connsiteY134" fmla="*/ 8140 h 10000"/>
              <a:gd name="connsiteX135" fmla="*/ 532 w 9960"/>
              <a:gd name="connsiteY135" fmla="*/ 8217 h 10000"/>
              <a:gd name="connsiteX136" fmla="*/ 575 w 9960"/>
              <a:gd name="connsiteY136" fmla="*/ 8217 h 10000"/>
              <a:gd name="connsiteX137" fmla="*/ 619 w 9960"/>
              <a:gd name="connsiteY137" fmla="*/ 8372 h 10000"/>
              <a:gd name="connsiteX138" fmla="*/ 664 w 9960"/>
              <a:gd name="connsiteY138" fmla="*/ 8449 h 10000"/>
              <a:gd name="connsiteX139" fmla="*/ 707 w 9960"/>
              <a:gd name="connsiteY139" fmla="*/ 8372 h 10000"/>
              <a:gd name="connsiteX140" fmla="*/ 930 w 9960"/>
              <a:gd name="connsiteY140" fmla="*/ 8605 h 10000"/>
              <a:gd name="connsiteX141" fmla="*/ 884 w 9960"/>
              <a:gd name="connsiteY141" fmla="*/ 8915 h 10000"/>
              <a:gd name="connsiteX142" fmla="*/ 839 w 9960"/>
              <a:gd name="connsiteY142" fmla="*/ 8838 h 10000"/>
              <a:gd name="connsiteX143" fmla="*/ 796 w 9960"/>
              <a:gd name="connsiteY143" fmla="*/ 8915 h 10000"/>
              <a:gd name="connsiteX144" fmla="*/ 796 w 9960"/>
              <a:gd name="connsiteY144" fmla="*/ 9070 h 10000"/>
              <a:gd name="connsiteX145" fmla="*/ 839 w 9960"/>
              <a:gd name="connsiteY145" fmla="*/ 8993 h 10000"/>
              <a:gd name="connsiteX146" fmla="*/ 884 w 9960"/>
              <a:gd name="connsiteY146" fmla="*/ 9070 h 10000"/>
              <a:gd name="connsiteX147" fmla="*/ 753 w 9960"/>
              <a:gd name="connsiteY147" fmla="*/ 9147 h 10000"/>
              <a:gd name="connsiteX148" fmla="*/ 796 w 9960"/>
              <a:gd name="connsiteY148" fmla="*/ 9225 h 10000"/>
              <a:gd name="connsiteX149" fmla="*/ 707 w 9960"/>
              <a:gd name="connsiteY149" fmla="*/ 9380 h 10000"/>
              <a:gd name="connsiteX150" fmla="*/ 664 w 9960"/>
              <a:gd name="connsiteY150" fmla="*/ 9380 h 10000"/>
              <a:gd name="connsiteX151" fmla="*/ 707 w 9960"/>
              <a:gd name="connsiteY151" fmla="*/ 9380 h 10000"/>
              <a:gd name="connsiteX152" fmla="*/ 884 w 9960"/>
              <a:gd name="connsiteY152" fmla="*/ 9691 h 10000"/>
              <a:gd name="connsiteX153" fmla="*/ 1108 w 9960"/>
              <a:gd name="connsiteY153" fmla="*/ 9691 h 10000"/>
              <a:gd name="connsiteX154" fmla="*/ 1197 w 9960"/>
              <a:gd name="connsiteY154" fmla="*/ 9768 h 10000"/>
              <a:gd name="connsiteX155" fmla="*/ 1284 w 9960"/>
              <a:gd name="connsiteY155" fmla="*/ 9768 h 10000"/>
              <a:gd name="connsiteX156" fmla="*/ 1373 w 9960"/>
              <a:gd name="connsiteY156" fmla="*/ 9923 h 10000"/>
              <a:gd name="connsiteX157" fmla="*/ 1416 w 9960"/>
              <a:gd name="connsiteY157" fmla="*/ 10000 h 10000"/>
              <a:gd name="connsiteX158" fmla="*/ 1459 w 9960"/>
              <a:gd name="connsiteY158" fmla="*/ 10000 h 10000"/>
              <a:gd name="connsiteX159" fmla="*/ 1506 w 9960"/>
              <a:gd name="connsiteY159" fmla="*/ 9923 h 10000"/>
              <a:gd name="connsiteX160" fmla="*/ 1416 w 9960"/>
              <a:gd name="connsiteY160" fmla="*/ 9768 h 10000"/>
              <a:gd name="connsiteX161" fmla="*/ 1416 w 9960"/>
              <a:gd name="connsiteY161" fmla="*/ 9613 h 10000"/>
              <a:gd name="connsiteX162" fmla="*/ 1373 w 9960"/>
              <a:gd name="connsiteY162" fmla="*/ 9457 h 10000"/>
              <a:gd name="connsiteX163" fmla="*/ 1459 w 9960"/>
              <a:gd name="connsiteY163" fmla="*/ 9225 h 10000"/>
              <a:gd name="connsiteX164" fmla="*/ 1506 w 9960"/>
              <a:gd name="connsiteY164" fmla="*/ 9302 h 10000"/>
              <a:gd name="connsiteX165" fmla="*/ 1550 w 9960"/>
              <a:gd name="connsiteY165" fmla="*/ 9225 h 10000"/>
              <a:gd name="connsiteX166" fmla="*/ 1550 w 9960"/>
              <a:gd name="connsiteY166" fmla="*/ 9147 h 10000"/>
              <a:gd name="connsiteX167" fmla="*/ 1506 w 9960"/>
              <a:gd name="connsiteY167" fmla="*/ 9147 h 10000"/>
              <a:gd name="connsiteX168" fmla="*/ 1550 w 9960"/>
              <a:gd name="connsiteY168" fmla="*/ 9070 h 10000"/>
              <a:gd name="connsiteX169" fmla="*/ 1506 w 9960"/>
              <a:gd name="connsiteY169" fmla="*/ 8915 h 10000"/>
              <a:gd name="connsiteX170" fmla="*/ 1416 w 9960"/>
              <a:gd name="connsiteY170" fmla="*/ 8915 h 10000"/>
              <a:gd name="connsiteX171" fmla="*/ 1373 w 9960"/>
              <a:gd name="connsiteY171" fmla="*/ 8760 h 10000"/>
              <a:gd name="connsiteX172" fmla="*/ 1416 w 9960"/>
              <a:gd name="connsiteY172" fmla="*/ 8372 h 10000"/>
              <a:gd name="connsiteX173" fmla="*/ 1506 w 9960"/>
              <a:gd name="connsiteY173" fmla="*/ 8528 h 10000"/>
              <a:gd name="connsiteX174" fmla="*/ 1550 w 9960"/>
              <a:gd name="connsiteY174" fmla="*/ 8528 h 10000"/>
              <a:gd name="connsiteX175" fmla="*/ 1506 w 9960"/>
              <a:gd name="connsiteY175" fmla="*/ 8372 h 10000"/>
              <a:gd name="connsiteX176" fmla="*/ 1638 w 9960"/>
              <a:gd name="connsiteY176" fmla="*/ 8140 h 10000"/>
              <a:gd name="connsiteX177" fmla="*/ 1728 w 9960"/>
              <a:gd name="connsiteY177" fmla="*/ 8217 h 10000"/>
              <a:gd name="connsiteX178" fmla="*/ 1770 w 9960"/>
              <a:gd name="connsiteY178" fmla="*/ 8140 h 10000"/>
              <a:gd name="connsiteX179" fmla="*/ 1859 w 9960"/>
              <a:gd name="connsiteY179" fmla="*/ 8217 h 10000"/>
              <a:gd name="connsiteX180" fmla="*/ 1993 w 9960"/>
              <a:gd name="connsiteY180" fmla="*/ 8372 h 10000"/>
              <a:gd name="connsiteX181" fmla="*/ 2081 w 9960"/>
              <a:gd name="connsiteY181" fmla="*/ 8295 h 10000"/>
              <a:gd name="connsiteX182" fmla="*/ 2169 w 9960"/>
              <a:gd name="connsiteY182" fmla="*/ 8295 h 10000"/>
              <a:gd name="connsiteX183" fmla="*/ 2213 w 9960"/>
              <a:gd name="connsiteY183" fmla="*/ 8372 h 10000"/>
              <a:gd name="connsiteX184" fmla="*/ 2390 w 9960"/>
              <a:gd name="connsiteY184" fmla="*/ 8372 h 10000"/>
              <a:gd name="connsiteX185" fmla="*/ 2433 w 9960"/>
              <a:gd name="connsiteY185" fmla="*/ 8217 h 10000"/>
              <a:gd name="connsiteX186" fmla="*/ 2301 w 9960"/>
              <a:gd name="connsiteY186" fmla="*/ 8140 h 10000"/>
              <a:gd name="connsiteX187" fmla="*/ 2390 w 9960"/>
              <a:gd name="connsiteY187" fmla="*/ 8062 h 10000"/>
              <a:gd name="connsiteX188" fmla="*/ 2345 w 9960"/>
              <a:gd name="connsiteY188" fmla="*/ 7985 h 10000"/>
              <a:gd name="connsiteX189" fmla="*/ 2390 w 9960"/>
              <a:gd name="connsiteY189" fmla="*/ 7907 h 10000"/>
              <a:gd name="connsiteX190" fmla="*/ 2390 w 9960"/>
              <a:gd name="connsiteY190" fmla="*/ 7675 h 10000"/>
              <a:gd name="connsiteX191" fmla="*/ 2477 w 9960"/>
              <a:gd name="connsiteY191" fmla="*/ 7752 h 10000"/>
              <a:gd name="connsiteX192" fmla="*/ 2877 w 9960"/>
              <a:gd name="connsiteY192" fmla="*/ 7520 h 10000"/>
              <a:gd name="connsiteX193" fmla="*/ 2877 w 9960"/>
              <a:gd name="connsiteY193" fmla="*/ 7442 h 10000"/>
              <a:gd name="connsiteX194" fmla="*/ 2920 w 9960"/>
              <a:gd name="connsiteY194" fmla="*/ 7442 h 10000"/>
              <a:gd name="connsiteX195" fmla="*/ 3053 w 9960"/>
              <a:gd name="connsiteY195" fmla="*/ 7442 h 10000"/>
              <a:gd name="connsiteX196" fmla="*/ 3098 w 9960"/>
              <a:gd name="connsiteY196" fmla="*/ 7598 h 10000"/>
              <a:gd name="connsiteX197" fmla="*/ 3098 w 9960"/>
              <a:gd name="connsiteY197" fmla="*/ 7675 h 10000"/>
              <a:gd name="connsiteX198" fmla="*/ 3142 w 9960"/>
              <a:gd name="connsiteY198" fmla="*/ 7675 h 10000"/>
              <a:gd name="connsiteX199" fmla="*/ 3230 w 9960"/>
              <a:gd name="connsiteY199" fmla="*/ 7752 h 10000"/>
              <a:gd name="connsiteX200" fmla="*/ 3230 w 9960"/>
              <a:gd name="connsiteY200" fmla="*/ 7830 h 10000"/>
              <a:gd name="connsiteX201" fmla="*/ 3320 w 9960"/>
              <a:gd name="connsiteY201" fmla="*/ 7830 h 10000"/>
              <a:gd name="connsiteX202" fmla="*/ 3408 w 9960"/>
              <a:gd name="connsiteY202" fmla="*/ 7675 h 10000"/>
              <a:gd name="connsiteX203" fmla="*/ 3497 w 9960"/>
              <a:gd name="connsiteY203" fmla="*/ 7598 h 10000"/>
              <a:gd name="connsiteX204" fmla="*/ 3542 w 9960"/>
              <a:gd name="connsiteY204" fmla="*/ 7830 h 10000"/>
              <a:gd name="connsiteX205" fmla="*/ 3718 w 9960"/>
              <a:gd name="connsiteY205" fmla="*/ 8372 h 10000"/>
              <a:gd name="connsiteX206" fmla="*/ 3762 w 9960"/>
              <a:gd name="connsiteY206" fmla="*/ 8217 h 10000"/>
              <a:gd name="connsiteX207" fmla="*/ 3808 w 9960"/>
              <a:gd name="connsiteY207" fmla="*/ 8372 h 10000"/>
              <a:gd name="connsiteX208" fmla="*/ 3940 w 9960"/>
              <a:gd name="connsiteY208" fmla="*/ 8295 h 10000"/>
              <a:gd name="connsiteX209" fmla="*/ 4074 w 9960"/>
              <a:gd name="connsiteY209" fmla="*/ 8528 h 10000"/>
              <a:gd name="connsiteX210" fmla="*/ 4160 w 9960"/>
              <a:gd name="connsiteY210" fmla="*/ 8605 h 10000"/>
              <a:gd name="connsiteX211" fmla="*/ 4160 w 9960"/>
              <a:gd name="connsiteY211" fmla="*/ 8528 h 10000"/>
              <a:gd name="connsiteX212" fmla="*/ 4204 w 9960"/>
              <a:gd name="connsiteY212" fmla="*/ 8683 h 10000"/>
              <a:gd name="connsiteX213" fmla="*/ 4160 w 9960"/>
              <a:gd name="connsiteY213" fmla="*/ 8760 h 10000"/>
              <a:gd name="connsiteX214" fmla="*/ 4250 w 9960"/>
              <a:gd name="connsiteY214" fmla="*/ 8683 h 10000"/>
              <a:gd name="connsiteX215" fmla="*/ 4292 w 9960"/>
              <a:gd name="connsiteY215" fmla="*/ 8605 h 10000"/>
              <a:gd name="connsiteX216" fmla="*/ 4515 w 9960"/>
              <a:gd name="connsiteY216" fmla="*/ 8372 h 10000"/>
              <a:gd name="connsiteX217" fmla="*/ 4691 w 9960"/>
              <a:gd name="connsiteY217" fmla="*/ 8449 h 10000"/>
              <a:gd name="connsiteX218" fmla="*/ 4779 w 9960"/>
              <a:gd name="connsiteY218" fmla="*/ 8528 h 10000"/>
              <a:gd name="connsiteX219" fmla="*/ 4955 w 9960"/>
              <a:gd name="connsiteY219" fmla="*/ 8528 h 10000"/>
              <a:gd name="connsiteX220" fmla="*/ 4955 w 9960"/>
              <a:gd name="connsiteY220" fmla="*/ 8372 h 10000"/>
              <a:gd name="connsiteX221" fmla="*/ 4955 w 9960"/>
              <a:gd name="connsiteY221" fmla="*/ 8217 h 10000"/>
              <a:gd name="connsiteX222" fmla="*/ 5044 w 9960"/>
              <a:gd name="connsiteY222" fmla="*/ 8140 h 10000"/>
              <a:gd name="connsiteX223" fmla="*/ 5221 w 9960"/>
              <a:gd name="connsiteY223" fmla="*/ 8217 h 10000"/>
              <a:gd name="connsiteX224" fmla="*/ 5309 w 9960"/>
              <a:gd name="connsiteY224" fmla="*/ 8449 h 10000"/>
              <a:gd name="connsiteX225" fmla="*/ 5355 w 9960"/>
              <a:gd name="connsiteY225" fmla="*/ 8449 h 10000"/>
              <a:gd name="connsiteX226" fmla="*/ 5443 w 9960"/>
              <a:gd name="connsiteY226" fmla="*/ 8372 h 10000"/>
              <a:gd name="connsiteX227" fmla="*/ 5711 w 9960"/>
              <a:gd name="connsiteY227" fmla="*/ 8605 h 10000"/>
              <a:gd name="connsiteX228" fmla="*/ 5843 w 9960"/>
              <a:gd name="connsiteY228" fmla="*/ 8683 h 10000"/>
              <a:gd name="connsiteX229" fmla="*/ 6019 w 9960"/>
              <a:gd name="connsiteY229" fmla="*/ 8605 h 10000"/>
              <a:gd name="connsiteX230" fmla="*/ 6106 w 9960"/>
              <a:gd name="connsiteY230" fmla="*/ 8449 h 10000"/>
              <a:gd name="connsiteX231" fmla="*/ 6239 w 9960"/>
              <a:gd name="connsiteY231" fmla="*/ 8528 h 10000"/>
              <a:gd name="connsiteX232" fmla="*/ 6328 w 9960"/>
              <a:gd name="connsiteY232" fmla="*/ 8605 h 10000"/>
              <a:gd name="connsiteX233" fmla="*/ 7833 w 9960"/>
              <a:gd name="connsiteY233" fmla="*/ 7675 h 10000"/>
              <a:gd name="connsiteX234" fmla="*/ 7746 w 9960"/>
              <a:gd name="connsiteY234" fmla="*/ 7675 h 10000"/>
              <a:gd name="connsiteX235" fmla="*/ 7701 w 9960"/>
              <a:gd name="connsiteY235" fmla="*/ 7675 h 10000"/>
              <a:gd name="connsiteX236" fmla="*/ 7655 w 9960"/>
              <a:gd name="connsiteY236" fmla="*/ 7598 h 10000"/>
              <a:gd name="connsiteX237" fmla="*/ 7569 w 9960"/>
              <a:gd name="connsiteY237" fmla="*/ 7598 h 10000"/>
              <a:gd name="connsiteX238" fmla="*/ 7569 w 9960"/>
              <a:gd name="connsiteY238" fmla="*/ 7520 h 10000"/>
              <a:gd name="connsiteX239" fmla="*/ 7701 w 9960"/>
              <a:gd name="connsiteY239" fmla="*/ 7287 h 10000"/>
              <a:gd name="connsiteX240" fmla="*/ 8101 w 9960"/>
              <a:gd name="connsiteY240" fmla="*/ 6590 h 10000"/>
              <a:gd name="connsiteX241" fmla="*/ 8276 w 9960"/>
              <a:gd name="connsiteY241" fmla="*/ 6512 h 10000"/>
              <a:gd name="connsiteX242" fmla="*/ 8319 w 9960"/>
              <a:gd name="connsiteY242" fmla="*/ 6590 h 10000"/>
              <a:gd name="connsiteX243" fmla="*/ 8366 w 9960"/>
              <a:gd name="connsiteY243" fmla="*/ 6512 h 10000"/>
              <a:gd name="connsiteX244" fmla="*/ 8495 w 9960"/>
              <a:gd name="connsiteY244" fmla="*/ 6590 h 10000"/>
              <a:gd name="connsiteX245" fmla="*/ 8544 w 9960"/>
              <a:gd name="connsiteY245" fmla="*/ 6434 h 10000"/>
              <a:gd name="connsiteX246" fmla="*/ 8673 w 9960"/>
              <a:gd name="connsiteY246" fmla="*/ 6512 h 10000"/>
              <a:gd name="connsiteX247" fmla="*/ 8718 w 9960"/>
              <a:gd name="connsiteY247" fmla="*/ 6512 h 10000"/>
              <a:gd name="connsiteX248" fmla="*/ 8673 w 9960"/>
              <a:gd name="connsiteY248" fmla="*/ 6590 h 10000"/>
              <a:gd name="connsiteX249" fmla="*/ 8673 w 9960"/>
              <a:gd name="connsiteY249" fmla="*/ 6667 h 10000"/>
              <a:gd name="connsiteX250" fmla="*/ 8939 w 9960"/>
              <a:gd name="connsiteY250" fmla="*/ 6590 h 10000"/>
              <a:gd name="connsiteX251" fmla="*/ 8895 w 9960"/>
              <a:gd name="connsiteY251" fmla="*/ 6512 h 10000"/>
              <a:gd name="connsiteX252" fmla="*/ 9074 w 9960"/>
              <a:gd name="connsiteY252" fmla="*/ 5969 h 10000"/>
              <a:gd name="connsiteX253" fmla="*/ 9292 w 9960"/>
              <a:gd name="connsiteY253" fmla="*/ 5892 h 10000"/>
              <a:gd name="connsiteX254" fmla="*/ 9292 w 9960"/>
              <a:gd name="connsiteY254" fmla="*/ 6047 h 10000"/>
              <a:gd name="connsiteX255" fmla="*/ 9292 w 9960"/>
              <a:gd name="connsiteY255" fmla="*/ 6202 h 10000"/>
              <a:gd name="connsiteX256" fmla="*/ 9514 w 9960"/>
              <a:gd name="connsiteY256" fmla="*/ 5969 h 10000"/>
              <a:gd name="connsiteX257" fmla="*/ 9514 w 9960"/>
              <a:gd name="connsiteY257" fmla="*/ 5737 h 10000"/>
              <a:gd name="connsiteX258" fmla="*/ 9603 w 9960"/>
              <a:gd name="connsiteY258" fmla="*/ 5737 h 10000"/>
              <a:gd name="connsiteX259" fmla="*/ 9556 w 9960"/>
              <a:gd name="connsiteY259" fmla="*/ 5814 h 10000"/>
              <a:gd name="connsiteX260" fmla="*/ 9514 w 9960"/>
              <a:gd name="connsiteY260" fmla="*/ 6202 h 10000"/>
              <a:gd name="connsiteX261" fmla="*/ 9426 w 9960"/>
              <a:gd name="connsiteY261" fmla="*/ 6279 h 10000"/>
              <a:gd name="connsiteX262" fmla="*/ 9514 w 9960"/>
              <a:gd name="connsiteY262" fmla="*/ 6590 h 10000"/>
              <a:gd name="connsiteX263" fmla="*/ 9514 w 9960"/>
              <a:gd name="connsiteY263" fmla="*/ 6434 h 10000"/>
              <a:gd name="connsiteX264" fmla="*/ 9603 w 9960"/>
              <a:gd name="connsiteY264" fmla="*/ 6434 h 10000"/>
              <a:gd name="connsiteX265" fmla="*/ 9737 w 9960"/>
              <a:gd name="connsiteY265" fmla="*/ 6279 h 10000"/>
              <a:gd name="connsiteX266" fmla="*/ 9737 w 9960"/>
              <a:gd name="connsiteY266" fmla="*/ 6434 h 10000"/>
              <a:gd name="connsiteX267" fmla="*/ 9780 w 9960"/>
              <a:gd name="connsiteY267" fmla="*/ 6356 h 10000"/>
              <a:gd name="connsiteX268" fmla="*/ 9916 w 9960"/>
              <a:gd name="connsiteY268" fmla="*/ 6279 h 10000"/>
              <a:gd name="connsiteX269" fmla="*/ 9959 w 9960"/>
              <a:gd name="connsiteY269" fmla="*/ 3876 h 10000"/>
              <a:gd name="connsiteX270" fmla="*/ 9868 w 9960"/>
              <a:gd name="connsiteY270" fmla="*/ 3721 h 10000"/>
              <a:gd name="connsiteX271" fmla="*/ 9868 w 9960"/>
              <a:gd name="connsiteY271" fmla="*/ 3566 h 10000"/>
              <a:gd name="connsiteX272" fmla="*/ 9916 w 9960"/>
              <a:gd name="connsiteY272" fmla="*/ 3566 h 10000"/>
              <a:gd name="connsiteX273" fmla="*/ 9959 w 9960"/>
              <a:gd name="connsiteY273" fmla="*/ 3488 h 10000"/>
              <a:gd name="connsiteX274" fmla="*/ 9868 w 9960"/>
              <a:gd name="connsiteY274" fmla="*/ 3488 h 10000"/>
              <a:gd name="connsiteX275" fmla="*/ 9780 w 9960"/>
              <a:gd name="connsiteY275" fmla="*/ 3644 h 10000"/>
              <a:gd name="connsiteX276" fmla="*/ 9556 w 9960"/>
              <a:gd name="connsiteY276" fmla="*/ 3566 h 10000"/>
              <a:gd name="connsiteX277" fmla="*/ 9339 w 9960"/>
              <a:gd name="connsiteY277" fmla="*/ 3566 h 10000"/>
              <a:gd name="connsiteX278" fmla="*/ 9249 w 9960"/>
              <a:gd name="connsiteY278" fmla="*/ 3488 h 10000"/>
              <a:gd name="connsiteX279" fmla="*/ 9292 w 9960"/>
              <a:gd name="connsiteY279" fmla="*/ 3333 h 10000"/>
              <a:gd name="connsiteX280" fmla="*/ 9203 w 9960"/>
              <a:gd name="connsiteY280" fmla="*/ 3101 h 10000"/>
              <a:gd name="connsiteX281" fmla="*/ 9026 w 9960"/>
              <a:gd name="connsiteY281" fmla="*/ 3023 h 10000"/>
              <a:gd name="connsiteX282" fmla="*/ 8764 w 9960"/>
              <a:gd name="connsiteY282" fmla="*/ 3178 h 10000"/>
              <a:gd name="connsiteX283" fmla="*/ 8718 w 9960"/>
              <a:gd name="connsiteY283" fmla="*/ 2946 h 10000"/>
              <a:gd name="connsiteX284" fmla="*/ 8630 w 9960"/>
              <a:gd name="connsiteY284" fmla="*/ 2946 h 10000"/>
              <a:gd name="connsiteX285" fmla="*/ 8586 w 9960"/>
              <a:gd name="connsiteY285" fmla="*/ 2868 h 10000"/>
              <a:gd name="connsiteX286" fmla="*/ 8586 w 9960"/>
              <a:gd name="connsiteY286" fmla="*/ 2636 h 10000"/>
              <a:gd name="connsiteX287" fmla="*/ 8276 w 9960"/>
              <a:gd name="connsiteY287" fmla="*/ 2480 h 10000"/>
              <a:gd name="connsiteX288" fmla="*/ 7922 w 9960"/>
              <a:gd name="connsiteY288" fmla="*/ 2325 h 10000"/>
              <a:gd name="connsiteX289" fmla="*/ 7833 w 9960"/>
              <a:gd name="connsiteY289" fmla="*/ 2636 h 10000"/>
              <a:gd name="connsiteX290" fmla="*/ 7922 w 9960"/>
              <a:gd name="connsiteY290" fmla="*/ 2868 h 10000"/>
              <a:gd name="connsiteX291" fmla="*/ 7655 w 9960"/>
              <a:gd name="connsiteY291" fmla="*/ 2868 h 10000"/>
              <a:gd name="connsiteX292" fmla="*/ 7610 w 9960"/>
              <a:gd name="connsiteY292" fmla="*/ 2868 h 10000"/>
              <a:gd name="connsiteX293" fmla="*/ 7523 w 9960"/>
              <a:gd name="connsiteY293" fmla="*/ 2946 h 10000"/>
              <a:gd name="connsiteX294" fmla="*/ 7390 w 9960"/>
              <a:gd name="connsiteY294" fmla="*/ 2714 h 10000"/>
              <a:gd name="connsiteX295" fmla="*/ 7301 w 9960"/>
              <a:gd name="connsiteY295" fmla="*/ 3178 h 10000"/>
              <a:gd name="connsiteX296" fmla="*/ 7215 w 9960"/>
              <a:gd name="connsiteY296" fmla="*/ 3101 h 10000"/>
              <a:gd name="connsiteX297" fmla="*/ 7124 w 9960"/>
              <a:gd name="connsiteY297" fmla="*/ 2791 h 10000"/>
              <a:gd name="connsiteX298" fmla="*/ 7170 w 9960"/>
              <a:gd name="connsiteY298" fmla="*/ 2403 h 10000"/>
              <a:gd name="connsiteX299" fmla="*/ 7082 w 9960"/>
              <a:gd name="connsiteY299" fmla="*/ 2170 h 10000"/>
              <a:gd name="connsiteX300" fmla="*/ 6815 w 9960"/>
              <a:gd name="connsiteY300" fmla="*/ 2016 h 10000"/>
              <a:gd name="connsiteX301" fmla="*/ 6725 w 9960"/>
              <a:gd name="connsiteY301" fmla="*/ 2016 h 10000"/>
              <a:gd name="connsiteX302" fmla="*/ 6682 w 9960"/>
              <a:gd name="connsiteY302" fmla="*/ 2170 h 10000"/>
              <a:gd name="connsiteX303" fmla="*/ 6725 w 9960"/>
              <a:gd name="connsiteY303" fmla="*/ 2325 h 10000"/>
              <a:gd name="connsiteX304" fmla="*/ 6375 w 9960"/>
              <a:gd name="connsiteY304" fmla="*/ 2248 h 10000"/>
              <a:gd name="connsiteX305" fmla="*/ 6416 w 9960"/>
              <a:gd name="connsiteY305" fmla="*/ 2016 h 10000"/>
              <a:gd name="connsiteX306" fmla="*/ 6197 w 9960"/>
              <a:gd name="connsiteY306" fmla="*/ 1938 h 10000"/>
              <a:gd name="connsiteX307" fmla="*/ 6063 w 9960"/>
              <a:gd name="connsiteY307" fmla="*/ 2093 h 10000"/>
              <a:gd name="connsiteX308" fmla="*/ 5802 w 9960"/>
              <a:gd name="connsiteY308" fmla="*/ 1861 h 10000"/>
              <a:gd name="connsiteX0" fmla="*/ 5825 w 9999"/>
              <a:gd name="connsiteY0" fmla="*/ 1861 h 10000"/>
              <a:gd name="connsiteX1" fmla="*/ 5825 w 9999"/>
              <a:gd name="connsiteY1" fmla="*/ 1861 h 10000"/>
              <a:gd name="connsiteX2" fmla="*/ 5776 w 9999"/>
              <a:gd name="connsiteY2" fmla="*/ 1938 h 10000"/>
              <a:gd name="connsiteX3" fmla="*/ 5825 w 9999"/>
              <a:gd name="connsiteY3" fmla="*/ 2093 h 10000"/>
              <a:gd name="connsiteX4" fmla="*/ 5642 w 9999"/>
              <a:gd name="connsiteY4" fmla="*/ 2248 h 10000"/>
              <a:gd name="connsiteX5" fmla="*/ 5596 w 9999"/>
              <a:gd name="connsiteY5" fmla="*/ 2248 h 10000"/>
              <a:gd name="connsiteX6" fmla="*/ 5642 w 9999"/>
              <a:gd name="connsiteY6" fmla="*/ 2016 h 10000"/>
              <a:gd name="connsiteX7" fmla="*/ 6087 w 9999"/>
              <a:gd name="connsiteY7" fmla="*/ 1318 h 10000"/>
              <a:gd name="connsiteX8" fmla="*/ 6087 w 9999"/>
              <a:gd name="connsiteY8" fmla="*/ 853 h 10000"/>
              <a:gd name="connsiteX9" fmla="*/ 5910 w 9999"/>
              <a:gd name="connsiteY9" fmla="*/ 543 h 10000"/>
              <a:gd name="connsiteX10" fmla="*/ 5688 w 9999"/>
              <a:gd name="connsiteY10" fmla="*/ 543 h 10000"/>
              <a:gd name="connsiteX11" fmla="*/ 5688 w 9999"/>
              <a:gd name="connsiteY11" fmla="*/ 698 h 10000"/>
              <a:gd name="connsiteX12" fmla="*/ 5552 w 9999"/>
              <a:gd name="connsiteY12" fmla="*/ 698 h 10000"/>
              <a:gd name="connsiteX13" fmla="*/ 5642 w 9999"/>
              <a:gd name="connsiteY13" fmla="*/ 387 h 10000"/>
              <a:gd name="connsiteX14" fmla="*/ 5421 w 9999"/>
              <a:gd name="connsiteY14" fmla="*/ 310 h 10000"/>
              <a:gd name="connsiteX15" fmla="*/ 5552 w 9999"/>
              <a:gd name="connsiteY15" fmla="*/ 155 h 10000"/>
              <a:gd name="connsiteX16" fmla="*/ 5421 w 9999"/>
              <a:gd name="connsiteY16" fmla="*/ 0 h 10000"/>
              <a:gd name="connsiteX17" fmla="*/ 5198 w 9999"/>
              <a:gd name="connsiteY17" fmla="*/ 387 h 10000"/>
              <a:gd name="connsiteX18" fmla="*/ 5198 w 9999"/>
              <a:gd name="connsiteY18" fmla="*/ 698 h 10000"/>
              <a:gd name="connsiteX19" fmla="*/ 5064 w 9999"/>
              <a:gd name="connsiteY19" fmla="*/ 698 h 10000"/>
              <a:gd name="connsiteX20" fmla="*/ 4666 w 9999"/>
              <a:gd name="connsiteY20" fmla="*/ 853 h 10000"/>
              <a:gd name="connsiteX21" fmla="*/ 4309 w 9999"/>
              <a:gd name="connsiteY21" fmla="*/ 1240 h 10000"/>
              <a:gd name="connsiteX22" fmla="*/ 4177 w 9999"/>
              <a:gd name="connsiteY22" fmla="*/ 1551 h 10000"/>
              <a:gd name="connsiteX23" fmla="*/ 4221 w 9999"/>
              <a:gd name="connsiteY23" fmla="*/ 1938 h 10000"/>
              <a:gd name="connsiteX24" fmla="*/ 3733 w 9999"/>
              <a:gd name="connsiteY24" fmla="*/ 2093 h 10000"/>
              <a:gd name="connsiteX25" fmla="*/ 3777 w 9999"/>
              <a:gd name="connsiteY25" fmla="*/ 2559 h 10000"/>
              <a:gd name="connsiteX26" fmla="*/ 3912 w 9999"/>
              <a:gd name="connsiteY26" fmla="*/ 2791 h 10000"/>
              <a:gd name="connsiteX27" fmla="*/ 3823 w 9999"/>
              <a:gd name="connsiteY27" fmla="*/ 2868 h 10000"/>
              <a:gd name="connsiteX28" fmla="*/ 3689 w 9999"/>
              <a:gd name="connsiteY28" fmla="*/ 2559 h 10000"/>
              <a:gd name="connsiteX29" fmla="*/ 3556 w 9999"/>
              <a:gd name="connsiteY29" fmla="*/ 2480 h 10000"/>
              <a:gd name="connsiteX30" fmla="*/ 3511 w 9999"/>
              <a:gd name="connsiteY30" fmla="*/ 2559 h 10000"/>
              <a:gd name="connsiteX31" fmla="*/ 3422 w 9999"/>
              <a:gd name="connsiteY31" fmla="*/ 2403 h 10000"/>
              <a:gd name="connsiteX32" fmla="*/ 3333 w 9999"/>
              <a:gd name="connsiteY32" fmla="*/ 2248 h 10000"/>
              <a:gd name="connsiteX33" fmla="*/ 3333 w 9999"/>
              <a:gd name="connsiteY33" fmla="*/ 2325 h 10000"/>
              <a:gd name="connsiteX34" fmla="*/ 3380 w 9999"/>
              <a:gd name="connsiteY34" fmla="*/ 2559 h 10000"/>
              <a:gd name="connsiteX35" fmla="*/ 3243 w 9999"/>
              <a:gd name="connsiteY35" fmla="*/ 2946 h 10000"/>
              <a:gd name="connsiteX36" fmla="*/ 3333 w 9999"/>
              <a:gd name="connsiteY36" fmla="*/ 3256 h 10000"/>
              <a:gd name="connsiteX37" fmla="*/ 3286 w 9999"/>
              <a:gd name="connsiteY37" fmla="*/ 3566 h 10000"/>
              <a:gd name="connsiteX38" fmla="*/ 3286 w 9999"/>
              <a:gd name="connsiteY38" fmla="*/ 3799 h 10000"/>
              <a:gd name="connsiteX39" fmla="*/ 3422 w 9999"/>
              <a:gd name="connsiteY39" fmla="*/ 3799 h 10000"/>
              <a:gd name="connsiteX40" fmla="*/ 3333 w 9999"/>
              <a:gd name="connsiteY40" fmla="*/ 3876 h 10000"/>
              <a:gd name="connsiteX41" fmla="*/ 3380 w 9999"/>
              <a:gd name="connsiteY41" fmla="*/ 4263 h 10000"/>
              <a:gd name="connsiteX42" fmla="*/ 3110 w 9999"/>
              <a:gd name="connsiteY42" fmla="*/ 4652 h 10000"/>
              <a:gd name="connsiteX43" fmla="*/ 3065 w 9999"/>
              <a:gd name="connsiteY43" fmla="*/ 4574 h 10000"/>
              <a:gd name="connsiteX44" fmla="*/ 3243 w 9999"/>
              <a:gd name="connsiteY44" fmla="*/ 4186 h 10000"/>
              <a:gd name="connsiteX45" fmla="*/ 3286 w 9999"/>
              <a:gd name="connsiteY45" fmla="*/ 3954 h 10000"/>
              <a:gd name="connsiteX46" fmla="*/ 3195 w 9999"/>
              <a:gd name="connsiteY46" fmla="*/ 3799 h 10000"/>
              <a:gd name="connsiteX47" fmla="*/ 3195 w 9999"/>
              <a:gd name="connsiteY47" fmla="*/ 3023 h 10000"/>
              <a:gd name="connsiteX48" fmla="*/ 3155 w 9999"/>
              <a:gd name="connsiteY48" fmla="*/ 2868 h 10000"/>
              <a:gd name="connsiteX49" fmla="*/ 3195 w 9999"/>
              <a:gd name="connsiteY49" fmla="*/ 2403 h 10000"/>
              <a:gd name="connsiteX50" fmla="*/ 3110 w 9999"/>
              <a:gd name="connsiteY50" fmla="*/ 2325 h 10000"/>
              <a:gd name="connsiteX51" fmla="*/ 3155 w 9999"/>
              <a:gd name="connsiteY51" fmla="*/ 2248 h 10000"/>
              <a:gd name="connsiteX52" fmla="*/ 3110 w 9999"/>
              <a:gd name="connsiteY52" fmla="*/ 2093 h 10000"/>
              <a:gd name="connsiteX53" fmla="*/ 3018 w 9999"/>
              <a:gd name="connsiteY53" fmla="*/ 2170 h 10000"/>
              <a:gd name="connsiteX54" fmla="*/ 2799 w 9999"/>
              <a:gd name="connsiteY54" fmla="*/ 3178 h 10000"/>
              <a:gd name="connsiteX55" fmla="*/ 2799 w 9999"/>
              <a:gd name="connsiteY55" fmla="*/ 3566 h 10000"/>
              <a:gd name="connsiteX56" fmla="*/ 2932 w 9999"/>
              <a:gd name="connsiteY56" fmla="*/ 3876 h 10000"/>
              <a:gd name="connsiteX57" fmla="*/ 2932 w 9999"/>
              <a:gd name="connsiteY57" fmla="*/ 4031 h 10000"/>
              <a:gd name="connsiteX58" fmla="*/ 2799 w 9999"/>
              <a:gd name="connsiteY58" fmla="*/ 3876 h 10000"/>
              <a:gd name="connsiteX59" fmla="*/ 2268 w 9999"/>
              <a:gd name="connsiteY59" fmla="*/ 3256 h 10000"/>
              <a:gd name="connsiteX60" fmla="*/ 2222 w 9999"/>
              <a:gd name="connsiteY60" fmla="*/ 3411 h 10000"/>
              <a:gd name="connsiteX61" fmla="*/ 2400 w 9999"/>
              <a:gd name="connsiteY61" fmla="*/ 3799 h 10000"/>
              <a:gd name="connsiteX62" fmla="*/ 2310 w 9999"/>
              <a:gd name="connsiteY62" fmla="*/ 3876 h 10000"/>
              <a:gd name="connsiteX63" fmla="*/ 2268 w 9999"/>
              <a:gd name="connsiteY63" fmla="*/ 3799 h 10000"/>
              <a:gd name="connsiteX64" fmla="*/ 2001 w 9999"/>
              <a:gd name="connsiteY64" fmla="*/ 3954 h 10000"/>
              <a:gd name="connsiteX65" fmla="*/ 1956 w 9999"/>
              <a:gd name="connsiteY65" fmla="*/ 4109 h 10000"/>
              <a:gd name="connsiteX66" fmla="*/ 1911 w 9999"/>
              <a:gd name="connsiteY66" fmla="*/ 3954 h 10000"/>
              <a:gd name="connsiteX67" fmla="*/ 1911 w 9999"/>
              <a:gd name="connsiteY67" fmla="*/ 3799 h 10000"/>
              <a:gd name="connsiteX68" fmla="*/ 1465 w 9999"/>
              <a:gd name="connsiteY68" fmla="*/ 4263 h 10000"/>
              <a:gd name="connsiteX69" fmla="*/ 1465 w 9999"/>
              <a:gd name="connsiteY69" fmla="*/ 4418 h 10000"/>
              <a:gd name="connsiteX70" fmla="*/ 1379 w 9999"/>
              <a:gd name="connsiteY70" fmla="*/ 4496 h 10000"/>
              <a:gd name="connsiteX71" fmla="*/ 1244 w 9999"/>
              <a:gd name="connsiteY71" fmla="*/ 4341 h 10000"/>
              <a:gd name="connsiteX72" fmla="*/ 1379 w 9999"/>
              <a:gd name="connsiteY72" fmla="*/ 4186 h 10000"/>
              <a:gd name="connsiteX73" fmla="*/ 1334 w 9999"/>
              <a:gd name="connsiteY73" fmla="*/ 3954 h 10000"/>
              <a:gd name="connsiteX74" fmla="*/ 1157 w 9999"/>
              <a:gd name="connsiteY74" fmla="*/ 3876 h 10000"/>
              <a:gd name="connsiteX75" fmla="*/ 1202 w 9999"/>
              <a:gd name="connsiteY75" fmla="*/ 4031 h 10000"/>
              <a:gd name="connsiteX76" fmla="*/ 1202 w 9999"/>
              <a:gd name="connsiteY76" fmla="*/ 4418 h 10000"/>
              <a:gd name="connsiteX77" fmla="*/ 1244 w 9999"/>
              <a:gd name="connsiteY77" fmla="*/ 4574 h 10000"/>
              <a:gd name="connsiteX78" fmla="*/ 1202 w 9999"/>
              <a:gd name="connsiteY78" fmla="*/ 4729 h 10000"/>
              <a:gd name="connsiteX79" fmla="*/ 1065 w 9999"/>
              <a:gd name="connsiteY79" fmla="*/ 4652 h 10000"/>
              <a:gd name="connsiteX80" fmla="*/ 888 w 9999"/>
              <a:gd name="connsiteY80" fmla="*/ 4884 h 10000"/>
              <a:gd name="connsiteX81" fmla="*/ 976 w 9999"/>
              <a:gd name="connsiteY81" fmla="*/ 5194 h 10000"/>
              <a:gd name="connsiteX82" fmla="*/ 710 w 9999"/>
              <a:gd name="connsiteY82" fmla="*/ 5039 h 10000"/>
              <a:gd name="connsiteX83" fmla="*/ 667 w 9999"/>
              <a:gd name="connsiteY83" fmla="*/ 5116 h 10000"/>
              <a:gd name="connsiteX84" fmla="*/ 756 w 9999"/>
              <a:gd name="connsiteY84" fmla="*/ 5349 h 10000"/>
              <a:gd name="connsiteX85" fmla="*/ 667 w 9999"/>
              <a:gd name="connsiteY85" fmla="*/ 5349 h 10000"/>
              <a:gd name="connsiteX86" fmla="*/ 534 w 9999"/>
              <a:gd name="connsiteY86" fmla="*/ 5194 h 10000"/>
              <a:gd name="connsiteX87" fmla="*/ 534 w 9999"/>
              <a:gd name="connsiteY87" fmla="*/ 4729 h 10000"/>
              <a:gd name="connsiteX88" fmla="*/ 402 w 9999"/>
              <a:gd name="connsiteY88" fmla="*/ 4574 h 10000"/>
              <a:gd name="connsiteX89" fmla="*/ 355 w 9999"/>
              <a:gd name="connsiteY89" fmla="*/ 4418 h 10000"/>
              <a:gd name="connsiteX90" fmla="*/ 445 w 9999"/>
              <a:gd name="connsiteY90" fmla="*/ 4496 h 10000"/>
              <a:gd name="connsiteX91" fmla="*/ 799 w 9999"/>
              <a:gd name="connsiteY91" fmla="*/ 4729 h 10000"/>
              <a:gd name="connsiteX92" fmla="*/ 1021 w 9999"/>
              <a:gd name="connsiteY92" fmla="*/ 4496 h 10000"/>
              <a:gd name="connsiteX93" fmla="*/ 976 w 9999"/>
              <a:gd name="connsiteY93" fmla="*/ 4263 h 10000"/>
              <a:gd name="connsiteX94" fmla="*/ 710 w 9999"/>
              <a:gd name="connsiteY94" fmla="*/ 3799 h 10000"/>
              <a:gd name="connsiteX95" fmla="*/ 445 w 9999"/>
              <a:gd name="connsiteY95" fmla="*/ 3644 h 10000"/>
              <a:gd name="connsiteX96" fmla="*/ 445 w 9999"/>
              <a:gd name="connsiteY96" fmla="*/ 3566 h 10000"/>
              <a:gd name="connsiteX97" fmla="*/ 355 w 9999"/>
              <a:gd name="connsiteY97" fmla="*/ 3488 h 10000"/>
              <a:gd name="connsiteX98" fmla="*/ 265 w 9999"/>
              <a:gd name="connsiteY98" fmla="*/ 3566 h 10000"/>
              <a:gd name="connsiteX99" fmla="*/ 265 w 9999"/>
              <a:gd name="connsiteY99" fmla="*/ 3644 h 10000"/>
              <a:gd name="connsiteX100" fmla="*/ 223 w 9999"/>
              <a:gd name="connsiteY100" fmla="*/ 3644 h 10000"/>
              <a:gd name="connsiteX101" fmla="*/ 133 w 9999"/>
              <a:gd name="connsiteY101" fmla="*/ 3799 h 10000"/>
              <a:gd name="connsiteX102" fmla="*/ 133 w 9999"/>
              <a:gd name="connsiteY102" fmla="*/ 4031 h 10000"/>
              <a:gd name="connsiteX103" fmla="*/ 223 w 9999"/>
              <a:gd name="connsiteY103" fmla="*/ 4186 h 10000"/>
              <a:gd name="connsiteX104" fmla="*/ 177 w 9999"/>
              <a:gd name="connsiteY104" fmla="*/ 4418 h 10000"/>
              <a:gd name="connsiteX105" fmla="*/ 223 w 9999"/>
              <a:gd name="connsiteY105" fmla="*/ 4807 h 10000"/>
              <a:gd name="connsiteX106" fmla="*/ 177 w 9999"/>
              <a:gd name="connsiteY106" fmla="*/ 5039 h 10000"/>
              <a:gd name="connsiteX107" fmla="*/ 265 w 9999"/>
              <a:gd name="connsiteY107" fmla="*/ 5271 h 10000"/>
              <a:gd name="connsiteX108" fmla="*/ 223 w 9999"/>
              <a:gd name="connsiteY108" fmla="*/ 5426 h 10000"/>
              <a:gd name="connsiteX109" fmla="*/ 310 w 9999"/>
              <a:gd name="connsiteY109" fmla="*/ 5582 h 10000"/>
              <a:gd name="connsiteX110" fmla="*/ 310 w 9999"/>
              <a:gd name="connsiteY110" fmla="*/ 5659 h 10000"/>
              <a:gd name="connsiteX111" fmla="*/ 177 w 9999"/>
              <a:gd name="connsiteY111" fmla="*/ 6047 h 10000"/>
              <a:gd name="connsiteX112" fmla="*/ 42 w 9999"/>
              <a:gd name="connsiteY112" fmla="*/ 6202 h 10000"/>
              <a:gd name="connsiteX113" fmla="*/ 88 w 9999"/>
              <a:gd name="connsiteY113" fmla="*/ 6202 h 10000"/>
              <a:gd name="connsiteX114" fmla="*/ 177 w 9999"/>
              <a:gd name="connsiteY114" fmla="*/ 6356 h 10000"/>
              <a:gd name="connsiteX115" fmla="*/ 88 w 9999"/>
              <a:gd name="connsiteY115" fmla="*/ 6512 h 10000"/>
              <a:gd name="connsiteX116" fmla="*/ 42 w 9999"/>
              <a:gd name="connsiteY116" fmla="*/ 6590 h 10000"/>
              <a:gd name="connsiteX117" fmla="*/ 0 w 9999"/>
              <a:gd name="connsiteY117" fmla="*/ 6590 h 10000"/>
              <a:gd name="connsiteX118" fmla="*/ 42 w 9999"/>
              <a:gd name="connsiteY118" fmla="*/ 6822 h 10000"/>
              <a:gd name="connsiteX119" fmla="*/ 42 w 9999"/>
              <a:gd name="connsiteY119" fmla="*/ 6900 h 10000"/>
              <a:gd name="connsiteX120" fmla="*/ 42 w 9999"/>
              <a:gd name="connsiteY120" fmla="*/ 6977 h 10000"/>
              <a:gd name="connsiteX121" fmla="*/ 42 w 9999"/>
              <a:gd name="connsiteY121" fmla="*/ 7054 h 10000"/>
              <a:gd name="connsiteX122" fmla="*/ 88 w 9999"/>
              <a:gd name="connsiteY122" fmla="*/ 7209 h 10000"/>
              <a:gd name="connsiteX123" fmla="*/ 223 w 9999"/>
              <a:gd name="connsiteY123" fmla="*/ 7287 h 10000"/>
              <a:gd name="connsiteX124" fmla="*/ 265 w 9999"/>
              <a:gd name="connsiteY124" fmla="*/ 7364 h 10000"/>
              <a:gd name="connsiteX125" fmla="*/ 265 w 9999"/>
              <a:gd name="connsiteY125" fmla="*/ 7520 h 10000"/>
              <a:gd name="connsiteX126" fmla="*/ 355 w 9999"/>
              <a:gd name="connsiteY126" fmla="*/ 7752 h 10000"/>
              <a:gd name="connsiteX127" fmla="*/ 402 w 9999"/>
              <a:gd name="connsiteY127" fmla="*/ 7752 h 10000"/>
              <a:gd name="connsiteX128" fmla="*/ 355 w 9999"/>
              <a:gd name="connsiteY128" fmla="*/ 7907 h 10000"/>
              <a:gd name="connsiteX129" fmla="*/ 310 w 9999"/>
              <a:gd name="connsiteY129" fmla="*/ 7830 h 10000"/>
              <a:gd name="connsiteX130" fmla="*/ 310 w 9999"/>
              <a:gd name="connsiteY130" fmla="*/ 7907 h 10000"/>
              <a:gd name="connsiteX131" fmla="*/ 355 w 9999"/>
              <a:gd name="connsiteY131" fmla="*/ 8062 h 10000"/>
              <a:gd name="connsiteX132" fmla="*/ 490 w 9999"/>
              <a:gd name="connsiteY132" fmla="*/ 8062 h 10000"/>
              <a:gd name="connsiteX133" fmla="*/ 534 w 9999"/>
              <a:gd name="connsiteY133" fmla="*/ 8140 h 10000"/>
              <a:gd name="connsiteX134" fmla="*/ 490 w 9999"/>
              <a:gd name="connsiteY134" fmla="*/ 8140 h 10000"/>
              <a:gd name="connsiteX135" fmla="*/ 534 w 9999"/>
              <a:gd name="connsiteY135" fmla="*/ 8217 h 10000"/>
              <a:gd name="connsiteX136" fmla="*/ 577 w 9999"/>
              <a:gd name="connsiteY136" fmla="*/ 8217 h 10000"/>
              <a:gd name="connsiteX137" fmla="*/ 621 w 9999"/>
              <a:gd name="connsiteY137" fmla="*/ 8372 h 10000"/>
              <a:gd name="connsiteX138" fmla="*/ 667 w 9999"/>
              <a:gd name="connsiteY138" fmla="*/ 8449 h 10000"/>
              <a:gd name="connsiteX139" fmla="*/ 710 w 9999"/>
              <a:gd name="connsiteY139" fmla="*/ 8372 h 10000"/>
              <a:gd name="connsiteX140" fmla="*/ 934 w 9999"/>
              <a:gd name="connsiteY140" fmla="*/ 8605 h 10000"/>
              <a:gd name="connsiteX141" fmla="*/ 888 w 9999"/>
              <a:gd name="connsiteY141" fmla="*/ 8915 h 10000"/>
              <a:gd name="connsiteX142" fmla="*/ 842 w 9999"/>
              <a:gd name="connsiteY142" fmla="*/ 8838 h 10000"/>
              <a:gd name="connsiteX143" fmla="*/ 799 w 9999"/>
              <a:gd name="connsiteY143" fmla="*/ 8915 h 10000"/>
              <a:gd name="connsiteX144" fmla="*/ 799 w 9999"/>
              <a:gd name="connsiteY144" fmla="*/ 9070 h 10000"/>
              <a:gd name="connsiteX145" fmla="*/ 842 w 9999"/>
              <a:gd name="connsiteY145" fmla="*/ 8993 h 10000"/>
              <a:gd name="connsiteX146" fmla="*/ 888 w 9999"/>
              <a:gd name="connsiteY146" fmla="*/ 9070 h 10000"/>
              <a:gd name="connsiteX147" fmla="*/ 756 w 9999"/>
              <a:gd name="connsiteY147" fmla="*/ 9147 h 10000"/>
              <a:gd name="connsiteX148" fmla="*/ 799 w 9999"/>
              <a:gd name="connsiteY148" fmla="*/ 9225 h 10000"/>
              <a:gd name="connsiteX149" fmla="*/ 710 w 9999"/>
              <a:gd name="connsiteY149" fmla="*/ 9380 h 10000"/>
              <a:gd name="connsiteX150" fmla="*/ 667 w 9999"/>
              <a:gd name="connsiteY150" fmla="*/ 9380 h 10000"/>
              <a:gd name="connsiteX151" fmla="*/ 710 w 9999"/>
              <a:gd name="connsiteY151" fmla="*/ 9380 h 10000"/>
              <a:gd name="connsiteX152" fmla="*/ 888 w 9999"/>
              <a:gd name="connsiteY152" fmla="*/ 9691 h 10000"/>
              <a:gd name="connsiteX153" fmla="*/ 1112 w 9999"/>
              <a:gd name="connsiteY153" fmla="*/ 9691 h 10000"/>
              <a:gd name="connsiteX154" fmla="*/ 1202 w 9999"/>
              <a:gd name="connsiteY154" fmla="*/ 9768 h 10000"/>
              <a:gd name="connsiteX155" fmla="*/ 1289 w 9999"/>
              <a:gd name="connsiteY155" fmla="*/ 9768 h 10000"/>
              <a:gd name="connsiteX156" fmla="*/ 1379 w 9999"/>
              <a:gd name="connsiteY156" fmla="*/ 9923 h 10000"/>
              <a:gd name="connsiteX157" fmla="*/ 1422 w 9999"/>
              <a:gd name="connsiteY157" fmla="*/ 10000 h 10000"/>
              <a:gd name="connsiteX158" fmla="*/ 1465 w 9999"/>
              <a:gd name="connsiteY158" fmla="*/ 10000 h 10000"/>
              <a:gd name="connsiteX159" fmla="*/ 1512 w 9999"/>
              <a:gd name="connsiteY159" fmla="*/ 9923 h 10000"/>
              <a:gd name="connsiteX160" fmla="*/ 1422 w 9999"/>
              <a:gd name="connsiteY160" fmla="*/ 9768 h 10000"/>
              <a:gd name="connsiteX161" fmla="*/ 1422 w 9999"/>
              <a:gd name="connsiteY161" fmla="*/ 9613 h 10000"/>
              <a:gd name="connsiteX162" fmla="*/ 1379 w 9999"/>
              <a:gd name="connsiteY162" fmla="*/ 9457 h 10000"/>
              <a:gd name="connsiteX163" fmla="*/ 1465 w 9999"/>
              <a:gd name="connsiteY163" fmla="*/ 9225 h 10000"/>
              <a:gd name="connsiteX164" fmla="*/ 1512 w 9999"/>
              <a:gd name="connsiteY164" fmla="*/ 9302 h 10000"/>
              <a:gd name="connsiteX165" fmla="*/ 1556 w 9999"/>
              <a:gd name="connsiteY165" fmla="*/ 9225 h 10000"/>
              <a:gd name="connsiteX166" fmla="*/ 1556 w 9999"/>
              <a:gd name="connsiteY166" fmla="*/ 9147 h 10000"/>
              <a:gd name="connsiteX167" fmla="*/ 1512 w 9999"/>
              <a:gd name="connsiteY167" fmla="*/ 9147 h 10000"/>
              <a:gd name="connsiteX168" fmla="*/ 1556 w 9999"/>
              <a:gd name="connsiteY168" fmla="*/ 9070 h 10000"/>
              <a:gd name="connsiteX169" fmla="*/ 1512 w 9999"/>
              <a:gd name="connsiteY169" fmla="*/ 8915 h 10000"/>
              <a:gd name="connsiteX170" fmla="*/ 1422 w 9999"/>
              <a:gd name="connsiteY170" fmla="*/ 8915 h 10000"/>
              <a:gd name="connsiteX171" fmla="*/ 1379 w 9999"/>
              <a:gd name="connsiteY171" fmla="*/ 8760 h 10000"/>
              <a:gd name="connsiteX172" fmla="*/ 1422 w 9999"/>
              <a:gd name="connsiteY172" fmla="*/ 8372 h 10000"/>
              <a:gd name="connsiteX173" fmla="*/ 1512 w 9999"/>
              <a:gd name="connsiteY173" fmla="*/ 8528 h 10000"/>
              <a:gd name="connsiteX174" fmla="*/ 1556 w 9999"/>
              <a:gd name="connsiteY174" fmla="*/ 8528 h 10000"/>
              <a:gd name="connsiteX175" fmla="*/ 1512 w 9999"/>
              <a:gd name="connsiteY175" fmla="*/ 8372 h 10000"/>
              <a:gd name="connsiteX176" fmla="*/ 1645 w 9999"/>
              <a:gd name="connsiteY176" fmla="*/ 8140 h 10000"/>
              <a:gd name="connsiteX177" fmla="*/ 1735 w 9999"/>
              <a:gd name="connsiteY177" fmla="*/ 8217 h 10000"/>
              <a:gd name="connsiteX178" fmla="*/ 1777 w 9999"/>
              <a:gd name="connsiteY178" fmla="*/ 8140 h 10000"/>
              <a:gd name="connsiteX179" fmla="*/ 1866 w 9999"/>
              <a:gd name="connsiteY179" fmla="*/ 8217 h 10000"/>
              <a:gd name="connsiteX180" fmla="*/ 2001 w 9999"/>
              <a:gd name="connsiteY180" fmla="*/ 8372 h 10000"/>
              <a:gd name="connsiteX181" fmla="*/ 2089 w 9999"/>
              <a:gd name="connsiteY181" fmla="*/ 8295 h 10000"/>
              <a:gd name="connsiteX182" fmla="*/ 2178 w 9999"/>
              <a:gd name="connsiteY182" fmla="*/ 8295 h 10000"/>
              <a:gd name="connsiteX183" fmla="*/ 2222 w 9999"/>
              <a:gd name="connsiteY183" fmla="*/ 8372 h 10000"/>
              <a:gd name="connsiteX184" fmla="*/ 2400 w 9999"/>
              <a:gd name="connsiteY184" fmla="*/ 8372 h 10000"/>
              <a:gd name="connsiteX185" fmla="*/ 2443 w 9999"/>
              <a:gd name="connsiteY185" fmla="*/ 8217 h 10000"/>
              <a:gd name="connsiteX186" fmla="*/ 2310 w 9999"/>
              <a:gd name="connsiteY186" fmla="*/ 8140 h 10000"/>
              <a:gd name="connsiteX187" fmla="*/ 2400 w 9999"/>
              <a:gd name="connsiteY187" fmla="*/ 8062 h 10000"/>
              <a:gd name="connsiteX188" fmla="*/ 2354 w 9999"/>
              <a:gd name="connsiteY188" fmla="*/ 7985 h 10000"/>
              <a:gd name="connsiteX189" fmla="*/ 2400 w 9999"/>
              <a:gd name="connsiteY189" fmla="*/ 7907 h 10000"/>
              <a:gd name="connsiteX190" fmla="*/ 2400 w 9999"/>
              <a:gd name="connsiteY190" fmla="*/ 7675 h 10000"/>
              <a:gd name="connsiteX191" fmla="*/ 2487 w 9999"/>
              <a:gd name="connsiteY191" fmla="*/ 7752 h 10000"/>
              <a:gd name="connsiteX192" fmla="*/ 2889 w 9999"/>
              <a:gd name="connsiteY192" fmla="*/ 7520 h 10000"/>
              <a:gd name="connsiteX193" fmla="*/ 2889 w 9999"/>
              <a:gd name="connsiteY193" fmla="*/ 7442 h 10000"/>
              <a:gd name="connsiteX194" fmla="*/ 2932 w 9999"/>
              <a:gd name="connsiteY194" fmla="*/ 7442 h 10000"/>
              <a:gd name="connsiteX195" fmla="*/ 3065 w 9999"/>
              <a:gd name="connsiteY195" fmla="*/ 7442 h 10000"/>
              <a:gd name="connsiteX196" fmla="*/ 3110 w 9999"/>
              <a:gd name="connsiteY196" fmla="*/ 7598 h 10000"/>
              <a:gd name="connsiteX197" fmla="*/ 3110 w 9999"/>
              <a:gd name="connsiteY197" fmla="*/ 7675 h 10000"/>
              <a:gd name="connsiteX198" fmla="*/ 3155 w 9999"/>
              <a:gd name="connsiteY198" fmla="*/ 7675 h 10000"/>
              <a:gd name="connsiteX199" fmla="*/ 3243 w 9999"/>
              <a:gd name="connsiteY199" fmla="*/ 7752 h 10000"/>
              <a:gd name="connsiteX200" fmla="*/ 3243 w 9999"/>
              <a:gd name="connsiteY200" fmla="*/ 7830 h 10000"/>
              <a:gd name="connsiteX201" fmla="*/ 3333 w 9999"/>
              <a:gd name="connsiteY201" fmla="*/ 7830 h 10000"/>
              <a:gd name="connsiteX202" fmla="*/ 3422 w 9999"/>
              <a:gd name="connsiteY202" fmla="*/ 7675 h 10000"/>
              <a:gd name="connsiteX203" fmla="*/ 3511 w 9999"/>
              <a:gd name="connsiteY203" fmla="*/ 7598 h 10000"/>
              <a:gd name="connsiteX204" fmla="*/ 3556 w 9999"/>
              <a:gd name="connsiteY204" fmla="*/ 7830 h 10000"/>
              <a:gd name="connsiteX205" fmla="*/ 3733 w 9999"/>
              <a:gd name="connsiteY205" fmla="*/ 8372 h 10000"/>
              <a:gd name="connsiteX206" fmla="*/ 3777 w 9999"/>
              <a:gd name="connsiteY206" fmla="*/ 8217 h 10000"/>
              <a:gd name="connsiteX207" fmla="*/ 3823 w 9999"/>
              <a:gd name="connsiteY207" fmla="*/ 8372 h 10000"/>
              <a:gd name="connsiteX208" fmla="*/ 3956 w 9999"/>
              <a:gd name="connsiteY208" fmla="*/ 8295 h 10000"/>
              <a:gd name="connsiteX209" fmla="*/ 4090 w 9999"/>
              <a:gd name="connsiteY209" fmla="*/ 8528 h 10000"/>
              <a:gd name="connsiteX210" fmla="*/ 4177 w 9999"/>
              <a:gd name="connsiteY210" fmla="*/ 8605 h 10000"/>
              <a:gd name="connsiteX211" fmla="*/ 4177 w 9999"/>
              <a:gd name="connsiteY211" fmla="*/ 8528 h 10000"/>
              <a:gd name="connsiteX212" fmla="*/ 4221 w 9999"/>
              <a:gd name="connsiteY212" fmla="*/ 8683 h 10000"/>
              <a:gd name="connsiteX213" fmla="*/ 4177 w 9999"/>
              <a:gd name="connsiteY213" fmla="*/ 8760 h 10000"/>
              <a:gd name="connsiteX214" fmla="*/ 4267 w 9999"/>
              <a:gd name="connsiteY214" fmla="*/ 8683 h 10000"/>
              <a:gd name="connsiteX215" fmla="*/ 4309 w 9999"/>
              <a:gd name="connsiteY215" fmla="*/ 8605 h 10000"/>
              <a:gd name="connsiteX216" fmla="*/ 4533 w 9999"/>
              <a:gd name="connsiteY216" fmla="*/ 8372 h 10000"/>
              <a:gd name="connsiteX217" fmla="*/ 4710 w 9999"/>
              <a:gd name="connsiteY217" fmla="*/ 8449 h 10000"/>
              <a:gd name="connsiteX218" fmla="*/ 4798 w 9999"/>
              <a:gd name="connsiteY218" fmla="*/ 8528 h 10000"/>
              <a:gd name="connsiteX219" fmla="*/ 4975 w 9999"/>
              <a:gd name="connsiteY219" fmla="*/ 8528 h 10000"/>
              <a:gd name="connsiteX220" fmla="*/ 4975 w 9999"/>
              <a:gd name="connsiteY220" fmla="*/ 8372 h 10000"/>
              <a:gd name="connsiteX221" fmla="*/ 4975 w 9999"/>
              <a:gd name="connsiteY221" fmla="*/ 8217 h 10000"/>
              <a:gd name="connsiteX222" fmla="*/ 5064 w 9999"/>
              <a:gd name="connsiteY222" fmla="*/ 8140 h 10000"/>
              <a:gd name="connsiteX223" fmla="*/ 5242 w 9999"/>
              <a:gd name="connsiteY223" fmla="*/ 8217 h 10000"/>
              <a:gd name="connsiteX224" fmla="*/ 5330 w 9999"/>
              <a:gd name="connsiteY224" fmla="*/ 8449 h 10000"/>
              <a:gd name="connsiteX225" fmla="*/ 5377 w 9999"/>
              <a:gd name="connsiteY225" fmla="*/ 8449 h 10000"/>
              <a:gd name="connsiteX226" fmla="*/ 5465 w 9999"/>
              <a:gd name="connsiteY226" fmla="*/ 8372 h 10000"/>
              <a:gd name="connsiteX227" fmla="*/ 5734 w 9999"/>
              <a:gd name="connsiteY227" fmla="*/ 8605 h 10000"/>
              <a:gd name="connsiteX228" fmla="*/ 5866 w 9999"/>
              <a:gd name="connsiteY228" fmla="*/ 8683 h 10000"/>
              <a:gd name="connsiteX229" fmla="*/ 6043 w 9999"/>
              <a:gd name="connsiteY229" fmla="*/ 8605 h 10000"/>
              <a:gd name="connsiteX230" fmla="*/ 6131 w 9999"/>
              <a:gd name="connsiteY230" fmla="*/ 8449 h 10000"/>
              <a:gd name="connsiteX231" fmla="*/ 6264 w 9999"/>
              <a:gd name="connsiteY231" fmla="*/ 8528 h 10000"/>
              <a:gd name="connsiteX232" fmla="*/ 6353 w 9999"/>
              <a:gd name="connsiteY232" fmla="*/ 8605 h 10000"/>
              <a:gd name="connsiteX233" fmla="*/ 7864 w 9999"/>
              <a:gd name="connsiteY233" fmla="*/ 7675 h 10000"/>
              <a:gd name="connsiteX234" fmla="*/ 7777 w 9999"/>
              <a:gd name="connsiteY234" fmla="*/ 7675 h 10000"/>
              <a:gd name="connsiteX235" fmla="*/ 7732 w 9999"/>
              <a:gd name="connsiteY235" fmla="*/ 7675 h 10000"/>
              <a:gd name="connsiteX236" fmla="*/ 7686 w 9999"/>
              <a:gd name="connsiteY236" fmla="*/ 7598 h 10000"/>
              <a:gd name="connsiteX237" fmla="*/ 7599 w 9999"/>
              <a:gd name="connsiteY237" fmla="*/ 7598 h 10000"/>
              <a:gd name="connsiteX238" fmla="*/ 7599 w 9999"/>
              <a:gd name="connsiteY238" fmla="*/ 7520 h 10000"/>
              <a:gd name="connsiteX239" fmla="*/ 7732 w 9999"/>
              <a:gd name="connsiteY239" fmla="*/ 7287 h 10000"/>
              <a:gd name="connsiteX240" fmla="*/ 8134 w 9999"/>
              <a:gd name="connsiteY240" fmla="*/ 6590 h 10000"/>
              <a:gd name="connsiteX241" fmla="*/ 8309 w 9999"/>
              <a:gd name="connsiteY241" fmla="*/ 6512 h 10000"/>
              <a:gd name="connsiteX242" fmla="*/ 8352 w 9999"/>
              <a:gd name="connsiteY242" fmla="*/ 6590 h 10000"/>
              <a:gd name="connsiteX243" fmla="*/ 8400 w 9999"/>
              <a:gd name="connsiteY243" fmla="*/ 6512 h 10000"/>
              <a:gd name="connsiteX244" fmla="*/ 8529 w 9999"/>
              <a:gd name="connsiteY244" fmla="*/ 6590 h 10000"/>
              <a:gd name="connsiteX245" fmla="*/ 8578 w 9999"/>
              <a:gd name="connsiteY245" fmla="*/ 6434 h 10000"/>
              <a:gd name="connsiteX246" fmla="*/ 8708 w 9999"/>
              <a:gd name="connsiteY246" fmla="*/ 6512 h 10000"/>
              <a:gd name="connsiteX247" fmla="*/ 8753 w 9999"/>
              <a:gd name="connsiteY247" fmla="*/ 6512 h 10000"/>
              <a:gd name="connsiteX248" fmla="*/ 8708 w 9999"/>
              <a:gd name="connsiteY248" fmla="*/ 6590 h 10000"/>
              <a:gd name="connsiteX249" fmla="*/ 8708 w 9999"/>
              <a:gd name="connsiteY249" fmla="*/ 6667 h 10000"/>
              <a:gd name="connsiteX250" fmla="*/ 8975 w 9999"/>
              <a:gd name="connsiteY250" fmla="*/ 6590 h 10000"/>
              <a:gd name="connsiteX251" fmla="*/ 8931 w 9999"/>
              <a:gd name="connsiteY251" fmla="*/ 6512 h 10000"/>
              <a:gd name="connsiteX252" fmla="*/ 9110 w 9999"/>
              <a:gd name="connsiteY252" fmla="*/ 5969 h 10000"/>
              <a:gd name="connsiteX253" fmla="*/ 9329 w 9999"/>
              <a:gd name="connsiteY253" fmla="*/ 5892 h 10000"/>
              <a:gd name="connsiteX254" fmla="*/ 9329 w 9999"/>
              <a:gd name="connsiteY254" fmla="*/ 6047 h 10000"/>
              <a:gd name="connsiteX255" fmla="*/ 9329 w 9999"/>
              <a:gd name="connsiteY255" fmla="*/ 6202 h 10000"/>
              <a:gd name="connsiteX256" fmla="*/ 9552 w 9999"/>
              <a:gd name="connsiteY256" fmla="*/ 5969 h 10000"/>
              <a:gd name="connsiteX257" fmla="*/ 9552 w 9999"/>
              <a:gd name="connsiteY257" fmla="*/ 5737 h 10000"/>
              <a:gd name="connsiteX258" fmla="*/ 9642 w 9999"/>
              <a:gd name="connsiteY258" fmla="*/ 5737 h 10000"/>
              <a:gd name="connsiteX259" fmla="*/ 9594 w 9999"/>
              <a:gd name="connsiteY259" fmla="*/ 5814 h 10000"/>
              <a:gd name="connsiteX260" fmla="*/ 9552 w 9999"/>
              <a:gd name="connsiteY260" fmla="*/ 6202 h 10000"/>
              <a:gd name="connsiteX261" fmla="*/ 9464 w 9999"/>
              <a:gd name="connsiteY261" fmla="*/ 6279 h 10000"/>
              <a:gd name="connsiteX262" fmla="*/ 9552 w 9999"/>
              <a:gd name="connsiteY262" fmla="*/ 6590 h 10000"/>
              <a:gd name="connsiteX263" fmla="*/ 9552 w 9999"/>
              <a:gd name="connsiteY263" fmla="*/ 6434 h 10000"/>
              <a:gd name="connsiteX264" fmla="*/ 9642 w 9999"/>
              <a:gd name="connsiteY264" fmla="*/ 6434 h 10000"/>
              <a:gd name="connsiteX265" fmla="*/ 9776 w 9999"/>
              <a:gd name="connsiteY265" fmla="*/ 6279 h 10000"/>
              <a:gd name="connsiteX266" fmla="*/ 9776 w 9999"/>
              <a:gd name="connsiteY266" fmla="*/ 6434 h 10000"/>
              <a:gd name="connsiteX267" fmla="*/ 9819 w 9999"/>
              <a:gd name="connsiteY267" fmla="*/ 6356 h 10000"/>
              <a:gd name="connsiteX268" fmla="*/ 9999 w 9999"/>
              <a:gd name="connsiteY268" fmla="*/ 3876 h 10000"/>
              <a:gd name="connsiteX269" fmla="*/ 9908 w 9999"/>
              <a:gd name="connsiteY269" fmla="*/ 3721 h 10000"/>
              <a:gd name="connsiteX270" fmla="*/ 9908 w 9999"/>
              <a:gd name="connsiteY270" fmla="*/ 3566 h 10000"/>
              <a:gd name="connsiteX271" fmla="*/ 9956 w 9999"/>
              <a:gd name="connsiteY271" fmla="*/ 3566 h 10000"/>
              <a:gd name="connsiteX272" fmla="*/ 9999 w 9999"/>
              <a:gd name="connsiteY272" fmla="*/ 3488 h 10000"/>
              <a:gd name="connsiteX273" fmla="*/ 9908 w 9999"/>
              <a:gd name="connsiteY273" fmla="*/ 3488 h 10000"/>
              <a:gd name="connsiteX274" fmla="*/ 9819 w 9999"/>
              <a:gd name="connsiteY274" fmla="*/ 3644 h 10000"/>
              <a:gd name="connsiteX275" fmla="*/ 9594 w 9999"/>
              <a:gd name="connsiteY275" fmla="*/ 3566 h 10000"/>
              <a:gd name="connsiteX276" fmla="*/ 9377 w 9999"/>
              <a:gd name="connsiteY276" fmla="*/ 3566 h 10000"/>
              <a:gd name="connsiteX277" fmla="*/ 9286 w 9999"/>
              <a:gd name="connsiteY277" fmla="*/ 3488 h 10000"/>
              <a:gd name="connsiteX278" fmla="*/ 9329 w 9999"/>
              <a:gd name="connsiteY278" fmla="*/ 3333 h 10000"/>
              <a:gd name="connsiteX279" fmla="*/ 9240 w 9999"/>
              <a:gd name="connsiteY279" fmla="*/ 3101 h 10000"/>
              <a:gd name="connsiteX280" fmla="*/ 9062 w 9999"/>
              <a:gd name="connsiteY280" fmla="*/ 3023 h 10000"/>
              <a:gd name="connsiteX281" fmla="*/ 8799 w 9999"/>
              <a:gd name="connsiteY281" fmla="*/ 3178 h 10000"/>
              <a:gd name="connsiteX282" fmla="*/ 8753 w 9999"/>
              <a:gd name="connsiteY282" fmla="*/ 2946 h 10000"/>
              <a:gd name="connsiteX283" fmla="*/ 8665 w 9999"/>
              <a:gd name="connsiteY283" fmla="*/ 2946 h 10000"/>
              <a:gd name="connsiteX284" fmla="*/ 8620 w 9999"/>
              <a:gd name="connsiteY284" fmla="*/ 2868 h 10000"/>
              <a:gd name="connsiteX285" fmla="*/ 8620 w 9999"/>
              <a:gd name="connsiteY285" fmla="*/ 2636 h 10000"/>
              <a:gd name="connsiteX286" fmla="*/ 8309 w 9999"/>
              <a:gd name="connsiteY286" fmla="*/ 2480 h 10000"/>
              <a:gd name="connsiteX287" fmla="*/ 7954 w 9999"/>
              <a:gd name="connsiteY287" fmla="*/ 2325 h 10000"/>
              <a:gd name="connsiteX288" fmla="*/ 7864 w 9999"/>
              <a:gd name="connsiteY288" fmla="*/ 2636 h 10000"/>
              <a:gd name="connsiteX289" fmla="*/ 7954 w 9999"/>
              <a:gd name="connsiteY289" fmla="*/ 2868 h 10000"/>
              <a:gd name="connsiteX290" fmla="*/ 7686 w 9999"/>
              <a:gd name="connsiteY290" fmla="*/ 2868 h 10000"/>
              <a:gd name="connsiteX291" fmla="*/ 7641 w 9999"/>
              <a:gd name="connsiteY291" fmla="*/ 2868 h 10000"/>
              <a:gd name="connsiteX292" fmla="*/ 7553 w 9999"/>
              <a:gd name="connsiteY292" fmla="*/ 2946 h 10000"/>
              <a:gd name="connsiteX293" fmla="*/ 7420 w 9999"/>
              <a:gd name="connsiteY293" fmla="*/ 2714 h 10000"/>
              <a:gd name="connsiteX294" fmla="*/ 7330 w 9999"/>
              <a:gd name="connsiteY294" fmla="*/ 3178 h 10000"/>
              <a:gd name="connsiteX295" fmla="*/ 7244 w 9999"/>
              <a:gd name="connsiteY295" fmla="*/ 3101 h 10000"/>
              <a:gd name="connsiteX296" fmla="*/ 7153 w 9999"/>
              <a:gd name="connsiteY296" fmla="*/ 2791 h 10000"/>
              <a:gd name="connsiteX297" fmla="*/ 7199 w 9999"/>
              <a:gd name="connsiteY297" fmla="*/ 2403 h 10000"/>
              <a:gd name="connsiteX298" fmla="*/ 7110 w 9999"/>
              <a:gd name="connsiteY298" fmla="*/ 2170 h 10000"/>
              <a:gd name="connsiteX299" fmla="*/ 6842 w 9999"/>
              <a:gd name="connsiteY299" fmla="*/ 2016 h 10000"/>
              <a:gd name="connsiteX300" fmla="*/ 6752 w 9999"/>
              <a:gd name="connsiteY300" fmla="*/ 2016 h 10000"/>
              <a:gd name="connsiteX301" fmla="*/ 6709 w 9999"/>
              <a:gd name="connsiteY301" fmla="*/ 2170 h 10000"/>
              <a:gd name="connsiteX302" fmla="*/ 6752 w 9999"/>
              <a:gd name="connsiteY302" fmla="*/ 2325 h 10000"/>
              <a:gd name="connsiteX303" fmla="*/ 6401 w 9999"/>
              <a:gd name="connsiteY303" fmla="*/ 2248 h 10000"/>
              <a:gd name="connsiteX304" fmla="*/ 6442 w 9999"/>
              <a:gd name="connsiteY304" fmla="*/ 2016 h 10000"/>
              <a:gd name="connsiteX305" fmla="*/ 6222 w 9999"/>
              <a:gd name="connsiteY305" fmla="*/ 1938 h 10000"/>
              <a:gd name="connsiteX306" fmla="*/ 6087 w 9999"/>
              <a:gd name="connsiteY306" fmla="*/ 2093 h 10000"/>
              <a:gd name="connsiteX307" fmla="*/ 5825 w 9999"/>
              <a:gd name="connsiteY307" fmla="*/ 1861 h 10000"/>
              <a:gd name="connsiteX0" fmla="*/ 5826 w 10000"/>
              <a:gd name="connsiteY0" fmla="*/ 1861 h 10000"/>
              <a:gd name="connsiteX1" fmla="*/ 5826 w 10000"/>
              <a:gd name="connsiteY1" fmla="*/ 1861 h 10000"/>
              <a:gd name="connsiteX2" fmla="*/ 5777 w 10000"/>
              <a:gd name="connsiteY2" fmla="*/ 1938 h 10000"/>
              <a:gd name="connsiteX3" fmla="*/ 5826 w 10000"/>
              <a:gd name="connsiteY3" fmla="*/ 2093 h 10000"/>
              <a:gd name="connsiteX4" fmla="*/ 5643 w 10000"/>
              <a:gd name="connsiteY4" fmla="*/ 2248 h 10000"/>
              <a:gd name="connsiteX5" fmla="*/ 5597 w 10000"/>
              <a:gd name="connsiteY5" fmla="*/ 2248 h 10000"/>
              <a:gd name="connsiteX6" fmla="*/ 5643 w 10000"/>
              <a:gd name="connsiteY6" fmla="*/ 2016 h 10000"/>
              <a:gd name="connsiteX7" fmla="*/ 6088 w 10000"/>
              <a:gd name="connsiteY7" fmla="*/ 1318 h 10000"/>
              <a:gd name="connsiteX8" fmla="*/ 6088 w 10000"/>
              <a:gd name="connsiteY8" fmla="*/ 853 h 10000"/>
              <a:gd name="connsiteX9" fmla="*/ 5911 w 10000"/>
              <a:gd name="connsiteY9" fmla="*/ 543 h 10000"/>
              <a:gd name="connsiteX10" fmla="*/ 5689 w 10000"/>
              <a:gd name="connsiteY10" fmla="*/ 543 h 10000"/>
              <a:gd name="connsiteX11" fmla="*/ 5689 w 10000"/>
              <a:gd name="connsiteY11" fmla="*/ 698 h 10000"/>
              <a:gd name="connsiteX12" fmla="*/ 5553 w 10000"/>
              <a:gd name="connsiteY12" fmla="*/ 698 h 10000"/>
              <a:gd name="connsiteX13" fmla="*/ 5643 w 10000"/>
              <a:gd name="connsiteY13" fmla="*/ 387 h 10000"/>
              <a:gd name="connsiteX14" fmla="*/ 5422 w 10000"/>
              <a:gd name="connsiteY14" fmla="*/ 310 h 10000"/>
              <a:gd name="connsiteX15" fmla="*/ 5553 w 10000"/>
              <a:gd name="connsiteY15" fmla="*/ 155 h 10000"/>
              <a:gd name="connsiteX16" fmla="*/ 5422 w 10000"/>
              <a:gd name="connsiteY16" fmla="*/ 0 h 10000"/>
              <a:gd name="connsiteX17" fmla="*/ 5199 w 10000"/>
              <a:gd name="connsiteY17" fmla="*/ 387 h 10000"/>
              <a:gd name="connsiteX18" fmla="*/ 5199 w 10000"/>
              <a:gd name="connsiteY18" fmla="*/ 698 h 10000"/>
              <a:gd name="connsiteX19" fmla="*/ 5065 w 10000"/>
              <a:gd name="connsiteY19" fmla="*/ 698 h 10000"/>
              <a:gd name="connsiteX20" fmla="*/ 4666 w 10000"/>
              <a:gd name="connsiteY20" fmla="*/ 853 h 10000"/>
              <a:gd name="connsiteX21" fmla="*/ 4309 w 10000"/>
              <a:gd name="connsiteY21" fmla="*/ 1240 h 10000"/>
              <a:gd name="connsiteX22" fmla="*/ 4177 w 10000"/>
              <a:gd name="connsiteY22" fmla="*/ 1551 h 10000"/>
              <a:gd name="connsiteX23" fmla="*/ 4221 w 10000"/>
              <a:gd name="connsiteY23" fmla="*/ 1938 h 10000"/>
              <a:gd name="connsiteX24" fmla="*/ 3733 w 10000"/>
              <a:gd name="connsiteY24" fmla="*/ 2093 h 10000"/>
              <a:gd name="connsiteX25" fmla="*/ 3777 w 10000"/>
              <a:gd name="connsiteY25" fmla="*/ 2559 h 10000"/>
              <a:gd name="connsiteX26" fmla="*/ 3912 w 10000"/>
              <a:gd name="connsiteY26" fmla="*/ 2791 h 10000"/>
              <a:gd name="connsiteX27" fmla="*/ 3823 w 10000"/>
              <a:gd name="connsiteY27" fmla="*/ 2868 h 10000"/>
              <a:gd name="connsiteX28" fmla="*/ 3689 w 10000"/>
              <a:gd name="connsiteY28" fmla="*/ 2559 h 10000"/>
              <a:gd name="connsiteX29" fmla="*/ 3556 w 10000"/>
              <a:gd name="connsiteY29" fmla="*/ 2480 h 10000"/>
              <a:gd name="connsiteX30" fmla="*/ 3511 w 10000"/>
              <a:gd name="connsiteY30" fmla="*/ 2559 h 10000"/>
              <a:gd name="connsiteX31" fmla="*/ 3422 w 10000"/>
              <a:gd name="connsiteY31" fmla="*/ 2403 h 10000"/>
              <a:gd name="connsiteX32" fmla="*/ 3333 w 10000"/>
              <a:gd name="connsiteY32" fmla="*/ 2248 h 10000"/>
              <a:gd name="connsiteX33" fmla="*/ 3333 w 10000"/>
              <a:gd name="connsiteY33" fmla="*/ 2325 h 10000"/>
              <a:gd name="connsiteX34" fmla="*/ 3380 w 10000"/>
              <a:gd name="connsiteY34" fmla="*/ 2559 h 10000"/>
              <a:gd name="connsiteX35" fmla="*/ 3243 w 10000"/>
              <a:gd name="connsiteY35" fmla="*/ 2946 h 10000"/>
              <a:gd name="connsiteX36" fmla="*/ 3333 w 10000"/>
              <a:gd name="connsiteY36" fmla="*/ 3256 h 10000"/>
              <a:gd name="connsiteX37" fmla="*/ 3286 w 10000"/>
              <a:gd name="connsiteY37" fmla="*/ 3566 h 10000"/>
              <a:gd name="connsiteX38" fmla="*/ 3286 w 10000"/>
              <a:gd name="connsiteY38" fmla="*/ 3799 h 10000"/>
              <a:gd name="connsiteX39" fmla="*/ 3422 w 10000"/>
              <a:gd name="connsiteY39" fmla="*/ 3799 h 10000"/>
              <a:gd name="connsiteX40" fmla="*/ 3333 w 10000"/>
              <a:gd name="connsiteY40" fmla="*/ 3876 h 10000"/>
              <a:gd name="connsiteX41" fmla="*/ 3380 w 10000"/>
              <a:gd name="connsiteY41" fmla="*/ 4263 h 10000"/>
              <a:gd name="connsiteX42" fmla="*/ 3110 w 10000"/>
              <a:gd name="connsiteY42" fmla="*/ 4652 h 10000"/>
              <a:gd name="connsiteX43" fmla="*/ 3065 w 10000"/>
              <a:gd name="connsiteY43" fmla="*/ 4574 h 10000"/>
              <a:gd name="connsiteX44" fmla="*/ 3243 w 10000"/>
              <a:gd name="connsiteY44" fmla="*/ 4186 h 10000"/>
              <a:gd name="connsiteX45" fmla="*/ 3286 w 10000"/>
              <a:gd name="connsiteY45" fmla="*/ 3954 h 10000"/>
              <a:gd name="connsiteX46" fmla="*/ 3195 w 10000"/>
              <a:gd name="connsiteY46" fmla="*/ 3799 h 10000"/>
              <a:gd name="connsiteX47" fmla="*/ 3195 w 10000"/>
              <a:gd name="connsiteY47" fmla="*/ 3023 h 10000"/>
              <a:gd name="connsiteX48" fmla="*/ 3155 w 10000"/>
              <a:gd name="connsiteY48" fmla="*/ 2868 h 10000"/>
              <a:gd name="connsiteX49" fmla="*/ 3195 w 10000"/>
              <a:gd name="connsiteY49" fmla="*/ 2403 h 10000"/>
              <a:gd name="connsiteX50" fmla="*/ 3110 w 10000"/>
              <a:gd name="connsiteY50" fmla="*/ 2325 h 10000"/>
              <a:gd name="connsiteX51" fmla="*/ 3155 w 10000"/>
              <a:gd name="connsiteY51" fmla="*/ 2248 h 10000"/>
              <a:gd name="connsiteX52" fmla="*/ 3110 w 10000"/>
              <a:gd name="connsiteY52" fmla="*/ 2093 h 10000"/>
              <a:gd name="connsiteX53" fmla="*/ 3018 w 10000"/>
              <a:gd name="connsiteY53" fmla="*/ 2170 h 10000"/>
              <a:gd name="connsiteX54" fmla="*/ 2799 w 10000"/>
              <a:gd name="connsiteY54" fmla="*/ 3178 h 10000"/>
              <a:gd name="connsiteX55" fmla="*/ 2799 w 10000"/>
              <a:gd name="connsiteY55" fmla="*/ 3566 h 10000"/>
              <a:gd name="connsiteX56" fmla="*/ 2932 w 10000"/>
              <a:gd name="connsiteY56" fmla="*/ 3876 h 10000"/>
              <a:gd name="connsiteX57" fmla="*/ 2932 w 10000"/>
              <a:gd name="connsiteY57" fmla="*/ 4031 h 10000"/>
              <a:gd name="connsiteX58" fmla="*/ 2799 w 10000"/>
              <a:gd name="connsiteY58" fmla="*/ 3876 h 10000"/>
              <a:gd name="connsiteX59" fmla="*/ 2268 w 10000"/>
              <a:gd name="connsiteY59" fmla="*/ 3256 h 10000"/>
              <a:gd name="connsiteX60" fmla="*/ 2222 w 10000"/>
              <a:gd name="connsiteY60" fmla="*/ 3411 h 10000"/>
              <a:gd name="connsiteX61" fmla="*/ 2400 w 10000"/>
              <a:gd name="connsiteY61" fmla="*/ 3799 h 10000"/>
              <a:gd name="connsiteX62" fmla="*/ 2310 w 10000"/>
              <a:gd name="connsiteY62" fmla="*/ 3876 h 10000"/>
              <a:gd name="connsiteX63" fmla="*/ 2268 w 10000"/>
              <a:gd name="connsiteY63" fmla="*/ 3799 h 10000"/>
              <a:gd name="connsiteX64" fmla="*/ 2001 w 10000"/>
              <a:gd name="connsiteY64" fmla="*/ 3954 h 10000"/>
              <a:gd name="connsiteX65" fmla="*/ 1956 w 10000"/>
              <a:gd name="connsiteY65" fmla="*/ 4109 h 10000"/>
              <a:gd name="connsiteX66" fmla="*/ 1911 w 10000"/>
              <a:gd name="connsiteY66" fmla="*/ 3954 h 10000"/>
              <a:gd name="connsiteX67" fmla="*/ 1911 w 10000"/>
              <a:gd name="connsiteY67" fmla="*/ 3799 h 10000"/>
              <a:gd name="connsiteX68" fmla="*/ 1465 w 10000"/>
              <a:gd name="connsiteY68" fmla="*/ 4263 h 10000"/>
              <a:gd name="connsiteX69" fmla="*/ 1465 w 10000"/>
              <a:gd name="connsiteY69" fmla="*/ 4418 h 10000"/>
              <a:gd name="connsiteX70" fmla="*/ 1379 w 10000"/>
              <a:gd name="connsiteY70" fmla="*/ 4496 h 10000"/>
              <a:gd name="connsiteX71" fmla="*/ 1244 w 10000"/>
              <a:gd name="connsiteY71" fmla="*/ 4341 h 10000"/>
              <a:gd name="connsiteX72" fmla="*/ 1379 w 10000"/>
              <a:gd name="connsiteY72" fmla="*/ 4186 h 10000"/>
              <a:gd name="connsiteX73" fmla="*/ 1334 w 10000"/>
              <a:gd name="connsiteY73" fmla="*/ 3954 h 10000"/>
              <a:gd name="connsiteX74" fmla="*/ 1157 w 10000"/>
              <a:gd name="connsiteY74" fmla="*/ 3876 h 10000"/>
              <a:gd name="connsiteX75" fmla="*/ 1202 w 10000"/>
              <a:gd name="connsiteY75" fmla="*/ 4031 h 10000"/>
              <a:gd name="connsiteX76" fmla="*/ 1202 w 10000"/>
              <a:gd name="connsiteY76" fmla="*/ 4418 h 10000"/>
              <a:gd name="connsiteX77" fmla="*/ 1244 w 10000"/>
              <a:gd name="connsiteY77" fmla="*/ 4574 h 10000"/>
              <a:gd name="connsiteX78" fmla="*/ 1202 w 10000"/>
              <a:gd name="connsiteY78" fmla="*/ 4729 h 10000"/>
              <a:gd name="connsiteX79" fmla="*/ 1065 w 10000"/>
              <a:gd name="connsiteY79" fmla="*/ 4652 h 10000"/>
              <a:gd name="connsiteX80" fmla="*/ 888 w 10000"/>
              <a:gd name="connsiteY80" fmla="*/ 4884 h 10000"/>
              <a:gd name="connsiteX81" fmla="*/ 976 w 10000"/>
              <a:gd name="connsiteY81" fmla="*/ 5194 h 10000"/>
              <a:gd name="connsiteX82" fmla="*/ 710 w 10000"/>
              <a:gd name="connsiteY82" fmla="*/ 5039 h 10000"/>
              <a:gd name="connsiteX83" fmla="*/ 667 w 10000"/>
              <a:gd name="connsiteY83" fmla="*/ 5116 h 10000"/>
              <a:gd name="connsiteX84" fmla="*/ 756 w 10000"/>
              <a:gd name="connsiteY84" fmla="*/ 5349 h 10000"/>
              <a:gd name="connsiteX85" fmla="*/ 667 w 10000"/>
              <a:gd name="connsiteY85" fmla="*/ 5349 h 10000"/>
              <a:gd name="connsiteX86" fmla="*/ 534 w 10000"/>
              <a:gd name="connsiteY86" fmla="*/ 5194 h 10000"/>
              <a:gd name="connsiteX87" fmla="*/ 534 w 10000"/>
              <a:gd name="connsiteY87" fmla="*/ 4729 h 10000"/>
              <a:gd name="connsiteX88" fmla="*/ 402 w 10000"/>
              <a:gd name="connsiteY88" fmla="*/ 4574 h 10000"/>
              <a:gd name="connsiteX89" fmla="*/ 355 w 10000"/>
              <a:gd name="connsiteY89" fmla="*/ 4418 h 10000"/>
              <a:gd name="connsiteX90" fmla="*/ 445 w 10000"/>
              <a:gd name="connsiteY90" fmla="*/ 4496 h 10000"/>
              <a:gd name="connsiteX91" fmla="*/ 799 w 10000"/>
              <a:gd name="connsiteY91" fmla="*/ 4729 h 10000"/>
              <a:gd name="connsiteX92" fmla="*/ 1021 w 10000"/>
              <a:gd name="connsiteY92" fmla="*/ 4496 h 10000"/>
              <a:gd name="connsiteX93" fmla="*/ 976 w 10000"/>
              <a:gd name="connsiteY93" fmla="*/ 4263 h 10000"/>
              <a:gd name="connsiteX94" fmla="*/ 710 w 10000"/>
              <a:gd name="connsiteY94" fmla="*/ 3799 h 10000"/>
              <a:gd name="connsiteX95" fmla="*/ 445 w 10000"/>
              <a:gd name="connsiteY95" fmla="*/ 3644 h 10000"/>
              <a:gd name="connsiteX96" fmla="*/ 445 w 10000"/>
              <a:gd name="connsiteY96" fmla="*/ 3566 h 10000"/>
              <a:gd name="connsiteX97" fmla="*/ 355 w 10000"/>
              <a:gd name="connsiteY97" fmla="*/ 3488 h 10000"/>
              <a:gd name="connsiteX98" fmla="*/ 265 w 10000"/>
              <a:gd name="connsiteY98" fmla="*/ 3566 h 10000"/>
              <a:gd name="connsiteX99" fmla="*/ 265 w 10000"/>
              <a:gd name="connsiteY99" fmla="*/ 3644 h 10000"/>
              <a:gd name="connsiteX100" fmla="*/ 223 w 10000"/>
              <a:gd name="connsiteY100" fmla="*/ 3644 h 10000"/>
              <a:gd name="connsiteX101" fmla="*/ 133 w 10000"/>
              <a:gd name="connsiteY101" fmla="*/ 3799 h 10000"/>
              <a:gd name="connsiteX102" fmla="*/ 133 w 10000"/>
              <a:gd name="connsiteY102" fmla="*/ 4031 h 10000"/>
              <a:gd name="connsiteX103" fmla="*/ 223 w 10000"/>
              <a:gd name="connsiteY103" fmla="*/ 4186 h 10000"/>
              <a:gd name="connsiteX104" fmla="*/ 177 w 10000"/>
              <a:gd name="connsiteY104" fmla="*/ 4418 h 10000"/>
              <a:gd name="connsiteX105" fmla="*/ 223 w 10000"/>
              <a:gd name="connsiteY105" fmla="*/ 4807 h 10000"/>
              <a:gd name="connsiteX106" fmla="*/ 177 w 10000"/>
              <a:gd name="connsiteY106" fmla="*/ 5039 h 10000"/>
              <a:gd name="connsiteX107" fmla="*/ 265 w 10000"/>
              <a:gd name="connsiteY107" fmla="*/ 5271 h 10000"/>
              <a:gd name="connsiteX108" fmla="*/ 223 w 10000"/>
              <a:gd name="connsiteY108" fmla="*/ 5426 h 10000"/>
              <a:gd name="connsiteX109" fmla="*/ 310 w 10000"/>
              <a:gd name="connsiteY109" fmla="*/ 5582 h 10000"/>
              <a:gd name="connsiteX110" fmla="*/ 310 w 10000"/>
              <a:gd name="connsiteY110" fmla="*/ 5659 h 10000"/>
              <a:gd name="connsiteX111" fmla="*/ 177 w 10000"/>
              <a:gd name="connsiteY111" fmla="*/ 6047 h 10000"/>
              <a:gd name="connsiteX112" fmla="*/ 42 w 10000"/>
              <a:gd name="connsiteY112" fmla="*/ 6202 h 10000"/>
              <a:gd name="connsiteX113" fmla="*/ 88 w 10000"/>
              <a:gd name="connsiteY113" fmla="*/ 6202 h 10000"/>
              <a:gd name="connsiteX114" fmla="*/ 177 w 10000"/>
              <a:gd name="connsiteY114" fmla="*/ 6356 h 10000"/>
              <a:gd name="connsiteX115" fmla="*/ 88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88 w 10000"/>
              <a:gd name="connsiteY122" fmla="*/ 7209 h 10000"/>
              <a:gd name="connsiteX123" fmla="*/ 223 w 10000"/>
              <a:gd name="connsiteY123" fmla="*/ 7287 h 10000"/>
              <a:gd name="connsiteX124" fmla="*/ 265 w 10000"/>
              <a:gd name="connsiteY124" fmla="*/ 7364 h 10000"/>
              <a:gd name="connsiteX125" fmla="*/ 265 w 10000"/>
              <a:gd name="connsiteY125" fmla="*/ 7520 h 10000"/>
              <a:gd name="connsiteX126" fmla="*/ 355 w 10000"/>
              <a:gd name="connsiteY126" fmla="*/ 7752 h 10000"/>
              <a:gd name="connsiteX127" fmla="*/ 402 w 10000"/>
              <a:gd name="connsiteY127" fmla="*/ 7752 h 10000"/>
              <a:gd name="connsiteX128" fmla="*/ 355 w 10000"/>
              <a:gd name="connsiteY128" fmla="*/ 7907 h 10000"/>
              <a:gd name="connsiteX129" fmla="*/ 310 w 10000"/>
              <a:gd name="connsiteY129" fmla="*/ 7830 h 10000"/>
              <a:gd name="connsiteX130" fmla="*/ 310 w 10000"/>
              <a:gd name="connsiteY130" fmla="*/ 7907 h 10000"/>
              <a:gd name="connsiteX131" fmla="*/ 355 w 10000"/>
              <a:gd name="connsiteY131" fmla="*/ 8062 h 10000"/>
              <a:gd name="connsiteX132" fmla="*/ 490 w 10000"/>
              <a:gd name="connsiteY132" fmla="*/ 8062 h 10000"/>
              <a:gd name="connsiteX133" fmla="*/ 534 w 10000"/>
              <a:gd name="connsiteY133" fmla="*/ 8140 h 10000"/>
              <a:gd name="connsiteX134" fmla="*/ 490 w 10000"/>
              <a:gd name="connsiteY134" fmla="*/ 8140 h 10000"/>
              <a:gd name="connsiteX135" fmla="*/ 534 w 10000"/>
              <a:gd name="connsiteY135" fmla="*/ 8217 h 10000"/>
              <a:gd name="connsiteX136" fmla="*/ 577 w 10000"/>
              <a:gd name="connsiteY136" fmla="*/ 8217 h 10000"/>
              <a:gd name="connsiteX137" fmla="*/ 621 w 10000"/>
              <a:gd name="connsiteY137" fmla="*/ 8372 h 10000"/>
              <a:gd name="connsiteX138" fmla="*/ 667 w 10000"/>
              <a:gd name="connsiteY138" fmla="*/ 8449 h 10000"/>
              <a:gd name="connsiteX139" fmla="*/ 710 w 10000"/>
              <a:gd name="connsiteY139" fmla="*/ 8372 h 10000"/>
              <a:gd name="connsiteX140" fmla="*/ 934 w 10000"/>
              <a:gd name="connsiteY140" fmla="*/ 8605 h 10000"/>
              <a:gd name="connsiteX141" fmla="*/ 888 w 10000"/>
              <a:gd name="connsiteY141" fmla="*/ 8915 h 10000"/>
              <a:gd name="connsiteX142" fmla="*/ 842 w 10000"/>
              <a:gd name="connsiteY142" fmla="*/ 8838 h 10000"/>
              <a:gd name="connsiteX143" fmla="*/ 799 w 10000"/>
              <a:gd name="connsiteY143" fmla="*/ 8915 h 10000"/>
              <a:gd name="connsiteX144" fmla="*/ 799 w 10000"/>
              <a:gd name="connsiteY144" fmla="*/ 9070 h 10000"/>
              <a:gd name="connsiteX145" fmla="*/ 842 w 10000"/>
              <a:gd name="connsiteY145" fmla="*/ 8993 h 10000"/>
              <a:gd name="connsiteX146" fmla="*/ 888 w 10000"/>
              <a:gd name="connsiteY146" fmla="*/ 9070 h 10000"/>
              <a:gd name="connsiteX147" fmla="*/ 756 w 10000"/>
              <a:gd name="connsiteY147" fmla="*/ 9147 h 10000"/>
              <a:gd name="connsiteX148" fmla="*/ 799 w 10000"/>
              <a:gd name="connsiteY148" fmla="*/ 9225 h 10000"/>
              <a:gd name="connsiteX149" fmla="*/ 710 w 10000"/>
              <a:gd name="connsiteY149" fmla="*/ 9380 h 10000"/>
              <a:gd name="connsiteX150" fmla="*/ 667 w 10000"/>
              <a:gd name="connsiteY150" fmla="*/ 9380 h 10000"/>
              <a:gd name="connsiteX151" fmla="*/ 710 w 10000"/>
              <a:gd name="connsiteY151" fmla="*/ 9380 h 10000"/>
              <a:gd name="connsiteX152" fmla="*/ 888 w 10000"/>
              <a:gd name="connsiteY152" fmla="*/ 9691 h 10000"/>
              <a:gd name="connsiteX153" fmla="*/ 1112 w 10000"/>
              <a:gd name="connsiteY153" fmla="*/ 9691 h 10000"/>
              <a:gd name="connsiteX154" fmla="*/ 1202 w 10000"/>
              <a:gd name="connsiteY154" fmla="*/ 9768 h 10000"/>
              <a:gd name="connsiteX155" fmla="*/ 1289 w 10000"/>
              <a:gd name="connsiteY155" fmla="*/ 9768 h 10000"/>
              <a:gd name="connsiteX156" fmla="*/ 1379 w 10000"/>
              <a:gd name="connsiteY156" fmla="*/ 9923 h 10000"/>
              <a:gd name="connsiteX157" fmla="*/ 1422 w 10000"/>
              <a:gd name="connsiteY157" fmla="*/ 10000 h 10000"/>
              <a:gd name="connsiteX158" fmla="*/ 1465 w 10000"/>
              <a:gd name="connsiteY158" fmla="*/ 10000 h 10000"/>
              <a:gd name="connsiteX159" fmla="*/ 1512 w 10000"/>
              <a:gd name="connsiteY159" fmla="*/ 9923 h 10000"/>
              <a:gd name="connsiteX160" fmla="*/ 1422 w 10000"/>
              <a:gd name="connsiteY160" fmla="*/ 9768 h 10000"/>
              <a:gd name="connsiteX161" fmla="*/ 1422 w 10000"/>
              <a:gd name="connsiteY161" fmla="*/ 9613 h 10000"/>
              <a:gd name="connsiteX162" fmla="*/ 1379 w 10000"/>
              <a:gd name="connsiteY162" fmla="*/ 9457 h 10000"/>
              <a:gd name="connsiteX163" fmla="*/ 1465 w 10000"/>
              <a:gd name="connsiteY163" fmla="*/ 9225 h 10000"/>
              <a:gd name="connsiteX164" fmla="*/ 1512 w 10000"/>
              <a:gd name="connsiteY164" fmla="*/ 9302 h 10000"/>
              <a:gd name="connsiteX165" fmla="*/ 1556 w 10000"/>
              <a:gd name="connsiteY165" fmla="*/ 9225 h 10000"/>
              <a:gd name="connsiteX166" fmla="*/ 1556 w 10000"/>
              <a:gd name="connsiteY166" fmla="*/ 9147 h 10000"/>
              <a:gd name="connsiteX167" fmla="*/ 1512 w 10000"/>
              <a:gd name="connsiteY167" fmla="*/ 9147 h 10000"/>
              <a:gd name="connsiteX168" fmla="*/ 1556 w 10000"/>
              <a:gd name="connsiteY168" fmla="*/ 9070 h 10000"/>
              <a:gd name="connsiteX169" fmla="*/ 1512 w 10000"/>
              <a:gd name="connsiteY169" fmla="*/ 8915 h 10000"/>
              <a:gd name="connsiteX170" fmla="*/ 1422 w 10000"/>
              <a:gd name="connsiteY170" fmla="*/ 8915 h 10000"/>
              <a:gd name="connsiteX171" fmla="*/ 1379 w 10000"/>
              <a:gd name="connsiteY171" fmla="*/ 8760 h 10000"/>
              <a:gd name="connsiteX172" fmla="*/ 1422 w 10000"/>
              <a:gd name="connsiteY172" fmla="*/ 8372 h 10000"/>
              <a:gd name="connsiteX173" fmla="*/ 1512 w 10000"/>
              <a:gd name="connsiteY173" fmla="*/ 8528 h 10000"/>
              <a:gd name="connsiteX174" fmla="*/ 1556 w 10000"/>
              <a:gd name="connsiteY174" fmla="*/ 8528 h 10000"/>
              <a:gd name="connsiteX175" fmla="*/ 1512 w 10000"/>
              <a:gd name="connsiteY175" fmla="*/ 8372 h 10000"/>
              <a:gd name="connsiteX176" fmla="*/ 1645 w 10000"/>
              <a:gd name="connsiteY176" fmla="*/ 8140 h 10000"/>
              <a:gd name="connsiteX177" fmla="*/ 1735 w 10000"/>
              <a:gd name="connsiteY177" fmla="*/ 8217 h 10000"/>
              <a:gd name="connsiteX178" fmla="*/ 1777 w 10000"/>
              <a:gd name="connsiteY178" fmla="*/ 8140 h 10000"/>
              <a:gd name="connsiteX179" fmla="*/ 1866 w 10000"/>
              <a:gd name="connsiteY179" fmla="*/ 8217 h 10000"/>
              <a:gd name="connsiteX180" fmla="*/ 2001 w 10000"/>
              <a:gd name="connsiteY180" fmla="*/ 8372 h 10000"/>
              <a:gd name="connsiteX181" fmla="*/ 2089 w 10000"/>
              <a:gd name="connsiteY181" fmla="*/ 8295 h 10000"/>
              <a:gd name="connsiteX182" fmla="*/ 2178 w 10000"/>
              <a:gd name="connsiteY182" fmla="*/ 8295 h 10000"/>
              <a:gd name="connsiteX183" fmla="*/ 2222 w 10000"/>
              <a:gd name="connsiteY183" fmla="*/ 8372 h 10000"/>
              <a:gd name="connsiteX184" fmla="*/ 2400 w 10000"/>
              <a:gd name="connsiteY184" fmla="*/ 8372 h 10000"/>
              <a:gd name="connsiteX185" fmla="*/ 2443 w 10000"/>
              <a:gd name="connsiteY185" fmla="*/ 8217 h 10000"/>
              <a:gd name="connsiteX186" fmla="*/ 2310 w 10000"/>
              <a:gd name="connsiteY186" fmla="*/ 8140 h 10000"/>
              <a:gd name="connsiteX187" fmla="*/ 2400 w 10000"/>
              <a:gd name="connsiteY187" fmla="*/ 8062 h 10000"/>
              <a:gd name="connsiteX188" fmla="*/ 2354 w 10000"/>
              <a:gd name="connsiteY188" fmla="*/ 7985 h 10000"/>
              <a:gd name="connsiteX189" fmla="*/ 2400 w 10000"/>
              <a:gd name="connsiteY189" fmla="*/ 7907 h 10000"/>
              <a:gd name="connsiteX190" fmla="*/ 2400 w 10000"/>
              <a:gd name="connsiteY190" fmla="*/ 7675 h 10000"/>
              <a:gd name="connsiteX191" fmla="*/ 2487 w 10000"/>
              <a:gd name="connsiteY191" fmla="*/ 7752 h 10000"/>
              <a:gd name="connsiteX192" fmla="*/ 2889 w 10000"/>
              <a:gd name="connsiteY192" fmla="*/ 7520 h 10000"/>
              <a:gd name="connsiteX193" fmla="*/ 2889 w 10000"/>
              <a:gd name="connsiteY193" fmla="*/ 7442 h 10000"/>
              <a:gd name="connsiteX194" fmla="*/ 2932 w 10000"/>
              <a:gd name="connsiteY194" fmla="*/ 7442 h 10000"/>
              <a:gd name="connsiteX195" fmla="*/ 3065 w 10000"/>
              <a:gd name="connsiteY195" fmla="*/ 7442 h 10000"/>
              <a:gd name="connsiteX196" fmla="*/ 3110 w 10000"/>
              <a:gd name="connsiteY196" fmla="*/ 7598 h 10000"/>
              <a:gd name="connsiteX197" fmla="*/ 3110 w 10000"/>
              <a:gd name="connsiteY197" fmla="*/ 7675 h 10000"/>
              <a:gd name="connsiteX198" fmla="*/ 3155 w 10000"/>
              <a:gd name="connsiteY198" fmla="*/ 7675 h 10000"/>
              <a:gd name="connsiteX199" fmla="*/ 3243 w 10000"/>
              <a:gd name="connsiteY199" fmla="*/ 7752 h 10000"/>
              <a:gd name="connsiteX200" fmla="*/ 3243 w 10000"/>
              <a:gd name="connsiteY200" fmla="*/ 7830 h 10000"/>
              <a:gd name="connsiteX201" fmla="*/ 3333 w 10000"/>
              <a:gd name="connsiteY201" fmla="*/ 7830 h 10000"/>
              <a:gd name="connsiteX202" fmla="*/ 3422 w 10000"/>
              <a:gd name="connsiteY202" fmla="*/ 7675 h 10000"/>
              <a:gd name="connsiteX203" fmla="*/ 3511 w 10000"/>
              <a:gd name="connsiteY203" fmla="*/ 7598 h 10000"/>
              <a:gd name="connsiteX204" fmla="*/ 3556 w 10000"/>
              <a:gd name="connsiteY204" fmla="*/ 7830 h 10000"/>
              <a:gd name="connsiteX205" fmla="*/ 3733 w 10000"/>
              <a:gd name="connsiteY205" fmla="*/ 8372 h 10000"/>
              <a:gd name="connsiteX206" fmla="*/ 3777 w 10000"/>
              <a:gd name="connsiteY206" fmla="*/ 8217 h 10000"/>
              <a:gd name="connsiteX207" fmla="*/ 3823 w 10000"/>
              <a:gd name="connsiteY207" fmla="*/ 8372 h 10000"/>
              <a:gd name="connsiteX208" fmla="*/ 3956 w 10000"/>
              <a:gd name="connsiteY208" fmla="*/ 8295 h 10000"/>
              <a:gd name="connsiteX209" fmla="*/ 4090 w 10000"/>
              <a:gd name="connsiteY209" fmla="*/ 8528 h 10000"/>
              <a:gd name="connsiteX210" fmla="*/ 4177 w 10000"/>
              <a:gd name="connsiteY210" fmla="*/ 8605 h 10000"/>
              <a:gd name="connsiteX211" fmla="*/ 4177 w 10000"/>
              <a:gd name="connsiteY211" fmla="*/ 8528 h 10000"/>
              <a:gd name="connsiteX212" fmla="*/ 4221 w 10000"/>
              <a:gd name="connsiteY212" fmla="*/ 8683 h 10000"/>
              <a:gd name="connsiteX213" fmla="*/ 4177 w 10000"/>
              <a:gd name="connsiteY213" fmla="*/ 8760 h 10000"/>
              <a:gd name="connsiteX214" fmla="*/ 4267 w 10000"/>
              <a:gd name="connsiteY214" fmla="*/ 8683 h 10000"/>
              <a:gd name="connsiteX215" fmla="*/ 4309 w 10000"/>
              <a:gd name="connsiteY215" fmla="*/ 8605 h 10000"/>
              <a:gd name="connsiteX216" fmla="*/ 4533 w 10000"/>
              <a:gd name="connsiteY216" fmla="*/ 8372 h 10000"/>
              <a:gd name="connsiteX217" fmla="*/ 4710 w 10000"/>
              <a:gd name="connsiteY217" fmla="*/ 8449 h 10000"/>
              <a:gd name="connsiteX218" fmla="*/ 4798 w 10000"/>
              <a:gd name="connsiteY218" fmla="*/ 8528 h 10000"/>
              <a:gd name="connsiteX219" fmla="*/ 4975 w 10000"/>
              <a:gd name="connsiteY219" fmla="*/ 8528 h 10000"/>
              <a:gd name="connsiteX220" fmla="*/ 4975 w 10000"/>
              <a:gd name="connsiteY220" fmla="*/ 8372 h 10000"/>
              <a:gd name="connsiteX221" fmla="*/ 4975 w 10000"/>
              <a:gd name="connsiteY221" fmla="*/ 8217 h 10000"/>
              <a:gd name="connsiteX222" fmla="*/ 5065 w 10000"/>
              <a:gd name="connsiteY222" fmla="*/ 8140 h 10000"/>
              <a:gd name="connsiteX223" fmla="*/ 5243 w 10000"/>
              <a:gd name="connsiteY223" fmla="*/ 8217 h 10000"/>
              <a:gd name="connsiteX224" fmla="*/ 5331 w 10000"/>
              <a:gd name="connsiteY224" fmla="*/ 8449 h 10000"/>
              <a:gd name="connsiteX225" fmla="*/ 5378 w 10000"/>
              <a:gd name="connsiteY225" fmla="*/ 8449 h 10000"/>
              <a:gd name="connsiteX226" fmla="*/ 5466 w 10000"/>
              <a:gd name="connsiteY226" fmla="*/ 8372 h 10000"/>
              <a:gd name="connsiteX227" fmla="*/ 5735 w 10000"/>
              <a:gd name="connsiteY227" fmla="*/ 8605 h 10000"/>
              <a:gd name="connsiteX228" fmla="*/ 5867 w 10000"/>
              <a:gd name="connsiteY228" fmla="*/ 8683 h 10000"/>
              <a:gd name="connsiteX229" fmla="*/ 6044 w 10000"/>
              <a:gd name="connsiteY229" fmla="*/ 8605 h 10000"/>
              <a:gd name="connsiteX230" fmla="*/ 6132 w 10000"/>
              <a:gd name="connsiteY230" fmla="*/ 8449 h 10000"/>
              <a:gd name="connsiteX231" fmla="*/ 6265 w 10000"/>
              <a:gd name="connsiteY231" fmla="*/ 8528 h 10000"/>
              <a:gd name="connsiteX232" fmla="*/ 6354 w 10000"/>
              <a:gd name="connsiteY232" fmla="*/ 8605 h 10000"/>
              <a:gd name="connsiteX233" fmla="*/ 7865 w 10000"/>
              <a:gd name="connsiteY233" fmla="*/ 7675 h 10000"/>
              <a:gd name="connsiteX234" fmla="*/ 7778 w 10000"/>
              <a:gd name="connsiteY234" fmla="*/ 7675 h 10000"/>
              <a:gd name="connsiteX235" fmla="*/ 7733 w 10000"/>
              <a:gd name="connsiteY235" fmla="*/ 7675 h 10000"/>
              <a:gd name="connsiteX236" fmla="*/ 7687 w 10000"/>
              <a:gd name="connsiteY236" fmla="*/ 7598 h 10000"/>
              <a:gd name="connsiteX237" fmla="*/ 7600 w 10000"/>
              <a:gd name="connsiteY237" fmla="*/ 7598 h 10000"/>
              <a:gd name="connsiteX238" fmla="*/ 7600 w 10000"/>
              <a:gd name="connsiteY238" fmla="*/ 7520 h 10000"/>
              <a:gd name="connsiteX239" fmla="*/ 7733 w 10000"/>
              <a:gd name="connsiteY239" fmla="*/ 7287 h 10000"/>
              <a:gd name="connsiteX240" fmla="*/ 8135 w 10000"/>
              <a:gd name="connsiteY240" fmla="*/ 6590 h 10000"/>
              <a:gd name="connsiteX241" fmla="*/ 8310 w 10000"/>
              <a:gd name="connsiteY241" fmla="*/ 6512 h 10000"/>
              <a:gd name="connsiteX242" fmla="*/ 8353 w 10000"/>
              <a:gd name="connsiteY242" fmla="*/ 6590 h 10000"/>
              <a:gd name="connsiteX243" fmla="*/ 8401 w 10000"/>
              <a:gd name="connsiteY243" fmla="*/ 6512 h 10000"/>
              <a:gd name="connsiteX244" fmla="*/ 8530 w 10000"/>
              <a:gd name="connsiteY244" fmla="*/ 6590 h 10000"/>
              <a:gd name="connsiteX245" fmla="*/ 8579 w 10000"/>
              <a:gd name="connsiteY245" fmla="*/ 6434 h 10000"/>
              <a:gd name="connsiteX246" fmla="*/ 8709 w 10000"/>
              <a:gd name="connsiteY246" fmla="*/ 6512 h 10000"/>
              <a:gd name="connsiteX247" fmla="*/ 8754 w 10000"/>
              <a:gd name="connsiteY247" fmla="*/ 6512 h 10000"/>
              <a:gd name="connsiteX248" fmla="*/ 8709 w 10000"/>
              <a:gd name="connsiteY248" fmla="*/ 6590 h 10000"/>
              <a:gd name="connsiteX249" fmla="*/ 8709 w 10000"/>
              <a:gd name="connsiteY249" fmla="*/ 6667 h 10000"/>
              <a:gd name="connsiteX250" fmla="*/ 8976 w 10000"/>
              <a:gd name="connsiteY250" fmla="*/ 6590 h 10000"/>
              <a:gd name="connsiteX251" fmla="*/ 8932 w 10000"/>
              <a:gd name="connsiteY251" fmla="*/ 6512 h 10000"/>
              <a:gd name="connsiteX252" fmla="*/ 9111 w 10000"/>
              <a:gd name="connsiteY252" fmla="*/ 5969 h 10000"/>
              <a:gd name="connsiteX253" fmla="*/ 9330 w 10000"/>
              <a:gd name="connsiteY253" fmla="*/ 5892 h 10000"/>
              <a:gd name="connsiteX254" fmla="*/ 9330 w 10000"/>
              <a:gd name="connsiteY254" fmla="*/ 6047 h 10000"/>
              <a:gd name="connsiteX255" fmla="*/ 9330 w 10000"/>
              <a:gd name="connsiteY255" fmla="*/ 6202 h 10000"/>
              <a:gd name="connsiteX256" fmla="*/ 9553 w 10000"/>
              <a:gd name="connsiteY256" fmla="*/ 5969 h 10000"/>
              <a:gd name="connsiteX257" fmla="*/ 9553 w 10000"/>
              <a:gd name="connsiteY257" fmla="*/ 5737 h 10000"/>
              <a:gd name="connsiteX258" fmla="*/ 9643 w 10000"/>
              <a:gd name="connsiteY258" fmla="*/ 5737 h 10000"/>
              <a:gd name="connsiteX259" fmla="*/ 9595 w 10000"/>
              <a:gd name="connsiteY259" fmla="*/ 5814 h 10000"/>
              <a:gd name="connsiteX260" fmla="*/ 9553 w 10000"/>
              <a:gd name="connsiteY260" fmla="*/ 6202 h 10000"/>
              <a:gd name="connsiteX261" fmla="*/ 9465 w 10000"/>
              <a:gd name="connsiteY261" fmla="*/ 6279 h 10000"/>
              <a:gd name="connsiteX262" fmla="*/ 9553 w 10000"/>
              <a:gd name="connsiteY262" fmla="*/ 6590 h 10000"/>
              <a:gd name="connsiteX263" fmla="*/ 9553 w 10000"/>
              <a:gd name="connsiteY263" fmla="*/ 6434 h 10000"/>
              <a:gd name="connsiteX264" fmla="*/ 9643 w 10000"/>
              <a:gd name="connsiteY264" fmla="*/ 6434 h 10000"/>
              <a:gd name="connsiteX265" fmla="*/ 9777 w 10000"/>
              <a:gd name="connsiteY265" fmla="*/ 6279 h 10000"/>
              <a:gd name="connsiteX266" fmla="*/ 9777 w 10000"/>
              <a:gd name="connsiteY266" fmla="*/ 6434 h 10000"/>
              <a:gd name="connsiteX267" fmla="*/ 9820 w 10000"/>
              <a:gd name="connsiteY267" fmla="*/ 6356 h 10000"/>
              <a:gd name="connsiteX268" fmla="*/ 10000 w 10000"/>
              <a:gd name="connsiteY268" fmla="*/ 3876 h 10000"/>
              <a:gd name="connsiteX269" fmla="*/ 9909 w 10000"/>
              <a:gd name="connsiteY269" fmla="*/ 3721 h 10000"/>
              <a:gd name="connsiteX270" fmla="*/ 9909 w 10000"/>
              <a:gd name="connsiteY270" fmla="*/ 3566 h 10000"/>
              <a:gd name="connsiteX271" fmla="*/ 9957 w 10000"/>
              <a:gd name="connsiteY271" fmla="*/ 3566 h 10000"/>
              <a:gd name="connsiteX272" fmla="*/ 10000 w 10000"/>
              <a:gd name="connsiteY272" fmla="*/ 3488 h 10000"/>
              <a:gd name="connsiteX273" fmla="*/ 9820 w 10000"/>
              <a:gd name="connsiteY273" fmla="*/ 3644 h 10000"/>
              <a:gd name="connsiteX274" fmla="*/ 9595 w 10000"/>
              <a:gd name="connsiteY274" fmla="*/ 3566 h 10000"/>
              <a:gd name="connsiteX275" fmla="*/ 9378 w 10000"/>
              <a:gd name="connsiteY275" fmla="*/ 3566 h 10000"/>
              <a:gd name="connsiteX276" fmla="*/ 9287 w 10000"/>
              <a:gd name="connsiteY276" fmla="*/ 3488 h 10000"/>
              <a:gd name="connsiteX277" fmla="*/ 9330 w 10000"/>
              <a:gd name="connsiteY277" fmla="*/ 3333 h 10000"/>
              <a:gd name="connsiteX278" fmla="*/ 9241 w 10000"/>
              <a:gd name="connsiteY278" fmla="*/ 3101 h 10000"/>
              <a:gd name="connsiteX279" fmla="*/ 9063 w 10000"/>
              <a:gd name="connsiteY279" fmla="*/ 3023 h 10000"/>
              <a:gd name="connsiteX280" fmla="*/ 8800 w 10000"/>
              <a:gd name="connsiteY280" fmla="*/ 3178 h 10000"/>
              <a:gd name="connsiteX281" fmla="*/ 8754 w 10000"/>
              <a:gd name="connsiteY281" fmla="*/ 2946 h 10000"/>
              <a:gd name="connsiteX282" fmla="*/ 8666 w 10000"/>
              <a:gd name="connsiteY282" fmla="*/ 2946 h 10000"/>
              <a:gd name="connsiteX283" fmla="*/ 8621 w 10000"/>
              <a:gd name="connsiteY283" fmla="*/ 2868 h 10000"/>
              <a:gd name="connsiteX284" fmla="*/ 8621 w 10000"/>
              <a:gd name="connsiteY284" fmla="*/ 2636 h 10000"/>
              <a:gd name="connsiteX285" fmla="*/ 8310 w 10000"/>
              <a:gd name="connsiteY285" fmla="*/ 2480 h 10000"/>
              <a:gd name="connsiteX286" fmla="*/ 7955 w 10000"/>
              <a:gd name="connsiteY286" fmla="*/ 2325 h 10000"/>
              <a:gd name="connsiteX287" fmla="*/ 7865 w 10000"/>
              <a:gd name="connsiteY287" fmla="*/ 2636 h 10000"/>
              <a:gd name="connsiteX288" fmla="*/ 7955 w 10000"/>
              <a:gd name="connsiteY288" fmla="*/ 2868 h 10000"/>
              <a:gd name="connsiteX289" fmla="*/ 7687 w 10000"/>
              <a:gd name="connsiteY289" fmla="*/ 2868 h 10000"/>
              <a:gd name="connsiteX290" fmla="*/ 7642 w 10000"/>
              <a:gd name="connsiteY290" fmla="*/ 2868 h 10000"/>
              <a:gd name="connsiteX291" fmla="*/ 7554 w 10000"/>
              <a:gd name="connsiteY291" fmla="*/ 2946 h 10000"/>
              <a:gd name="connsiteX292" fmla="*/ 7421 w 10000"/>
              <a:gd name="connsiteY292" fmla="*/ 2714 h 10000"/>
              <a:gd name="connsiteX293" fmla="*/ 7331 w 10000"/>
              <a:gd name="connsiteY293" fmla="*/ 3178 h 10000"/>
              <a:gd name="connsiteX294" fmla="*/ 7245 w 10000"/>
              <a:gd name="connsiteY294" fmla="*/ 3101 h 10000"/>
              <a:gd name="connsiteX295" fmla="*/ 7154 w 10000"/>
              <a:gd name="connsiteY295" fmla="*/ 2791 h 10000"/>
              <a:gd name="connsiteX296" fmla="*/ 7200 w 10000"/>
              <a:gd name="connsiteY296" fmla="*/ 2403 h 10000"/>
              <a:gd name="connsiteX297" fmla="*/ 7111 w 10000"/>
              <a:gd name="connsiteY297" fmla="*/ 2170 h 10000"/>
              <a:gd name="connsiteX298" fmla="*/ 6843 w 10000"/>
              <a:gd name="connsiteY298" fmla="*/ 2016 h 10000"/>
              <a:gd name="connsiteX299" fmla="*/ 6753 w 10000"/>
              <a:gd name="connsiteY299" fmla="*/ 2016 h 10000"/>
              <a:gd name="connsiteX300" fmla="*/ 6710 w 10000"/>
              <a:gd name="connsiteY300" fmla="*/ 2170 h 10000"/>
              <a:gd name="connsiteX301" fmla="*/ 6753 w 10000"/>
              <a:gd name="connsiteY301" fmla="*/ 2325 h 10000"/>
              <a:gd name="connsiteX302" fmla="*/ 6402 w 10000"/>
              <a:gd name="connsiteY302" fmla="*/ 2248 h 10000"/>
              <a:gd name="connsiteX303" fmla="*/ 6443 w 10000"/>
              <a:gd name="connsiteY303" fmla="*/ 2016 h 10000"/>
              <a:gd name="connsiteX304" fmla="*/ 6223 w 10000"/>
              <a:gd name="connsiteY304" fmla="*/ 1938 h 10000"/>
              <a:gd name="connsiteX305" fmla="*/ 6088 w 10000"/>
              <a:gd name="connsiteY305" fmla="*/ 2093 h 10000"/>
              <a:gd name="connsiteX306" fmla="*/ 5826 w 10000"/>
              <a:gd name="connsiteY306" fmla="*/ 1861 h 10000"/>
              <a:gd name="connsiteX0" fmla="*/ 5826 w 10000"/>
              <a:gd name="connsiteY0" fmla="*/ 1861 h 10000"/>
              <a:gd name="connsiteX1" fmla="*/ 5826 w 10000"/>
              <a:gd name="connsiteY1" fmla="*/ 1861 h 10000"/>
              <a:gd name="connsiteX2" fmla="*/ 5777 w 10000"/>
              <a:gd name="connsiteY2" fmla="*/ 1938 h 10000"/>
              <a:gd name="connsiteX3" fmla="*/ 5826 w 10000"/>
              <a:gd name="connsiteY3" fmla="*/ 2093 h 10000"/>
              <a:gd name="connsiteX4" fmla="*/ 5643 w 10000"/>
              <a:gd name="connsiteY4" fmla="*/ 2248 h 10000"/>
              <a:gd name="connsiteX5" fmla="*/ 5597 w 10000"/>
              <a:gd name="connsiteY5" fmla="*/ 2248 h 10000"/>
              <a:gd name="connsiteX6" fmla="*/ 5643 w 10000"/>
              <a:gd name="connsiteY6" fmla="*/ 2016 h 10000"/>
              <a:gd name="connsiteX7" fmla="*/ 6088 w 10000"/>
              <a:gd name="connsiteY7" fmla="*/ 1318 h 10000"/>
              <a:gd name="connsiteX8" fmla="*/ 6088 w 10000"/>
              <a:gd name="connsiteY8" fmla="*/ 853 h 10000"/>
              <a:gd name="connsiteX9" fmla="*/ 5911 w 10000"/>
              <a:gd name="connsiteY9" fmla="*/ 543 h 10000"/>
              <a:gd name="connsiteX10" fmla="*/ 5689 w 10000"/>
              <a:gd name="connsiteY10" fmla="*/ 543 h 10000"/>
              <a:gd name="connsiteX11" fmla="*/ 5689 w 10000"/>
              <a:gd name="connsiteY11" fmla="*/ 698 h 10000"/>
              <a:gd name="connsiteX12" fmla="*/ 5553 w 10000"/>
              <a:gd name="connsiteY12" fmla="*/ 698 h 10000"/>
              <a:gd name="connsiteX13" fmla="*/ 5643 w 10000"/>
              <a:gd name="connsiteY13" fmla="*/ 387 h 10000"/>
              <a:gd name="connsiteX14" fmla="*/ 5422 w 10000"/>
              <a:gd name="connsiteY14" fmla="*/ 310 h 10000"/>
              <a:gd name="connsiteX15" fmla="*/ 5553 w 10000"/>
              <a:gd name="connsiteY15" fmla="*/ 155 h 10000"/>
              <a:gd name="connsiteX16" fmla="*/ 5422 w 10000"/>
              <a:gd name="connsiteY16" fmla="*/ 0 h 10000"/>
              <a:gd name="connsiteX17" fmla="*/ 5199 w 10000"/>
              <a:gd name="connsiteY17" fmla="*/ 387 h 10000"/>
              <a:gd name="connsiteX18" fmla="*/ 5199 w 10000"/>
              <a:gd name="connsiteY18" fmla="*/ 698 h 10000"/>
              <a:gd name="connsiteX19" fmla="*/ 5065 w 10000"/>
              <a:gd name="connsiteY19" fmla="*/ 698 h 10000"/>
              <a:gd name="connsiteX20" fmla="*/ 4666 w 10000"/>
              <a:gd name="connsiteY20" fmla="*/ 853 h 10000"/>
              <a:gd name="connsiteX21" fmla="*/ 4309 w 10000"/>
              <a:gd name="connsiteY21" fmla="*/ 1240 h 10000"/>
              <a:gd name="connsiteX22" fmla="*/ 4177 w 10000"/>
              <a:gd name="connsiteY22" fmla="*/ 1551 h 10000"/>
              <a:gd name="connsiteX23" fmla="*/ 4221 w 10000"/>
              <a:gd name="connsiteY23" fmla="*/ 1938 h 10000"/>
              <a:gd name="connsiteX24" fmla="*/ 3733 w 10000"/>
              <a:gd name="connsiteY24" fmla="*/ 2093 h 10000"/>
              <a:gd name="connsiteX25" fmla="*/ 3777 w 10000"/>
              <a:gd name="connsiteY25" fmla="*/ 2559 h 10000"/>
              <a:gd name="connsiteX26" fmla="*/ 3912 w 10000"/>
              <a:gd name="connsiteY26" fmla="*/ 2791 h 10000"/>
              <a:gd name="connsiteX27" fmla="*/ 3823 w 10000"/>
              <a:gd name="connsiteY27" fmla="*/ 2868 h 10000"/>
              <a:gd name="connsiteX28" fmla="*/ 3689 w 10000"/>
              <a:gd name="connsiteY28" fmla="*/ 2559 h 10000"/>
              <a:gd name="connsiteX29" fmla="*/ 3556 w 10000"/>
              <a:gd name="connsiteY29" fmla="*/ 2480 h 10000"/>
              <a:gd name="connsiteX30" fmla="*/ 3511 w 10000"/>
              <a:gd name="connsiteY30" fmla="*/ 2559 h 10000"/>
              <a:gd name="connsiteX31" fmla="*/ 3422 w 10000"/>
              <a:gd name="connsiteY31" fmla="*/ 2403 h 10000"/>
              <a:gd name="connsiteX32" fmla="*/ 3333 w 10000"/>
              <a:gd name="connsiteY32" fmla="*/ 2248 h 10000"/>
              <a:gd name="connsiteX33" fmla="*/ 3333 w 10000"/>
              <a:gd name="connsiteY33" fmla="*/ 2325 h 10000"/>
              <a:gd name="connsiteX34" fmla="*/ 3380 w 10000"/>
              <a:gd name="connsiteY34" fmla="*/ 2559 h 10000"/>
              <a:gd name="connsiteX35" fmla="*/ 3243 w 10000"/>
              <a:gd name="connsiteY35" fmla="*/ 2946 h 10000"/>
              <a:gd name="connsiteX36" fmla="*/ 3333 w 10000"/>
              <a:gd name="connsiteY36" fmla="*/ 3256 h 10000"/>
              <a:gd name="connsiteX37" fmla="*/ 3286 w 10000"/>
              <a:gd name="connsiteY37" fmla="*/ 3566 h 10000"/>
              <a:gd name="connsiteX38" fmla="*/ 3286 w 10000"/>
              <a:gd name="connsiteY38" fmla="*/ 3799 h 10000"/>
              <a:gd name="connsiteX39" fmla="*/ 3422 w 10000"/>
              <a:gd name="connsiteY39" fmla="*/ 3799 h 10000"/>
              <a:gd name="connsiteX40" fmla="*/ 3333 w 10000"/>
              <a:gd name="connsiteY40" fmla="*/ 3876 h 10000"/>
              <a:gd name="connsiteX41" fmla="*/ 3380 w 10000"/>
              <a:gd name="connsiteY41" fmla="*/ 4263 h 10000"/>
              <a:gd name="connsiteX42" fmla="*/ 3110 w 10000"/>
              <a:gd name="connsiteY42" fmla="*/ 4652 h 10000"/>
              <a:gd name="connsiteX43" fmla="*/ 3065 w 10000"/>
              <a:gd name="connsiteY43" fmla="*/ 4574 h 10000"/>
              <a:gd name="connsiteX44" fmla="*/ 3243 w 10000"/>
              <a:gd name="connsiteY44" fmla="*/ 4186 h 10000"/>
              <a:gd name="connsiteX45" fmla="*/ 3286 w 10000"/>
              <a:gd name="connsiteY45" fmla="*/ 3954 h 10000"/>
              <a:gd name="connsiteX46" fmla="*/ 3195 w 10000"/>
              <a:gd name="connsiteY46" fmla="*/ 3799 h 10000"/>
              <a:gd name="connsiteX47" fmla="*/ 3195 w 10000"/>
              <a:gd name="connsiteY47" fmla="*/ 3023 h 10000"/>
              <a:gd name="connsiteX48" fmla="*/ 3155 w 10000"/>
              <a:gd name="connsiteY48" fmla="*/ 2868 h 10000"/>
              <a:gd name="connsiteX49" fmla="*/ 3195 w 10000"/>
              <a:gd name="connsiteY49" fmla="*/ 2403 h 10000"/>
              <a:gd name="connsiteX50" fmla="*/ 3110 w 10000"/>
              <a:gd name="connsiteY50" fmla="*/ 2325 h 10000"/>
              <a:gd name="connsiteX51" fmla="*/ 3155 w 10000"/>
              <a:gd name="connsiteY51" fmla="*/ 2248 h 10000"/>
              <a:gd name="connsiteX52" fmla="*/ 3110 w 10000"/>
              <a:gd name="connsiteY52" fmla="*/ 2093 h 10000"/>
              <a:gd name="connsiteX53" fmla="*/ 3018 w 10000"/>
              <a:gd name="connsiteY53" fmla="*/ 2170 h 10000"/>
              <a:gd name="connsiteX54" fmla="*/ 2799 w 10000"/>
              <a:gd name="connsiteY54" fmla="*/ 3178 h 10000"/>
              <a:gd name="connsiteX55" fmla="*/ 2799 w 10000"/>
              <a:gd name="connsiteY55" fmla="*/ 3566 h 10000"/>
              <a:gd name="connsiteX56" fmla="*/ 2932 w 10000"/>
              <a:gd name="connsiteY56" fmla="*/ 3876 h 10000"/>
              <a:gd name="connsiteX57" fmla="*/ 2932 w 10000"/>
              <a:gd name="connsiteY57" fmla="*/ 4031 h 10000"/>
              <a:gd name="connsiteX58" fmla="*/ 2799 w 10000"/>
              <a:gd name="connsiteY58" fmla="*/ 3876 h 10000"/>
              <a:gd name="connsiteX59" fmla="*/ 2268 w 10000"/>
              <a:gd name="connsiteY59" fmla="*/ 3256 h 10000"/>
              <a:gd name="connsiteX60" fmla="*/ 2222 w 10000"/>
              <a:gd name="connsiteY60" fmla="*/ 3411 h 10000"/>
              <a:gd name="connsiteX61" fmla="*/ 2400 w 10000"/>
              <a:gd name="connsiteY61" fmla="*/ 3799 h 10000"/>
              <a:gd name="connsiteX62" fmla="*/ 2310 w 10000"/>
              <a:gd name="connsiteY62" fmla="*/ 3876 h 10000"/>
              <a:gd name="connsiteX63" fmla="*/ 2268 w 10000"/>
              <a:gd name="connsiteY63" fmla="*/ 3799 h 10000"/>
              <a:gd name="connsiteX64" fmla="*/ 2001 w 10000"/>
              <a:gd name="connsiteY64" fmla="*/ 3954 h 10000"/>
              <a:gd name="connsiteX65" fmla="*/ 1956 w 10000"/>
              <a:gd name="connsiteY65" fmla="*/ 4109 h 10000"/>
              <a:gd name="connsiteX66" fmla="*/ 1911 w 10000"/>
              <a:gd name="connsiteY66" fmla="*/ 3954 h 10000"/>
              <a:gd name="connsiteX67" fmla="*/ 1911 w 10000"/>
              <a:gd name="connsiteY67" fmla="*/ 3799 h 10000"/>
              <a:gd name="connsiteX68" fmla="*/ 1465 w 10000"/>
              <a:gd name="connsiteY68" fmla="*/ 4263 h 10000"/>
              <a:gd name="connsiteX69" fmla="*/ 1465 w 10000"/>
              <a:gd name="connsiteY69" fmla="*/ 4418 h 10000"/>
              <a:gd name="connsiteX70" fmla="*/ 1379 w 10000"/>
              <a:gd name="connsiteY70" fmla="*/ 4496 h 10000"/>
              <a:gd name="connsiteX71" fmla="*/ 1244 w 10000"/>
              <a:gd name="connsiteY71" fmla="*/ 4341 h 10000"/>
              <a:gd name="connsiteX72" fmla="*/ 1379 w 10000"/>
              <a:gd name="connsiteY72" fmla="*/ 4186 h 10000"/>
              <a:gd name="connsiteX73" fmla="*/ 1334 w 10000"/>
              <a:gd name="connsiteY73" fmla="*/ 3954 h 10000"/>
              <a:gd name="connsiteX74" fmla="*/ 1157 w 10000"/>
              <a:gd name="connsiteY74" fmla="*/ 3876 h 10000"/>
              <a:gd name="connsiteX75" fmla="*/ 1202 w 10000"/>
              <a:gd name="connsiteY75" fmla="*/ 4031 h 10000"/>
              <a:gd name="connsiteX76" fmla="*/ 1202 w 10000"/>
              <a:gd name="connsiteY76" fmla="*/ 4418 h 10000"/>
              <a:gd name="connsiteX77" fmla="*/ 1244 w 10000"/>
              <a:gd name="connsiteY77" fmla="*/ 4574 h 10000"/>
              <a:gd name="connsiteX78" fmla="*/ 1202 w 10000"/>
              <a:gd name="connsiteY78" fmla="*/ 4729 h 10000"/>
              <a:gd name="connsiteX79" fmla="*/ 1065 w 10000"/>
              <a:gd name="connsiteY79" fmla="*/ 4652 h 10000"/>
              <a:gd name="connsiteX80" fmla="*/ 888 w 10000"/>
              <a:gd name="connsiteY80" fmla="*/ 4884 h 10000"/>
              <a:gd name="connsiteX81" fmla="*/ 976 w 10000"/>
              <a:gd name="connsiteY81" fmla="*/ 5194 h 10000"/>
              <a:gd name="connsiteX82" fmla="*/ 710 w 10000"/>
              <a:gd name="connsiteY82" fmla="*/ 5039 h 10000"/>
              <a:gd name="connsiteX83" fmla="*/ 667 w 10000"/>
              <a:gd name="connsiteY83" fmla="*/ 5116 h 10000"/>
              <a:gd name="connsiteX84" fmla="*/ 756 w 10000"/>
              <a:gd name="connsiteY84" fmla="*/ 5349 h 10000"/>
              <a:gd name="connsiteX85" fmla="*/ 667 w 10000"/>
              <a:gd name="connsiteY85" fmla="*/ 5349 h 10000"/>
              <a:gd name="connsiteX86" fmla="*/ 534 w 10000"/>
              <a:gd name="connsiteY86" fmla="*/ 5194 h 10000"/>
              <a:gd name="connsiteX87" fmla="*/ 534 w 10000"/>
              <a:gd name="connsiteY87" fmla="*/ 4729 h 10000"/>
              <a:gd name="connsiteX88" fmla="*/ 402 w 10000"/>
              <a:gd name="connsiteY88" fmla="*/ 4574 h 10000"/>
              <a:gd name="connsiteX89" fmla="*/ 355 w 10000"/>
              <a:gd name="connsiteY89" fmla="*/ 4418 h 10000"/>
              <a:gd name="connsiteX90" fmla="*/ 445 w 10000"/>
              <a:gd name="connsiteY90" fmla="*/ 4496 h 10000"/>
              <a:gd name="connsiteX91" fmla="*/ 799 w 10000"/>
              <a:gd name="connsiteY91" fmla="*/ 4729 h 10000"/>
              <a:gd name="connsiteX92" fmla="*/ 1021 w 10000"/>
              <a:gd name="connsiteY92" fmla="*/ 4496 h 10000"/>
              <a:gd name="connsiteX93" fmla="*/ 976 w 10000"/>
              <a:gd name="connsiteY93" fmla="*/ 4263 h 10000"/>
              <a:gd name="connsiteX94" fmla="*/ 710 w 10000"/>
              <a:gd name="connsiteY94" fmla="*/ 3799 h 10000"/>
              <a:gd name="connsiteX95" fmla="*/ 445 w 10000"/>
              <a:gd name="connsiteY95" fmla="*/ 3644 h 10000"/>
              <a:gd name="connsiteX96" fmla="*/ 445 w 10000"/>
              <a:gd name="connsiteY96" fmla="*/ 3566 h 10000"/>
              <a:gd name="connsiteX97" fmla="*/ 355 w 10000"/>
              <a:gd name="connsiteY97" fmla="*/ 3488 h 10000"/>
              <a:gd name="connsiteX98" fmla="*/ 265 w 10000"/>
              <a:gd name="connsiteY98" fmla="*/ 3566 h 10000"/>
              <a:gd name="connsiteX99" fmla="*/ 265 w 10000"/>
              <a:gd name="connsiteY99" fmla="*/ 3644 h 10000"/>
              <a:gd name="connsiteX100" fmla="*/ 223 w 10000"/>
              <a:gd name="connsiteY100" fmla="*/ 3644 h 10000"/>
              <a:gd name="connsiteX101" fmla="*/ 133 w 10000"/>
              <a:gd name="connsiteY101" fmla="*/ 3799 h 10000"/>
              <a:gd name="connsiteX102" fmla="*/ 133 w 10000"/>
              <a:gd name="connsiteY102" fmla="*/ 4031 h 10000"/>
              <a:gd name="connsiteX103" fmla="*/ 223 w 10000"/>
              <a:gd name="connsiteY103" fmla="*/ 4186 h 10000"/>
              <a:gd name="connsiteX104" fmla="*/ 177 w 10000"/>
              <a:gd name="connsiteY104" fmla="*/ 4418 h 10000"/>
              <a:gd name="connsiteX105" fmla="*/ 223 w 10000"/>
              <a:gd name="connsiteY105" fmla="*/ 4807 h 10000"/>
              <a:gd name="connsiteX106" fmla="*/ 177 w 10000"/>
              <a:gd name="connsiteY106" fmla="*/ 5039 h 10000"/>
              <a:gd name="connsiteX107" fmla="*/ 265 w 10000"/>
              <a:gd name="connsiteY107" fmla="*/ 5271 h 10000"/>
              <a:gd name="connsiteX108" fmla="*/ 223 w 10000"/>
              <a:gd name="connsiteY108" fmla="*/ 5426 h 10000"/>
              <a:gd name="connsiteX109" fmla="*/ 310 w 10000"/>
              <a:gd name="connsiteY109" fmla="*/ 5582 h 10000"/>
              <a:gd name="connsiteX110" fmla="*/ 310 w 10000"/>
              <a:gd name="connsiteY110" fmla="*/ 5659 h 10000"/>
              <a:gd name="connsiteX111" fmla="*/ 177 w 10000"/>
              <a:gd name="connsiteY111" fmla="*/ 6047 h 10000"/>
              <a:gd name="connsiteX112" fmla="*/ 42 w 10000"/>
              <a:gd name="connsiteY112" fmla="*/ 6202 h 10000"/>
              <a:gd name="connsiteX113" fmla="*/ 88 w 10000"/>
              <a:gd name="connsiteY113" fmla="*/ 6202 h 10000"/>
              <a:gd name="connsiteX114" fmla="*/ 177 w 10000"/>
              <a:gd name="connsiteY114" fmla="*/ 6356 h 10000"/>
              <a:gd name="connsiteX115" fmla="*/ 88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88 w 10000"/>
              <a:gd name="connsiteY122" fmla="*/ 7209 h 10000"/>
              <a:gd name="connsiteX123" fmla="*/ 223 w 10000"/>
              <a:gd name="connsiteY123" fmla="*/ 7287 h 10000"/>
              <a:gd name="connsiteX124" fmla="*/ 265 w 10000"/>
              <a:gd name="connsiteY124" fmla="*/ 7364 h 10000"/>
              <a:gd name="connsiteX125" fmla="*/ 265 w 10000"/>
              <a:gd name="connsiteY125" fmla="*/ 7520 h 10000"/>
              <a:gd name="connsiteX126" fmla="*/ 355 w 10000"/>
              <a:gd name="connsiteY126" fmla="*/ 7752 h 10000"/>
              <a:gd name="connsiteX127" fmla="*/ 402 w 10000"/>
              <a:gd name="connsiteY127" fmla="*/ 7752 h 10000"/>
              <a:gd name="connsiteX128" fmla="*/ 355 w 10000"/>
              <a:gd name="connsiteY128" fmla="*/ 7907 h 10000"/>
              <a:gd name="connsiteX129" fmla="*/ 310 w 10000"/>
              <a:gd name="connsiteY129" fmla="*/ 7830 h 10000"/>
              <a:gd name="connsiteX130" fmla="*/ 310 w 10000"/>
              <a:gd name="connsiteY130" fmla="*/ 7907 h 10000"/>
              <a:gd name="connsiteX131" fmla="*/ 355 w 10000"/>
              <a:gd name="connsiteY131" fmla="*/ 8062 h 10000"/>
              <a:gd name="connsiteX132" fmla="*/ 490 w 10000"/>
              <a:gd name="connsiteY132" fmla="*/ 8062 h 10000"/>
              <a:gd name="connsiteX133" fmla="*/ 534 w 10000"/>
              <a:gd name="connsiteY133" fmla="*/ 8140 h 10000"/>
              <a:gd name="connsiteX134" fmla="*/ 490 w 10000"/>
              <a:gd name="connsiteY134" fmla="*/ 8140 h 10000"/>
              <a:gd name="connsiteX135" fmla="*/ 534 w 10000"/>
              <a:gd name="connsiteY135" fmla="*/ 8217 h 10000"/>
              <a:gd name="connsiteX136" fmla="*/ 577 w 10000"/>
              <a:gd name="connsiteY136" fmla="*/ 8217 h 10000"/>
              <a:gd name="connsiteX137" fmla="*/ 621 w 10000"/>
              <a:gd name="connsiteY137" fmla="*/ 8372 h 10000"/>
              <a:gd name="connsiteX138" fmla="*/ 667 w 10000"/>
              <a:gd name="connsiteY138" fmla="*/ 8449 h 10000"/>
              <a:gd name="connsiteX139" fmla="*/ 710 w 10000"/>
              <a:gd name="connsiteY139" fmla="*/ 8372 h 10000"/>
              <a:gd name="connsiteX140" fmla="*/ 934 w 10000"/>
              <a:gd name="connsiteY140" fmla="*/ 8605 h 10000"/>
              <a:gd name="connsiteX141" fmla="*/ 888 w 10000"/>
              <a:gd name="connsiteY141" fmla="*/ 8915 h 10000"/>
              <a:gd name="connsiteX142" fmla="*/ 842 w 10000"/>
              <a:gd name="connsiteY142" fmla="*/ 8838 h 10000"/>
              <a:gd name="connsiteX143" fmla="*/ 799 w 10000"/>
              <a:gd name="connsiteY143" fmla="*/ 8915 h 10000"/>
              <a:gd name="connsiteX144" fmla="*/ 799 w 10000"/>
              <a:gd name="connsiteY144" fmla="*/ 9070 h 10000"/>
              <a:gd name="connsiteX145" fmla="*/ 842 w 10000"/>
              <a:gd name="connsiteY145" fmla="*/ 8993 h 10000"/>
              <a:gd name="connsiteX146" fmla="*/ 888 w 10000"/>
              <a:gd name="connsiteY146" fmla="*/ 9070 h 10000"/>
              <a:gd name="connsiteX147" fmla="*/ 756 w 10000"/>
              <a:gd name="connsiteY147" fmla="*/ 9147 h 10000"/>
              <a:gd name="connsiteX148" fmla="*/ 799 w 10000"/>
              <a:gd name="connsiteY148" fmla="*/ 9225 h 10000"/>
              <a:gd name="connsiteX149" fmla="*/ 710 w 10000"/>
              <a:gd name="connsiteY149" fmla="*/ 9380 h 10000"/>
              <a:gd name="connsiteX150" fmla="*/ 667 w 10000"/>
              <a:gd name="connsiteY150" fmla="*/ 9380 h 10000"/>
              <a:gd name="connsiteX151" fmla="*/ 710 w 10000"/>
              <a:gd name="connsiteY151" fmla="*/ 9380 h 10000"/>
              <a:gd name="connsiteX152" fmla="*/ 888 w 10000"/>
              <a:gd name="connsiteY152" fmla="*/ 9691 h 10000"/>
              <a:gd name="connsiteX153" fmla="*/ 1112 w 10000"/>
              <a:gd name="connsiteY153" fmla="*/ 9691 h 10000"/>
              <a:gd name="connsiteX154" fmla="*/ 1202 w 10000"/>
              <a:gd name="connsiteY154" fmla="*/ 9768 h 10000"/>
              <a:gd name="connsiteX155" fmla="*/ 1289 w 10000"/>
              <a:gd name="connsiteY155" fmla="*/ 9768 h 10000"/>
              <a:gd name="connsiteX156" fmla="*/ 1379 w 10000"/>
              <a:gd name="connsiteY156" fmla="*/ 9923 h 10000"/>
              <a:gd name="connsiteX157" fmla="*/ 1422 w 10000"/>
              <a:gd name="connsiteY157" fmla="*/ 10000 h 10000"/>
              <a:gd name="connsiteX158" fmla="*/ 1465 w 10000"/>
              <a:gd name="connsiteY158" fmla="*/ 10000 h 10000"/>
              <a:gd name="connsiteX159" fmla="*/ 1512 w 10000"/>
              <a:gd name="connsiteY159" fmla="*/ 9923 h 10000"/>
              <a:gd name="connsiteX160" fmla="*/ 1422 w 10000"/>
              <a:gd name="connsiteY160" fmla="*/ 9768 h 10000"/>
              <a:gd name="connsiteX161" fmla="*/ 1422 w 10000"/>
              <a:gd name="connsiteY161" fmla="*/ 9613 h 10000"/>
              <a:gd name="connsiteX162" fmla="*/ 1379 w 10000"/>
              <a:gd name="connsiteY162" fmla="*/ 9457 h 10000"/>
              <a:gd name="connsiteX163" fmla="*/ 1465 w 10000"/>
              <a:gd name="connsiteY163" fmla="*/ 9225 h 10000"/>
              <a:gd name="connsiteX164" fmla="*/ 1512 w 10000"/>
              <a:gd name="connsiteY164" fmla="*/ 9302 h 10000"/>
              <a:gd name="connsiteX165" fmla="*/ 1556 w 10000"/>
              <a:gd name="connsiteY165" fmla="*/ 9225 h 10000"/>
              <a:gd name="connsiteX166" fmla="*/ 1556 w 10000"/>
              <a:gd name="connsiteY166" fmla="*/ 9147 h 10000"/>
              <a:gd name="connsiteX167" fmla="*/ 1512 w 10000"/>
              <a:gd name="connsiteY167" fmla="*/ 9147 h 10000"/>
              <a:gd name="connsiteX168" fmla="*/ 1556 w 10000"/>
              <a:gd name="connsiteY168" fmla="*/ 9070 h 10000"/>
              <a:gd name="connsiteX169" fmla="*/ 1512 w 10000"/>
              <a:gd name="connsiteY169" fmla="*/ 8915 h 10000"/>
              <a:gd name="connsiteX170" fmla="*/ 1422 w 10000"/>
              <a:gd name="connsiteY170" fmla="*/ 8915 h 10000"/>
              <a:gd name="connsiteX171" fmla="*/ 1379 w 10000"/>
              <a:gd name="connsiteY171" fmla="*/ 8760 h 10000"/>
              <a:gd name="connsiteX172" fmla="*/ 1422 w 10000"/>
              <a:gd name="connsiteY172" fmla="*/ 8372 h 10000"/>
              <a:gd name="connsiteX173" fmla="*/ 1512 w 10000"/>
              <a:gd name="connsiteY173" fmla="*/ 8528 h 10000"/>
              <a:gd name="connsiteX174" fmla="*/ 1556 w 10000"/>
              <a:gd name="connsiteY174" fmla="*/ 8528 h 10000"/>
              <a:gd name="connsiteX175" fmla="*/ 1512 w 10000"/>
              <a:gd name="connsiteY175" fmla="*/ 8372 h 10000"/>
              <a:gd name="connsiteX176" fmla="*/ 1645 w 10000"/>
              <a:gd name="connsiteY176" fmla="*/ 8140 h 10000"/>
              <a:gd name="connsiteX177" fmla="*/ 1735 w 10000"/>
              <a:gd name="connsiteY177" fmla="*/ 8217 h 10000"/>
              <a:gd name="connsiteX178" fmla="*/ 1777 w 10000"/>
              <a:gd name="connsiteY178" fmla="*/ 8140 h 10000"/>
              <a:gd name="connsiteX179" fmla="*/ 1866 w 10000"/>
              <a:gd name="connsiteY179" fmla="*/ 8217 h 10000"/>
              <a:gd name="connsiteX180" fmla="*/ 2001 w 10000"/>
              <a:gd name="connsiteY180" fmla="*/ 8372 h 10000"/>
              <a:gd name="connsiteX181" fmla="*/ 2089 w 10000"/>
              <a:gd name="connsiteY181" fmla="*/ 8295 h 10000"/>
              <a:gd name="connsiteX182" fmla="*/ 2178 w 10000"/>
              <a:gd name="connsiteY182" fmla="*/ 8295 h 10000"/>
              <a:gd name="connsiteX183" fmla="*/ 2222 w 10000"/>
              <a:gd name="connsiteY183" fmla="*/ 8372 h 10000"/>
              <a:gd name="connsiteX184" fmla="*/ 2400 w 10000"/>
              <a:gd name="connsiteY184" fmla="*/ 8372 h 10000"/>
              <a:gd name="connsiteX185" fmla="*/ 2443 w 10000"/>
              <a:gd name="connsiteY185" fmla="*/ 8217 h 10000"/>
              <a:gd name="connsiteX186" fmla="*/ 2310 w 10000"/>
              <a:gd name="connsiteY186" fmla="*/ 8140 h 10000"/>
              <a:gd name="connsiteX187" fmla="*/ 2400 w 10000"/>
              <a:gd name="connsiteY187" fmla="*/ 8062 h 10000"/>
              <a:gd name="connsiteX188" fmla="*/ 2354 w 10000"/>
              <a:gd name="connsiteY188" fmla="*/ 7985 h 10000"/>
              <a:gd name="connsiteX189" fmla="*/ 2400 w 10000"/>
              <a:gd name="connsiteY189" fmla="*/ 7907 h 10000"/>
              <a:gd name="connsiteX190" fmla="*/ 2400 w 10000"/>
              <a:gd name="connsiteY190" fmla="*/ 7675 h 10000"/>
              <a:gd name="connsiteX191" fmla="*/ 2487 w 10000"/>
              <a:gd name="connsiteY191" fmla="*/ 7752 h 10000"/>
              <a:gd name="connsiteX192" fmla="*/ 2889 w 10000"/>
              <a:gd name="connsiteY192" fmla="*/ 7520 h 10000"/>
              <a:gd name="connsiteX193" fmla="*/ 2889 w 10000"/>
              <a:gd name="connsiteY193" fmla="*/ 7442 h 10000"/>
              <a:gd name="connsiteX194" fmla="*/ 2932 w 10000"/>
              <a:gd name="connsiteY194" fmla="*/ 7442 h 10000"/>
              <a:gd name="connsiteX195" fmla="*/ 3065 w 10000"/>
              <a:gd name="connsiteY195" fmla="*/ 7442 h 10000"/>
              <a:gd name="connsiteX196" fmla="*/ 3110 w 10000"/>
              <a:gd name="connsiteY196" fmla="*/ 7598 h 10000"/>
              <a:gd name="connsiteX197" fmla="*/ 3110 w 10000"/>
              <a:gd name="connsiteY197" fmla="*/ 7675 h 10000"/>
              <a:gd name="connsiteX198" fmla="*/ 3155 w 10000"/>
              <a:gd name="connsiteY198" fmla="*/ 7675 h 10000"/>
              <a:gd name="connsiteX199" fmla="*/ 3243 w 10000"/>
              <a:gd name="connsiteY199" fmla="*/ 7752 h 10000"/>
              <a:gd name="connsiteX200" fmla="*/ 3243 w 10000"/>
              <a:gd name="connsiteY200" fmla="*/ 7830 h 10000"/>
              <a:gd name="connsiteX201" fmla="*/ 3333 w 10000"/>
              <a:gd name="connsiteY201" fmla="*/ 7830 h 10000"/>
              <a:gd name="connsiteX202" fmla="*/ 3422 w 10000"/>
              <a:gd name="connsiteY202" fmla="*/ 7675 h 10000"/>
              <a:gd name="connsiteX203" fmla="*/ 3511 w 10000"/>
              <a:gd name="connsiteY203" fmla="*/ 7598 h 10000"/>
              <a:gd name="connsiteX204" fmla="*/ 3556 w 10000"/>
              <a:gd name="connsiteY204" fmla="*/ 7830 h 10000"/>
              <a:gd name="connsiteX205" fmla="*/ 3733 w 10000"/>
              <a:gd name="connsiteY205" fmla="*/ 8372 h 10000"/>
              <a:gd name="connsiteX206" fmla="*/ 3777 w 10000"/>
              <a:gd name="connsiteY206" fmla="*/ 8217 h 10000"/>
              <a:gd name="connsiteX207" fmla="*/ 3823 w 10000"/>
              <a:gd name="connsiteY207" fmla="*/ 8372 h 10000"/>
              <a:gd name="connsiteX208" fmla="*/ 3956 w 10000"/>
              <a:gd name="connsiteY208" fmla="*/ 8295 h 10000"/>
              <a:gd name="connsiteX209" fmla="*/ 4090 w 10000"/>
              <a:gd name="connsiteY209" fmla="*/ 8528 h 10000"/>
              <a:gd name="connsiteX210" fmla="*/ 4177 w 10000"/>
              <a:gd name="connsiteY210" fmla="*/ 8605 h 10000"/>
              <a:gd name="connsiteX211" fmla="*/ 4177 w 10000"/>
              <a:gd name="connsiteY211" fmla="*/ 8528 h 10000"/>
              <a:gd name="connsiteX212" fmla="*/ 4221 w 10000"/>
              <a:gd name="connsiteY212" fmla="*/ 8683 h 10000"/>
              <a:gd name="connsiteX213" fmla="*/ 4177 w 10000"/>
              <a:gd name="connsiteY213" fmla="*/ 8760 h 10000"/>
              <a:gd name="connsiteX214" fmla="*/ 4267 w 10000"/>
              <a:gd name="connsiteY214" fmla="*/ 8683 h 10000"/>
              <a:gd name="connsiteX215" fmla="*/ 4309 w 10000"/>
              <a:gd name="connsiteY215" fmla="*/ 8605 h 10000"/>
              <a:gd name="connsiteX216" fmla="*/ 4533 w 10000"/>
              <a:gd name="connsiteY216" fmla="*/ 8372 h 10000"/>
              <a:gd name="connsiteX217" fmla="*/ 4710 w 10000"/>
              <a:gd name="connsiteY217" fmla="*/ 8449 h 10000"/>
              <a:gd name="connsiteX218" fmla="*/ 4798 w 10000"/>
              <a:gd name="connsiteY218" fmla="*/ 8528 h 10000"/>
              <a:gd name="connsiteX219" fmla="*/ 4975 w 10000"/>
              <a:gd name="connsiteY219" fmla="*/ 8528 h 10000"/>
              <a:gd name="connsiteX220" fmla="*/ 4975 w 10000"/>
              <a:gd name="connsiteY220" fmla="*/ 8372 h 10000"/>
              <a:gd name="connsiteX221" fmla="*/ 4975 w 10000"/>
              <a:gd name="connsiteY221" fmla="*/ 8217 h 10000"/>
              <a:gd name="connsiteX222" fmla="*/ 5065 w 10000"/>
              <a:gd name="connsiteY222" fmla="*/ 8140 h 10000"/>
              <a:gd name="connsiteX223" fmla="*/ 5243 w 10000"/>
              <a:gd name="connsiteY223" fmla="*/ 8217 h 10000"/>
              <a:gd name="connsiteX224" fmla="*/ 5331 w 10000"/>
              <a:gd name="connsiteY224" fmla="*/ 8449 h 10000"/>
              <a:gd name="connsiteX225" fmla="*/ 5378 w 10000"/>
              <a:gd name="connsiteY225" fmla="*/ 8449 h 10000"/>
              <a:gd name="connsiteX226" fmla="*/ 5466 w 10000"/>
              <a:gd name="connsiteY226" fmla="*/ 8372 h 10000"/>
              <a:gd name="connsiteX227" fmla="*/ 5735 w 10000"/>
              <a:gd name="connsiteY227" fmla="*/ 8605 h 10000"/>
              <a:gd name="connsiteX228" fmla="*/ 5867 w 10000"/>
              <a:gd name="connsiteY228" fmla="*/ 8683 h 10000"/>
              <a:gd name="connsiteX229" fmla="*/ 6044 w 10000"/>
              <a:gd name="connsiteY229" fmla="*/ 8605 h 10000"/>
              <a:gd name="connsiteX230" fmla="*/ 6132 w 10000"/>
              <a:gd name="connsiteY230" fmla="*/ 8449 h 10000"/>
              <a:gd name="connsiteX231" fmla="*/ 6265 w 10000"/>
              <a:gd name="connsiteY231" fmla="*/ 8528 h 10000"/>
              <a:gd name="connsiteX232" fmla="*/ 6354 w 10000"/>
              <a:gd name="connsiteY232" fmla="*/ 8605 h 10000"/>
              <a:gd name="connsiteX233" fmla="*/ 7865 w 10000"/>
              <a:gd name="connsiteY233" fmla="*/ 7675 h 10000"/>
              <a:gd name="connsiteX234" fmla="*/ 7778 w 10000"/>
              <a:gd name="connsiteY234" fmla="*/ 7675 h 10000"/>
              <a:gd name="connsiteX235" fmla="*/ 7733 w 10000"/>
              <a:gd name="connsiteY235" fmla="*/ 7675 h 10000"/>
              <a:gd name="connsiteX236" fmla="*/ 7687 w 10000"/>
              <a:gd name="connsiteY236" fmla="*/ 7598 h 10000"/>
              <a:gd name="connsiteX237" fmla="*/ 7600 w 10000"/>
              <a:gd name="connsiteY237" fmla="*/ 7598 h 10000"/>
              <a:gd name="connsiteX238" fmla="*/ 7600 w 10000"/>
              <a:gd name="connsiteY238" fmla="*/ 7520 h 10000"/>
              <a:gd name="connsiteX239" fmla="*/ 7733 w 10000"/>
              <a:gd name="connsiteY239" fmla="*/ 7287 h 10000"/>
              <a:gd name="connsiteX240" fmla="*/ 8135 w 10000"/>
              <a:gd name="connsiteY240" fmla="*/ 6590 h 10000"/>
              <a:gd name="connsiteX241" fmla="*/ 8310 w 10000"/>
              <a:gd name="connsiteY241" fmla="*/ 6512 h 10000"/>
              <a:gd name="connsiteX242" fmla="*/ 8353 w 10000"/>
              <a:gd name="connsiteY242" fmla="*/ 6590 h 10000"/>
              <a:gd name="connsiteX243" fmla="*/ 8401 w 10000"/>
              <a:gd name="connsiteY243" fmla="*/ 6512 h 10000"/>
              <a:gd name="connsiteX244" fmla="*/ 8530 w 10000"/>
              <a:gd name="connsiteY244" fmla="*/ 6590 h 10000"/>
              <a:gd name="connsiteX245" fmla="*/ 8579 w 10000"/>
              <a:gd name="connsiteY245" fmla="*/ 6434 h 10000"/>
              <a:gd name="connsiteX246" fmla="*/ 8709 w 10000"/>
              <a:gd name="connsiteY246" fmla="*/ 6512 h 10000"/>
              <a:gd name="connsiteX247" fmla="*/ 8754 w 10000"/>
              <a:gd name="connsiteY247" fmla="*/ 6512 h 10000"/>
              <a:gd name="connsiteX248" fmla="*/ 8709 w 10000"/>
              <a:gd name="connsiteY248" fmla="*/ 6590 h 10000"/>
              <a:gd name="connsiteX249" fmla="*/ 8709 w 10000"/>
              <a:gd name="connsiteY249" fmla="*/ 6667 h 10000"/>
              <a:gd name="connsiteX250" fmla="*/ 8976 w 10000"/>
              <a:gd name="connsiteY250" fmla="*/ 6590 h 10000"/>
              <a:gd name="connsiteX251" fmla="*/ 8932 w 10000"/>
              <a:gd name="connsiteY251" fmla="*/ 6512 h 10000"/>
              <a:gd name="connsiteX252" fmla="*/ 9111 w 10000"/>
              <a:gd name="connsiteY252" fmla="*/ 5969 h 10000"/>
              <a:gd name="connsiteX253" fmla="*/ 9330 w 10000"/>
              <a:gd name="connsiteY253" fmla="*/ 5892 h 10000"/>
              <a:gd name="connsiteX254" fmla="*/ 9330 w 10000"/>
              <a:gd name="connsiteY254" fmla="*/ 6047 h 10000"/>
              <a:gd name="connsiteX255" fmla="*/ 9330 w 10000"/>
              <a:gd name="connsiteY255" fmla="*/ 6202 h 10000"/>
              <a:gd name="connsiteX256" fmla="*/ 9553 w 10000"/>
              <a:gd name="connsiteY256" fmla="*/ 5969 h 10000"/>
              <a:gd name="connsiteX257" fmla="*/ 9553 w 10000"/>
              <a:gd name="connsiteY257" fmla="*/ 5737 h 10000"/>
              <a:gd name="connsiteX258" fmla="*/ 9643 w 10000"/>
              <a:gd name="connsiteY258" fmla="*/ 5737 h 10000"/>
              <a:gd name="connsiteX259" fmla="*/ 9595 w 10000"/>
              <a:gd name="connsiteY259" fmla="*/ 5814 h 10000"/>
              <a:gd name="connsiteX260" fmla="*/ 9553 w 10000"/>
              <a:gd name="connsiteY260" fmla="*/ 6202 h 10000"/>
              <a:gd name="connsiteX261" fmla="*/ 9465 w 10000"/>
              <a:gd name="connsiteY261" fmla="*/ 6279 h 10000"/>
              <a:gd name="connsiteX262" fmla="*/ 9553 w 10000"/>
              <a:gd name="connsiteY262" fmla="*/ 6590 h 10000"/>
              <a:gd name="connsiteX263" fmla="*/ 9553 w 10000"/>
              <a:gd name="connsiteY263" fmla="*/ 6434 h 10000"/>
              <a:gd name="connsiteX264" fmla="*/ 9643 w 10000"/>
              <a:gd name="connsiteY264" fmla="*/ 6434 h 10000"/>
              <a:gd name="connsiteX265" fmla="*/ 9777 w 10000"/>
              <a:gd name="connsiteY265" fmla="*/ 6279 h 10000"/>
              <a:gd name="connsiteX266" fmla="*/ 9777 w 10000"/>
              <a:gd name="connsiteY266" fmla="*/ 6434 h 10000"/>
              <a:gd name="connsiteX267" fmla="*/ 9820 w 10000"/>
              <a:gd name="connsiteY267" fmla="*/ 6356 h 10000"/>
              <a:gd name="connsiteX268" fmla="*/ 10000 w 10000"/>
              <a:gd name="connsiteY268" fmla="*/ 3876 h 10000"/>
              <a:gd name="connsiteX269" fmla="*/ 9909 w 10000"/>
              <a:gd name="connsiteY269" fmla="*/ 3721 h 10000"/>
              <a:gd name="connsiteX270" fmla="*/ 9957 w 10000"/>
              <a:gd name="connsiteY270" fmla="*/ 3566 h 10000"/>
              <a:gd name="connsiteX271" fmla="*/ 10000 w 10000"/>
              <a:gd name="connsiteY271" fmla="*/ 3488 h 10000"/>
              <a:gd name="connsiteX272" fmla="*/ 9820 w 10000"/>
              <a:gd name="connsiteY272" fmla="*/ 3644 h 10000"/>
              <a:gd name="connsiteX273" fmla="*/ 9595 w 10000"/>
              <a:gd name="connsiteY273" fmla="*/ 3566 h 10000"/>
              <a:gd name="connsiteX274" fmla="*/ 9378 w 10000"/>
              <a:gd name="connsiteY274" fmla="*/ 3566 h 10000"/>
              <a:gd name="connsiteX275" fmla="*/ 9287 w 10000"/>
              <a:gd name="connsiteY275" fmla="*/ 3488 h 10000"/>
              <a:gd name="connsiteX276" fmla="*/ 9330 w 10000"/>
              <a:gd name="connsiteY276" fmla="*/ 3333 h 10000"/>
              <a:gd name="connsiteX277" fmla="*/ 9241 w 10000"/>
              <a:gd name="connsiteY277" fmla="*/ 3101 h 10000"/>
              <a:gd name="connsiteX278" fmla="*/ 9063 w 10000"/>
              <a:gd name="connsiteY278" fmla="*/ 3023 h 10000"/>
              <a:gd name="connsiteX279" fmla="*/ 8800 w 10000"/>
              <a:gd name="connsiteY279" fmla="*/ 3178 h 10000"/>
              <a:gd name="connsiteX280" fmla="*/ 8754 w 10000"/>
              <a:gd name="connsiteY280" fmla="*/ 2946 h 10000"/>
              <a:gd name="connsiteX281" fmla="*/ 8666 w 10000"/>
              <a:gd name="connsiteY281" fmla="*/ 2946 h 10000"/>
              <a:gd name="connsiteX282" fmla="*/ 8621 w 10000"/>
              <a:gd name="connsiteY282" fmla="*/ 2868 h 10000"/>
              <a:gd name="connsiteX283" fmla="*/ 8621 w 10000"/>
              <a:gd name="connsiteY283" fmla="*/ 2636 h 10000"/>
              <a:gd name="connsiteX284" fmla="*/ 8310 w 10000"/>
              <a:gd name="connsiteY284" fmla="*/ 2480 h 10000"/>
              <a:gd name="connsiteX285" fmla="*/ 7955 w 10000"/>
              <a:gd name="connsiteY285" fmla="*/ 2325 h 10000"/>
              <a:gd name="connsiteX286" fmla="*/ 7865 w 10000"/>
              <a:gd name="connsiteY286" fmla="*/ 2636 h 10000"/>
              <a:gd name="connsiteX287" fmla="*/ 7955 w 10000"/>
              <a:gd name="connsiteY287" fmla="*/ 2868 h 10000"/>
              <a:gd name="connsiteX288" fmla="*/ 7687 w 10000"/>
              <a:gd name="connsiteY288" fmla="*/ 2868 h 10000"/>
              <a:gd name="connsiteX289" fmla="*/ 7642 w 10000"/>
              <a:gd name="connsiteY289" fmla="*/ 2868 h 10000"/>
              <a:gd name="connsiteX290" fmla="*/ 7554 w 10000"/>
              <a:gd name="connsiteY290" fmla="*/ 2946 h 10000"/>
              <a:gd name="connsiteX291" fmla="*/ 7421 w 10000"/>
              <a:gd name="connsiteY291" fmla="*/ 2714 h 10000"/>
              <a:gd name="connsiteX292" fmla="*/ 7331 w 10000"/>
              <a:gd name="connsiteY292" fmla="*/ 3178 h 10000"/>
              <a:gd name="connsiteX293" fmla="*/ 7245 w 10000"/>
              <a:gd name="connsiteY293" fmla="*/ 3101 h 10000"/>
              <a:gd name="connsiteX294" fmla="*/ 7154 w 10000"/>
              <a:gd name="connsiteY294" fmla="*/ 2791 h 10000"/>
              <a:gd name="connsiteX295" fmla="*/ 7200 w 10000"/>
              <a:gd name="connsiteY295" fmla="*/ 2403 h 10000"/>
              <a:gd name="connsiteX296" fmla="*/ 7111 w 10000"/>
              <a:gd name="connsiteY296" fmla="*/ 2170 h 10000"/>
              <a:gd name="connsiteX297" fmla="*/ 6843 w 10000"/>
              <a:gd name="connsiteY297" fmla="*/ 2016 h 10000"/>
              <a:gd name="connsiteX298" fmla="*/ 6753 w 10000"/>
              <a:gd name="connsiteY298" fmla="*/ 2016 h 10000"/>
              <a:gd name="connsiteX299" fmla="*/ 6710 w 10000"/>
              <a:gd name="connsiteY299" fmla="*/ 2170 h 10000"/>
              <a:gd name="connsiteX300" fmla="*/ 6753 w 10000"/>
              <a:gd name="connsiteY300" fmla="*/ 2325 h 10000"/>
              <a:gd name="connsiteX301" fmla="*/ 6402 w 10000"/>
              <a:gd name="connsiteY301" fmla="*/ 2248 h 10000"/>
              <a:gd name="connsiteX302" fmla="*/ 6443 w 10000"/>
              <a:gd name="connsiteY302" fmla="*/ 2016 h 10000"/>
              <a:gd name="connsiteX303" fmla="*/ 6223 w 10000"/>
              <a:gd name="connsiteY303" fmla="*/ 1938 h 10000"/>
              <a:gd name="connsiteX304" fmla="*/ 6088 w 10000"/>
              <a:gd name="connsiteY304" fmla="*/ 2093 h 10000"/>
              <a:gd name="connsiteX305" fmla="*/ 5826 w 10000"/>
              <a:gd name="connsiteY305" fmla="*/ 1861 h 10000"/>
              <a:gd name="connsiteX0" fmla="*/ 5826 w 10001"/>
              <a:gd name="connsiteY0" fmla="*/ 1861 h 10000"/>
              <a:gd name="connsiteX1" fmla="*/ 5826 w 10001"/>
              <a:gd name="connsiteY1" fmla="*/ 1861 h 10000"/>
              <a:gd name="connsiteX2" fmla="*/ 5777 w 10001"/>
              <a:gd name="connsiteY2" fmla="*/ 1938 h 10000"/>
              <a:gd name="connsiteX3" fmla="*/ 5826 w 10001"/>
              <a:gd name="connsiteY3" fmla="*/ 2093 h 10000"/>
              <a:gd name="connsiteX4" fmla="*/ 5643 w 10001"/>
              <a:gd name="connsiteY4" fmla="*/ 2248 h 10000"/>
              <a:gd name="connsiteX5" fmla="*/ 5597 w 10001"/>
              <a:gd name="connsiteY5" fmla="*/ 2248 h 10000"/>
              <a:gd name="connsiteX6" fmla="*/ 5643 w 10001"/>
              <a:gd name="connsiteY6" fmla="*/ 2016 h 10000"/>
              <a:gd name="connsiteX7" fmla="*/ 6088 w 10001"/>
              <a:gd name="connsiteY7" fmla="*/ 1318 h 10000"/>
              <a:gd name="connsiteX8" fmla="*/ 6088 w 10001"/>
              <a:gd name="connsiteY8" fmla="*/ 853 h 10000"/>
              <a:gd name="connsiteX9" fmla="*/ 5911 w 10001"/>
              <a:gd name="connsiteY9" fmla="*/ 543 h 10000"/>
              <a:gd name="connsiteX10" fmla="*/ 5689 w 10001"/>
              <a:gd name="connsiteY10" fmla="*/ 543 h 10000"/>
              <a:gd name="connsiteX11" fmla="*/ 5689 w 10001"/>
              <a:gd name="connsiteY11" fmla="*/ 698 h 10000"/>
              <a:gd name="connsiteX12" fmla="*/ 5553 w 10001"/>
              <a:gd name="connsiteY12" fmla="*/ 698 h 10000"/>
              <a:gd name="connsiteX13" fmla="*/ 5643 w 10001"/>
              <a:gd name="connsiteY13" fmla="*/ 387 h 10000"/>
              <a:gd name="connsiteX14" fmla="*/ 5422 w 10001"/>
              <a:gd name="connsiteY14" fmla="*/ 310 h 10000"/>
              <a:gd name="connsiteX15" fmla="*/ 5553 w 10001"/>
              <a:gd name="connsiteY15" fmla="*/ 155 h 10000"/>
              <a:gd name="connsiteX16" fmla="*/ 5422 w 10001"/>
              <a:gd name="connsiteY16" fmla="*/ 0 h 10000"/>
              <a:gd name="connsiteX17" fmla="*/ 5199 w 10001"/>
              <a:gd name="connsiteY17" fmla="*/ 387 h 10000"/>
              <a:gd name="connsiteX18" fmla="*/ 5199 w 10001"/>
              <a:gd name="connsiteY18" fmla="*/ 698 h 10000"/>
              <a:gd name="connsiteX19" fmla="*/ 5065 w 10001"/>
              <a:gd name="connsiteY19" fmla="*/ 698 h 10000"/>
              <a:gd name="connsiteX20" fmla="*/ 4666 w 10001"/>
              <a:gd name="connsiteY20" fmla="*/ 853 h 10000"/>
              <a:gd name="connsiteX21" fmla="*/ 4309 w 10001"/>
              <a:gd name="connsiteY21" fmla="*/ 1240 h 10000"/>
              <a:gd name="connsiteX22" fmla="*/ 4177 w 10001"/>
              <a:gd name="connsiteY22" fmla="*/ 1551 h 10000"/>
              <a:gd name="connsiteX23" fmla="*/ 4221 w 10001"/>
              <a:gd name="connsiteY23" fmla="*/ 1938 h 10000"/>
              <a:gd name="connsiteX24" fmla="*/ 3733 w 10001"/>
              <a:gd name="connsiteY24" fmla="*/ 2093 h 10000"/>
              <a:gd name="connsiteX25" fmla="*/ 3777 w 10001"/>
              <a:gd name="connsiteY25" fmla="*/ 2559 h 10000"/>
              <a:gd name="connsiteX26" fmla="*/ 3912 w 10001"/>
              <a:gd name="connsiteY26" fmla="*/ 2791 h 10000"/>
              <a:gd name="connsiteX27" fmla="*/ 3823 w 10001"/>
              <a:gd name="connsiteY27" fmla="*/ 2868 h 10000"/>
              <a:gd name="connsiteX28" fmla="*/ 3689 w 10001"/>
              <a:gd name="connsiteY28" fmla="*/ 2559 h 10000"/>
              <a:gd name="connsiteX29" fmla="*/ 3556 w 10001"/>
              <a:gd name="connsiteY29" fmla="*/ 2480 h 10000"/>
              <a:gd name="connsiteX30" fmla="*/ 3511 w 10001"/>
              <a:gd name="connsiteY30" fmla="*/ 2559 h 10000"/>
              <a:gd name="connsiteX31" fmla="*/ 3422 w 10001"/>
              <a:gd name="connsiteY31" fmla="*/ 2403 h 10000"/>
              <a:gd name="connsiteX32" fmla="*/ 3333 w 10001"/>
              <a:gd name="connsiteY32" fmla="*/ 2248 h 10000"/>
              <a:gd name="connsiteX33" fmla="*/ 3333 w 10001"/>
              <a:gd name="connsiteY33" fmla="*/ 2325 h 10000"/>
              <a:gd name="connsiteX34" fmla="*/ 3380 w 10001"/>
              <a:gd name="connsiteY34" fmla="*/ 2559 h 10000"/>
              <a:gd name="connsiteX35" fmla="*/ 3243 w 10001"/>
              <a:gd name="connsiteY35" fmla="*/ 2946 h 10000"/>
              <a:gd name="connsiteX36" fmla="*/ 3333 w 10001"/>
              <a:gd name="connsiteY36" fmla="*/ 3256 h 10000"/>
              <a:gd name="connsiteX37" fmla="*/ 3286 w 10001"/>
              <a:gd name="connsiteY37" fmla="*/ 3566 h 10000"/>
              <a:gd name="connsiteX38" fmla="*/ 3286 w 10001"/>
              <a:gd name="connsiteY38" fmla="*/ 3799 h 10000"/>
              <a:gd name="connsiteX39" fmla="*/ 3422 w 10001"/>
              <a:gd name="connsiteY39" fmla="*/ 3799 h 10000"/>
              <a:gd name="connsiteX40" fmla="*/ 3333 w 10001"/>
              <a:gd name="connsiteY40" fmla="*/ 3876 h 10000"/>
              <a:gd name="connsiteX41" fmla="*/ 3380 w 10001"/>
              <a:gd name="connsiteY41" fmla="*/ 4263 h 10000"/>
              <a:gd name="connsiteX42" fmla="*/ 3110 w 10001"/>
              <a:gd name="connsiteY42" fmla="*/ 4652 h 10000"/>
              <a:gd name="connsiteX43" fmla="*/ 3065 w 10001"/>
              <a:gd name="connsiteY43" fmla="*/ 4574 h 10000"/>
              <a:gd name="connsiteX44" fmla="*/ 3243 w 10001"/>
              <a:gd name="connsiteY44" fmla="*/ 4186 h 10000"/>
              <a:gd name="connsiteX45" fmla="*/ 3286 w 10001"/>
              <a:gd name="connsiteY45" fmla="*/ 3954 h 10000"/>
              <a:gd name="connsiteX46" fmla="*/ 3195 w 10001"/>
              <a:gd name="connsiteY46" fmla="*/ 3799 h 10000"/>
              <a:gd name="connsiteX47" fmla="*/ 3195 w 10001"/>
              <a:gd name="connsiteY47" fmla="*/ 3023 h 10000"/>
              <a:gd name="connsiteX48" fmla="*/ 3155 w 10001"/>
              <a:gd name="connsiteY48" fmla="*/ 2868 h 10000"/>
              <a:gd name="connsiteX49" fmla="*/ 3195 w 10001"/>
              <a:gd name="connsiteY49" fmla="*/ 2403 h 10000"/>
              <a:gd name="connsiteX50" fmla="*/ 3110 w 10001"/>
              <a:gd name="connsiteY50" fmla="*/ 2325 h 10000"/>
              <a:gd name="connsiteX51" fmla="*/ 3155 w 10001"/>
              <a:gd name="connsiteY51" fmla="*/ 2248 h 10000"/>
              <a:gd name="connsiteX52" fmla="*/ 3110 w 10001"/>
              <a:gd name="connsiteY52" fmla="*/ 2093 h 10000"/>
              <a:gd name="connsiteX53" fmla="*/ 3018 w 10001"/>
              <a:gd name="connsiteY53" fmla="*/ 2170 h 10000"/>
              <a:gd name="connsiteX54" fmla="*/ 2799 w 10001"/>
              <a:gd name="connsiteY54" fmla="*/ 3178 h 10000"/>
              <a:gd name="connsiteX55" fmla="*/ 2799 w 10001"/>
              <a:gd name="connsiteY55" fmla="*/ 3566 h 10000"/>
              <a:gd name="connsiteX56" fmla="*/ 2932 w 10001"/>
              <a:gd name="connsiteY56" fmla="*/ 3876 h 10000"/>
              <a:gd name="connsiteX57" fmla="*/ 2932 w 10001"/>
              <a:gd name="connsiteY57" fmla="*/ 4031 h 10000"/>
              <a:gd name="connsiteX58" fmla="*/ 2799 w 10001"/>
              <a:gd name="connsiteY58" fmla="*/ 3876 h 10000"/>
              <a:gd name="connsiteX59" fmla="*/ 2268 w 10001"/>
              <a:gd name="connsiteY59" fmla="*/ 3256 h 10000"/>
              <a:gd name="connsiteX60" fmla="*/ 2222 w 10001"/>
              <a:gd name="connsiteY60" fmla="*/ 3411 h 10000"/>
              <a:gd name="connsiteX61" fmla="*/ 2400 w 10001"/>
              <a:gd name="connsiteY61" fmla="*/ 3799 h 10000"/>
              <a:gd name="connsiteX62" fmla="*/ 2310 w 10001"/>
              <a:gd name="connsiteY62" fmla="*/ 3876 h 10000"/>
              <a:gd name="connsiteX63" fmla="*/ 2268 w 10001"/>
              <a:gd name="connsiteY63" fmla="*/ 3799 h 10000"/>
              <a:gd name="connsiteX64" fmla="*/ 2001 w 10001"/>
              <a:gd name="connsiteY64" fmla="*/ 3954 h 10000"/>
              <a:gd name="connsiteX65" fmla="*/ 1956 w 10001"/>
              <a:gd name="connsiteY65" fmla="*/ 4109 h 10000"/>
              <a:gd name="connsiteX66" fmla="*/ 1911 w 10001"/>
              <a:gd name="connsiteY66" fmla="*/ 3954 h 10000"/>
              <a:gd name="connsiteX67" fmla="*/ 1911 w 10001"/>
              <a:gd name="connsiteY67" fmla="*/ 3799 h 10000"/>
              <a:gd name="connsiteX68" fmla="*/ 1465 w 10001"/>
              <a:gd name="connsiteY68" fmla="*/ 4263 h 10000"/>
              <a:gd name="connsiteX69" fmla="*/ 1465 w 10001"/>
              <a:gd name="connsiteY69" fmla="*/ 4418 h 10000"/>
              <a:gd name="connsiteX70" fmla="*/ 1379 w 10001"/>
              <a:gd name="connsiteY70" fmla="*/ 4496 h 10000"/>
              <a:gd name="connsiteX71" fmla="*/ 1244 w 10001"/>
              <a:gd name="connsiteY71" fmla="*/ 4341 h 10000"/>
              <a:gd name="connsiteX72" fmla="*/ 1379 w 10001"/>
              <a:gd name="connsiteY72" fmla="*/ 4186 h 10000"/>
              <a:gd name="connsiteX73" fmla="*/ 1334 w 10001"/>
              <a:gd name="connsiteY73" fmla="*/ 3954 h 10000"/>
              <a:gd name="connsiteX74" fmla="*/ 1157 w 10001"/>
              <a:gd name="connsiteY74" fmla="*/ 3876 h 10000"/>
              <a:gd name="connsiteX75" fmla="*/ 1202 w 10001"/>
              <a:gd name="connsiteY75" fmla="*/ 4031 h 10000"/>
              <a:gd name="connsiteX76" fmla="*/ 1202 w 10001"/>
              <a:gd name="connsiteY76" fmla="*/ 4418 h 10000"/>
              <a:gd name="connsiteX77" fmla="*/ 1244 w 10001"/>
              <a:gd name="connsiteY77" fmla="*/ 4574 h 10000"/>
              <a:gd name="connsiteX78" fmla="*/ 1202 w 10001"/>
              <a:gd name="connsiteY78" fmla="*/ 4729 h 10000"/>
              <a:gd name="connsiteX79" fmla="*/ 1065 w 10001"/>
              <a:gd name="connsiteY79" fmla="*/ 4652 h 10000"/>
              <a:gd name="connsiteX80" fmla="*/ 888 w 10001"/>
              <a:gd name="connsiteY80" fmla="*/ 4884 h 10000"/>
              <a:gd name="connsiteX81" fmla="*/ 976 w 10001"/>
              <a:gd name="connsiteY81" fmla="*/ 5194 h 10000"/>
              <a:gd name="connsiteX82" fmla="*/ 710 w 10001"/>
              <a:gd name="connsiteY82" fmla="*/ 5039 h 10000"/>
              <a:gd name="connsiteX83" fmla="*/ 667 w 10001"/>
              <a:gd name="connsiteY83" fmla="*/ 5116 h 10000"/>
              <a:gd name="connsiteX84" fmla="*/ 756 w 10001"/>
              <a:gd name="connsiteY84" fmla="*/ 5349 h 10000"/>
              <a:gd name="connsiteX85" fmla="*/ 667 w 10001"/>
              <a:gd name="connsiteY85" fmla="*/ 5349 h 10000"/>
              <a:gd name="connsiteX86" fmla="*/ 534 w 10001"/>
              <a:gd name="connsiteY86" fmla="*/ 5194 h 10000"/>
              <a:gd name="connsiteX87" fmla="*/ 534 w 10001"/>
              <a:gd name="connsiteY87" fmla="*/ 4729 h 10000"/>
              <a:gd name="connsiteX88" fmla="*/ 402 w 10001"/>
              <a:gd name="connsiteY88" fmla="*/ 4574 h 10000"/>
              <a:gd name="connsiteX89" fmla="*/ 355 w 10001"/>
              <a:gd name="connsiteY89" fmla="*/ 4418 h 10000"/>
              <a:gd name="connsiteX90" fmla="*/ 445 w 10001"/>
              <a:gd name="connsiteY90" fmla="*/ 4496 h 10000"/>
              <a:gd name="connsiteX91" fmla="*/ 799 w 10001"/>
              <a:gd name="connsiteY91" fmla="*/ 4729 h 10000"/>
              <a:gd name="connsiteX92" fmla="*/ 1021 w 10001"/>
              <a:gd name="connsiteY92" fmla="*/ 4496 h 10000"/>
              <a:gd name="connsiteX93" fmla="*/ 976 w 10001"/>
              <a:gd name="connsiteY93" fmla="*/ 4263 h 10000"/>
              <a:gd name="connsiteX94" fmla="*/ 710 w 10001"/>
              <a:gd name="connsiteY94" fmla="*/ 3799 h 10000"/>
              <a:gd name="connsiteX95" fmla="*/ 445 w 10001"/>
              <a:gd name="connsiteY95" fmla="*/ 3644 h 10000"/>
              <a:gd name="connsiteX96" fmla="*/ 445 w 10001"/>
              <a:gd name="connsiteY96" fmla="*/ 3566 h 10000"/>
              <a:gd name="connsiteX97" fmla="*/ 355 w 10001"/>
              <a:gd name="connsiteY97" fmla="*/ 3488 h 10000"/>
              <a:gd name="connsiteX98" fmla="*/ 265 w 10001"/>
              <a:gd name="connsiteY98" fmla="*/ 3566 h 10000"/>
              <a:gd name="connsiteX99" fmla="*/ 265 w 10001"/>
              <a:gd name="connsiteY99" fmla="*/ 3644 h 10000"/>
              <a:gd name="connsiteX100" fmla="*/ 223 w 10001"/>
              <a:gd name="connsiteY100" fmla="*/ 3644 h 10000"/>
              <a:gd name="connsiteX101" fmla="*/ 133 w 10001"/>
              <a:gd name="connsiteY101" fmla="*/ 3799 h 10000"/>
              <a:gd name="connsiteX102" fmla="*/ 133 w 10001"/>
              <a:gd name="connsiteY102" fmla="*/ 4031 h 10000"/>
              <a:gd name="connsiteX103" fmla="*/ 223 w 10001"/>
              <a:gd name="connsiteY103" fmla="*/ 4186 h 10000"/>
              <a:gd name="connsiteX104" fmla="*/ 177 w 10001"/>
              <a:gd name="connsiteY104" fmla="*/ 4418 h 10000"/>
              <a:gd name="connsiteX105" fmla="*/ 223 w 10001"/>
              <a:gd name="connsiteY105" fmla="*/ 4807 h 10000"/>
              <a:gd name="connsiteX106" fmla="*/ 177 w 10001"/>
              <a:gd name="connsiteY106" fmla="*/ 5039 h 10000"/>
              <a:gd name="connsiteX107" fmla="*/ 265 w 10001"/>
              <a:gd name="connsiteY107" fmla="*/ 5271 h 10000"/>
              <a:gd name="connsiteX108" fmla="*/ 223 w 10001"/>
              <a:gd name="connsiteY108" fmla="*/ 5426 h 10000"/>
              <a:gd name="connsiteX109" fmla="*/ 310 w 10001"/>
              <a:gd name="connsiteY109" fmla="*/ 5582 h 10000"/>
              <a:gd name="connsiteX110" fmla="*/ 310 w 10001"/>
              <a:gd name="connsiteY110" fmla="*/ 5659 h 10000"/>
              <a:gd name="connsiteX111" fmla="*/ 177 w 10001"/>
              <a:gd name="connsiteY111" fmla="*/ 6047 h 10000"/>
              <a:gd name="connsiteX112" fmla="*/ 42 w 10001"/>
              <a:gd name="connsiteY112" fmla="*/ 6202 h 10000"/>
              <a:gd name="connsiteX113" fmla="*/ 88 w 10001"/>
              <a:gd name="connsiteY113" fmla="*/ 6202 h 10000"/>
              <a:gd name="connsiteX114" fmla="*/ 177 w 10001"/>
              <a:gd name="connsiteY114" fmla="*/ 6356 h 10000"/>
              <a:gd name="connsiteX115" fmla="*/ 88 w 10001"/>
              <a:gd name="connsiteY115" fmla="*/ 6512 h 10000"/>
              <a:gd name="connsiteX116" fmla="*/ 42 w 10001"/>
              <a:gd name="connsiteY116" fmla="*/ 6590 h 10000"/>
              <a:gd name="connsiteX117" fmla="*/ 0 w 10001"/>
              <a:gd name="connsiteY117" fmla="*/ 6590 h 10000"/>
              <a:gd name="connsiteX118" fmla="*/ 42 w 10001"/>
              <a:gd name="connsiteY118" fmla="*/ 6822 h 10000"/>
              <a:gd name="connsiteX119" fmla="*/ 42 w 10001"/>
              <a:gd name="connsiteY119" fmla="*/ 6900 h 10000"/>
              <a:gd name="connsiteX120" fmla="*/ 42 w 10001"/>
              <a:gd name="connsiteY120" fmla="*/ 6977 h 10000"/>
              <a:gd name="connsiteX121" fmla="*/ 42 w 10001"/>
              <a:gd name="connsiteY121" fmla="*/ 7054 h 10000"/>
              <a:gd name="connsiteX122" fmla="*/ 88 w 10001"/>
              <a:gd name="connsiteY122" fmla="*/ 7209 h 10000"/>
              <a:gd name="connsiteX123" fmla="*/ 223 w 10001"/>
              <a:gd name="connsiteY123" fmla="*/ 7287 h 10000"/>
              <a:gd name="connsiteX124" fmla="*/ 265 w 10001"/>
              <a:gd name="connsiteY124" fmla="*/ 7364 h 10000"/>
              <a:gd name="connsiteX125" fmla="*/ 265 w 10001"/>
              <a:gd name="connsiteY125" fmla="*/ 7520 h 10000"/>
              <a:gd name="connsiteX126" fmla="*/ 355 w 10001"/>
              <a:gd name="connsiteY126" fmla="*/ 7752 h 10000"/>
              <a:gd name="connsiteX127" fmla="*/ 402 w 10001"/>
              <a:gd name="connsiteY127" fmla="*/ 7752 h 10000"/>
              <a:gd name="connsiteX128" fmla="*/ 355 w 10001"/>
              <a:gd name="connsiteY128" fmla="*/ 7907 h 10000"/>
              <a:gd name="connsiteX129" fmla="*/ 310 w 10001"/>
              <a:gd name="connsiteY129" fmla="*/ 7830 h 10000"/>
              <a:gd name="connsiteX130" fmla="*/ 310 w 10001"/>
              <a:gd name="connsiteY130" fmla="*/ 7907 h 10000"/>
              <a:gd name="connsiteX131" fmla="*/ 355 w 10001"/>
              <a:gd name="connsiteY131" fmla="*/ 8062 h 10000"/>
              <a:gd name="connsiteX132" fmla="*/ 490 w 10001"/>
              <a:gd name="connsiteY132" fmla="*/ 8062 h 10000"/>
              <a:gd name="connsiteX133" fmla="*/ 534 w 10001"/>
              <a:gd name="connsiteY133" fmla="*/ 8140 h 10000"/>
              <a:gd name="connsiteX134" fmla="*/ 490 w 10001"/>
              <a:gd name="connsiteY134" fmla="*/ 8140 h 10000"/>
              <a:gd name="connsiteX135" fmla="*/ 534 w 10001"/>
              <a:gd name="connsiteY135" fmla="*/ 8217 h 10000"/>
              <a:gd name="connsiteX136" fmla="*/ 577 w 10001"/>
              <a:gd name="connsiteY136" fmla="*/ 8217 h 10000"/>
              <a:gd name="connsiteX137" fmla="*/ 621 w 10001"/>
              <a:gd name="connsiteY137" fmla="*/ 8372 h 10000"/>
              <a:gd name="connsiteX138" fmla="*/ 667 w 10001"/>
              <a:gd name="connsiteY138" fmla="*/ 8449 h 10000"/>
              <a:gd name="connsiteX139" fmla="*/ 710 w 10001"/>
              <a:gd name="connsiteY139" fmla="*/ 8372 h 10000"/>
              <a:gd name="connsiteX140" fmla="*/ 934 w 10001"/>
              <a:gd name="connsiteY140" fmla="*/ 8605 h 10000"/>
              <a:gd name="connsiteX141" fmla="*/ 888 w 10001"/>
              <a:gd name="connsiteY141" fmla="*/ 8915 h 10000"/>
              <a:gd name="connsiteX142" fmla="*/ 842 w 10001"/>
              <a:gd name="connsiteY142" fmla="*/ 8838 h 10000"/>
              <a:gd name="connsiteX143" fmla="*/ 799 w 10001"/>
              <a:gd name="connsiteY143" fmla="*/ 8915 h 10000"/>
              <a:gd name="connsiteX144" fmla="*/ 799 w 10001"/>
              <a:gd name="connsiteY144" fmla="*/ 9070 h 10000"/>
              <a:gd name="connsiteX145" fmla="*/ 842 w 10001"/>
              <a:gd name="connsiteY145" fmla="*/ 8993 h 10000"/>
              <a:gd name="connsiteX146" fmla="*/ 888 w 10001"/>
              <a:gd name="connsiteY146" fmla="*/ 9070 h 10000"/>
              <a:gd name="connsiteX147" fmla="*/ 756 w 10001"/>
              <a:gd name="connsiteY147" fmla="*/ 9147 h 10000"/>
              <a:gd name="connsiteX148" fmla="*/ 799 w 10001"/>
              <a:gd name="connsiteY148" fmla="*/ 9225 h 10000"/>
              <a:gd name="connsiteX149" fmla="*/ 710 w 10001"/>
              <a:gd name="connsiteY149" fmla="*/ 9380 h 10000"/>
              <a:gd name="connsiteX150" fmla="*/ 667 w 10001"/>
              <a:gd name="connsiteY150" fmla="*/ 9380 h 10000"/>
              <a:gd name="connsiteX151" fmla="*/ 710 w 10001"/>
              <a:gd name="connsiteY151" fmla="*/ 9380 h 10000"/>
              <a:gd name="connsiteX152" fmla="*/ 888 w 10001"/>
              <a:gd name="connsiteY152" fmla="*/ 9691 h 10000"/>
              <a:gd name="connsiteX153" fmla="*/ 1112 w 10001"/>
              <a:gd name="connsiteY153" fmla="*/ 9691 h 10000"/>
              <a:gd name="connsiteX154" fmla="*/ 1202 w 10001"/>
              <a:gd name="connsiteY154" fmla="*/ 9768 h 10000"/>
              <a:gd name="connsiteX155" fmla="*/ 1289 w 10001"/>
              <a:gd name="connsiteY155" fmla="*/ 9768 h 10000"/>
              <a:gd name="connsiteX156" fmla="*/ 1379 w 10001"/>
              <a:gd name="connsiteY156" fmla="*/ 9923 h 10000"/>
              <a:gd name="connsiteX157" fmla="*/ 1422 w 10001"/>
              <a:gd name="connsiteY157" fmla="*/ 10000 h 10000"/>
              <a:gd name="connsiteX158" fmla="*/ 1465 w 10001"/>
              <a:gd name="connsiteY158" fmla="*/ 10000 h 10000"/>
              <a:gd name="connsiteX159" fmla="*/ 1512 w 10001"/>
              <a:gd name="connsiteY159" fmla="*/ 9923 h 10000"/>
              <a:gd name="connsiteX160" fmla="*/ 1422 w 10001"/>
              <a:gd name="connsiteY160" fmla="*/ 9768 h 10000"/>
              <a:gd name="connsiteX161" fmla="*/ 1422 w 10001"/>
              <a:gd name="connsiteY161" fmla="*/ 9613 h 10000"/>
              <a:gd name="connsiteX162" fmla="*/ 1379 w 10001"/>
              <a:gd name="connsiteY162" fmla="*/ 9457 h 10000"/>
              <a:gd name="connsiteX163" fmla="*/ 1465 w 10001"/>
              <a:gd name="connsiteY163" fmla="*/ 9225 h 10000"/>
              <a:gd name="connsiteX164" fmla="*/ 1512 w 10001"/>
              <a:gd name="connsiteY164" fmla="*/ 9302 h 10000"/>
              <a:gd name="connsiteX165" fmla="*/ 1556 w 10001"/>
              <a:gd name="connsiteY165" fmla="*/ 9225 h 10000"/>
              <a:gd name="connsiteX166" fmla="*/ 1556 w 10001"/>
              <a:gd name="connsiteY166" fmla="*/ 9147 h 10000"/>
              <a:gd name="connsiteX167" fmla="*/ 1512 w 10001"/>
              <a:gd name="connsiteY167" fmla="*/ 9147 h 10000"/>
              <a:gd name="connsiteX168" fmla="*/ 1556 w 10001"/>
              <a:gd name="connsiteY168" fmla="*/ 9070 h 10000"/>
              <a:gd name="connsiteX169" fmla="*/ 1512 w 10001"/>
              <a:gd name="connsiteY169" fmla="*/ 8915 h 10000"/>
              <a:gd name="connsiteX170" fmla="*/ 1422 w 10001"/>
              <a:gd name="connsiteY170" fmla="*/ 8915 h 10000"/>
              <a:gd name="connsiteX171" fmla="*/ 1379 w 10001"/>
              <a:gd name="connsiteY171" fmla="*/ 8760 h 10000"/>
              <a:gd name="connsiteX172" fmla="*/ 1422 w 10001"/>
              <a:gd name="connsiteY172" fmla="*/ 8372 h 10000"/>
              <a:gd name="connsiteX173" fmla="*/ 1512 w 10001"/>
              <a:gd name="connsiteY173" fmla="*/ 8528 h 10000"/>
              <a:gd name="connsiteX174" fmla="*/ 1556 w 10001"/>
              <a:gd name="connsiteY174" fmla="*/ 8528 h 10000"/>
              <a:gd name="connsiteX175" fmla="*/ 1512 w 10001"/>
              <a:gd name="connsiteY175" fmla="*/ 8372 h 10000"/>
              <a:gd name="connsiteX176" fmla="*/ 1645 w 10001"/>
              <a:gd name="connsiteY176" fmla="*/ 8140 h 10000"/>
              <a:gd name="connsiteX177" fmla="*/ 1735 w 10001"/>
              <a:gd name="connsiteY177" fmla="*/ 8217 h 10000"/>
              <a:gd name="connsiteX178" fmla="*/ 1777 w 10001"/>
              <a:gd name="connsiteY178" fmla="*/ 8140 h 10000"/>
              <a:gd name="connsiteX179" fmla="*/ 1866 w 10001"/>
              <a:gd name="connsiteY179" fmla="*/ 8217 h 10000"/>
              <a:gd name="connsiteX180" fmla="*/ 2001 w 10001"/>
              <a:gd name="connsiteY180" fmla="*/ 8372 h 10000"/>
              <a:gd name="connsiteX181" fmla="*/ 2089 w 10001"/>
              <a:gd name="connsiteY181" fmla="*/ 8295 h 10000"/>
              <a:gd name="connsiteX182" fmla="*/ 2178 w 10001"/>
              <a:gd name="connsiteY182" fmla="*/ 8295 h 10000"/>
              <a:gd name="connsiteX183" fmla="*/ 2222 w 10001"/>
              <a:gd name="connsiteY183" fmla="*/ 8372 h 10000"/>
              <a:gd name="connsiteX184" fmla="*/ 2400 w 10001"/>
              <a:gd name="connsiteY184" fmla="*/ 8372 h 10000"/>
              <a:gd name="connsiteX185" fmla="*/ 2443 w 10001"/>
              <a:gd name="connsiteY185" fmla="*/ 8217 h 10000"/>
              <a:gd name="connsiteX186" fmla="*/ 2310 w 10001"/>
              <a:gd name="connsiteY186" fmla="*/ 8140 h 10000"/>
              <a:gd name="connsiteX187" fmla="*/ 2400 w 10001"/>
              <a:gd name="connsiteY187" fmla="*/ 8062 h 10000"/>
              <a:gd name="connsiteX188" fmla="*/ 2354 w 10001"/>
              <a:gd name="connsiteY188" fmla="*/ 7985 h 10000"/>
              <a:gd name="connsiteX189" fmla="*/ 2400 w 10001"/>
              <a:gd name="connsiteY189" fmla="*/ 7907 h 10000"/>
              <a:gd name="connsiteX190" fmla="*/ 2400 w 10001"/>
              <a:gd name="connsiteY190" fmla="*/ 7675 h 10000"/>
              <a:gd name="connsiteX191" fmla="*/ 2487 w 10001"/>
              <a:gd name="connsiteY191" fmla="*/ 7752 h 10000"/>
              <a:gd name="connsiteX192" fmla="*/ 2889 w 10001"/>
              <a:gd name="connsiteY192" fmla="*/ 7520 h 10000"/>
              <a:gd name="connsiteX193" fmla="*/ 2889 w 10001"/>
              <a:gd name="connsiteY193" fmla="*/ 7442 h 10000"/>
              <a:gd name="connsiteX194" fmla="*/ 2932 w 10001"/>
              <a:gd name="connsiteY194" fmla="*/ 7442 h 10000"/>
              <a:gd name="connsiteX195" fmla="*/ 3065 w 10001"/>
              <a:gd name="connsiteY195" fmla="*/ 7442 h 10000"/>
              <a:gd name="connsiteX196" fmla="*/ 3110 w 10001"/>
              <a:gd name="connsiteY196" fmla="*/ 7598 h 10000"/>
              <a:gd name="connsiteX197" fmla="*/ 3110 w 10001"/>
              <a:gd name="connsiteY197" fmla="*/ 7675 h 10000"/>
              <a:gd name="connsiteX198" fmla="*/ 3155 w 10001"/>
              <a:gd name="connsiteY198" fmla="*/ 7675 h 10000"/>
              <a:gd name="connsiteX199" fmla="*/ 3243 w 10001"/>
              <a:gd name="connsiteY199" fmla="*/ 7752 h 10000"/>
              <a:gd name="connsiteX200" fmla="*/ 3243 w 10001"/>
              <a:gd name="connsiteY200" fmla="*/ 7830 h 10000"/>
              <a:gd name="connsiteX201" fmla="*/ 3333 w 10001"/>
              <a:gd name="connsiteY201" fmla="*/ 7830 h 10000"/>
              <a:gd name="connsiteX202" fmla="*/ 3422 w 10001"/>
              <a:gd name="connsiteY202" fmla="*/ 7675 h 10000"/>
              <a:gd name="connsiteX203" fmla="*/ 3511 w 10001"/>
              <a:gd name="connsiteY203" fmla="*/ 7598 h 10000"/>
              <a:gd name="connsiteX204" fmla="*/ 3556 w 10001"/>
              <a:gd name="connsiteY204" fmla="*/ 7830 h 10000"/>
              <a:gd name="connsiteX205" fmla="*/ 3733 w 10001"/>
              <a:gd name="connsiteY205" fmla="*/ 8372 h 10000"/>
              <a:gd name="connsiteX206" fmla="*/ 3777 w 10001"/>
              <a:gd name="connsiteY206" fmla="*/ 8217 h 10000"/>
              <a:gd name="connsiteX207" fmla="*/ 3823 w 10001"/>
              <a:gd name="connsiteY207" fmla="*/ 8372 h 10000"/>
              <a:gd name="connsiteX208" fmla="*/ 3956 w 10001"/>
              <a:gd name="connsiteY208" fmla="*/ 8295 h 10000"/>
              <a:gd name="connsiteX209" fmla="*/ 4090 w 10001"/>
              <a:gd name="connsiteY209" fmla="*/ 8528 h 10000"/>
              <a:gd name="connsiteX210" fmla="*/ 4177 w 10001"/>
              <a:gd name="connsiteY210" fmla="*/ 8605 h 10000"/>
              <a:gd name="connsiteX211" fmla="*/ 4177 w 10001"/>
              <a:gd name="connsiteY211" fmla="*/ 8528 h 10000"/>
              <a:gd name="connsiteX212" fmla="*/ 4221 w 10001"/>
              <a:gd name="connsiteY212" fmla="*/ 8683 h 10000"/>
              <a:gd name="connsiteX213" fmla="*/ 4177 w 10001"/>
              <a:gd name="connsiteY213" fmla="*/ 8760 h 10000"/>
              <a:gd name="connsiteX214" fmla="*/ 4267 w 10001"/>
              <a:gd name="connsiteY214" fmla="*/ 8683 h 10000"/>
              <a:gd name="connsiteX215" fmla="*/ 4309 w 10001"/>
              <a:gd name="connsiteY215" fmla="*/ 8605 h 10000"/>
              <a:gd name="connsiteX216" fmla="*/ 4533 w 10001"/>
              <a:gd name="connsiteY216" fmla="*/ 8372 h 10000"/>
              <a:gd name="connsiteX217" fmla="*/ 4710 w 10001"/>
              <a:gd name="connsiteY217" fmla="*/ 8449 h 10000"/>
              <a:gd name="connsiteX218" fmla="*/ 4798 w 10001"/>
              <a:gd name="connsiteY218" fmla="*/ 8528 h 10000"/>
              <a:gd name="connsiteX219" fmla="*/ 4975 w 10001"/>
              <a:gd name="connsiteY219" fmla="*/ 8528 h 10000"/>
              <a:gd name="connsiteX220" fmla="*/ 4975 w 10001"/>
              <a:gd name="connsiteY220" fmla="*/ 8372 h 10000"/>
              <a:gd name="connsiteX221" fmla="*/ 4975 w 10001"/>
              <a:gd name="connsiteY221" fmla="*/ 8217 h 10000"/>
              <a:gd name="connsiteX222" fmla="*/ 5065 w 10001"/>
              <a:gd name="connsiteY222" fmla="*/ 8140 h 10000"/>
              <a:gd name="connsiteX223" fmla="*/ 5243 w 10001"/>
              <a:gd name="connsiteY223" fmla="*/ 8217 h 10000"/>
              <a:gd name="connsiteX224" fmla="*/ 5331 w 10001"/>
              <a:gd name="connsiteY224" fmla="*/ 8449 h 10000"/>
              <a:gd name="connsiteX225" fmla="*/ 5378 w 10001"/>
              <a:gd name="connsiteY225" fmla="*/ 8449 h 10000"/>
              <a:gd name="connsiteX226" fmla="*/ 5466 w 10001"/>
              <a:gd name="connsiteY226" fmla="*/ 8372 h 10000"/>
              <a:gd name="connsiteX227" fmla="*/ 5735 w 10001"/>
              <a:gd name="connsiteY227" fmla="*/ 8605 h 10000"/>
              <a:gd name="connsiteX228" fmla="*/ 5867 w 10001"/>
              <a:gd name="connsiteY228" fmla="*/ 8683 h 10000"/>
              <a:gd name="connsiteX229" fmla="*/ 6044 w 10001"/>
              <a:gd name="connsiteY229" fmla="*/ 8605 h 10000"/>
              <a:gd name="connsiteX230" fmla="*/ 6132 w 10001"/>
              <a:gd name="connsiteY230" fmla="*/ 8449 h 10000"/>
              <a:gd name="connsiteX231" fmla="*/ 6265 w 10001"/>
              <a:gd name="connsiteY231" fmla="*/ 8528 h 10000"/>
              <a:gd name="connsiteX232" fmla="*/ 6354 w 10001"/>
              <a:gd name="connsiteY232" fmla="*/ 8605 h 10000"/>
              <a:gd name="connsiteX233" fmla="*/ 7865 w 10001"/>
              <a:gd name="connsiteY233" fmla="*/ 7675 h 10000"/>
              <a:gd name="connsiteX234" fmla="*/ 7778 w 10001"/>
              <a:gd name="connsiteY234" fmla="*/ 7675 h 10000"/>
              <a:gd name="connsiteX235" fmla="*/ 7733 w 10001"/>
              <a:gd name="connsiteY235" fmla="*/ 7675 h 10000"/>
              <a:gd name="connsiteX236" fmla="*/ 7687 w 10001"/>
              <a:gd name="connsiteY236" fmla="*/ 7598 h 10000"/>
              <a:gd name="connsiteX237" fmla="*/ 7600 w 10001"/>
              <a:gd name="connsiteY237" fmla="*/ 7598 h 10000"/>
              <a:gd name="connsiteX238" fmla="*/ 7600 w 10001"/>
              <a:gd name="connsiteY238" fmla="*/ 7520 h 10000"/>
              <a:gd name="connsiteX239" fmla="*/ 7733 w 10001"/>
              <a:gd name="connsiteY239" fmla="*/ 7287 h 10000"/>
              <a:gd name="connsiteX240" fmla="*/ 8135 w 10001"/>
              <a:gd name="connsiteY240" fmla="*/ 6590 h 10000"/>
              <a:gd name="connsiteX241" fmla="*/ 8310 w 10001"/>
              <a:gd name="connsiteY241" fmla="*/ 6512 h 10000"/>
              <a:gd name="connsiteX242" fmla="*/ 8353 w 10001"/>
              <a:gd name="connsiteY242" fmla="*/ 6590 h 10000"/>
              <a:gd name="connsiteX243" fmla="*/ 8401 w 10001"/>
              <a:gd name="connsiteY243" fmla="*/ 6512 h 10000"/>
              <a:gd name="connsiteX244" fmla="*/ 8530 w 10001"/>
              <a:gd name="connsiteY244" fmla="*/ 6590 h 10000"/>
              <a:gd name="connsiteX245" fmla="*/ 8579 w 10001"/>
              <a:gd name="connsiteY245" fmla="*/ 6434 h 10000"/>
              <a:gd name="connsiteX246" fmla="*/ 8709 w 10001"/>
              <a:gd name="connsiteY246" fmla="*/ 6512 h 10000"/>
              <a:gd name="connsiteX247" fmla="*/ 8754 w 10001"/>
              <a:gd name="connsiteY247" fmla="*/ 6512 h 10000"/>
              <a:gd name="connsiteX248" fmla="*/ 8709 w 10001"/>
              <a:gd name="connsiteY248" fmla="*/ 6590 h 10000"/>
              <a:gd name="connsiteX249" fmla="*/ 8709 w 10001"/>
              <a:gd name="connsiteY249" fmla="*/ 6667 h 10000"/>
              <a:gd name="connsiteX250" fmla="*/ 8976 w 10001"/>
              <a:gd name="connsiteY250" fmla="*/ 6590 h 10000"/>
              <a:gd name="connsiteX251" fmla="*/ 8932 w 10001"/>
              <a:gd name="connsiteY251" fmla="*/ 6512 h 10000"/>
              <a:gd name="connsiteX252" fmla="*/ 9111 w 10001"/>
              <a:gd name="connsiteY252" fmla="*/ 5969 h 10000"/>
              <a:gd name="connsiteX253" fmla="*/ 9330 w 10001"/>
              <a:gd name="connsiteY253" fmla="*/ 5892 h 10000"/>
              <a:gd name="connsiteX254" fmla="*/ 9330 w 10001"/>
              <a:gd name="connsiteY254" fmla="*/ 6047 h 10000"/>
              <a:gd name="connsiteX255" fmla="*/ 9330 w 10001"/>
              <a:gd name="connsiteY255" fmla="*/ 6202 h 10000"/>
              <a:gd name="connsiteX256" fmla="*/ 9553 w 10001"/>
              <a:gd name="connsiteY256" fmla="*/ 5969 h 10000"/>
              <a:gd name="connsiteX257" fmla="*/ 9553 w 10001"/>
              <a:gd name="connsiteY257" fmla="*/ 5737 h 10000"/>
              <a:gd name="connsiteX258" fmla="*/ 9643 w 10001"/>
              <a:gd name="connsiteY258" fmla="*/ 5737 h 10000"/>
              <a:gd name="connsiteX259" fmla="*/ 9595 w 10001"/>
              <a:gd name="connsiteY259" fmla="*/ 5814 h 10000"/>
              <a:gd name="connsiteX260" fmla="*/ 9553 w 10001"/>
              <a:gd name="connsiteY260" fmla="*/ 6202 h 10000"/>
              <a:gd name="connsiteX261" fmla="*/ 9465 w 10001"/>
              <a:gd name="connsiteY261" fmla="*/ 6279 h 10000"/>
              <a:gd name="connsiteX262" fmla="*/ 9553 w 10001"/>
              <a:gd name="connsiteY262" fmla="*/ 6590 h 10000"/>
              <a:gd name="connsiteX263" fmla="*/ 9553 w 10001"/>
              <a:gd name="connsiteY263" fmla="*/ 6434 h 10000"/>
              <a:gd name="connsiteX264" fmla="*/ 9643 w 10001"/>
              <a:gd name="connsiteY264" fmla="*/ 6434 h 10000"/>
              <a:gd name="connsiteX265" fmla="*/ 9777 w 10001"/>
              <a:gd name="connsiteY265" fmla="*/ 6279 h 10000"/>
              <a:gd name="connsiteX266" fmla="*/ 9777 w 10001"/>
              <a:gd name="connsiteY266" fmla="*/ 6434 h 10000"/>
              <a:gd name="connsiteX267" fmla="*/ 9820 w 10001"/>
              <a:gd name="connsiteY267" fmla="*/ 6356 h 10000"/>
              <a:gd name="connsiteX268" fmla="*/ 10000 w 10001"/>
              <a:gd name="connsiteY268" fmla="*/ 3876 h 10000"/>
              <a:gd name="connsiteX269" fmla="*/ 9909 w 10001"/>
              <a:gd name="connsiteY269" fmla="*/ 3721 h 10000"/>
              <a:gd name="connsiteX270" fmla="*/ 10000 w 10001"/>
              <a:gd name="connsiteY270" fmla="*/ 3488 h 10000"/>
              <a:gd name="connsiteX271" fmla="*/ 9820 w 10001"/>
              <a:gd name="connsiteY271" fmla="*/ 3644 h 10000"/>
              <a:gd name="connsiteX272" fmla="*/ 9595 w 10001"/>
              <a:gd name="connsiteY272" fmla="*/ 3566 h 10000"/>
              <a:gd name="connsiteX273" fmla="*/ 9378 w 10001"/>
              <a:gd name="connsiteY273" fmla="*/ 3566 h 10000"/>
              <a:gd name="connsiteX274" fmla="*/ 9287 w 10001"/>
              <a:gd name="connsiteY274" fmla="*/ 3488 h 10000"/>
              <a:gd name="connsiteX275" fmla="*/ 9330 w 10001"/>
              <a:gd name="connsiteY275" fmla="*/ 3333 h 10000"/>
              <a:gd name="connsiteX276" fmla="*/ 9241 w 10001"/>
              <a:gd name="connsiteY276" fmla="*/ 3101 h 10000"/>
              <a:gd name="connsiteX277" fmla="*/ 9063 w 10001"/>
              <a:gd name="connsiteY277" fmla="*/ 3023 h 10000"/>
              <a:gd name="connsiteX278" fmla="*/ 8800 w 10001"/>
              <a:gd name="connsiteY278" fmla="*/ 3178 h 10000"/>
              <a:gd name="connsiteX279" fmla="*/ 8754 w 10001"/>
              <a:gd name="connsiteY279" fmla="*/ 2946 h 10000"/>
              <a:gd name="connsiteX280" fmla="*/ 8666 w 10001"/>
              <a:gd name="connsiteY280" fmla="*/ 2946 h 10000"/>
              <a:gd name="connsiteX281" fmla="*/ 8621 w 10001"/>
              <a:gd name="connsiteY281" fmla="*/ 2868 h 10000"/>
              <a:gd name="connsiteX282" fmla="*/ 8621 w 10001"/>
              <a:gd name="connsiteY282" fmla="*/ 2636 h 10000"/>
              <a:gd name="connsiteX283" fmla="*/ 8310 w 10001"/>
              <a:gd name="connsiteY283" fmla="*/ 2480 h 10000"/>
              <a:gd name="connsiteX284" fmla="*/ 7955 w 10001"/>
              <a:gd name="connsiteY284" fmla="*/ 2325 h 10000"/>
              <a:gd name="connsiteX285" fmla="*/ 7865 w 10001"/>
              <a:gd name="connsiteY285" fmla="*/ 2636 h 10000"/>
              <a:gd name="connsiteX286" fmla="*/ 7955 w 10001"/>
              <a:gd name="connsiteY286" fmla="*/ 2868 h 10000"/>
              <a:gd name="connsiteX287" fmla="*/ 7687 w 10001"/>
              <a:gd name="connsiteY287" fmla="*/ 2868 h 10000"/>
              <a:gd name="connsiteX288" fmla="*/ 7642 w 10001"/>
              <a:gd name="connsiteY288" fmla="*/ 2868 h 10000"/>
              <a:gd name="connsiteX289" fmla="*/ 7554 w 10001"/>
              <a:gd name="connsiteY289" fmla="*/ 2946 h 10000"/>
              <a:gd name="connsiteX290" fmla="*/ 7421 w 10001"/>
              <a:gd name="connsiteY290" fmla="*/ 2714 h 10000"/>
              <a:gd name="connsiteX291" fmla="*/ 7331 w 10001"/>
              <a:gd name="connsiteY291" fmla="*/ 3178 h 10000"/>
              <a:gd name="connsiteX292" fmla="*/ 7245 w 10001"/>
              <a:gd name="connsiteY292" fmla="*/ 3101 h 10000"/>
              <a:gd name="connsiteX293" fmla="*/ 7154 w 10001"/>
              <a:gd name="connsiteY293" fmla="*/ 2791 h 10000"/>
              <a:gd name="connsiteX294" fmla="*/ 7200 w 10001"/>
              <a:gd name="connsiteY294" fmla="*/ 2403 h 10000"/>
              <a:gd name="connsiteX295" fmla="*/ 7111 w 10001"/>
              <a:gd name="connsiteY295" fmla="*/ 2170 h 10000"/>
              <a:gd name="connsiteX296" fmla="*/ 6843 w 10001"/>
              <a:gd name="connsiteY296" fmla="*/ 2016 h 10000"/>
              <a:gd name="connsiteX297" fmla="*/ 6753 w 10001"/>
              <a:gd name="connsiteY297" fmla="*/ 2016 h 10000"/>
              <a:gd name="connsiteX298" fmla="*/ 6710 w 10001"/>
              <a:gd name="connsiteY298" fmla="*/ 2170 h 10000"/>
              <a:gd name="connsiteX299" fmla="*/ 6753 w 10001"/>
              <a:gd name="connsiteY299" fmla="*/ 2325 h 10000"/>
              <a:gd name="connsiteX300" fmla="*/ 6402 w 10001"/>
              <a:gd name="connsiteY300" fmla="*/ 2248 h 10000"/>
              <a:gd name="connsiteX301" fmla="*/ 6443 w 10001"/>
              <a:gd name="connsiteY301" fmla="*/ 2016 h 10000"/>
              <a:gd name="connsiteX302" fmla="*/ 6223 w 10001"/>
              <a:gd name="connsiteY302" fmla="*/ 1938 h 10000"/>
              <a:gd name="connsiteX303" fmla="*/ 6088 w 10001"/>
              <a:gd name="connsiteY303" fmla="*/ 2093 h 10000"/>
              <a:gd name="connsiteX304" fmla="*/ 5826 w 10001"/>
              <a:gd name="connsiteY304" fmla="*/ 1861 h 10000"/>
              <a:gd name="connsiteX0" fmla="*/ 5826 w 10005"/>
              <a:gd name="connsiteY0" fmla="*/ 1861 h 10000"/>
              <a:gd name="connsiteX1" fmla="*/ 5826 w 10005"/>
              <a:gd name="connsiteY1" fmla="*/ 1861 h 10000"/>
              <a:gd name="connsiteX2" fmla="*/ 5777 w 10005"/>
              <a:gd name="connsiteY2" fmla="*/ 1938 h 10000"/>
              <a:gd name="connsiteX3" fmla="*/ 5826 w 10005"/>
              <a:gd name="connsiteY3" fmla="*/ 2093 h 10000"/>
              <a:gd name="connsiteX4" fmla="*/ 5643 w 10005"/>
              <a:gd name="connsiteY4" fmla="*/ 2248 h 10000"/>
              <a:gd name="connsiteX5" fmla="*/ 5597 w 10005"/>
              <a:gd name="connsiteY5" fmla="*/ 2248 h 10000"/>
              <a:gd name="connsiteX6" fmla="*/ 5643 w 10005"/>
              <a:gd name="connsiteY6" fmla="*/ 2016 h 10000"/>
              <a:gd name="connsiteX7" fmla="*/ 6088 w 10005"/>
              <a:gd name="connsiteY7" fmla="*/ 1318 h 10000"/>
              <a:gd name="connsiteX8" fmla="*/ 6088 w 10005"/>
              <a:gd name="connsiteY8" fmla="*/ 853 h 10000"/>
              <a:gd name="connsiteX9" fmla="*/ 5911 w 10005"/>
              <a:gd name="connsiteY9" fmla="*/ 543 h 10000"/>
              <a:gd name="connsiteX10" fmla="*/ 5689 w 10005"/>
              <a:gd name="connsiteY10" fmla="*/ 543 h 10000"/>
              <a:gd name="connsiteX11" fmla="*/ 5689 w 10005"/>
              <a:gd name="connsiteY11" fmla="*/ 698 h 10000"/>
              <a:gd name="connsiteX12" fmla="*/ 5553 w 10005"/>
              <a:gd name="connsiteY12" fmla="*/ 698 h 10000"/>
              <a:gd name="connsiteX13" fmla="*/ 5643 w 10005"/>
              <a:gd name="connsiteY13" fmla="*/ 387 h 10000"/>
              <a:gd name="connsiteX14" fmla="*/ 5422 w 10005"/>
              <a:gd name="connsiteY14" fmla="*/ 310 h 10000"/>
              <a:gd name="connsiteX15" fmla="*/ 5553 w 10005"/>
              <a:gd name="connsiteY15" fmla="*/ 155 h 10000"/>
              <a:gd name="connsiteX16" fmla="*/ 5422 w 10005"/>
              <a:gd name="connsiteY16" fmla="*/ 0 h 10000"/>
              <a:gd name="connsiteX17" fmla="*/ 5199 w 10005"/>
              <a:gd name="connsiteY17" fmla="*/ 387 h 10000"/>
              <a:gd name="connsiteX18" fmla="*/ 5199 w 10005"/>
              <a:gd name="connsiteY18" fmla="*/ 698 h 10000"/>
              <a:gd name="connsiteX19" fmla="*/ 5065 w 10005"/>
              <a:gd name="connsiteY19" fmla="*/ 698 h 10000"/>
              <a:gd name="connsiteX20" fmla="*/ 4666 w 10005"/>
              <a:gd name="connsiteY20" fmla="*/ 853 h 10000"/>
              <a:gd name="connsiteX21" fmla="*/ 4309 w 10005"/>
              <a:gd name="connsiteY21" fmla="*/ 1240 h 10000"/>
              <a:gd name="connsiteX22" fmla="*/ 4177 w 10005"/>
              <a:gd name="connsiteY22" fmla="*/ 1551 h 10000"/>
              <a:gd name="connsiteX23" fmla="*/ 4221 w 10005"/>
              <a:gd name="connsiteY23" fmla="*/ 1938 h 10000"/>
              <a:gd name="connsiteX24" fmla="*/ 3733 w 10005"/>
              <a:gd name="connsiteY24" fmla="*/ 2093 h 10000"/>
              <a:gd name="connsiteX25" fmla="*/ 3777 w 10005"/>
              <a:gd name="connsiteY25" fmla="*/ 2559 h 10000"/>
              <a:gd name="connsiteX26" fmla="*/ 3912 w 10005"/>
              <a:gd name="connsiteY26" fmla="*/ 2791 h 10000"/>
              <a:gd name="connsiteX27" fmla="*/ 3823 w 10005"/>
              <a:gd name="connsiteY27" fmla="*/ 2868 h 10000"/>
              <a:gd name="connsiteX28" fmla="*/ 3689 w 10005"/>
              <a:gd name="connsiteY28" fmla="*/ 2559 h 10000"/>
              <a:gd name="connsiteX29" fmla="*/ 3556 w 10005"/>
              <a:gd name="connsiteY29" fmla="*/ 2480 h 10000"/>
              <a:gd name="connsiteX30" fmla="*/ 3511 w 10005"/>
              <a:gd name="connsiteY30" fmla="*/ 2559 h 10000"/>
              <a:gd name="connsiteX31" fmla="*/ 3422 w 10005"/>
              <a:gd name="connsiteY31" fmla="*/ 2403 h 10000"/>
              <a:gd name="connsiteX32" fmla="*/ 3333 w 10005"/>
              <a:gd name="connsiteY32" fmla="*/ 2248 h 10000"/>
              <a:gd name="connsiteX33" fmla="*/ 3333 w 10005"/>
              <a:gd name="connsiteY33" fmla="*/ 2325 h 10000"/>
              <a:gd name="connsiteX34" fmla="*/ 3380 w 10005"/>
              <a:gd name="connsiteY34" fmla="*/ 2559 h 10000"/>
              <a:gd name="connsiteX35" fmla="*/ 3243 w 10005"/>
              <a:gd name="connsiteY35" fmla="*/ 2946 h 10000"/>
              <a:gd name="connsiteX36" fmla="*/ 3333 w 10005"/>
              <a:gd name="connsiteY36" fmla="*/ 3256 h 10000"/>
              <a:gd name="connsiteX37" fmla="*/ 3286 w 10005"/>
              <a:gd name="connsiteY37" fmla="*/ 3566 h 10000"/>
              <a:gd name="connsiteX38" fmla="*/ 3286 w 10005"/>
              <a:gd name="connsiteY38" fmla="*/ 3799 h 10000"/>
              <a:gd name="connsiteX39" fmla="*/ 3422 w 10005"/>
              <a:gd name="connsiteY39" fmla="*/ 3799 h 10000"/>
              <a:gd name="connsiteX40" fmla="*/ 3333 w 10005"/>
              <a:gd name="connsiteY40" fmla="*/ 3876 h 10000"/>
              <a:gd name="connsiteX41" fmla="*/ 3380 w 10005"/>
              <a:gd name="connsiteY41" fmla="*/ 4263 h 10000"/>
              <a:gd name="connsiteX42" fmla="*/ 3110 w 10005"/>
              <a:gd name="connsiteY42" fmla="*/ 4652 h 10000"/>
              <a:gd name="connsiteX43" fmla="*/ 3065 w 10005"/>
              <a:gd name="connsiteY43" fmla="*/ 4574 h 10000"/>
              <a:gd name="connsiteX44" fmla="*/ 3243 w 10005"/>
              <a:gd name="connsiteY44" fmla="*/ 4186 h 10000"/>
              <a:gd name="connsiteX45" fmla="*/ 3286 w 10005"/>
              <a:gd name="connsiteY45" fmla="*/ 3954 h 10000"/>
              <a:gd name="connsiteX46" fmla="*/ 3195 w 10005"/>
              <a:gd name="connsiteY46" fmla="*/ 3799 h 10000"/>
              <a:gd name="connsiteX47" fmla="*/ 3195 w 10005"/>
              <a:gd name="connsiteY47" fmla="*/ 3023 h 10000"/>
              <a:gd name="connsiteX48" fmla="*/ 3155 w 10005"/>
              <a:gd name="connsiteY48" fmla="*/ 2868 h 10000"/>
              <a:gd name="connsiteX49" fmla="*/ 3195 w 10005"/>
              <a:gd name="connsiteY49" fmla="*/ 2403 h 10000"/>
              <a:gd name="connsiteX50" fmla="*/ 3110 w 10005"/>
              <a:gd name="connsiteY50" fmla="*/ 2325 h 10000"/>
              <a:gd name="connsiteX51" fmla="*/ 3155 w 10005"/>
              <a:gd name="connsiteY51" fmla="*/ 2248 h 10000"/>
              <a:gd name="connsiteX52" fmla="*/ 3110 w 10005"/>
              <a:gd name="connsiteY52" fmla="*/ 2093 h 10000"/>
              <a:gd name="connsiteX53" fmla="*/ 3018 w 10005"/>
              <a:gd name="connsiteY53" fmla="*/ 2170 h 10000"/>
              <a:gd name="connsiteX54" fmla="*/ 2799 w 10005"/>
              <a:gd name="connsiteY54" fmla="*/ 3178 h 10000"/>
              <a:gd name="connsiteX55" fmla="*/ 2799 w 10005"/>
              <a:gd name="connsiteY55" fmla="*/ 3566 h 10000"/>
              <a:gd name="connsiteX56" fmla="*/ 2932 w 10005"/>
              <a:gd name="connsiteY56" fmla="*/ 3876 h 10000"/>
              <a:gd name="connsiteX57" fmla="*/ 2932 w 10005"/>
              <a:gd name="connsiteY57" fmla="*/ 4031 h 10000"/>
              <a:gd name="connsiteX58" fmla="*/ 2799 w 10005"/>
              <a:gd name="connsiteY58" fmla="*/ 3876 h 10000"/>
              <a:gd name="connsiteX59" fmla="*/ 2268 w 10005"/>
              <a:gd name="connsiteY59" fmla="*/ 3256 h 10000"/>
              <a:gd name="connsiteX60" fmla="*/ 2222 w 10005"/>
              <a:gd name="connsiteY60" fmla="*/ 3411 h 10000"/>
              <a:gd name="connsiteX61" fmla="*/ 2400 w 10005"/>
              <a:gd name="connsiteY61" fmla="*/ 3799 h 10000"/>
              <a:gd name="connsiteX62" fmla="*/ 2310 w 10005"/>
              <a:gd name="connsiteY62" fmla="*/ 3876 h 10000"/>
              <a:gd name="connsiteX63" fmla="*/ 2268 w 10005"/>
              <a:gd name="connsiteY63" fmla="*/ 3799 h 10000"/>
              <a:gd name="connsiteX64" fmla="*/ 2001 w 10005"/>
              <a:gd name="connsiteY64" fmla="*/ 3954 h 10000"/>
              <a:gd name="connsiteX65" fmla="*/ 1956 w 10005"/>
              <a:gd name="connsiteY65" fmla="*/ 4109 h 10000"/>
              <a:gd name="connsiteX66" fmla="*/ 1911 w 10005"/>
              <a:gd name="connsiteY66" fmla="*/ 3954 h 10000"/>
              <a:gd name="connsiteX67" fmla="*/ 1911 w 10005"/>
              <a:gd name="connsiteY67" fmla="*/ 3799 h 10000"/>
              <a:gd name="connsiteX68" fmla="*/ 1465 w 10005"/>
              <a:gd name="connsiteY68" fmla="*/ 4263 h 10000"/>
              <a:gd name="connsiteX69" fmla="*/ 1465 w 10005"/>
              <a:gd name="connsiteY69" fmla="*/ 4418 h 10000"/>
              <a:gd name="connsiteX70" fmla="*/ 1379 w 10005"/>
              <a:gd name="connsiteY70" fmla="*/ 4496 h 10000"/>
              <a:gd name="connsiteX71" fmla="*/ 1244 w 10005"/>
              <a:gd name="connsiteY71" fmla="*/ 4341 h 10000"/>
              <a:gd name="connsiteX72" fmla="*/ 1379 w 10005"/>
              <a:gd name="connsiteY72" fmla="*/ 4186 h 10000"/>
              <a:gd name="connsiteX73" fmla="*/ 1334 w 10005"/>
              <a:gd name="connsiteY73" fmla="*/ 3954 h 10000"/>
              <a:gd name="connsiteX74" fmla="*/ 1157 w 10005"/>
              <a:gd name="connsiteY74" fmla="*/ 3876 h 10000"/>
              <a:gd name="connsiteX75" fmla="*/ 1202 w 10005"/>
              <a:gd name="connsiteY75" fmla="*/ 4031 h 10000"/>
              <a:gd name="connsiteX76" fmla="*/ 1202 w 10005"/>
              <a:gd name="connsiteY76" fmla="*/ 4418 h 10000"/>
              <a:gd name="connsiteX77" fmla="*/ 1244 w 10005"/>
              <a:gd name="connsiteY77" fmla="*/ 4574 h 10000"/>
              <a:gd name="connsiteX78" fmla="*/ 1202 w 10005"/>
              <a:gd name="connsiteY78" fmla="*/ 4729 h 10000"/>
              <a:gd name="connsiteX79" fmla="*/ 1065 w 10005"/>
              <a:gd name="connsiteY79" fmla="*/ 4652 h 10000"/>
              <a:gd name="connsiteX80" fmla="*/ 888 w 10005"/>
              <a:gd name="connsiteY80" fmla="*/ 4884 h 10000"/>
              <a:gd name="connsiteX81" fmla="*/ 976 w 10005"/>
              <a:gd name="connsiteY81" fmla="*/ 5194 h 10000"/>
              <a:gd name="connsiteX82" fmla="*/ 710 w 10005"/>
              <a:gd name="connsiteY82" fmla="*/ 5039 h 10000"/>
              <a:gd name="connsiteX83" fmla="*/ 667 w 10005"/>
              <a:gd name="connsiteY83" fmla="*/ 5116 h 10000"/>
              <a:gd name="connsiteX84" fmla="*/ 756 w 10005"/>
              <a:gd name="connsiteY84" fmla="*/ 5349 h 10000"/>
              <a:gd name="connsiteX85" fmla="*/ 667 w 10005"/>
              <a:gd name="connsiteY85" fmla="*/ 5349 h 10000"/>
              <a:gd name="connsiteX86" fmla="*/ 534 w 10005"/>
              <a:gd name="connsiteY86" fmla="*/ 5194 h 10000"/>
              <a:gd name="connsiteX87" fmla="*/ 534 w 10005"/>
              <a:gd name="connsiteY87" fmla="*/ 4729 h 10000"/>
              <a:gd name="connsiteX88" fmla="*/ 402 w 10005"/>
              <a:gd name="connsiteY88" fmla="*/ 4574 h 10000"/>
              <a:gd name="connsiteX89" fmla="*/ 355 w 10005"/>
              <a:gd name="connsiteY89" fmla="*/ 4418 h 10000"/>
              <a:gd name="connsiteX90" fmla="*/ 445 w 10005"/>
              <a:gd name="connsiteY90" fmla="*/ 4496 h 10000"/>
              <a:gd name="connsiteX91" fmla="*/ 799 w 10005"/>
              <a:gd name="connsiteY91" fmla="*/ 4729 h 10000"/>
              <a:gd name="connsiteX92" fmla="*/ 1021 w 10005"/>
              <a:gd name="connsiteY92" fmla="*/ 4496 h 10000"/>
              <a:gd name="connsiteX93" fmla="*/ 976 w 10005"/>
              <a:gd name="connsiteY93" fmla="*/ 4263 h 10000"/>
              <a:gd name="connsiteX94" fmla="*/ 710 w 10005"/>
              <a:gd name="connsiteY94" fmla="*/ 3799 h 10000"/>
              <a:gd name="connsiteX95" fmla="*/ 445 w 10005"/>
              <a:gd name="connsiteY95" fmla="*/ 3644 h 10000"/>
              <a:gd name="connsiteX96" fmla="*/ 445 w 10005"/>
              <a:gd name="connsiteY96" fmla="*/ 3566 h 10000"/>
              <a:gd name="connsiteX97" fmla="*/ 355 w 10005"/>
              <a:gd name="connsiteY97" fmla="*/ 3488 h 10000"/>
              <a:gd name="connsiteX98" fmla="*/ 265 w 10005"/>
              <a:gd name="connsiteY98" fmla="*/ 3566 h 10000"/>
              <a:gd name="connsiteX99" fmla="*/ 265 w 10005"/>
              <a:gd name="connsiteY99" fmla="*/ 3644 h 10000"/>
              <a:gd name="connsiteX100" fmla="*/ 223 w 10005"/>
              <a:gd name="connsiteY100" fmla="*/ 3644 h 10000"/>
              <a:gd name="connsiteX101" fmla="*/ 133 w 10005"/>
              <a:gd name="connsiteY101" fmla="*/ 3799 h 10000"/>
              <a:gd name="connsiteX102" fmla="*/ 133 w 10005"/>
              <a:gd name="connsiteY102" fmla="*/ 4031 h 10000"/>
              <a:gd name="connsiteX103" fmla="*/ 223 w 10005"/>
              <a:gd name="connsiteY103" fmla="*/ 4186 h 10000"/>
              <a:gd name="connsiteX104" fmla="*/ 177 w 10005"/>
              <a:gd name="connsiteY104" fmla="*/ 4418 h 10000"/>
              <a:gd name="connsiteX105" fmla="*/ 223 w 10005"/>
              <a:gd name="connsiteY105" fmla="*/ 4807 h 10000"/>
              <a:gd name="connsiteX106" fmla="*/ 177 w 10005"/>
              <a:gd name="connsiteY106" fmla="*/ 5039 h 10000"/>
              <a:gd name="connsiteX107" fmla="*/ 265 w 10005"/>
              <a:gd name="connsiteY107" fmla="*/ 5271 h 10000"/>
              <a:gd name="connsiteX108" fmla="*/ 223 w 10005"/>
              <a:gd name="connsiteY108" fmla="*/ 5426 h 10000"/>
              <a:gd name="connsiteX109" fmla="*/ 310 w 10005"/>
              <a:gd name="connsiteY109" fmla="*/ 5582 h 10000"/>
              <a:gd name="connsiteX110" fmla="*/ 310 w 10005"/>
              <a:gd name="connsiteY110" fmla="*/ 5659 h 10000"/>
              <a:gd name="connsiteX111" fmla="*/ 177 w 10005"/>
              <a:gd name="connsiteY111" fmla="*/ 6047 h 10000"/>
              <a:gd name="connsiteX112" fmla="*/ 42 w 10005"/>
              <a:gd name="connsiteY112" fmla="*/ 6202 h 10000"/>
              <a:gd name="connsiteX113" fmla="*/ 88 w 10005"/>
              <a:gd name="connsiteY113" fmla="*/ 6202 h 10000"/>
              <a:gd name="connsiteX114" fmla="*/ 177 w 10005"/>
              <a:gd name="connsiteY114" fmla="*/ 6356 h 10000"/>
              <a:gd name="connsiteX115" fmla="*/ 88 w 10005"/>
              <a:gd name="connsiteY115" fmla="*/ 6512 h 10000"/>
              <a:gd name="connsiteX116" fmla="*/ 42 w 10005"/>
              <a:gd name="connsiteY116" fmla="*/ 6590 h 10000"/>
              <a:gd name="connsiteX117" fmla="*/ 0 w 10005"/>
              <a:gd name="connsiteY117" fmla="*/ 6590 h 10000"/>
              <a:gd name="connsiteX118" fmla="*/ 42 w 10005"/>
              <a:gd name="connsiteY118" fmla="*/ 6822 h 10000"/>
              <a:gd name="connsiteX119" fmla="*/ 42 w 10005"/>
              <a:gd name="connsiteY119" fmla="*/ 6900 h 10000"/>
              <a:gd name="connsiteX120" fmla="*/ 42 w 10005"/>
              <a:gd name="connsiteY120" fmla="*/ 6977 h 10000"/>
              <a:gd name="connsiteX121" fmla="*/ 42 w 10005"/>
              <a:gd name="connsiteY121" fmla="*/ 7054 h 10000"/>
              <a:gd name="connsiteX122" fmla="*/ 88 w 10005"/>
              <a:gd name="connsiteY122" fmla="*/ 7209 h 10000"/>
              <a:gd name="connsiteX123" fmla="*/ 223 w 10005"/>
              <a:gd name="connsiteY123" fmla="*/ 7287 h 10000"/>
              <a:gd name="connsiteX124" fmla="*/ 265 w 10005"/>
              <a:gd name="connsiteY124" fmla="*/ 7364 h 10000"/>
              <a:gd name="connsiteX125" fmla="*/ 265 w 10005"/>
              <a:gd name="connsiteY125" fmla="*/ 7520 h 10000"/>
              <a:gd name="connsiteX126" fmla="*/ 355 w 10005"/>
              <a:gd name="connsiteY126" fmla="*/ 7752 h 10000"/>
              <a:gd name="connsiteX127" fmla="*/ 402 w 10005"/>
              <a:gd name="connsiteY127" fmla="*/ 7752 h 10000"/>
              <a:gd name="connsiteX128" fmla="*/ 355 w 10005"/>
              <a:gd name="connsiteY128" fmla="*/ 7907 h 10000"/>
              <a:gd name="connsiteX129" fmla="*/ 310 w 10005"/>
              <a:gd name="connsiteY129" fmla="*/ 7830 h 10000"/>
              <a:gd name="connsiteX130" fmla="*/ 310 w 10005"/>
              <a:gd name="connsiteY130" fmla="*/ 7907 h 10000"/>
              <a:gd name="connsiteX131" fmla="*/ 355 w 10005"/>
              <a:gd name="connsiteY131" fmla="*/ 8062 h 10000"/>
              <a:gd name="connsiteX132" fmla="*/ 490 w 10005"/>
              <a:gd name="connsiteY132" fmla="*/ 8062 h 10000"/>
              <a:gd name="connsiteX133" fmla="*/ 534 w 10005"/>
              <a:gd name="connsiteY133" fmla="*/ 8140 h 10000"/>
              <a:gd name="connsiteX134" fmla="*/ 490 w 10005"/>
              <a:gd name="connsiteY134" fmla="*/ 8140 h 10000"/>
              <a:gd name="connsiteX135" fmla="*/ 534 w 10005"/>
              <a:gd name="connsiteY135" fmla="*/ 8217 h 10000"/>
              <a:gd name="connsiteX136" fmla="*/ 577 w 10005"/>
              <a:gd name="connsiteY136" fmla="*/ 8217 h 10000"/>
              <a:gd name="connsiteX137" fmla="*/ 621 w 10005"/>
              <a:gd name="connsiteY137" fmla="*/ 8372 h 10000"/>
              <a:gd name="connsiteX138" fmla="*/ 667 w 10005"/>
              <a:gd name="connsiteY138" fmla="*/ 8449 h 10000"/>
              <a:gd name="connsiteX139" fmla="*/ 710 w 10005"/>
              <a:gd name="connsiteY139" fmla="*/ 8372 h 10000"/>
              <a:gd name="connsiteX140" fmla="*/ 934 w 10005"/>
              <a:gd name="connsiteY140" fmla="*/ 8605 h 10000"/>
              <a:gd name="connsiteX141" fmla="*/ 888 w 10005"/>
              <a:gd name="connsiteY141" fmla="*/ 8915 h 10000"/>
              <a:gd name="connsiteX142" fmla="*/ 842 w 10005"/>
              <a:gd name="connsiteY142" fmla="*/ 8838 h 10000"/>
              <a:gd name="connsiteX143" fmla="*/ 799 w 10005"/>
              <a:gd name="connsiteY143" fmla="*/ 8915 h 10000"/>
              <a:gd name="connsiteX144" fmla="*/ 799 w 10005"/>
              <a:gd name="connsiteY144" fmla="*/ 9070 h 10000"/>
              <a:gd name="connsiteX145" fmla="*/ 842 w 10005"/>
              <a:gd name="connsiteY145" fmla="*/ 8993 h 10000"/>
              <a:gd name="connsiteX146" fmla="*/ 888 w 10005"/>
              <a:gd name="connsiteY146" fmla="*/ 9070 h 10000"/>
              <a:gd name="connsiteX147" fmla="*/ 756 w 10005"/>
              <a:gd name="connsiteY147" fmla="*/ 9147 h 10000"/>
              <a:gd name="connsiteX148" fmla="*/ 799 w 10005"/>
              <a:gd name="connsiteY148" fmla="*/ 9225 h 10000"/>
              <a:gd name="connsiteX149" fmla="*/ 710 w 10005"/>
              <a:gd name="connsiteY149" fmla="*/ 9380 h 10000"/>
              <a:gd name="connsiteX150" fmla="*/ 667 w 10005"/>
              <a:gd name="connsiteY150" fmla="*/ 9380 h 10000"/>
              <a:gd name="connsiteX151" fmla="*/ 710 w 10005"/>
              <a:gd name="connsiteY151" fmla="*/ 9380 h 10000"/>
              <a:gd name="connsiteX152" fmla="*/ 888 w 10005"/>
              <a:gd name="connsiteY152" fmla="*/ 9691 h 10000"/>
              <a:gd name="connsiteX153" fmla="*/ 1112 w 10005"/>
              <a:gd name="connsiteY153" fmla="*/ 9691 h 10000"/>
              <a:gd name="connsiteX154" fmla="*/ 1202 w 10005"/>
              <a:gd name="connsiteY154" fmla="*/ 9768 h 10000"/>
              <a:gd name="connsiteX155" fmla="*/ 1289 w 10005"/>
              <a:gd name="connsiteY155" fmla="*/ 9768 h 10000"/>
              <a:gd name="connsiteX156" fmla="*/ 1379 w 10005"/>
              <a:gd name="connsiteY156" fmla="*/ 9923 h 10000"/>
              <a:gd name="connsiteX157" fmla="*/ 1422 w 10005"/>
              <a:gd name="connsiteY157" fmla="*/ 10000 h 10000"/>
              <a:gd name="connsiteX158" fmla="*/ 1465 w 10005"/>
              <a:gd name="connsiteY158" fmla="*/ 10000 h 10000"/>
              <a:gd name="connsiteX159" fmla="*/ 1512 w 10005"/>
              <a:gd name="connsiteY159" fmla="*/ 9923 h 10000"/>
              <a:gd name="connsiteX160" fmla="*/ 1422 w 10005"/>
              <a:gd name="connsiteY160" fmla="*/ 9768 h 10000"/>
              <a:gd name="connsiteX161" fmla="*/ 1422 w 10005"/>
              <a:gd name="connsiteY161" fmla="*/ 9613 h 10000"/>
              <a:gd name="connsiteX162" fmla="*/ 1379 w 10005"/>
              <a:gd name="connsiteY162" fmla="*/ 9457 h 10000"/>
              <a:gd name="connsiteX163" fmla="*/ 1465 w 10005"/>
              <a:gd name="connsiteY163" fmla="*/ 9225 h 10000"/>
              <a:gd name="connsiteX164" fmla="*/ 1512 w 10005"/>
              <a:gd name="connsiteY164" fmla="*/ 9302 h 10000"/>
              <a:gd name="connsiteX165" fmla="*/ 1556 w 10005"/>
              <a:gd name="connsiteY165" fmla="*/ 9225 h 10000"/>
              <a:gd name="connsiteX166" fmla="*/ 1556 w 10005"/>
              <a:gd name="connsiteY166" fmla="*/ 9147 h 10000"/>
              <a:gd name="connsiteX167" fmla="*/ 1512 w 10005"/>
              <a:gd name="connsiteY167" fmla="*/ 9147 h 10000"/>
              <a:gd name="connsiteX168" fmla="*/ 1556 w 10005"/>
              <a:gd name="connsiteY168" fmla="*/ 9070 h 10000"/>
              <a:gd name="connsiteX169" fmla="*/ 1512 w 10005"/>
              <a:gd name="connsiteY169" fmla="*/ 8915 h 10000"/>
              <a:gd name="connsiteX170" fmla="*/ 1422 w 10005"/>
              <a:gd name="connsiteY170" fmla="*/ 8915 h 10000"/>
              <a:gd name="connsiteX171" fmla="*/ 1379 w 10005"/>
              <a:gd name="connsiteY171" fmla="*/ 8760 h 10000"/>
              <a:gd name="connsiteX172" fmla="*/ 1422 w 10005"/>
              <a:gd name="connsiteY172" fmla="*/ 8372 h 10000"/>
              <a:gd name="connsiteX173" fmla="*/ 1512 w 10005"/>
              <a:gd name="connsiteY173" fmla="*/ 8528 h 10000"/>
              <a:gd name="connsiteX174" fmla="*/ 1556 w 10005"/>
              <a:gd name="connsiteY174" fmla="*/ 8528 h 10000"/>
              <a:gd name="connsiteX175" fmla="*/ 1512 w 10005"/>
              <a:gd name="connsiteY175" fmla="*/ 8372 h 10000"/>
              <a:gd name="connsiteX176" fmla="*/ 1645 w 10005"/>
              <a:gd name="connsiteY176" fmla="*/ 8140 h 10000"/>
              <a:gd name="connsiteX177" fmla="*/ 1735 w 10005"/>
              <a:gd name="connsiteY177" fmla="*/ 8217 h 10000"/>
              <a:gd name="connsiteX178" fmla="*/ 1777 w 10005"/>
              <a:gd name="connsiteY178" fmla="*/ 8140 h 10000"/>
              <a:gd name="connsiteX179" fmla="*/ 1866 w 10005"/>
              <a:gd name="connsiteY179" fmla="*/ 8217 h 10000"/>
              <a:gd name="connsiteX180" fmla="*/ 2001 w 10005"/>
              <a:gd name="connsiteY180" fmla="*/ 8372 h 10000"/>
              <a:gd name="connsiteX181" fmla="*/ 2089 w 10005"/>
              <a:gd name="connsiteY181" fmla="*/ 8295 h 10000"/>
              <a:gd name="connsiteX182" fmla="*/ 2178 w 10005"/>
              <a:gd name="connsiteY182" fmla="*/ 8295 h 10000"/>
              <a:gd name="connsiteX183" fmla="*/ 2222 w 10005"/>
              <a:gd name="connsiteY183" fmla="*/ 8372 h 10000"/>
              <a:gd name="connsiteX184" fmla="*/ 2400 w 10005"/>
              <a:gd name="connsiteY184" fmla="*/ 8372 h 10000"/>
              <a:gd name="connsiteX185" fmla="*/ 2443 w 10005"/>
              <a:gd name="connsiteY185" fmla="*/ 8217 h 10000"/>
              <a:gd name="connsiteX186" fmla="*/ 2310 w 10005"/>
              <a:gd name="connsiteY186" fmla="*/ 8140 h 10000"/>
              <a:gd name="connsiteX187" fmla="*/ 2400 w 10005"/>
              <a:gd name="connsiteY187" fmla="*/ 8062 h 10000"/>
              <a:gd name="connsiteX188" fmla="*/ 2354 w 10005"/>
              <a:gd name="connsiteY188" fmla="*/ 7985 h 10000"/>
              <a:gd name="connsiteX189" fmla="*/ 2400 w 10005"/>
              <a:gd name="connsiteY189" fmla="*/ 7907 h 10000"/>
              <a:gd name="connsiteX190" fmla="*/ 2400 w 10005"/>
              <a:gd name="connsiteY190" fmla="*/ 7675 h 10000"/>
              <a:gd name="connsiteX191" fmla="*/ 2487 w 10005"/>
              <a:gd name="connsiteY191" fmla="*/ 7752 h 10000"/>
              <a:gd name="connsiteX192" fmla="*/ 2889 w 10005"/>
              <a:gd name="connsiteY192" fmla="*/ 7520 h 10000"/>
              <a:gd name="connsiteX193" fmla="*/ 2889 w 10005"/>
              <a:gd name="connsiteY193" fmla="*/ 7442 h 10000"/>
              <a:gd name="connsiteX194" fmla="*/ 2932 w 10005"/>
              <a:gd name="connsiteY194" fmla="*/ 7442 h 10000"/>
              <a:gd name="connsiteX195" fmla="*/ 3065 w 10005"/>
              <a:gd name="connsiteY195" fmla="*/ 7442 h 10000"/>
              <a:gd name="connsiteX196" fmla="*/ 3110 w 10005"/>
              <a:gd name="connsiteY196" fmla="*/ 7598 h 10000"/>
              <a:gd name="connsiteX197" fmla="*/ 3110 w 10005"/>
              <a:gd name="connsiteY197" fmla="*/ 7675 h 10000"/>
              <a:gd name="connsiteX198" fmla="*/ 3155 w 10005"/>
              <a:gd name="connsiteY198" fmla="*/ 7675 h 10000"/>
              <a:gd name="connsiteX199" fmla="*/ 3243 w 10005"/>
              <a:gd name="connsiteY199" fmla="*/ 7752 h 10000"/>
              <a:gd name="connsiteX200" fmla="*/ 3243 w 10005"/>
              <a:gd name="connsiteY200" fmla="*/ 7830 h 10000"/>
              <a:gd name="connsiteX201" fmla="*/ 3333 w 10005"/>
              <a:gd name="connsiteY201" fmla="*/ 7830 h 10000"/>
              <a:gd name="connsiteX202" fmla="*/ 3422 w 10005"/>
              <a:gd name="connsiteY202" fmla="*/ 7675 h 10000"/>
              <a:gd name="connsiteX203" fmla="*/ 3511 w 10005"/>
              <a:gd name="connsiteY203" fmla="*/ 7598 h 10000"/>
              <a:gd name="connsiteX204" fmla="*/ 3556 w 10005"/>
              <a:gd name="connsiteY204" fmla="*/ 7830 h 10000"/>
              <a:gd name="connsiteX205" fmla="*/ 3733 w 10005"/>
              <a:gd name="connsiteY205" fmla="*/ 8372 h 10000"/>
              <a:gd name="connsiteX206" fmla="*/ 3777 w 10005"/>
              <a:gd name="connsiteY206" fmla="*/ 8217 h 10000"/>
              <a:gd name="connsiteX207" fmla="*/ 3823 w 10005"/>
              <a:gd name="connsiteY207" fmla="*/ 8372 h 10000"/>
              <a:gd name="connsiteX208" fmla="*/ 3956 w 10005"/>
              <a:gd name="connsiteY208" fmla="*/ 8295 h 10000"/>
              <a:gd name="connsiteX209" fmla="*/ 4090 w 10005"/>
              <a:gd name="connsiteY209" fmla="*/ 8528 h 10000"/>
              <a:gd name="connsiteX210" fmla="*/ 4177 w 10005"/>
              <a:gd name="connsiteY210" fmla="*/ 8605 h 10000"/>
              <a:gd name="connsiteX211" fmla="*/ 4177 w 10005"/>
              <a:gd name="connsiteY211" fmla="*/ 8528 h 10000"/>
              <a:gd name="connsiteX212" fmla="*/ 4221 w 10005"/>
              <a:gd name="connsiteY212" fmla="*/ 8683 h 10000"/>
              <a:gd name="connsiteX213" fmla="*/ 4177 w 10005"/>
              <a:gd name="connsiteY213" fmla="*/ 8760 h 10000"/>
              <a:gd name="connsiteX214" fmla="*/ 4267 w 10005"/>
              <a:gd name="connsiteY214" fmla="*/ 8683 h 10000"/>
              <a:gd name="connsiteX215" fmla="*/ 4309 w 10005"/>
              <a:gd name="connsiteY215" fmla="*/ 8605 h 10000"/>
              <a:gd name="connsiteX216" fmla="*/ 4533 w 10005"/>
              <a:gd name="connsiteY216" fmla="*/ 8372 h 10000"/>
              <a:gd name="connsiteX217" fmla="*/ 4710 w 10005"/>
              <a:gd name="connsiteY217" fmla="*/ 8449 h 10000"/>
              <a:gd name="connsiteX218" fmla="*/ 4798 w 10005"/>
              <a:gd name="connsiteY218" fmla="*/ 8528 h 10000"/>
              <a:gd name="connsiteX219" fmla="*/ 4975 w 10005"/>
              <a:gd name="connsiteY219" fmla="*/ 8528 h 10000"/>
              <a:gd name="connsiteX220" fmla="*/ 4975 w 10005"/>
              <a:gd name="connsiteY220" fmla="*/ 8372 h 10000"/>
              <a:gd name="connsiteX221" fmla="*/ 4975 w 10005"/>
              <a:gd name="connsiteY221" fmla="*/ 8217 h 10000"/>
              <a:gd name="connsiteX222" fmla="*/ 5065 w 10005"/>
              <a:gd name="connsiteY222" fmla="*/ 8140 h 10000"/>
              <a:gd name="connsiteX223" fmla="*/ 5243 w 10005"/>
              <a:gd name="connsiteY223" fmla="*/ 8217 h 10000"/>
              <a:gd name="connsiteX224" fmla="*/ 5331 w 10005"/>
              <a:gd name="connsiteY224" fmla="*/ 8449 h 10000"/>
              <a:gd name="connsiteX225" fmla="*/ 5378 w 10005"/>
              <a:gd name="connsiteY225" fmla="*/ 8449 h 10000"/>
              <a:gd name="connsiteX226" fmla="*/ 5466 w 10005"/>
              <a:gd name="connsiteY226" fmla="*/ 8372 h 10000"/>
              <a:gd name="connsiteX227" fmla="*/ 5735 w 10005"/>
              <a:gd name="connsiteY227" fmla="*/ 8605 h 10000"/>
              <a:gd name="connsiteX228" fmla="*/ 5867 w 10005"/>
              <a:gd name="connsiteY228" fmla="*/ 8683 h 10000"/>
              <a:gd name="connsiteX229" fmla="*/ 6044 w 10005"/>
              <a:gd name="connsiteY229" fmla="*/ 8605 h 10000"/>
              <a:gd name="connsiteX230" fmla="*/ 6132 w 10005"/>
              <a:gd name="connsiteY230" fmla="*/ 8449 h 10000"/>
              <a:gd name="connsiteX231" fmla="*/ 6265 w 10005"/>
              <a:gd name="connsiteY231" fmla="*/ 8528 h 10000"/>
              <a:gd name="connsiteX232" fmla="*/ 6354 w 10005"/>
              <a:gd name="connsiteY232" fmla="*/ 8605 h 10000"/>
              <a:gd name="connsiteX233" fmla="*/ 7865 w 10005"/>
              <a:gd name="connsiteY233" fmla="*/ 7675 h 10000"/>
              <a:gd name="connsiteX234" fmla="*/ 7778 w 10005"/>
              <a:gd name="connsiteY234" fmla="*/ 7675 h 10000"/>
              <a:gd name="connsiteX235" fmla="*/ 7733 w 10005"/>
              <a:gd name="connsiteY235" fmla="*/ 7675 h 10000"/>
              <a:gd name="connsiteX236" fmla="*/ 7687 w 10005"/>
              <a:gd name="connsiteY236" fmla="*/ 7598 h 10000"/>
              <a:gd name="connsiteX237" fmla="*/ 7600 w 10005"/>
              <a:gd name="connsiteY237" fmla="*/ 7598 h 10000"/>
              <a:gd name="connsiteX238" fmla="*/ 7600 w 10005"/>
              <a:gd name="connsiteY238" fmla="*/ 7520 h 10000"/>
              <a:gd name="connsiteX239" fmla="*/ 7733 w 10005"/>
              <a:gd name="connsiteY239" fmla="*/ 7287 h 10000"/>
              <a:gd name="connsiteX240" fmla="*/ 8135 w 10005"/>
              <a:gd name="connsiteY240" fmla="*/ 6590 h 10000"/>
              <a:gd name="connsiteX241" fmla="*/ 8310 w 10005"/>
              <a:gd name="connsiteY241" fmla="*/ 6512 h 10000"/>
              <a:gd name="connsiteX242" fmla="*/ 8353 w 10005"/>
              <a:gd name="connsiteY242" fmla="*/ 6590 h 10000"/>
              <a:gd name="connsiteX243" fmla="*/ 8401 w 10005"/>
              <a:gd name="connsiteY243" fmla="*/ 6512 h 10000"/>
              <a:gd name="connsiteX244" fmla="*/ 8530 w 10005"/>
              <a:gd name="connsiteY244" fmla="*/ 6590 h 10000"/>
              <a:gd name="connsiteX245" fmla="*/ 8579 w 10005"/>
              <a:gd name="connsiteY245" fmla="*/ 6434 h 10000"/>
              <a:gd name="connsiteX246" fmla="*/ 8709 w 10005"/>
              <a:gd name="connsiteY246" fmla="*/ 6512 h 10000"/>
              <a:gd name="connsiteX247" fmla="*/ 8754 w 10005"/>
              <a:gd name="connsiteY247" fmla="*/ 6512 h 10000"/>
              <a:gd name="connsiteX248" fmla="*/ 8709 w 10005"/>
              <a:gd name="connsiteY248" fmla="*/ 6590 h 10000"/>
              <a:gd name="connsiteX249" fmla="*/ 8709 w 10005"/>
              <a:gd name="connsiteY249" fmla="*/ 6667 h 10000"/>
              <a:gd name="connsiteX250" fmla="*/ 8976 w 10005"/>
              <a:gd name="connsiteY250" fmla="*/ 6590 h 10000"/>
              <a:gd name="connsiteX251" fmla="*/ 8932 w 10005"/>
              <a:gd name="connsiteY251" fmla="*/ 6512 h 10000"/>
              <a:gd name="connsiteX252" fmla="*/ 9111 w 10005"/>
              <a:gd name="connsiteY252" fmla="*/ 5969 h 10000"/>
              <a:gd name="connsiteX253" fmla="*/ 9330 w 10005"/>
              <a:gd name="connsiteY253" fmla="*/ 5892 h 10000"/>
              <a:gd name="connsiteX254" fmla="*/ 9330 w 10005"/>
              <a:gd name="connsiteY254" fmla="*/ 6047 h 10000"/>
              <a:gd name="connsiteX255" fmla="*/ 9330 w 10005"/>
              <a:gd name="connsiteY255" fmla="*/ 6202 h 10000"/>
              <a:gd name="connsiteX256" fmla="*/ 9553 w 10005"/>
              <a:gd name="connsiteY256" fmla="*/ 5969 h 10000"/>
              <a:gd name="connsiteX257" fmla="*/ 9553 w 10005"/>
              <a:gd name="connsiteY257" fmla="*/ 5737 h 10000"/>
              <a:gd name="connsiteX258" fmla="*/ 9643 w 10005"/>
              <a:gd name="connsiteY258" fmla="*/ 5737 h 10000"/>
              <a:gd name="connsiteX259" fmla="*/ 9595 w 10005"/>
              <a:gd name="connsiteY259" fmla="*/ 5814 h 10000"/>
              <a:gd name="connsiteX260" fmla="*/ 9553 w 10005"/>
              <a:gd name="connsiteY260" fmla="*/ 6202 h 10000"/>
              <a:gd name="connsiteX261" fmla="*/ 9465 w 10005"/>
              <a:gd name="connsiteY261" fmla="*/ 6279 h 10000"/>
              <a:gd name="connsiteX262" fmla="*/ 9553 w 10005"/>
              <a:gd name="connsiteY262" fmla="*/ 6590 h 10000"/>
              <a:gd name="connsiteX263" fmla="*/ 9553 w 10005"/>
              <a:gd name="connsiteY263" fmla="*/ 6434 h 10000"/>
              <a:gd name="connsiteX264" fmla="*/ 9643 w 10005"/>
              <a:gd name="connsiteY264" fmla="*/ 6434 h 10000"/>
              <a:gd name="connsiteX265" fmla="*/ 9777 w 10005"/>
              <a:gd name="connsiteY265" fmla="*/ 6279 h 10000"/>
              <a:gd name="connsiteX266" fmla="*/ 9777 w 10005"/>
              <a:gd name="connsiteY266" fmla="*/ 6434 h 10000"/>
              <a:gd name="connsiteX267" fmla="*/ 9820 w 10005"/>
              <a:gd name="connsiteY267" fmla="*/ 6356 h 10000"/>
              <a:gd name="connsiteX268" fmla="*/ 10000 w 10005"/>
              <a:gd name="connsiteY268" fmla="*/ 3876 h 10000"/>
              <a:gd name="connsiteX269" fmla="*/ 9909 w 10005"/>
              <a:gd name="connsiteY269" fmla="*/ 3721 h 10000"/>
              <a:gd name="connsiteX270" fmla="*/ 9955 w 10005"/>
              <a:gd name="connsiteY270" fmla="*/ 3584 h 10000"/>
              <a:gd name="connsiteX271" fmla="*/ 10000 w 10005"/>
              <a:gd name="connsiteY271" fmla="*/ 3488 h 10000"/>
              <a:gd name="connsiteX272" fmla="*/ 9820 w 10005"/>
              <a:gd name="connsiteY272" fmla="*/ 3644 h 10000"/>
              <a:gd name="connsiteX273" fmla="*/ 9595 w 10005"/>
              <a:gd name="connsiteY273" fmla="*/ 3566 h 10000"/>
              <a:gd name="connsiteX274" fmla="*/ 9378 w 10005"/>
              <a:gd name="connsiteY274" fmla="*/ 3566 h 10000"/>
              <a:gd name="connsiteX275" fmla="*/ 9287 w 10005"/>
              <a:gd name="connsiteY275" fmla="*/ 3488 h 10000"/>
              <a:gd name="connsiteX276" fmla="*/ 9330 w 10005"/>
              <a:gd name="connsiteY276" fmla="*/ 3333 h 10000"/>
              <a:gd name="connsiteX277" fmla="*/ 9241 w 10005"/>
              <a:gd name="connsiteY277" fmla="*/ 3101 h 10000"/>
              <a:gd name="connsiteX278" fmla="*/ 9063 w 10005"/>
              <a:gd name="connsiteY278" fmla="*/ 3023 h 10000"/>
              <a:gd name="connsiteX279" fmla="*/ 8800 w 10005"/>
              <a:gd name="connsiteY279" fmla="*/ 3178 h 10000"/>
              <a:gd name="connsiteX280" fmla="*/ 8754 w 10005"/>
              <a:gd name="connsiteY280" fmla="*/ 2946 h 10000"/>
              <a:gd name="connsiteX281" fmla="*/ 8666 w 10005"/>
              <a:gd name="connsiteY281" fmla="*/ 2946 h 10000"/>
              <a:gd name="connsiteX282" fmla="*/ 8621 w 10005"/>
              <a:gd name="connsiteY282" fmla="*/ 2868 h 10000"/>
              <a:gd name="connsiteX283" fmla="*/ 8621 w 10005"/>
              <a:gd name="connsiteY283" fmla="*/ 2636 h 10000"/>
              <a:gd name="connsiteX284" fmla="*/ 8310 w 10005"/>
              <a:gd name="connsiteY284" fmla="*/ 2480 h 10000"/>
              <a:gd name="connsiteX285" fmla="*/ 7955 w 10005"/>
              <a:gd name="connsiteY285" fmla="*/ 2325 h 10000"/>
              <a:gd name="connsiteX286" fmla="*/ 7865 w 10005"/>
              <a:gd name="connsiteY286" fmla="*/ 2636 h 10000"/>
              <a:gd name="connsiteX287" fmla="*/ 7955 w 10005"/>
              <a:gd name="connsiteY287" fmla="*/ 2868 h 10000"/>
              <a:gd name="connsiteX288" fmla="*/ 7687 w 10005"/>
              <a:gd name="connsiteY288" fmla="*/ 2868 h 10000"/>
              <a:gd name="connsiteX289" fmla="*/ 7642 w 10005"/>
              <a:gd name="connsiteY289" fmla="*/ 2868 h 10000"/>
              <a:gd name="connsiteX290" fmla="*/ 7554 w 10005"/>
              <a:gd name="connsiteY290" fmla="*/ 2946 h 10000"/>
              <a:gd name="connsiteX291" fmla="*/ 7421 w 10005"/>
              <a:gd name="connsiteY291" fmla="*/ 2714 h 10000"/>
              <a:gd name="connsiteX292" fmla="*/ 7331 w 10005"/>
              <a:gd name="connsiteY292" fmla="*/ 3178 h 10000"/>
              <a:gd name="connsiteX293" fmla="*/ 7245 w 10005"/>
              <a:gd name="connsiteY293" fmla="*/ 3101 h 10000"/>
              <a:gd name="connsiteX294" fmla="*/ 7154 w 10005"/>
              <a:gd name="connsiteY294" fmla="*/ 2791 h 10000"/>
              <a:gd name="connsiteX295" fmla="*/ 7200 w 10005"/>
              <a:gd name="connsiteY295" fmla="*/ 2403 h 10000"/>
              <a:gd name="connsiteX296" fmla="*/ 7111 w 10005"/>
              <a:gd name="connsiteY296" fmla="*/ 2170 h 10000"/>
              <a:gd name="connsiteX297" fmla="*/ 6843 w 10005"/>
              <a:gd name="connsiteY297" fmla="*/ 2016 h 10000"/>
              <a:gd name="connsiteX298" fmla="*/ 6753 w 10005"/>
              <a:gd name="connsiteY298" fmla="*/ 2016 h 10000"/>
              <a:gd name="connsiteX299" fmla="*/ 6710 w 10005"/>
              <a:gd name="connsiteY299" fmla="*/ 2170 h 10000"/>
              <a:gd name="connsiteX300" fmla="*/ 6753 w 10005"/>
              <a:gd name="connsiteY300" fmla="*/ 2325 h 10000"/>
              <a:gd name="connsiteX301" fmla="*/ 6402 w 10005"/>
              <a:gd name="connsiteY301" fmla="*/ 2248 h 10000"/>
              <a:gd name="connsiteX302" fmla="*/ 6443 w 10005"/>
              <a:gd name="connsiteY302" fmla="*/ 2016 h 10000"/>
              <a:gd name="connsiteX303" fmla="*/ 6223 w 10005"/>
              <a:gd name="connsiteY303" fmla="*/ 1938 h 10000"/>
              <a:gd name="connsiteX304" fmla="*/ 6088 w 10005"/>
              <a:gd name="connsiteY304" fmla="*/ 2093 h 10000"/>
              <a:gd name="connsiteX305" fmla="*/ 5826 w 10005"/>
              <a:gd name="connsiteY305" fmla="*/ 1861 h 10000"/>
              <a:gd name="connsiteX0" fmla="*/ 5826 w 10000"/>
              <a:gd name="connsiteY0" fmla="*/ 1861 h 10000"/>
              <a:gd name="connsiteX1" fmla="*/ 5826 w 10000"/>
              <a:gd name="connsiteY1" fmla="*/ 1861 h 10000"/>
              <a:gd name="connsiteX2" fmla="*/ 5777 w 10000"/>
              <a:gd name="connsiteY2" fmla="*/ 1938 h 10000"/>
              <a:gd name="connsiteX3" fmla="*/ 5826 w 10000"/>
              <a:gd name="connsiteY3" fmla="*/ 2093 h 10000"/>
              <a:gd name="connsiteX4" fmla="*/ 5643 w 10000"/>
              <a:gd name="connsiteY4" fmla="*/ 2248 h 10000"/>
              <a:gd name="connsiteX5" fmla="*/ 5597 w 10000"/>
              <a:gd name="connsiteY5" fmla="*/ 2248 h 10000"/>
              <a:gd name="connsiteX6" fmla="*/ 5643 w 10000"/>
              <a:gd name="connsiteY6" fmla="*/ 2016 h 10000"/>
              <a:gd name="connsiteX7" fmla="*/ 6088 w 10000"/>
              <a:gd name="connsiteY7" fmla="*/ 1318 h 10000"/>
              <a:gd name="connsiteX8" fmla="*/ 6088 w 10000"/>
              <a:gd name="connsiteY8" fmla="*/ 853 h 10000"/>
              <a:gd name="connsiteX9" fmla="*/ 5911 w 10000"/>
              <a:gd name="connsiteY9" fmla="*/ 543 h 10000"/>
              <a:gd name="connsiteX10" fmla="*/ 5689 w 10000"/>
              <a:gd name="connsiteY10" fmla="*/ 543 h 10000"/>
              <a:gd name="connsiteX11" fmla="*/ 5689 w 10000"/>
              <a:gd name="connsiteY11" fmla="*/ 698 h 10000"/>
              <a:gd name="connsiteX12" fmla="*/ 5553 w 10000"/>
              <a:gd name="connsiteY12" fmla="*/ 698 h 10000"/>
              <a:gd name="connsiteX13" fmla="*/ 5643 w 10000"/>
              <a:gd name="connsiteY13" fmla="*/ 387 h 10000"/>
              <a:gd name="connsiteX14" fmla="*/ 5422 w 10000"/>
              <a:gd name="connsiteY14" fmla="*/ 310 h 10000"/>
              <a:gd name="connsiteX15" fmla="*/ 5553 w 10000"/>
              <a:gd name="connsiteY15" fmla="*/ 155 h 10000"/>
              <a:gd name="connsiteX16" fmla="*/ 5422 w 10000"/>
              <a:gd name="connsiteY16" fmla="*/ 0 h 10000"/>
              <a:gd name="connsiteX17" fmla="*/ 5199 w 10000"/>
              <a:gd name="connsiteY17" fmla="*/ 387 h 10000"/>
              <a:gd name="connsiteX18" fmla="*/ 5199 w 10000"/>
              <a:gd name="connsiteY18" fmla="*/ 698 h 10000"/>
              <a:gd name="connsiteX19" fmla="*/ 5065 w 10000"/>
              <a:gd name="connsiteY19" fmla="*/ 698 h 10000"/>
              <a:gd name="connsiteX20" fmla="*/ 4666 w 10000"/>
              <a:gd name="connsiteY20" fmla="*/ 853 h 10000"/>
              <a:gd name="connsiteX21" fmla="*/ 4309 w 10000"/>
              <a:gd name="connsiteY21" fmla="*/ 1240 h 10000"/>
              <a:gd name="connsiteX22" fmla="*/ 4177 w 10000"/>
              <a:gd name="connsiteY22" fmla="*/ 1551 h 10000"/>
              <a:gd name="connsiteX23" fmla="*/ 4221 w 10000"/>
              <a:gd name="connsiteY23" fmla="*/ 1938 h 10000"/>
              <a:gd name="connsiteX24" fmla="*/ 3733 w 10000"/>
              <a:gd name="connsiteY24" fmla="*/ 2093 h 10000"/>
              <a:gd name="connsiteX25" fmla="*/ 3777 w 10000"/>
              <a:gd name="connsiteY25" fmla="*/ 2559 h 10000"/>
              <a:gd name="connsiteX26" fmla="*/ 3912 w 10000"/>
              <a:gd name="connsiteY26" fmla="*/ 2791 h 10000"/>
              <a:gd name="connsiteX27" fmla="*/ 3823 w 10000"/>
              <a:gd name="connsiteY27" fmla="*/ 2868 h 10000"/>
              <a:gd name="connsiteX28" fmla="*/ 3689 w 10000"/>
              <a:gd name="connsiteY28" fmla="*/ 2559 h 10000"/>
              <a:gd name="connsiteX29" fmla="*/ 3556 w 10000"/>
              <a:gd name="connsiteY29" fmla="*/ 2480 h 10000"/>
              <a:gd name="connsiteX30" fmla="*/ 3511 w 10000"/>
              <a:gd name="connsiteY30" fmla="*/ 2559 h 10000"/>
              <a:gd name="connsiteX31" fmla="*/ 3422 w 10000"/>
              <a:gd name="connsiteY31" fmla="*/ 2403 h 10000"/>
              <a:gd name="connsiteX32" fmla="*/ 3333 w 10000"/>
              <a:gd name="connsiteY32" fmla="*/ 2248 h 10000"/>
              <a:gd name="connsiteX33" fmla="*/ 3333 w 10000"/>
              <a:gd name="connsiteY33" fmla="*/ 2325 h 10000"/>
              <a:gd name="connsiteX34" fmla="*/ 3380 w 10000"/>
              <a:gd name="connsiteY34" fmla="*/ 2559 h 10000"/>
              <a:gd name="connsiteX35" fmla="*/ 3243 w 10000"/>
              <a:gd name="connsiteY35" fmla="*/ 2946 h 10000"/>
              <a:gd name="connsiteX36" fmla="*/ 3333 w 10000"/>
              <a:gd name="connsiteY36" fmla="*/ 3256 h 10000"/>
              <a:gd name="connsiteX37" fmla="*/ 3286 w 10000"/>
              <a:gd name="connsiteY37" fmla="*/ 3566 h 10000"/>
              <a:gd name="connsiteX38" fmla="*/ 3286 w 10000"/>
              <a:gd name="connsiteY38" fmla="*/ 3799 h 10000"/>
              <a:gd name="connsiteX39" fmla="*/ 3422 w 10000"/>
              <a:gd name="connsiteY39" fmla="*/ 3799 h 10000"/>
              <a:gd name="connsiteX40" fmla="*/ 3333 w 10000"/>
              <a:gd name="connsiteY40" fmla="*/ 3876 h 10000"/>
              <a:gd name="connsiteX41" fmla="*/ 3380 w 10000"/>
              <a:gd name="connsiteY41" fmla="*/ 4263 h 10000"/>
              <a:gd name="connsiteX42" fmla="*/ 3110 w 10000"/>
              <a:gd name="connsiteY42" fmla="*/ 4652 h 10000"/>
              <a:gd name="connsiteX43" fmla="*/ 3065 w 10000"/>
              <a:gd name="connsiteY43" fmla="*/ 4574 h 10000"/>
              <a:gd name="connsiteX44" fmla="*/ 3243 w 10000"/>
              <a:gd name="connsiteY44" fmla="*/ 4186 h 10000"/>
              <a:gd name="connsiteX45" fmla="*/ 3286 w 10000"/>
              <a:gd name="connsiteY45" fmla="*/ 3954 h 10000"/>
              <a:gd name="connsiteX46" fmla="*/ 3195 w 10000"/>
              <a:gd name="connsiteY46" fmla="*/ 3799 h 10000"/>
              <a:gd name="connsiteX47" fmla="*/ 3195 w 10000"/>
              <a:gd name="connsiteY47" fmla="*/ 3023 h 10000"/>
              <a:gd name="connsiteX48" fmla="*/ 3155 w 10000"/>
              <a:gd name="connsiteY48" fmla="*/ 2868 h 10000"/>
              <a:gd name="connsiteX49" fmla="*/ 3195 w 10000"/>
              <a:gd name="connsiteY49" fmla="*/ 2403 h 10000"/>
              <a:gd name="connsiteX50" fmla="*/ 3110 w 10000"/>
              <a:gd name="connsiteY50" fmla="*/ 2325 h 10000"/>
              <a:gd name="connsiteX51" fmla="*/ 3155 w 10000"/>
              <a:gd name="connsiteY51" fmla="*/ 2248 h 10000"/>
              <a:gd name="connsiteX52" fmla="*/ 3110 w 10000"/>
              <a:gd name="connsiteY52" fmla="*/ 2093 h 10000"/>
              <a:gd name="connsiteX53" fmla="*/ 3018 w 10000"/>
              <a:gd name="connsiteY53" fmla="*/ 2170 h 10000"/>
              <a:gd name="connsiteX54" fmla="*/ 2799 w 10000"/>
              <a:gd name="connsiteY54" fmla="*/ 3178 h 10000"/>
              <a:gd name="connsiteX55" fmla="*/ 2799 w 10000"/>
              <a:gd name="connsiteY55" fmla="*/ 3566 h 10000"/>
              <a:gd name="connsiteX56" fmla="*/ 2932 w 10000"/>
              <a:gd name="connsiteY56" fmla="*/ 3876 h 10000"/>
              <a:gd name="connsiteX57" fmla="*/ 2932 w 10000"/>
              <a:gd name="connsiteY57" fmla="*/ 4031 h 10000"/>
              <a:gd name="connsiteX58" fmla="*/ 2799 w 10000"/>
              <a:gd name="connsiteY58" fmla="*/ 3876 h 10000"/>
              <a:gd name="connsiteX59" fmla="*/ 2268 w 10000"/>
              <a:gd name="connsiteY59" fmla="*/ 3256 h 10000"/>
              <a:gd name="connsiteX60" fmla="*/ 2222 w 10000"/>
              <a:gd name="connsiteY60" fmla="*/ 3411 h 10000"/>
              <a:gd name="connsiteX61" fmla="*/ 2400 w 10000"/>
              <a:gd name="connsiteY61" fmla="*/ 3799 h 10000"/>
              <a:gd name="connsiteX62" fmla="*/ 2310 w 10000"/>
              <a:gd name="connsiteY62" fmla="*/ 3876 h 10000"/>
              <a:gd name="connsiteX63" fmla="*/ 2268 w 10000"/>
              <a:gd name="connsiteY63" fmla="*/ 3799 h 10000"/>
              <a:gd name="connsiteX64" fmla="*/ 2001 w 10000"/>
              <a:gd name="connsiteY64" fmla="*/ 3954 h 10000"/>
              <a:gd name="connsiteX65" fmla="*/ 1956 w 10000"/>
              <a:gd name="connsiteY65" fmla="*/ 4109 h 10000"/>
              <a:gd name="connsiteX66" fmla="*/ 1911 w 10000"/>
              <a:gd name="connsiteY66" fmla="*/ 3954 h 10000"/>
              <a:gd name="connsiteX67" fmla="*/ 1911 w 10000"/>
              <a:gd name="connsiteY67" fmla="*/ 3799 h 10000"/>
              <a:gd name="connsiteX68" fmla="*/ 1465 w 10000"/>
              <a:gd name="connsiteY68" fmla="*/ 4263 h 10000"/>
              <a:gd name="connsiteX69" fmla="*/ 1465 w 10000"/>
              <a:gd name="connsiteY69" fmla="*/ 4418 h 10000"/>
              <a:gd name="connsiteX70" fmla="*/ 1379 w 10000"/>
              <a:gd name="connsiteY70" fmla="*/ 4496 h 10000"/>
              <a:gd name="connsiteX71" fmla="*/ 1244 w 10000"/>
              <a:gd name="connsiteY71" fmla="*/ 4341 h 10000"/>
              <a:gd name="connsiteX72" fmla="*/ 1379 w 10000"/>
              <a:gd name="connsiteY72" fmla="*/ 4186 h 10000"/>
              <a:gd name="connsiteX73" fmla="*/ 1334 w 10000"/>
              <a:gd name="connsiteY73" fmla="*/ 3954 h 10000"/>
              <a:gd name="connsiteX74" fmla="*/ 1157 w 10000"/>
              <a:gd name="connsiteY74" fmla="*/ 3876 h 10000"/>
              <a:gd name="connsiteX75" fmla="*/ 1202 w 10000"/>
              <a:gd name="connsiteY75" fmla="*/ 4031 h 10000"/>
              <a:gd name="connsiteX76" fmla="*/ 1202 w 10000"/>
              <a:gd name="connsiteY76" fmla="*/ 4418 h 10000"/>
              <a:gd name="connsiteX77" fmla="*/ 1244 w 10000"/>
              <a:gd name="connsiteY77" fmla="*/ 4574 h 10000"/>
              <a:gd name="connsiteX78" fmla="*/ 1202 w 10000"/>
              <a:gd name="connsiteY78" fmla="*/ 4729 h 10000"/>
              <a:gd name="connsiteX79" fmla="*/ 1065 w 10000"/>
              <a:gd name="connsiteY79" fmla="*/ 4652 h 10000"/>
              <a:gd name="connsiteX80" fmla="*/ 888 w 10000"/>
              <a:gd name="connsiteY80" fmla="*/ 4884 h 10000"/>
              <a:gd name="connsiteX81" fmla="*/ 976 w 10000"/>
              <a:gd name="connsiteY81" fmla="*/ 5194 h 10000"/>
              <a:gd name="connsiteX82" fmla="*/ 710 w 10000"/>
              <a:gd name="connsiteY82" fmla="*/ 5039 h 10000"/>
              <a:gd name="connsiteX83" fmla="*/ 667 w 10000"/>
              <a:gd name="connsiteY83" fmla="*/ 5116 h 10000"/>
              <a:gd name="connsiteX84" fmla="*/ 756 w 10000"/>
              <a:gd name="connsiteY84" fmla="*/ 5349 h 10000"/>
              <a:gd name="connsiteX85" fmla="*/ 667 w 10000"/>
              <a:gd name="connsiteY85" fmla="*/ 5349 h 10000"/>
              <a:gd name="connsiteX86" fmla="*/ 534 w 10000"/>
              <a:gd name="connsiteY86" fmla="*/ 5194 h 10000"/>
              <a:gd name="connsiteX87" fmla="*/ 534 w 10000"/>
              <a:gd name="connsiteY87" fmla="*/ 4729 h 10000"/>
              <a:gd name="connsiteX88" fmla="*/ 402 w 10000"/>
              <a:gd name="connsiteY88" fmla="*/ 4574 h 10000"/>
              <a:gd name="connsiteX89" fmla="*/ 355 w 10000"/>
              <a:gd name="connsiteY89" fmla="*/ 4418 h 10000"/>
              <a:gd name="connsiteX90" fmla="*/ 445 w 10000"/>
              <a:gd name="connsiteY90" fmla="*/ 4496 h 10000"/>
              <a:gd name="connsiteX91" fmla="*/ 799 w 10000"/>
              <a:gd name="connsiteY91" fmla="*/ 4729 h 10000"/>
              <a:gd name="connsiteX92" fmla="*/ 1021 w 10000"/>
              <a:gd name="connsiteY92" fmla="*/ 4496 h 10000"/>
              <a:gd name="connsiteX93" fmla="*/ 976 w 10000"/>
              <a:gd name="connsiteY93" fmla="*/ 4263 h 10000"/>
              <a:gd name="connsiteX94" fmla="*/ 710 w 10000"/>
              <a:gd name="connsiteY94" fmla="*/ 3799 h 10000"/>
              <a:gd name="connsiteX95" fmla="*/ 445 w 10000"/>
              <a:gd name="connsiteY95" fmla="*/ 3644 h 10000"/>
              <a:gd name="connsiteX96" fmla="*/ 445 w 10000"/>
              <a:gd name="connsiteY96" fmla="*/ 3566 h 10000"/>
              <a:gd name="connsiteX97" fmla="*/ 355 w 10000"/>
              <a:gd name="connsiteY97" fmla="*/ 3488 h 10000"/>
              <a:gd name="connsiteX98" fmla="*/ 265 w 10000"/>
              <a:gd name="connsiteY98" fmla="*/ 3566 h 10000"/>
              <a:gd name="connsiteX99" fmla="*/ 265 w 10000"/>
              <a:gd name="connsiteY99" fmla="*/ 3644 h 10000"/>
              <a:gd name="connsiteX100" fmla="*/ 223 w 10000"/>
              <a:gd name="connsiteY100" fmla="*/ 3644 h 10000"/>
              <a:gd name="connsiteX101" fmla="*/ 133 w 10000"/>
              <a:gd name="connsiteY101" fmla="*/ 3799 h 10000"/>
              <a:gd name="connsiteX102" fmla="*/ 133 w 10000"/>
              <a:gd name="connsiteY102" fmla="*/ 4031 h 10000"/>
              <a:gd name="connsiteX103" fmla="*/ 223 w 10000"/>
              <a:gd name="connsiteY103" fmla="*/ 4186 h 10000"/>
              <a:gd name="connsiteX104" fmla="*/ 177 w 10000"/>
              <a:gd name="connsiteY104" fmla="*/ 4418 h 10000"/>
              <a:gd name="connsiteX105" fmla="*/ 223 w 10000"/>
              <a:gd name="connsiteY105" fmla="*/ 4807 h 10000"/>
              <a:gd name="connsiteX106" fmla="*/ 177 w 10000"/>
              <a:gd name="connsiteY106" fmla="*/ 5039 h 10000"/>
              <a:gd name="connsiteX107" fmla="*/ 265 w 10000"/>
              <a:gd name="connsiteY107" fmla="*/ 5271 h 10000"/>
              <a:gd name="connsiteX108" fmla="*/ 223 w 10000"/>
              <a:gd name="connsiteY108" fmla="*/ 5426 h 10000"/>
              <a:gd name="connsiteX109" fmla="*/ 310 w 10000"/>
              <a:gd name="connsiteY109" fmla="*/ 5582 h 10000"/>
              <a:gd name="connsiteX110" fmla="*/ 310 w 10000"/>
              <a:gd name="connsiteY110" fmla="*/ 5659 h 10000"/>
              <a:gd name="connsiteX111" fmla="*/ 177 w 10000"/>
              <a:gd name="connsiteY111" fmla="*/ 6047 h 10000"/>
              <a:gd name="connsiteX112" fmla="*/ 42 w 10000"/>
              <a:gd name="connsiteY112" fmla="*/ 6202 h 10000"/>
              <a:gd name="connsiteX113" fmla="*/ 88 w 10000"/>
              <a:gd name="connsiteY113" fmla="*/ 6202 h 10000"/>
              <a:gd name="connsiteX114" fmla="*/ 177 w 10000"/>
              <a:gd name="connsiteY114" fmla="*/ 6356 h 10000"/>
              <a:gd name="connsiteX115" fmla="*/ 88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88 w 10000"/>
              <a:gd name="connsiteY122" fmla="*/ 7209 h 10000"/>
              <a:gd name="connsiteX123" fmla="*/ 223 w 10000"/>
              <a:gd name="connsiteY123" fmla="*/ 7287 h 10000"/>
              <a:gd name="connsiteX124" fmla="*/ 265 w 10000"/>
              <a:gd name="connsiteY124" fmla="*/ 7364 h 10000"/>
              <a:gd name="connsiteX125" fmla="*/ 265 w 10000"/>
              <a:gd name="connsiteY125" fmla="*/ 7520 h 10000"/>
              <a:gd name="connsiteX126" fmla="*/ 355 w 10000"/>
              <a:gd name="connsiteY126" fmla="*/ 7752 h 10000"/>
              <a:gd name="connsiteX127" fmla="*/ 402 w 10000"/>
              <a:gd name="connsiteY127" fmla="*/ 7752 h 10000"/>
              <a:gd name="connsiteX128" fmla="*/ 355 w 10000"/>
              <a:gd name="connsiteY128" fmla="*/ 7907 h 10000"/>
              <a:gd name="connsiteX129" fmla="*/ 310 w 10000"/>
              <a:gd name="connsiteY129" fmla="*/ 7830 h 10000"/>
              <a:gd name="connsiteX130" fmla="*/ 310 w 10000"/>
              <a:gd name="connsiteY130" fmla="*/ 7907 h 10000"/>
              <a:gd name="connsiteX131" fmla="*/ 355 w 10000"/>
              <a:gd name="connsiteY131" fmla="*/ 8062 h 10000"/>
              <a:gd name="connsiteX132" fmla="*/ 490 w 10000"/>
              <a:gd name="connsiteY132" fmla="*/ 8062 h 10000"/>
              <a:gd name="connsiteX133" fmla="*/ 534 w 10000"/>
              <a:gd name="connsiteY133" fmla="*/ 8140 h 10000"/>
              <a:gd name="connsiteX134" fmla="*/ 490 w 10000"/>
              <a:gd name="connsiteY134" fmla="*/ 8140 h 10000"/>
              <a:gd name="connsiteX135" fmla="*/ 534 w 10000"/>
              <a:gd name="connsiteY135" fmla="*/ 8217 h 10000"/>
              <a:gd name="connsiteX136" fmla="*/ 577 w 10000"/>
              <a:gd name="connsiteY136" fmla="*/ 8217 h 10000"/>
              <a:gd name="connsiteX137" fmla="*/ 621 w 10000"/>
              <a:gd name="connsiteY137" fmla="*/ 8372 h 10000"/>
              <a:gd name="connsiteX138" fmla="*/ 667 w 10000"/>
              <a:gd name="connsiteY138" fmla="*/ 8449 h 10000"/>
              <a:gd name="connsiteX139" fmla="*/ 710 w 10000"/>
              <a:gd name="connsiteY139" fmla="*/ 8372 h 10000"/>
              <a:gd name="connsiteX140" fmla="*/ 934 w 10000"/>
              <a:gd name="connsiteY140" fmla="*/ 8605 h 10000"/>
              <a:gd name="connsiteX141" fmla="*/ 888 w 10000"/>
              <a:gd name="connsiteY141" fmla="*/ 8915 h 10000"/>
              <a:gd name="connsiteX142" fmla="*/ 842 w 10000"/>
              <a:gd name="connsiteY142" fmla="*/ 8838 h 10000"/>
              <a:gd name="connsiteX143" fmla="*/ 799 w 10000"/>
              <a:gd name="connsiteY143" fmla="*/ 8915 h 10000"/>
              <a:gd name="connsiteX144" fmla="*/ 799 w 10000"/>
              <a:gd name="connsiteY144" fmla="*/ 9070 h 10000"/>
              <a:gd name="connsiteX145" fmla="*/ 842 w 10000"/>
              <a:gd name="connsiteY145" fmla="*/ 8993 h 10000"/>
              <a:gd name="connsiteX146" fmla="*/ 888 w 10000"/>
              <a:gd name="connsiteY146" fmla="*/ 9070 h 10000"/>
              <a:gd name="connsiteX147" fmla="*/ 756 w 10000"/>
              <a:gd name="connsiteY147" fmla="*/ 9147 h 10000"/>
              <a:gd name="connsiteX148" fmla="*/ 799 w 10000"/>
              <a:gd name="connsiteY148" fmla="*/ 9225 h 10000"/>
              <a:gd name="connsiteX149" fmla="*/ 710 w 10000"/>
              <a:gd name="connsiteY149" fmla="*/ 9380 h 10000"/>
              <a:gd name="connsiteX150" fmla="*/ 667 w 10000"/>
              <a:gd name="connsiteY150" fmla="*/ 9380 h 10000"/>
              <a:gd name="connsiteX151" fmla="*/ 710 w 10000"/>
              <a:gd name="connsiteY151" fmla="*/ 9380 h 10000"/>
              <a:gd name="connsiteX152" fmla="*/ 888 w 10000"/>
              <a:gd name="connsiteY152" fmla="*/ 9691 h 10000"/>
              <a:gd name="connsiteX153" fmla="*/ 1112 w 10000"/>
              <a:gd name="connsiteY153" fmla="*/ 9691 h 10000"/>
              <a:gd name="connsiteX154" fmla="*/ 1202 w 10000"/>
              <a:gd name="connsiteY154" fmla="*/ 9768 h 10000"/>
              <a:gd name="connsiteX155" fmla="*/ 1289 w 10000"/>
              <a:gd name="connsiteY155" fmla="*/ 9768 h 10000"/>
              <a:gd name="connsiteX156" fmla="*/ 1379 w 10000"/>
              <a:gd name="connsiteY156" fmla="*/ 9923 h 10000"/>
              <a:gd name="connsiteX157" fmla="*/ 1422 w 10000"/>
              <a:gd name="connsiteY157" fmla="*/ 10000 h 10000"/>
              <a:gd name="connsiteX158" fmla="*/ 1465 w 10000"/>
              <a:gd name="connsiteY158" fmla="*/ 10000 h 10000"/>
              <a:gd name="connsiteX159" fmla="*/ 1512 w 10000"/>
              <a:gd name="connsiteY159" fmla="*/ 9923 h 10000"/>
              <a:gd name="connsiteX160" fmla="*/ 1422 w 10000"/>
              <a:gd name="connsiteY160" fmla="*/ 9768 h 10000"/>
              <a:gd name="connsiteX161" fmla="*/ 1422 w 10000"/>
              <a:gd name="connsiteY161" fmla="*/ 9613 h 10000"/>
              <a:gd name="connsiteX162" fmla="*/ 1379 w 10000"/>
              <a:gd name="connsiteY162" fmla="*/ 9457 h 10000"/>
              <a:gd name="connsiteX163" fmla="*/ 1465 w 10000"/>
              <a:gd name="connsiteY163" fmla="*/ 9225 h 10000"/>
              <a:gd name="connsiteX164" fmla="*/ 1512 w 10000"/>
              <a:gd name="connsiteY164" fmla="*/ 9302 h 10000"/>
              <a:gd name="connsiteX165" fmla="*/ 1556 w 10000"/>
              <a:gd name="connsiteY165" fmla="*/ 9225 h 10000"/>
              <a:gd name="connsiteX166" fmla="*/ 1556 w 10000"/>
              <a:gd name="connsiteY166" fmla="*/ 9147 h 10000"/>
              <a:gd name="connsiteX167" fmla="*/ 1512 w 10000"/>
              <a:gd name="connsiteY167" fmla="*/ 9147 h 10000"/>
              <a:gd name="connsiteX168" fmla="*/ 1556 w 10000"/>
              <a:gd name="connsiteY168" fmla="*/ 9070 h 10000"/>
              <a:gd name="connsiteX169" fmla="*/ 1512 w 10000"/>
              <a:gd name="connsiteY169" fmla="*/ 8915 h 10000"/>
              <a:gd name="connsiteX170" fmla="*/ 1422 w 10000"/>
              <a:gd name="connsiteY170" fmla="*/ 8915 h 10000"/>
              <a:gd name="connsiteX171" fmla="*/ 1379 w 10000"/>
              <a:gd name="connsiteY171" fmla="*/ 8760 h 10000"/>
              <a:gd name="connsiteX172" fmla="*/ 1422 w 10000"/>
              <a:gd name="connsiteY172" fmla="*/ 8372 h 10000"/>
              <a:gd name="connsiteX173" fmla="*/ 1512 w 10000"/>
              <a:gd name="connsiteY173" fmla="*/ 8528 h 10000"/>
              <a:gd name="connsiteX174" fmla="*/ 1556 w 10000"/>
              <a:gd name="connsiteY174" fmla="*/ 8528 h 10000"/>
              <a:gd name="connsiteX175" fmla="*/ 1512 w 10000"/>
              <a:gd name="connsiteY175" fmla="*/ 8372 h 10000"/>
              <a:gd name="connsiteX176" fmla="*/ 1645 w 10000"/>
              <a:gd name="connsiteY176" fmla="*/ 8140 h 10000"/>
              <a:gd name="connsiteX177" fmla="*/ 1735 w 10000"/>
              <a:gd name="connsiteY177" fmla="*/ 8217 h 10000"/>
              <a:gd name="connsiteX178" fmla="*/ 1777 w 10000"/>
              <a:gd name="connsiteY178" fmla="*/ 8140 h 10000"/>
              <a:gd name="connsiteX179" fmla="*/ 1866 w 10000"/>
              <a:gd name="connsiteY179" fmla="*/ 8217 h 10000"/>
              <a:gd name="connsiteX180" fmla="*/ 2001 w 10000"/>
              <a:gd name="connsiteY180" fmla="*/ 8372 h 10000"/>
              <a:gd name="connsiteX181" fmla="*/ 2089 w 10000"/>
              <a:gd name="connsiteY181" fmla="*/ 8295 h 10000"/>
              <a:gd name="connsiteX182" fmla="*/ 2178 w 10000"/>
              <a:gd name="connsiteY182" fmla="*/ 8295 h 10000"/>
              <a:gd name="connsiteX183" fmla="*/ 2222 w 10000"/>
              <a:gd name="connsiteY183" fmla="*/ 8372 h 10000"/>
              <a:gd name="connsiteX184" fmla="*/ 2400 w 10000"/>
              <a:gd name="connsiteY184" fmla="*/ 8372 h 10000"/>
              <a:gd name="connsiteX185" fmla="*/ 2443 w 10000"/>
              <a:gd name="connsiteY185" fmla="*/ 8217 h 10000"/>
              <a:gd name="connsiteX186" fmla="*/ 2310 w 10000"/>
              <a:gd name="connsiteY186" fmla="*/ 8140 h 10000"/>
              <a:gd name="connsiteX187" fmla="*/ 2400 w 10000"/>
              <a:gd name="connsiteY187" fmla="*/ 8062 h 10000"/>
              <a:gd name="connsiteX188" fmla="*/ 2354 w 10000"/>
              <a:gd name="connsiteY188" fmla="*/ 7985 h 10000"/>
              <a:gd name="connsiteX189" fmla="*/ 2400 w 10000"/>
              <a:gd name="connsiteY189" fmla="*/ 7907 h 10000"/>
              <a:gd name="connsiteX190" fmla="*/ 2400 w 10000"/>
              <a:gd name="connsiteY190" fmla="*/ 7675 h 10000"/>
              <a:gd name="connsiteX191" fmla="*/ 2487 w 10000"/>
              <a:gd name="connsiteY191" fmla="*/ 7752 h 10000"/>
              <a:gd name="connsiteX192" fmla="*/ 2889 w 10000"/>
              <a:gd name="connsiteY192" fmla="*/ 7520 h 10000"/>
              <a:gd name="connsiteX193" fmla="*/ 2889 w 10000"/>
              <a:gd name="connsiteY193" fmla="*/ 7442 h 10000"/>
              <a:gd name="connsiteX194" fmla="*/ 2932 w 10000"/>
              <a:gd name="connsiteY194" fmla="*/ 7442 h 10000"/>
              <a:gd name="connsiteX195" fmla="*/ 3065 w 10000"/>
              <a:gd name="connsiteY195" fmla="*/ 7442 h 10000"/>
              <a:gd name="connsiteX196" fmla="*/ 3110 w 10000"/>
              <a:gd name="connsiteY196" fmla="*/ 7598 h 10000"/>
              <a:gd name="connsiteX197" fmla="*/ 3110 w 10000"/>
              <a:gd name="connsiteY197" fmla="*/ 7675 h 10000"/>
              <a:gd name="connsiteX198" fmla="*/ 3155 w 10000"/>
              <a:gd name="connsiteY198" fmla="*/ 7675 h 10000"/>
              <a:gd name="connsiteX199" fmla="*/ 3243 w 10000"/>
              <a:gd name="connsiteY199" fmla="*/ 7752 h 10000"/>
              <a:gd name="connsiteX200" fmla="*/ 3243 w 10000"/>
              <a:gd name="connsiteY200" fmla="*/ 7830 h 10000"/>
              <a:gd name="connsiteX201" fmla="*/ 3333 w 10000"/>
              <a:gd name="connsiteY201" fmla="*/ 7830 h 10000"/>
              <a:gd name="connsiteX202" fmla="*/ 3422 w 10000"/>
              <a:gd name="connsiteY202" fmla="*/ 7675 h 10000"/>
              <a:gd name="connsiteX203" fmla="*/ 3511 w 10000"/>
              <a:gd name="connsiteY203" fmla="*/ 7598 h 10000"/>
              <a:gd name="connsiteX204" fmla="*/ 3556 w 10000"/>
              <a:gd name="connsiteY204" fmla="*/ 7830 h 10000"/>
              <a:gd name="connsiteX205" fmla="*/ 3733 w 10000"/>
              <a:gd name="connsiteY205" fmla="*/ 8372 h 10000"/>
              <a:gd name="connsiteX206" fmla="*/ 3777 w 10000"/>
              <a:gd name="connsiteY206" fmla="*/ 8217 h 10000"/>
              <a:gd name="connsiteX207" fmla="*/ 3823 w 10000"/>
              <a:gd name="connsiteY207" fmla="*/ 8372 h 10000"/>
              <a:gd name="connsiteX208" fmla="*/ 3956 w 10000"/>
              <a:gd name="connsiteY208" fmla="*/ 8295 h 10000"/>
              <a:gd name="connsiteX209" fmla="*/ 4090 w 10000"/>
              <a:gd name="connsiteY209" fmla="*/ 8528 h 10000"/>
              <a:gd name="connsiteX210" fmla="*/ 4177 w 10000"/>
              <a:gd name="connsiteY210" fmla="*/ 8605 h 10000"/>
              <a:gd name="connsiteX211" fmla="*/ 4177 w 10000"/>
              <a:gd name="connsiteY211" fmla="*/ 8528 h 10000"/>
              <a:gd name="connsiteX212" fmla="*/ 4221 w 10000"/>
              <a:gd name="connsiteY212" fmla="*/ 8683 h 10000"/>
              <a:gd name="connsiteX213" fmla="*/ 4177 w 10000"/>
              <a:gd name="connsiteY213" fmla="*/ 8760 h 10000"/>
              <a:gd name="connsiteX214" fmla="*/ 4267 w 10000"/>
              <a:gd name="connsiteY214" fmla="*/ 8683 h 10000"/>
              <a:gd name="connsiteX215" fmla="*/ 4309 w 10000"/>
              <a:gd name="connsiteY215" fmla="*/ 8605 h 10000"/>
              <a:gd name="connsiteX216" fmla="*/ 4533 w 10000"/>
              <a:gd name="connsiteY216" fmla="*/ 8372 h 10000"/>
              <a:gd name="connsiteX217" fmla="*/ 4710 w 10000"/>
              <a:gd name="connsiteY217" fmla="*/ 8449 h 10000"/>
              <a:gd name="connsiteX218" fmla="*/ 4798 w 10000"/>
              <a:gd name="connsiteY218" fmla="*/ 8528 h 10000"/>
              <a:gd name="connsiteX219" fmla="*/ 4975 w 10000"/>
              <a:gd name="connsiteY219" fmla="*/ 8528 h 10000"/>
              <a:gd name="connsiteX220" fmla="*/ 4975 w 10000"/>
              <a:gd name="connsiteY220" fmla="*/ 8372 h 10000"/>
              <a:gd name="connsiteX221" fmla="*/ 4975 w 10000"/>
              <a:gd name="connsiteY221" fmla="*/ 8217 h 10000"/>
              <a:gd name="connsiteX222" fmla="*/ 5065 w 10000"/>
              <a:gd name="connsiteY222" fmla="*/ 8140 h 10000"/>
              <a:gd name="connsiteX223" fmla="*/ 5243 w 10000"/>
              <a:gd name="connsiteY223" fmla="*/ 8217 h 10000"/>
              <a:gd name="connsiteX224" fmla="*/ 5331 w 10000"/>
              <a:gd name="connsiteY224" fmla="*/ 8449 h 10000"/>
              <a:gd name="connsiteX225" fmla="*/ 5378 w 10000"/>
              <a:gd name="connsiteY225" fmla="*/ 8449 h 10000"/>
              <a:gd name="connsiteX226" fmla="*/ 5466 w 10000"/>
              <a:gd name="connsiteY226" fmla="*/ 8372 h 10000"/>
              <a:gd name="connsiteX227" fmla="*/ 5735 w 10000"/>
              <a:gd name="connsiteY227" fmla="*/ 8605 h 10000"/>
              <a:gd name="connsiteX228" fmla="*/ 5867 w 10000"/>
              <a:gd name="connsiteY228" fmla="*/ 8683 h 10000"/>
              <a:gd name="connsiteX229" fmla="*/ 6044 w 10000"/>
              <a:gd name="connsiteY229" fmla="*/ 8605 h 10000"/>
              <a:gd name="connsiteX230" fmla="*/ 6132 w 10000"/>
              <a:gd name="connsiteY230" fmla="*/ 8449 h 10000"/>
              <a:gd name="connsiteX231" fmla="*/ 6265 w 10000"/>
              <a:gd name="connsiteY231" fmla="*/ 8528 h 10000"/>
              <a:gd name="connsiteX232" fmla="*/ 6354 w 10000"/>
              <a:gd name="connsiteY232" fmla="*/ 8605 h 10000"/>
              <a:gd name="connsiteX233" fmla="*/ 7865 w 10000"/>
              <a:gd name="connsiteY233" fmla="*/ 7675 h 10000"/>
              <a:gd name="connsiteX234" fmla="*/ 7778 w 10000"/>
              <a:gd name="connsiteY234" fmla="*/ 7675 h 10000"/>
              <a:gd name="connsiteX235" fmla="*/ 7733 w 10000"/>
              <a:gd name="connsiteY235" fmla="*/ 7675 h 10000"/>
              <a:gd name="connsiteX236" fmla="*/ 7687 w 10000"/>
              <a:gd name="connsiteY236" fmla="*/ 7598 h 10000"/>
              <a:gd name="connsiteX237" fmla="*/ 7600 w 10000"/>
              <a:gd name="connsiteY237" fmla="*/ 7598 h 10000"/>
              <a:gd name="connsiteX238" fmla="*/ 7600 w 10000"/>
              <a:gd name="connsiteY238" fmla="*/ 7520 h 10000"/>
              <a:gd name="connsiteX239" fmla="*/ 7733 w 10000"/>
              <a:gd name="connsiteY239" fmla="*/ 7287 h 10000"/>
              <a:gd name="connsiteX240" fmla="*/ 8135 w 10000"/>
              <a:gd name="connsiteY240" fmla="*/ 6590 h 10000"/>
              <a:gd name="connsiteX241" fmla="*/ 8310 w 10000"/>
              <a:gd name="connsiteY241" fmla="*/ 6512 h 10000"/>
              <a:gd name="connsiteX242" fmla="*/ 8353 w 10000"/>
              <a:gd name="connsiteY242" fmla="*/ 6590 h 10000"/>
              <a:gd name="connsiteX243" fmla="*/ 8401 w 10000"/>
              <a:gd name="connsiteY243" fmla="*/ 6512 h 10000"/>
              <a:gd name="connsiteX244" fmla="*/ 8530 w 10000"/>
              <a:gd name="connsiteY244" fmla="*/ 6590 h 10000"/>
              <a:gd name="connsiteX245" fmla="*/ 8579 w 10000"/>
              <a:gd name="connsiteY245" fmla="*/ 6434 h 10000"/>
              <a:gd name="connsiteX246" fmla="*/ 8709 w 10000"/>
              <a:gd name="connsiteY246" fmla="*/ 6512 h 10000"/>
              <a:gd name="connsiteX247" fmla="*/ 8754 w 10000"/>
              <a:gd name="connsiteY247" fmla="*/ 6512 h 10000"/>
              <a:gd name="connsiteX248" fmla="*/ 8709 w 10000"/>
              <a:gd name="connsiteY248" fmla="*/ 6590 h 10000"/>
              <a:gd name="connsiteX249" fmla="*/ 8709 w 10000"/>
              <a:gd name="connsiteY249" fmla="*/ 6667 h 10000"/>
              <a:gd name="connsiteX250" fmla="*/ 8976 w 10000"/>
              <a:gd name="connsiteY250" fmla="*/ 6590 h 10000"/>
              <a:gd name="connsiteX251" fmla="*/ 8932 w 10000"/>
              <a:gd name="connsiteY251" fmla="*/ 6512 h 10000"/>
              <a:gd name="connsiteX252" fmla="*/ 9111 w 10000"/>
              <a:gd name="connsiteY252" fmla="*/ 5969 h 10000"/>
              <a:gd name="connsiteX253" fmla="*/ 9330 w 10000"/>
              <a:gd name="connsiteY253" fmla="*/ 5892 h 10000"/>
              <a:gd name="connsiteX254" fmla="*/ 9330 w 10000"/>
              <a:gd name="connsiteY254" fmla="*/ 6047 h 10000"/>
              <a:gd name="connsiteX255" fmla="*/ 9330 w 10000"/>
              <a:gd name="connsiteY255" fmla="*/ 6202 h 10000"/>
              <a:gd name="connsiteX256" fmla="*/ 9553 w 10000"/>
              <a:gd name="connsiteY256" fmla="*/ 5969 h 10000"/>
              <a:gd name="connsiteX257" fmla="*/ 9553 w 10000"/>
              <a:gd name="connsiteY257" fmla="*/ 5737 h 10000"/>
              <a:gd name="connsiteX258" fmla="*/ 9643 w 10000"/>
              <a:gd name="connsiteY258" fmla="*/ 5737 h 10000"/>
              <a:gd name="connsiteX259" fmla="*/ 9595 w 10000"/>
              <a:gd name="connsiteY259" fmla="*/ 5814 h 10000"/>
              <a:gd name="connsiteX260" fmla="*/ 9553 w 10000"/>
              <a:gd name="connsiteY260" fmla="*/ 6202 h 10000"/>
              <a:gd name="connsiteX261" fmla="*/ 9465 w 10000"/>
              <a:gd name="connsiteY261" fmla="*/ 6279 h 10000"/>
              <a:gd name="connsiteX262" fmla="*/ 9553 w 10000"/>
              <a:gd name="connsiteY262" fmla="*/ 6590 h 10000"/>
              <a:gd name="connsiteX263" fmla="*/ 9553 w 10000"/>
              <a:gd name="connsiteY263" fmla="*/ 6434 h 10000"/>
              <a:gd name="connsiteX264" fmla="*/ 9643 w 10000"/>
              <a:gd name="connsiteY264" fmla="*/ 6434 h 10000"/>
              <a:gd name="connsiteX265" fmla="*/ 9777 w 10000"/>
              <a:gd name="connsiteY265" fmla="*/ 6279 h 10000"/>
              <a:gd name="connsiteX266" fmla="*/ 9777 w 10000"/>
              <a:gd name="connsiteY266" fmla="*/ 6434 h 10000"/>
              <a:gd name="connsiteX267" fmla="*/ 9820 w 10000"/>
              <a:gd name="connsiteY267" fmla="*/ 6356 h 10000"/>
              <a:gd name="connsiteX268" fmla="*/ 10000 w 10000"/>
              <a:gd name="connsiteY268" fmla="*/ 3876 h 10000"/>
              <a:gd name="connsiteX269" fmla="*/ 9909 w 10000"/>
              <a:gd name="connsiteY269" fmla="*/ 3721 h 10000"/>
              <a:gd name="connsiteX270" fmla="*/ 9955 w 10000"/>
              <a:gd name="connsiteY270" fmla="*/ 3584 h 10000"/>
              <a:gd name="connsiteX271" fmla="*/ 9820 w 10000"/>
              <a:gd name="connsiteY271" fmla="*/ 3644 h 10000"/>
              <a:gd name="connsiteX272" fmla="*/ 9595 w 10000"/>
              <a:gd name="connsiteY272" fmla="*/ 3566 h 10000"/>
              <a:gd name="connsiteX273" fmla="*/ 9378 w 10000"/>
              <a:gd name="connsiteY273" fmla="*/ 3566 h 10000"/>
              <a:gd name="connsiteX274" fmla="*/ 9287 w 10000"/>
              <a:gd name="connsiteY274" fmla="*/ 3488 h 10000"/>
              <a:gd name="connsiteX275" fmla="*/ 9330 w 10000"/>
              <a:gd name="connsiteY275" fmla="*/ 3333 h 10000"/>
              <a:gd name="connsiteX276" fmla="*/ 9241 w 10000"/>
              <a:gd name="connsiteY276" fmla="*/ 3101 h 10000"/>
              <a:gd name="connsiteX277" fmla="*/ 9063 w 10000"/>
              <a:gd name="connsiteY277" fmla="*/ 3023 h 10000"/>
              <a:gd name="connsiteX278" fmla="*/ 8800 w 10000"/>
              <a:gd name="connsiteY278" fmla="*/ 3178 h 10000"/>
              <a:gd name="connsiteX279" fmla="*/ 8754 w 10000"/>
              <a:gd name="connsiteY279" fmla="*/ 2946 h 10000"/>
              <a:gd name="connsiteX280" fmla="*/ 8666 w 10000"/>
              <a:gd name="connsiteY280" fmla="*/ 2946 h 10000"/>
              <a:gd name="connsiteX281" fmla="*/ 8621 w 10000"/>
              <a:gd name="connsiteY281" fmla="*/ 2868 h 10000"/>
              <a:gd name="connsiteX282" fmla="*/ 8621 w 10000"/>
              <a:gd name="connsiteY282" fmla="*/ 2636 h 10000"/>
              <a:gd name="connsiteX283" fmla="*/ 8310 w 10000"/>
              <a:gd name="connsiteY283" fmla="*/ 2480 h 10000"/>
              <a:gd name="connsiteX284" fmla="*/ 7955 w 10000"/>
              <a:gd name="connsiteY284" fmla="*/ 2325 h 10000"/>
              <a:gd name="connsiteX285" fmla="*/ 7865 w 10000"/>
              <a:gd name="connsiteY285" fmla="*/ 2636 h 10000"/>
              <a:gd name="connsiteX286" fmla="*/ 7955 w 10000"/>
              <a:gd name="connsiteY286" fmla="*/ 2868 h 10000"/>
              <a:gd name="connsiteX287" fmla="*/ 7687 w 10000"/>
              <a:gd name="connsiteY287" fmla="*/ 2868 h 10000"/>
              <a:gd name="connsiteX288" fmla="*/ 7642 w 10000"/>
              <a:gd name="connsiteY288" fmla="*/ 2868 h 10000"/>
              <a:gd name="connsiteX289" fmla="*/ 7554 w 10000"/>
              <a:gd name="connsiteY289" fmla="*/ 2946 h 10000"/>
              <a:gd name="connsiteX290" fmla="*/ 7421 w 10000"/>
              <a:gd name="connsiteY290" fmla="*/ 2714 h 10000"/>
              <a:gd name="connsiteX291" fmla="*/ 7331 w 10000"/>
              <a:gd name="connsiteY291" fmla="*/ 3178 h 10000"/>
              <a:gd name="connsiteX292" fmla="*/ 7245 w 10000"/>
              <a:gd name="connsiteY292" fmla="*/ 3101 h 10000"/>
              <a:gd name="connsiteX293" fmla="*/ 7154 w 10000"/>
              <a:gd name="connsiteY293" fmla="*/ 2791 h 10000"/>
              <a:gd name="connsiteX294" fmla="*/ 7200 w 10000"/>
              <a:gd name="connsiteY294" fmla="*/ 2403 h 10000"/>
              <a:gd name="connsiteX295" fmla="*/ 7111 w 10000"/>
              <a:gd name="connsiteY295" fmla="*/ 2170 h 10000"/>
              <a:gd name="connsiteX296" fmla="*/ 6843 w 10000"/>
              <a:gd name="connsiteY296" fmla="*/ 2016 h 10000"/>
              <a:gd name="connsiteX297" fmla="*/ 6753 w 10000"/>
              <a:gd name="connsiteY297" fmla="*/ 2016 h 10000"/>
              <a:gd name="connsiteX298" fmla="*/ 6710 w 10000"/>
              <a:gd name="connsiteY298" fmla="*/ 2170 h 10000"/>
              <a:gd name="connsiteX299" fmla="*/ 6753 w 10000"/>
              <a:gd name="connsiteY299" fmla="*/ 2325 h 10000"/>
              <a:gd name="connsiteX300" fmla="*/ 6402 w 10000"/>
              <a:gd name="connsiteY300" fmla="*/ 2248 h 10000"/>
              <a:gd name="connsiteX301" fmla="*/ 6443 w 10000"/>
              <a:gd name="connsiteY301" fmla="*/ 2016 h 10000"/>
              <a:gd name="connsiteX302" fmla="*/ 6223 w 10000"/>
              <a:gd name="connsiteY302" fmla="*/ 1938 h 10000"/>
              <a:gd name="connsiteX303" fmla="*/ 6088 w 10000"/>
              <a:gd name="connsiteY303" fmla="*/ 2093 h 10000"/>
              <a:gd name="connsiteX304" fmla="*/ 5826 w 10000"/>
              <a:gd name="connsiteY304" fmla="*/ 1861 h 10000"/>
              <a:gd name="connsiteX0" fmla="*/ 5826 w 10000"/>
              <a:gd name="connsiteY0" fmla="*/ 1861 h 10000"/>
              <a:gd name="connsiteX1" fmla="*/ 5826 w 10000"/>
              <a:gd name="connsiteY1" fmla="*/ 1861 h 10000"/>
              <a:gd name="connsiteX2" fmla="*/ 5777 w 10000"/>
              <a:gd name="connsiteY2" fmla="*/ 1938 h 10000"/>
              <a:gd name="connsiteX3" fmla="*/ 5826 w 10000"/>
              <a:gd name="connsiteY3" fmla="*/ 2093 h 10000"/>
              <a:gd name="connsiteX4" fmla="*/ 5643 w 10000"/>
              <a:gd name="connsiteY4" fmla="*/ 2248 h 10000"/>
              <a:gd name="connsiteX5" fmla="*/ 5597 w 10000"/>
              <a:gd name="connsiteY5" fmla="*/ 2248 h 10000"/>
              <a:gd name="connsiteX6" fmla="*/ 5643 w 10000"/>
              <a:gd name="connsiteY6" fmla="*/ 2016 h 10000"/>
              <a:gd name="connsiteX7" fmla="*/ 6088 w 10000"/>
              <a:gd name="connsiteY7" fmla="*/ 1318 h 10000"/>
              <a:gd name="connsiteX8" fmla="*/ 6088 w 10000"/>
              <a:gd name="connsiteY8" fmla="*/ 853 h 10000"/>
              <a:gd name="connsiteX9" fmla="*/ 5911 w 10000"/>
              <a:gd name="connsiteY9" fmla="*/ 543 h 10000"/>
              <a:gd name="connsiteX10" fmla="*/ 5689 w 10000"/>
              <a:gd name="connsiteY10" fmla="*/ 543 h 10000"/>
              <a:gd name="connsiteX11" fmla="*/ 5689 w 10000"/>
              <a:gd name="connsiteY11" fmla="*/ 698 h 10000"/>
              <a:gd name="connsiteX12" fmla="*/ 5553 w 10000"/>
              <a:gd name="connsiteY12" fmla="*/ 698 h 10000"/>
              <a:gd name="connsiteX13" fmla="*/ 5643 w 10000"/>
              <a:gd name="connsiteY13" fmla="*/ 387 h 10000"/>
              <a:gd name="connsiteX14" fmla="*/ 5422 w 10000"/>
              <a:gd name="connsiteY14" fmla="*/ 310 h 10000"/>
              <a:gd name="connsiteX15" fmla="*/ 5553 w 10000"/>
              <a:gd name="connsiteY15" fmla="*/ 155 h 10000"/>
              <a:gd name="connsiteX16" fmla="*/ 5422 w 10000"/>
              <a:gd name="connsiteY16" fmla="*/ 0 h 10000"/>
              <a:gd name="connsiteX17" fmla="*/ 5199 w 10000"/>
              <a:gd name="connsiteY17" fmla="*/ 387 h 10000"/>
              <a:gd name="connsiteX18" fmla="*/ 5199 w 10000"/>
              <a:gd name="connsiteY18" fmla="*/ 698 h 10000"/>
              <a:gd name="connsiteX19" fmla="*/ 5065 w 10000"/>
              <a:gd name="connsiteY19" fmla="*/ 698 h 10000"/>
              <a:gd name="connsiteX20" fmla="*/ 4666 w 10000"/>
              <a:gd name="connsiteY20" fmla="*/ 853 h 10000"/>
              <a:gd name="connsiteX21" fmla="*/ 4309 w 10000"/>
              <a:gd name="connsiteY21" fmla="*/ 1240 h 10000"/>
              <a:gd name="connsiteX22" fmla="*/ 4177 w 10000"/>
              <a:gd name="connsiteY22" fmla="*/ 1551 h 10000"/>
              <a:gd name="connsiteX23" fmla="*/ 4221 w 10000"/>
              <a:gd name="connsiteY23" fmla="*/ 1938 h 10000"/>
              <a:gd name="connsiteX24" fmla="*/ 3733 w 10000"/>
              <a:gd name="connsiteY24" fmla="*/ 2093 h 10000"/>
              <a:gd name="connsiteX25" fmla="*/ 3777 w 10000"/>
              <a:gd name="connsiteY25" fmla="*/ 2559 h 10000"/>
              <a:gd name="connsiteX26" fmla="*/ 3912 w 10000"/>
              <a:gd name="connsiteY26" fmla="*/ 2791 h 10000"/>
              <a:gd name="connsiteX27" fmla="*/ 3823 w 10000"/>
              <a:gd name="connsiteY27" fmla="*/ 2868 h 10000"/>
              <a:gd name="connsiteX28" fmla="*/ 3689 w 10000"/>
              <a:gd name="connsiteY28" fmla="*/ 2559 h 10000"/>
              <a:gd name="connsiteX29" fmla="*/ 3556 w 10000"/>
              <a:gd name="connsiteY29" fmla="*/ 2480 h 10000"/>
              <a:gd name="connsiteX30" fmla="*/ 3511 w 10000"/>
              <a:gd name="connsiteY30" fmla="*/ 2559 h 10000"/>
              <a:gd name="connsiteX31" fmla="*/ 3422 w 10000"/>
              <a:gd name="connsiteY31" fmla="*/ 2403 h 10000"/>
              <a:gd name="connsiteX32" fmla="*/ 3333 w 10000"/>
              <a:gd name="connsiteY32" fmla="*/ 2248 h 10000"/>
              <a:gd name="connsiteX33" fmla="*/ 3333 w 10000"/>
              <a:gd name="connsiteY33" fmla="*/ 2325 h 10000"/>
              <a:gd name="connsiteX34" fmla="*/ 3380 w 10000"/>
              <a:gd name="connsiteY34" fmla="*/ 2559 h 10000"/>
              <a:gd name="connsiteX35" fmla="*/ 3243 w 10000"/>
              <a:gd name="connsiteY35" fmla="*/ 2946 h 10000"/>
              <a:gd name="connsiteX36" fmla="*/ 3333 w 10000"/>
              <a:gd name="connsiteY36" fmla="*/ 3256 h 10000"/>
              <a:gd name="connsiteX37" fmla="*/ 3286 w 10000"/>
              <a:gd name="connsiteY37" fmla="*/ 3566 h 10000"/>
              <a:gd name="connsiteX38" fmla="*/ 3286 w 10000"/>
              <a:gd name="connsiteY38" fmla="*/ 3799 h 10000"/>
              <a:gd name="connsiteX39" fmla="*/ 3422 w 10000"/>
              <a:gd name="connsiteY39" fmla="*/ 3799 h 10000"/>
              <a:gd name="connsiteX40" fmla="*/ 3333 w 10000"/>
              <a:gd name="connsiteY40" fmla="*/ 3876 h 10000"/>
              <a:gd name="connsiteX41" fmla="*/ 3380 w 10000"/>
              <a:gd name="connsiteY41" fmla="*/ 4263 h 10000"/>
              <a:gd name="connsiteX42" fmla="*/ 3110 w 10000"/>
              <a:gd name="connsiteY42" fmla="*/ 4652 h 10000"/>
              <a:gd name="connsiteX43" fmla="*/ 3065 w 10000"/>
              <a:gd name="connsiteY43" fmla="*/ 4574 h 10000"/>
              <a:gd name="connsiteX44" fmla="*/ 3243 w 10000"/>
              <a:gd name="connsiteY44" fmla="*/ 4186 h 10000"/>
              <a:gd name="connsiteX45" fmla="*/ 3286 w 10000"/>
              <a:gd name="connsiteY45" fmla="*/ 3954 h 10000"/>
              <a:gd name="connsiteX46" fmla="*/ 3195 w 10000"/>
              <a:gd name="connsiteY46" fmla="*/ 3799 h 10000"/>
              <a:gd name="connsiteX47" fmla="*/ 3195 w 10000"/>
              <a:gd name="connsiteY47" fmla="*/ 3023 h 10000"/>
              <a:gd name="connsiteX48" fmla="*/ 3155 w 10000"/>
              <a:gd name="connsiteY48" fmla="*/ 2868 h 10000"/>
              <a:gd name="connsiteX49" fmla="*/ 3195 w 10000"/>
              <a:gd name="connsiteY49" fmla="*/ 2403 h 10000"/>
              <a:gd name="connsiteX50" fmla="*/ 3110 w 10000"/>
              <a:gd name="connsiteY50" fmla="*/ 2325 h 10000"/>
              <a:gd name="connsiteX51" fmla="*/ 3155 w 10000"/>
              <a:gd name="connsiteY51" fmla="*/ 2248 h 10000"/>
              <a:gd name="connsiteX52" fmla="*/ 3110 w 10000"/>
              <a:gd name="connsiteY52" fmla="*/ 2093 h 10000"/>
              <a:gd name="connsiteX53" fmla="*/ 3018 w 10000"/>
              <a:gd name="connsiteY53" fmla="*/ 2170 h 10000"/>
              <a:gd name="connsiteX54" fmla="*/ 2799 w 10000"/>
              <a:gd name="connsiteY54" fmla="*/ 3178 h 10000"/>
              <a:gd name="connsiteX55" fmla="*/ 2799 w 10000"/>
              <a:gd name="connsiteY55" fmla="*/ 3566 h 10000"/>
              <a:gd name="connsiteX56" fmla="*/ 2932 w 10000"/>
              <a:gd name="connsiteY56" fmla="*/ 3876 h 10000"/>
              <a:gd name="connsiteX57" fmla="*/ 2932 w 10000"/>
              <a:gd name="connsiteY57" fmla="*/ 4031 h 10000"/>
              <a:gd name="connsiteX58" fmla="*/ 2799 w 10000"/>
              <a:gd name="connsiteY58" fmla="*/ 3876 h 10000"/>
              <a:gd name="connsiteX59" fmla="*/ 2268 w 10000"/>
              <a:gd name="connsiteY59" fmla="*/ 3256 h 10000"/>
              <a:gd name="connsiteX60" fmla="*/ 2222 w 10000"/>
              <a:gd name="connsiteY60" fmla="*/ 3411 h 10000"/>
              <a:gd name="connsiteX61" fmla="*/ 2400 w 10000"/>
              <a:gd name="connsiteY61" fmla="*/ 3799 h 10000"/>
              <a:gd name="connsiteX62" fmla="*/ 2310 w 10000"/>
              <a:gd name="connsiteY62" fmla="*/ 3876 h 10000"/>
              <a:gd name="connsiteX63" fmla="*/ 2268 w 10000"/>
              <a:gd name="connsiteY63" fmla="*/ 3799 h 10000"/>
              <a:gd name="connsiteX64" fmla="*/ 2001 w 10000"/>
              <a:gd name="connsiteY64" fmla="*/ 3954 h 10000"/>
              <a:gd name="connsiteX65" fmla="*/ 1956 w 10000"/>
              <a:gd name="connsiteY65" fmla="*/ 4109 h 10000"/>
              <a:gd name="connsiteX66" fmla="*/ 1911 w 10000"/>
              <a:gd name="connsiteY66" fmla="*/ 3954 h 10000"/>
              <a:gd name="connsiteX67" fmla="*/ 1911 w 10000"/>
              <a:gd name="connsiteY67" fmla="*/ 3799 h 10000"/>
              <a:gd name="connsiteX68" fmla="*/ 1465 w 10000"/>
              <a:gd name="connsiteY68" fmla="*/ 4263 h 10000"/>
              <a:gd name="connsiteX69" fmla="*/ 1465 w 10000"/>
              <a:gd name="connsiteY69" fmla="*/ 4418 h 10000"/>
              <a:gd name="connsiteX70" fmla="*/ 1379 w 10000"/>
              <a:gd name="connsiteY70" fmla="*/ 4496 h 10000"/>
              <a:gd name="connsiteX71" fmla="*/ 1244 w 10000"/>
              <a:gd name="connsiteY71" fmla="*/ 4341 h 10000"/>
              <a:gd name="connsiteX72" fmla="*/ 1379 w 10000"/>
              <a:gd name="connsiteY72" fmla="*/ 4186 h 10000"/>
              <a:gd name="connsiteX73" fmla="*/ 1334 w 10000"/>
              <a:gd name="connsiteY73" fmla="*/ 3954 h 10000"/>
              <a:gd name="connsiteX74" fmla="*/ 1157 w 10000"/>
              <a:gd name="connsiteY74" fmla="*/ 3876 h 10000"/>
              <a:gd name="connsiteX75" fmla="*/ 1202 w 10000"/>
              <a:gd name="connsiteY75" fmla="*/ 4031 h 10000"/>
              <a:gd name="connsiteX76" fmla="*/ 1202 w 10000"/>
              <a:gd name="connsiteY76" fmla="*/ 4418 h 10000"/>
              <a:gd name="connsiteX77" fmla="*/ 1244 w 10000"/>
              <a:gd name="connsiteY77" fmla="*/ 4574 h 10000"/>
              <a:gd name="connsiteX78" fmla="*/ 1202 w 10000"/>
              <a:gd name="connsiteY78" fmla="*/ 4729 h 10000"/>
              <a:gd name="connsiteX79" fmla="*/ 1065 w 10000"/>
              <a:gd name="connsiteY79" fmla="*/ 4652 h 10000"/>
              <a:gd name="connsiteX80" fmla="*/ 888 w 10000"/>
              <a:gd name="connsiteY80" fmla="*/ 4884 h 10000"/>
              <a:gd name="connsiteX81" fmla="*/ 976 w 10000"/>
              <a:gd name="connsiteY81" fmla="*/ 5194 h 10000"/>
              <a:gd name="connsiteX82" fmla="*/ 710 w 10000"/>
              <a:gd name="connsiteY82" fmla="*/ 5039 h 10000"/>
              <a:gd name="connsiteX83" fmla="*/ 667 w 10000"/>
              <a:gd name="connsiteY83" fmla="*/ 5116 h 10000"/>
              <a:gd name="connsiteX84" fmla="*/ 756 w 10000"/>
              <a:gd name="connsiteY84" fmla="*/ 5349 h 10000"/>
              <a:gd name="connsiteX85" fmla="*/ 667 w 10000"/>
              <a:gd name="connsiteY85" fmla="*/ 5349 h 10000"/>
              <a:gd name="connsiteX86" fmla="*/ 534 w 10000"/>
              <a:gd name="connsiteY86" fmla="*/ 5194 h 10000"/>
              <a:gd name="connsiteX87" fmla="*/ 534 w 10000"/>
              <a:gd name="connsiteY87" fmla="*/ 4729 h 10000"/>
              <a:gd name="connsiteX88" fmla="*/ 402 w 10000"/>
              <a:gd name="connsiteY88" fmla="*/ 4574 h 10000"/>
              <a:gd name="connsiteX89" fmla="*/ 355 w 10000"/>
              <a:gd name="connsiteY89" fmla="*/ 4418 h 10000"/>
              <a:gd name="connsiteX90" fmla="*/ 445 w 10000"/>
              <a:gd name="connsiteY90" fmla="*/ 4496 h 10000"/>
              <a:gd name="connsiteX91" fmla="*/ 799 w 10000"/>
              <a:gd name="connsiteY91" fmla="*/ 4729 h 10000"/>
              <a:gd name="connsiteX92" fmla="*/ 1021 w 10000"/>
              <a:gd name="connsiteY92" fmla="*/ 4496 h 10000"/>
              <a:gd name="connsiteX93" fmla="*/ 976 w 10000"/>
              <a:gd name="connsiteY93" fmla="*/ 4263 h 10000"/>
              <a:gd name="connsiteX94" fmla="*/ 710 w 10000"/>
              <a:gd name="connsiteY94" fmla="*/ 3799 h 10000"/>
              <a:gd name="connsiteX95" fmla="*/ 445 w 10000"/>
              <a:gd name="connsiteY95" fmla="*/ 3644 h 10000"/>
              <a:gd name="connsiteX96" fmla="*/ 445 w 10000"/>
              <a:gd name="connsiteY96" fmla="*/ 3566 h 10000"/>
              <a:gd name="connsiteX97" fmla="*/ 355 w 10000"/>
              <a:gd name="connsiteY97" fmla="*/ 3488 h 10000"/>
              <a:gd name="connsiteX98" fmla="*/ 265 w 10000"/>
              <a:gd name="connsiteY98" fmla="*/ 3566 h 10000"/>
              <a:gd name="connsiteX99" fmla="*/ 265 w 10000"/>
              <a:gd name="connsiteY99" fmla="*/ 3644 h 10000"/>
              <a:gd name="connsiteX100" fmla="*/ 223 w 10000"/>
              <a:gd name="connsiteY100" fmla="*/ 3644 h 10000"/>
              <a:gd name="connsiteX101" fmla="*/ 133 w 10000"/>
              <a:gd name="connsiteY101" fmla="*/ 3799 h 10000"/>
              <a:gd name="connsiteX102" fmla="*/ 133 w 10000"/>
              <a:gd name="connsiteY102" fmla="*/ 4031 h 10000"/>
              <a:gd name="connsiteX103" fmla="*/ 223 w 10000"/>
              <a:gd name="connsiteY103" fmla="*/ 4186 h 10000"/>
              <a:gd name="connsiteX104" fmla="*/ 177 w 10000"/>
              <a:gd name="connsiteY104" fmla="*/ 4418 h 10000"/>
              <a:gd name="connsiteX105" fmla="*/ 223 w 10000"/>
              <a:gd name="connsiteY105" fmla="*/ 4807 h 10000"/>
              <a:gd name="connsiteX106" fmla="*/ 177 w 10000"/>
              <a:gd name="connsiteY106" fmla="*/ 5039 h 10000"/>
              <a:gd name="connsiteX107" fmla="*/ 265 w 10000"/>
              <a:gd name="connsiteY107" fmla="*/ 5271 h 10000"/>
              <a:gd name="connsiteX108" fmla="*/ 223 w 10000"/>
              <a:gd name="connsiteY108" fmla="*/ 5426 h 10000"/>
              <a:gd name="connsiteX109" fmla="*/ 310 w 10000"/>
              <a:gd name="connsiteY109" fmla="*/ 5582 h 10000"/>
              <a:gd name="connsiteX110" fmla="*/ 310 w 10000"/>
              <a:gd name="connsiteY110" fmla="*/ 5659 h 10000"/>
              <a:gd name="connsiteX111" fmla="*/ 177 w 10000"/>
              <a:gd name="connsiteY111" fmla="*/ 6047 h 10000"/>
              <a:gd name="connsiteX112" fmla="*/ 42 w 10000"/>
              <a:gd name="connsiteY112" fmla="*/ 6202 h 10000"/>
              <a:gd name="connsiteX113" fmla="*/ 88 w 10000"/>
              <a:gd name="connsiteY113" fmla="*/ 6202 h 10000"/>
              <a:gd name="connsiteX114" fmla="*/ 177 w 10000"/>
              <a:gd name="connsiteY114" fmla="*/ 6356 h 10000"/>
              <a:gd name="connsiteX115" fmla="*/ 88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88 w 10000"/>
              <a:gd name="connsiteY122" fmla="*/ 7209 h 10000"/>
              <a:gd name="connsiteX123" fmla="*/ 223 w 10000"/>
              <a:gd name="connsiteY123" fmla="*/ 7287 h 10000"/>
              <a:gd name="connsiteX124" fmla="*/ 265 w 10000"/>
              <a:gd name="connsiteY124" fmla="*/ 7364 h 10000"/>
              <a:gd name="connsiteX125" fmla="*/ 265 w 10000"/>
              <a:gd name="connsiteY125" fmla="*/ 7520 h 10000"/>
              <a:gd name="connsiteX126" fmla="*/ 355 w 10000"/>
              <a:gd name="connsiteY126" fmla="*/ 7752 h 10000"/>
              <a:gd name="connsiteX127" fmla="*/ 402 w 10000"/>
              <a:gd name="connsiteY127" fmla="*/ 7752 h 10000"/>
              <a:gd name="connsiteX128" fmla="*/ 355 w 10000"/>
              <a:gd name="connsiteY128" fmla="*/ 7907 h 10000"/>
              <a:gd name="connsiteX129" fmla="*/ 310 w 10000"/>
              <a:gd name="connsiteY129" fmla="*/ 7830 h 10000"/>
              <a:gd name="connsiteX130" fmla="*/ 310 w 10000"/>
              <a:gd name="connsiteY130" fmla="*/ 7907 h 10000"/>
              <a:gd name="connsiteX131" fmla="*/ 355 w 10000"/>
              <a:gd name="connsiteY131" fmla="*/ 8062 h 10000"/>
              <a:gd name="connsiteX132" fmla="*/ 490 w 10000"/>
              <a:gd name="connsiteY132" fmla="*/ 8062 h 10000"/>
              <a:gd name="connsiteX133" fmla="*/ 534 w 10000"/>
              <a:gd name="connsiteY133" fmla="*/ 8140 h 10000"/>
              <a:gd name="connsiteX134" fmla="*/ 490 w 10000"/>
              <a:gd name="connsiteY134" fmla="*/ 8140 h 10000"/>
              <a:gd name="connsiteX135" fmla="*/ 534 w 10000"/>
              <a:gd name="connsiteY135" fmla="*/ 8217 h 10000"/>
              <a:gd name="connsiteX136" fmla="*/ 577 w 10000"/>
              <a:gd name="connsiteY136" fmla="*/ 8217 h 10000"/>
              <a:gd name="connsiteX137" fmla="*/ 621 w 10000"/>
              <a:gd name="connsiteY137" fmla="*/ 8372 h 10000"/>
              <a:gd name="connsiteX138" fmla="*/ 667 w 10000"/>
              <a:gd name="connsiteY138" fmla="*/ 8449 h 10000"/>
              <a:gd name="connsiteX139" fmla="*/ 710 w 10000"/>
              <a:gd name="connsiteY139" fmla="*/ 8372 h 10000"/>
              <a:gd name="connsiteX140" fmla="*/ 934 w 10000"/>
              <a:gd name="connsiteY140" fmla="*/ 8605 h 10000"/>
              <a:gd name="connsiteX141" fmla="*/ 888 w 10000"/>
              <a:gd name="connsiteY141" fmla="*/ 8915 h 10000"/>
              <a:gd name="connsiteX142" fmla="*/ 842 w 10000"/>
              <a:gd name="connsiteY142" fmla="*/ 8838 h 10000"/>
              <a:gd name="connsiteX143" fmla="*/ 799 w 10000"/>
              <a:gd name="connsiteY143" fmla="*/ 8915 h 10000"/>
              <a:gd name="connsiteX144" fmla="*/ 799 w 10000"/>
              <a:gd name="connsiteY144" fmla="*/ 9070 h 10000"/>
              <a:gd name="connsiteX145" fmla="*/ 842 w 10000"/>
              <a:gd name="connsiteY145" fmla="*/ 8993 h 10000"/>
              <a:gd name="connsiteX146" fmla="*/ 888 w 10000"/>
              <a:gd name="connsiteY146" fmla="*/ 9070 h 10000"/>
              <a:gd name="connsiteX147" fmla="*/ 756 w 10000"/>
              <a:gd name="connsiteY147" fmla="*/ 9147 h 10000"/>
              <a:gd name="connsiteX148" fmla="*/ 799 w 10000"/>
              <a:gd name="connsiteY148" fmla="*/ 9225 h 10000"/>
              <a:gd name="connsiteX149" fmla="*/ 710 w 10000"/>
              <a:gd name="connsiteY149" fmla="*/ 9380 h 10000"/>
              <a:gd name="connsiteX150" fmla="*/ 667 w 10000"/>
              <a:gd name="connsiteY150" fmla="*/ 9380 h 10000"/>
              <a:gd name="connsiteX151" fmla="*/ 710 w 10000"/>
              <a:gd name="connsiteY151" fmla="*/ 9380 h 10000"/>
              <a:gd name="connsiteX152" fmla="*/ 888 w 10000"/>
              <a:gd name="connsiteY152" fmla="*/ 9691 h 10000"/>
              <a:gd name="connsiteX153" fmla="*/ 1112 w 10000"/>
              <a:gd name="connsiteY153" fmla="*/ 9691 h 10000"/>
              <a:gd name="connsiteX154" fmla="*/ 1202 w 10000"/>
              <a:gd name="connsiteY154" fmla="*/ 9768 h 10000"/>
              <a:gd name="connsiteX155" fmla="*/ 1289 w 10000"/>
              <a:gd name="connsiteY155" fmla="*/ 9768 h 10000"/>
              <a:gd name="connsiteX156" fmla="*/ 1379 w 10000"/>
              <a:gd name="connsiteY156" fmla="*/ 9923 h 10000"/>
              <a:gd name="connsiteX157" fmla="*/ 1422 w 10000"/>
              <a:gd name="connsiteY157" fmla="*/ 10000 h 10000"/>
              <a:gd name="connsiteX158" fmla="*/ 1465 w 10000"/>
              <a:gd name="connsiteY158" fmla="*/ 10000 h 10000"/>
              <a:gd name="connsiteX159" fmla="*/ 1512 w 10000"/>
              <a:gd name="connsiteY159" fmla="*/ 9923 h 10000"/>
              <a:gd name="connsiteX160" fmla="*/ 1422 w 10000"/>
              <a:gd name="connsiteY160" fmla="*/ 9768 h 10000"/>
              <a:gd name="connsiteX161" fmla="*/ 1422 w 10000"/>
              <a:gd name="connsiteY161" fmla="*/ 9613 h 10000"/>
              <a:gd name="connsiteX162" fmla="*/ 1379 w 10000"/>
              <a:gd name="connsiteY162" fmla="*/ 9457 h 10000"/>
              <a:gd name="connsiteX163" fmla="*/ 1465 w 10000"/>
              <a:gd name="connsiteY163" fmla="*/ 9225 h 10000"/>
              <a:gd name="connsiteX164" fmla="*/ 1512 w 10000"/>
              <a:gd name="connsiteY164" fmla="*/ 9302 h 10000"/>
              <a:gd name="connsiteX165" fmla="*/ 1556 w 10000"/>
              <a:gd name="connsiteY165" fmla="*/ 9225 h 10000"/>
              <a:gd name="connsiteX166" fmla="*/ 1556 w 10000"/>
              <a:gd name="connsiteY166" fmla="*/ 9147 h 10000"/>
              <a:gd name="connsiteX167" fmla="*/ 1512 w 10000"/>
              <a:gd name="connsiteY167" fmla="*/ 9147 h 10000"/>
              <a:gd name="connsiteX168" fmla="*/ 1556 w 10000"/>
              <a:gd name="connsiteY168" fmla="*/ 9070 h 10000"/>
              <a:gd name="connsiteX169" fmla="*/ 1512 w 10000"/>
              <a:gd name="connsiteY169" fmla="*/ 8915 h 10000"/>
              <a:gd name="connsiteX170" fmla="*/ 1422 w 10000"/>
              <a:gd name="connsiteY170" fmla="*/ 8915 h 10000"/>
              <a:gd name="connsiteX171" fmla="*/ 1379 w 10000"/>
              <a:gd name="connsiteY171" fmla="*/ 8760 h 10000"/>
              <a:gd name="connsiteX172" fmla="*/ 1422 w 10000"/>
              <a:gd name="connsiteY172" fmla="*/ 8372 h 10000"/>
              <a:gd name="connsiteX173" fmla="*/ 1512 w 10000"/>
              <a:gd name="connsiteY173" fmla="*/ 8528 h 10000"/>
              <a:gd name="connsiteX174" fmla="*/ 1556 w 10000"/>
              <a:gd name="connsiteY174" fmla="*/ 8528 h 10000"/>
              <a:gd name="connsiteX175" fmla="*/ 1512 w 10000"/>
              <a:gd name="connsiteY175" fmla="*/ 8372 h 10000"/>
              <a:gd name="connsiteX176" fmla="*/ 1645 w 10000"/>
              <a:gd name="connsiteY176" fmla="*/ 8140 h 10000"/>
              <a:gd name="connsiteX177" fmla="*/ 1735 w 10000"/>
              <a:gd name="connsiteY177" fmla="*/ 8217 h 10000"/>
              <a:gd name="connsiteX178" fmla="*/ 1777 w 10000"/>
              <a:gd name="connsiteY178" fmla="*/ 8140 h 10000"/>
              <a:gd name="connsiteX179" fmla="*/ 1866 w 10000"/>
              <a:gd name="connsiteY179" fmla="*/ 8217 h 10000"/>
              <a:gd name="connsiteX180" fmla="*/ 2001 w 10000"/>
              <a:gd name="connsiteY180" fmla="*/ 8372 h 10000"/>
              <a:gd name="connsiteX181" fmla="*/ 2089 w 10000"/>
              <a:gd name="connsiteY181" fmla="*/ 8295 h 10000"/>
              <a:gd name="connsiteX182" fmla="*/ 2178 w 10000"/>
              <a:gd name="connsiteY182" fmla="*/ 8295 h 10000"/>
              <a:gd name="connsiteX183" fmla="*/ 2222 w 10000"/>
              <a:gd name="connsiteY183" fmla="*/ 8372 h 10000"/>
              <a:gd name="connsiteX184" fmla="*/ 2400 w 10000"/>
              <a:gd name="connsiteY184" fmla="*/ 8372 h 10000"/>
              <a:gd name="connsiteX185" fmla="*/ 2443 w 10000"/>
              <a:gd name="connsiteY185" fmla="*/ 8217 h 10000"/>
              <a:gd name="connsiteX186" fmla="*/ 2310 w 10000"/>
              <a:gd name="connsiteY186" fmla="*/ 8140 h 10000"/>
              <a:gd name="connsiteX187" fmla="*/ 2400 w 10000"/>
              <a:gd name="connsiteY187" fmla="*/ 8062 h 10000"/>
              <a:gd name="connsiteX188" fmla="*/ 2354 w 10000"/>
              <a:gd name="connsiteY188" fmla="*/ 7985 h 10000"/>
              <a:gd name="connsiteX189" fmla="*/ 2400 w 10000"/>
              <a:gd name="connsiteY189" fmla="*/ 7907 h 10000"/>
              <a:gd name="connsiteX190" fmla="*/ 2400 w 10000"/>
              <a:gd name="connsiteY190" fmla="*/ 7675 h 10000"/>
              <a:gd name="connsiteX191" fmla="*/ 2487 w 10000"/>
              <a:gd name="connsiteY191" fmla="*/ 7752 h 10000"/>
              <a:gd name="connsiteX192" fmla="*/ 2889 w 10000"/>
              <a:gd name="connsiteY192" fmla="*/ 7520 h 10000"/>
              <a:gd name="connsiteX193" fmla="*/ 2889 w 10000"/>
              <a:gd name="connsiteY193" fmla="*/ 7442 h 10000"/>
              <a:gd name="connsiteX194" fmla="*/ 2932 w 10000"/>
              <a:gd name="connsiteY194" fmla="*/ 7442 h 10000"/>
              <a:gd name="connsiteX195" fmla="*/ 3065 w 10000"/>
              <a:gd name="connsiteY195" fmla="*/ 7442 h 10000"/>
              <a:gd name="connsiteX196" fmla="*/ 3110 w 10000"/>
              <a:gd name="connsiteY196" fmla="*/ 7598 h 10000"/>
              <a:gd name="connsiteX197" fmla="*/ 3110 w 10000"/>
              <a:gd name="connsiteY197" fmla="*/ 7675 h 10000"/>
              <a:gd name="connsiteX198" fmla="*/ 3155 w 10000"/>
              <a:gd name="connsiteY198" fmla="*/ 7675 h 10000"/>
              <a:gd name="connsiteX199" fmla="*/ 3243 w 10000"/>
              <a:gd name="connsiteY199" fmla="*/ 7752 h 10000"/>
              <a:gd name="connsiteX200" fmla="*/ 3243 w 10000"/>
              <a:gd name="connsiteY200" fmla="*/ 7830 h 10000"/>
              <a:gd name="connsiteX201" fmla="*/ 3333 w 10000"/>
              <a:gd name="connsiteY201" fmla="*/ 7830 h 10000"/>
              <a:gd name="connsiteX202" fmla="*/ 3422 w 10000"/>
              <a:gd name="connsiteY202" fmla="*/ 7675 h 10000"/>
              <a:gd name="connsiteX203" fmla="*/ 3511 w 10000"/>
              <a:gd name="connsiteY203" fmla="*/ 7598 h 10000"/>
              <a:gd name="connsiteX204" fmla="*/ 3556 w 10000"/>
              <a:gd name="connsiteY204" fmla="*/ 7830 h 10000"/>
              <a:gd name="connsiteX205" fmla="*/ 3733 w 10000"/>
              <a:gd name="connsiteY205" fmla="*/ 8372 h 10000"/>
              <a:gd name="connsiteX206" fmla="*/ 3777 w 10000"/>
              <a:gd name="connsiteY206" fmla="*/ 8217 h 10000"/>
              <a:gd name="connsiteX207" fmla="*/ 3823 w 10000"/>
              <a:gd name="connsiteY207" fmla="*/ 8372 h 10000"/>
              <a:gd name="connsiteX208" fmla="*/ 3956 w 10000"/>
              <a:gd name="connsiteY208" fmla="*/ 8295 h 10000"/>
              <a:gd name="connsiteX209" fmla="*/ 4090 w 10000"/>
              <a:gd name="connsiteY209" fmla="*/ 8528 h 10000"/>
              <a:gd name="connsiteX210" fmla="*/ 4177 w 10000"/>
              <a:gd name="connsiteY210" fmla="*/ 8605 h 10000"/>
              <a:gd name="connsiteX211" fmla="*/ 4177 w 10000"/>
              <a:gd name="connsiteY211" fmla="*/ 8528 h 10000"/>
              <a:gd name="connsiteX212" fmla="*/ 4221 w 10000"/>
              <a:gd name="connsiteY212" fmla="*/ 8683 h 10000"/>
              <a:gd name="connsiteX213" fmla="*/ 4177 w 10000"/>
              <a:gd name="connsiteY213" fmla="*/ 8760 h 10000"/>
              <a:gd name="connsiteX214" fmla="*/ 4267 w 10000"/>
              <a:gd name="connsiteY214" fmla="*/ 8683 h 10000"/>
              <a:gd name="connsiteX215" fmla="*/ 4309 w 10000"/>
              <a:gd name="connsiteY215" fmla="*/ 8605 h 10000"/>
              <a:gd name="connsiteX216" fmla="*/ 4533 w 10000"/>
              <a:gd name="connsiteY216" fmla="*/ 8372 h 10000"/>
              <a:gd name="connsiteX217" fmla="*/ 4710 w 10000"/>
              <a:gd name="connsiteY217" fmla="*/ 8449 h 10000"/>
              <a:gd name="connsiteX218" fmla="*/ 4798 w 10000"/>
              <a:gd name="connsiteY218" fmla="*/ 8528 h 10000"/>
              <a:gd name="connsiteX219" fmla="*/ 4975 w 10000"/>
              <a:gd name="connsiteY219" fmla="*/ 8528 h 10000"/>
              <a:gd name="connsiteX220" fmla="*/ 4975 w 10000"/>
              <a:gd name="connsiteY220" fmla="*/ 8372 h 10000"/>
              <a:gd name="connsiteX221" fmla="*/ 4975 w 10000"/>
              <a:gd name="connsiteY221" fmla="*/ 8217 h 10000"/>
              <a:gd name="connsiteX222" fmla="*/ 5065 w 10000"/>
              <a:gd name="connsiteY222" fmla="*/ 8140 h 10000"/>
              <a:gd name="connsiteX223" fmla="*/ 5243 w 10000"/>
              <a:gd name="connsiteY223" fmla="*/ 8217 h 10000"/>
              <a:gd name="connsiteX224" fmla="*/ 5331 w 10000"/>
              <a:gd name="connsiteY224" fmla="*/ 8449 h 10000"/>
              <a:gd name="connsiteX225" fmla="*/ 5378 w 10000"/>
              <a:gd name="connsiteY225" fmla="*/ 8449 h 10000"/>
              <a:gd name="connsiteX226" fmla="*/ 5466 w 10000"/>
              <a:gd name="connsiteY226" fmla="*/ 8372 h 10000"/>
              <a:gd name="connsiteX227" fmla="*/ 5735 w 10000"/>
              <a:gd name="connsiteY227" fmla="*/ 8605 h 10000"/>
              <a:gd name="connsiteX228" fmla="*/ 5867 w 10000"/>
              <a:gd name="connsiteY228" fmla="*/ 8683 h 10000"/>
              <a:gd name="connsiteX229" fmla="*/ 6044 w 10000"/>
              <a:gd name="connsiteY229" fmla="*/ 8605 h 10000"/>
              <a:gd name="connsiteX230" fmla="*/ 6132 w 10000"/>
              <a:gd name="connsiteY230" fmla="*/ 8449 h 10000"/>
              <a:gd name="connsiteX231" fmla="*/ 6265 w 10000"/>
              <a:gd name="connsiteY231" fmla="*/ 8528 h 10000"/>
              <a:gd name="connsiteX232" fmla="*/ 6354 w 10000"/>
              <a:gd name="connsiteY232" fmla="*/ 8605 h 10000"/>
              <a:gd name="connsiteX233" fmla="*/ 7865 w 10000"/>
              <a:gd name="connsiteY233" fmla="*/ 7675 h 10000"/>
              <a:gd name="connsiteX234" fmla="*/ 7778 w 10000"/>
              <a:gd name="connsiteY234" fmla="*/ 7675 h 10000"/>
              <a:gd name="connsiteX235" fmla="*/ 7733 w 10000"/>
              <a:gd name="connsiteY235" fmla="*/ 7675 h 10000"/>
              <a:gd name="connsiteX236" fmla="*/ 7687 w 10000"/>
              <a:gd name="connsiteY236" fmla="*/ 7598 h 10000"/>
              <a:gd name="connsiteX237" fmla="*/ 7600 w 10000"/>
              <a:gd name="connsiteY237" fmla="*/ 7598 h 10000"/>
              <a:gd name="connsiteX238" fmla="*/ 7600 w 10000"/>
              <a:gd name="connsiteY238" fmla="*/ 7520 h 10000"/>
              <a:gd name="connsiteX239" fmla="*/ 7733 w 10000"/>
              <a:gd name="connsiteY239" fmla="*/ 7287 h 10000"/>
              <a:gd name="connsiteX240" fmla="*/ 8135 w 10000"/>
              <a:gd name="connsiteY240" fmla="*/ 6590 h 10000"/>
              <a:gd name="connsiteX241" fmla="*/ 8310 w 10000"/>
              <a:gd name="connsiteY241" fmla="*/ 6512 h 10000"/>
              <a:gd name="connsiteX242" fmla="*/ 8353 w 10000"/>
              <a:gd name="connsiteY242" fmla="*/ 6590 h 10000"/>
              <a:gd name="connsiteX243" fmla="*/ 8401 w 10000"/>
              <a:gd name="connsiteY243" fmla="*/ 6512 h 10000"/>
              <a:gd name="connsiteX244" fmla="*/ 8530 w 10000"/>
              <a:gd name="connsiteY244" fmla="*/ 6590 h 10000"/>
              <a:gd name="connsiteX245" fmla="*/ 8579 w 10000"/>
              <a:gd name="connsiteY245" fmla="*/ 6434 h 10000"/>
              <a:gd name="connsiteX246" fmla="*/ 8709 w 10000"/>
              <a:gd name="connsiteY246" fmla="*/ 6512 h 10000"/>
              <a:gd name="connsiteX247" fmla="*/ 8754 w 10000"/>
              <a:gd name="connsiteY247" fmla="*/ 6512 h 10000"/>
              <a:gd name="connsiteX248" fmla="*/ 8709 w 10000"/>
              <a:gd name="connsiteY248" fmla="*/ 6590 h 10000"/>
              <a:gd name="connsiteX249" fmla="*/ 8709 w 10000"/>
              <a:gd name="connsiteY249" fmla="*/ 6667 h 10000"/>
              <a:gd name="connsiteX250" fmla="*/ 8976 w 10000"/>
              <a:gd name="connsiteY250" fmla="*/ 6590 h 10000"/>
              <a:gd name="connsiteX251" fmla="*/ 8932 w 10000"/>
              <a:gd name="connsiteY251" fmla="*/ 6512 h 10000"/>
              <a:gd name="connsiteX252" fmla="*/ 9111 w 10000"/>
              <a:gd name="connsiteY252" fmla="*/ 5969 h 10000"/>
              <a:gd name="connsiteX253" fmla="*/ 9330 w 10000"/>
              <a:gd name="connsiteY253" fmla="*/ 5892 h 10000"/>
              <a:gd name="connsiteX254" fmla="*/ 9330 w 10000"/>
              <a:gd name="connsiteY254" fmla="*/ 6047 h 10000"/>
              <a:gd name="connsiteX255" fmla="*/ 9330 w 10000"/>
              <a:gd name="connsiteY255" fmla="*/ 6202 h 10000"/>
              <a:gd name="connsiteX256" fmla="*/ 9553 w 10000"/>
              <a:gd name="connsiteY256" fmla="*/ 5969 h 10000"/>
              <a:gd name="connsiteX257" fmla="*/ 9553 w 10000"/>
              <a:gd name="connsiteY257" fmla="*/ 5737 h 10000"/>
              <a:gd name="connsiteX258" fmla="*/ 9643 w 10000"/>
              <a:gd name="connsiteY258" fmla="*/ 5737 h 10000"/>
              <a:gd name="connsiteX259" fmla="*/ 9595 w 10000"/>
              <a:gd name="connsiteY259" fmla="*/ 5814 h 10000"/>
              <a:gd name="connsiteX260" fmla="*/ 9553 w 10000"/>
              <a:gd name="connsiteY260" fmla="*/ 6202 h 10000"/>
              <a:gd name="connsiteX261" fmla="*/ 9465 w 10000"/>
              <a:gd name="connsiteY261" fmla="*/ 6279 h 10000"/>
              <a:gd name="connsiteX262" fmla="*/ 9553 w 10000"/>
              <a:gd name="connsiteY262" fmla="*/ 6590 h 10000"/>
              <a:gd name="connsiteX263" fmla="*/ 9553 w 10000"/>
              <a:gd name="connsiteY263" fmla="*/ 6434 h 10000"/>
              <a:gd name="connsiteX264" fmla="*/ 9643 w 10000"/>
              <a:gd name="connsiteY264" fmla="*/ 6434 h 10000"/>
              <a:gd name="connsiteX265" fmla="*/ 9777 w 10000"/>
              <a:gd name="connsiteY265" fmla="*/ 6279 h 10000"/>
              <a:gd name="connsiteX266" fmla="*/ 9777 w 10000"/>
              <a:gd name="connsiteY266" fmla="*/ 6434 h 10000"/>
              <a:gd name="connsiteX267" fmla="*/ 9820 w 10000"/>
              <a:gd name="connsiteY267" fmla="*/ 6356 h 10000"/>
              <a:gd name="connsiteX268" fmla="*/ 10000 w 10000"/>
              <a:gd name="connsiteY268" fmla="*/ 3876 h 10000"/>
              <a:gd name="connsiteX269" fmla="*/ 9909 w 10000"/>
              <a:gd name="connsiteY269" fmla="*/ 3721 h 10000"/>
              <a:gd name="connsiteX270" fmla="*/ 9820 w 10000"/>
              <a:gd name="connsiteY270" fmla="*/ 3644 h 10000"/>
              <a:gd name="connsiteX271" fmla="*/ 9595 w 10000"/>
              <a:gd name="connsiteY271" fmla="*/ 3566 h 10000"/>
              <a:gd name="connsiteX272" fmla="*/ 9378 w 10000"/>
              <a:gd name="connsiteY272" fmla="*/ 3566 h 10000"/>
              <a:gd name="connsiteX273" fmla="*/ 9287 w 10000"/>
              <a:gd name="connsiteY273" fmla="*/ 3488 h 10000"/>
              <a:gd name="connsiteX274" fmla="*/ 9330 w 10000"/>
              <a:gd name="connsiteY274" fmla="*/ 3333 h 10000"/>
              <a:gd name="connsiteX275" fmla="*/ 9241 w 10000"/>
              <a:gd name="connsiteY275" fmla="*/ 3101 h 10000"/>
              <a:gd name="connsiteX276" fmla="*/ 9063 w 10000"/>
              <a:gd name="connsiteY276" fmla="*/ 3023 h 10000"/>
              <a:gd name="connsiteX277" fmla="*/ 8800 w 10000"/>
              <a:gd name="connsiteY277" fmla="*/ 3178 h 10000"/>
              <a:gd name="connsiteX278" fmla="*/ 8754 w 10000"/>
              <a:gd name="connsiteY278" fmla="*/ 2946 h 10000"/>
              <a:gd name="connsiteX279" fmla="*/ 8666 w 10000"/>
              <a:gd name="connsiteY279" fmla="*/ 2946 h 10000"/>
              <a:gd name="connsiteX280" fmla="*/ 8621 w 10000"/>
              <a:gd name="connsiteY280" fmla="*/ 2868 h 10000"/>
              <a:gd name="connsiteX281" fmla="*/ 8621 w 10000"/>
              <a:gd name="connsiteY281" fmla="*/ 2636 h 10000"/>
              <a:gd name="connsiteX282" fmla="*/ 8310 w 10000"/>
              <a:gd name="connsiteY282" fmla="*/ 2480 h 10000"/>
              <a:gd name="connsiteX283" fmla="*/ 7955 w 10000"/>
              <a:gd name="connsiteY283" fmla="*/ 2325 h 10000"/>
              <a:gd name="connsiteX284" fmla="*/ 7865 w 10000"/>
              <a:gd name="connsiteY284" fmla="*/ 2636 h 10000"/>
              <a:gd name="connsiteX285" fmla="*/ 7955 w 10000"/>
              <a:gd name="connsiteY285" fmla="*/ 2868 h 10000"/>
              <a:gd name="connsiteX286" fmla="*/ 7687 w 10000"/>
              <a:gd name="connsiteY286" fmla="*/ 2868 h 10000"/>
              <a:gd name="connsiteX287" fmla="*/ 7642 w 10000"/>
              <a:gd name="connsiteY287" fmla="*/ 2868 h 10000"/>
              <a:gd name="connsiteX288" fmla="*/ 7554 w 10000"/>
              <a:gd name="connsiteY288" fmla="*/ 2946 h 10000"/>
              <a:gd name="connsiteX289" fmla="*/ 7421 w 10000"/>
              <a:gd name="connsiteY289" fmla="*/ 2714 h 10000"/>
              <a:gd name="connsiteX290" fmla="*/ 7331 w 10000"/>
              <a:gd name="connsiteY290" fmla="*/ 3178 h 10000"/>
              <a:gd name="connsiteX291" fmla="*/ 7245 w 10000"/>
              <a:gd name="connsiteY291" fmla="*/ 3101 h 10000"/>
              <a:gd name="connsiteX292" fmla="*/ 7154 w 10000"/>
              <a:gd name="connsiteY292" fmla="*/ 2791 h 10000"/>
              <a:gd name="connsiteX293" fmla="*/ 7200 w 10000"/>
              <a:gd name="connsiteY293" fmla="*/ 2403 h 10000"/>
              <a:gd name="connsiteX294" fmla="*/ 7111 w 10000"/>
              <a:gd name="connsiteY294" fmla="*/ 2170 h 10000"/>
              <a:gd name="connsiteX295" fmla="*/ 6843 w 10000"/>
              <a:gd name="connsiteY295" fmla="*/ 2016 h 10000"/>
              <a:gd name="connsiteX296" fmla="*/ 6753 w 10000"/>
              <a:gd name="connsiteY296" fmla="*/ 2016 h 10000"/>
              <a:gd name="connsiteX297" fmla="*/ 6710 w 10000"/>
              <a:gd name="connsiteY297" fmla="*/ 2170 h 10000"/>
              <a:gd name="connsiteX298" fmla="*/ 6753 w 10000"/>
              <a:gd name="connsiteY298" fmla="*/ 2325 h 10000"/>
              <a:gd name="connsiteX299" fmla="*/ 6402 w 10000"/>
              <a:gd name="connsiteY299" fmla="*/ 2248 h 10000"/>
              <a:gd name="connsiteX300" fmla="*/ 6443 w 10000"/>
              <a:gd name="connsiteY300" fmla="*/ 2016 h 10000"/>
              <a:gd name="connsiteX301" fmla="*/ 6223 w 10000"/>
              <a:gd name="connsiteY301" fmla="*/ 1938 h 10000"/>
              <a:gd name="connsiteX302" fmla="*/ 6088 w 10000"/>
              <a:gd name="connsiteY302" fmla="*/ 2093 h 10000"/>
              <a:gd name="connsiteX303" fmla="*/ 5826 w 10000"/>
              <a:gd name="connsiteY303" fmla="*/ 1861 h 10000"/>
              <a:gd name="connsiteX0" fmla="*/ 5826 w 9909"/>
              <a:gd name="connsiteY0" fmla="*/ 1861 h 10000"/>
              <a:gd name="connsiteX1" fmla="*/ 5826 w 9909"/>
              <a:gd name="connsiteY1" fmla="*/ 1861 h 10000"/>
              <a:gd name="connsiteX2" fmla="*/ 5777 w 9909"/>
              <a:gd name="connsiteY2" fmla="*/ 1938 h 10000"/>
              <a:gd name="connsiteX3" fmla="*/ 5826 w 9909"/>
              <a:gd name="connsiteY3" fmla="*/ 2093 h 10000"/>
              <a:gd name="connsiteX4" fmla="*/ 5643 w 9909"/>
              <a:gd name="connsiteY4" fmla="*/ 2248 h 10000"/>
              <a:gd name="connsiteX5" fmla="*/ 5597 w 9909"/>
              <a:gd name="connsiteY5" fmla="*/ 2248 h 10000"/>
              <a:gd name="connsiteX6" fmla="*/ 5643 w 9909"/>
              <a:gd name="connsiteY6" fmla="*/ 2016 h 10000"/>
              <a:gd name="connsiteX7" fmla="*/ 6088 w 9909"/>
              <a:gd name="connsiteY7" fmla="*/ 1318 h 10000"/>
              <a:gd name="connsiteX8" fmla="*/ 6088 w 9909"/>
              <a:gd name="connsiteY8" fmla="*/ 853 h 10000"/>
              <a:gd name="connsiteX9" fmla="*/ 5911 w 9909"/>
              <a:gd name="connsiteY9" fmla="*/ 543 h 10000"/>
              <a:gd name="connsiteX10" fmla="*/ 5689 w 9909"/>
              <a:gd name="connsiteY10" fmla="*/ 543 h 10000"/>
              <a:gd name="connsiteX11" fmla="*/ 5689 w 9909"/>
              <a:gd name="connsiteY11" fmla="*/ 698 h 10000"/>
              <a:gd name="connsiteX12" fmla="*/ 5553 w 9909"/>
              <a:gd name="connsiteY12" fmla="*/ 698 h 10000"/>
              <a:gd name="connsiteX13" fmla="*/ 5643 w 9909"/>
              <a:gd name="connsiteY13" fmla="*/ 387 h 10000"/>
              <a:gd name="connsiteX14" fmla="*/ 5422 w 9909"/>
              <a:gd name="connsiteY14" fmla="*/ 310 h 10000"/>
              <a:gd name="connsiteX15" fmla="*/ 5553 w 9909"/>
              <a:gd name="connsiteY15" fmla="*/ 155 h 10000"/>
              <a:gd name="connsiteX16" fmla="*/ 5422 w 9909"/>
              <a:gd name="connsiteY16" fmla="*/ 0 h 10000"/>
              <a:gd name="connsiteX17" fmla="*/ 5199 w 9909"/>
              <a:gd name="connsiteY17" fmla="*/ 387 h 10000"/>
              <a:gd name="connsiteX18" fmla="*/ 5199 w 9909"/>
              <a:gd name="connsiteY18" fmla="*/ 698 h 10000"/>
              <a:gd name="connsiteX19" fmla="*/ 5065 w 9909"/>
              <a:gd name="connsiteY19" fmla="*/ 698 h 10000"/>
              <a:gd name="connsiteX20" fmla="*/ 4666 w 9909"/>
              <a:gd name="connsiteY20" fmla="*/ 853 h 10000"/>
              <a:gd name="connsiteX21" fmla="*/ 4309 w 9909"/>
              <a:gd name="connsiteY21" fmla="*/ 1240 h 10000"/>
              <a:gd name="connsiteX22" fmla="*/ 4177 w 9909"/>
              <a:gd name="connsiteY22" fmla="*/ 1551 h 10000"/>
              <a:gd name="connsiteX23" fmla="*/ 4221 w 9909"/>
              <a:gd name="connsiteY23" fmla="*/ 1938 h 10000"/>
              <a:gd name="connsiteX24" fmla="*/ 3733 w 9909"/>
              <a:gd name="connsiteY24" fmla="*/ 2093 h 10000"/>
              <a:gd name="connsiteX25" fmla="*/ 3777 w 9909"/>
              <a:gd name="connsiteY25" fmla="*/ 2559 h 10000"/>
              <a:gd name="connsiteX26" fmla="*/ 3912 w 9909"/>
              <a:gd name="connsiteY26" fmla="*/ 2791 h 10000"/>
              <a:gd name="connsiteX27" fmla="*/ 3823 w 9909"/>
              <a:gd name="connsiteY27" fmla="*/ 2868 h 10000"/>
              <a:gd name="connsiteX28" fmla="*/ 3689 w 9909"/>
              <a:gd name="connsiteY28" fmla="*/ 2559 h 10000"/>
              <a:gd name="connsiteX29" fmla="*/ 3556 w 9909"/>
              <a:gd name="connsiteY29" fmla="*/ 2480 h 10000"/>
              <a:gd name="connsiteX30" fmla="*/ 3511 w 9909"/>
              <a:gd name="connsiteY30" fmla="*/ 2559 h 10000"/>
              <a:gd name="connsiteX31" fmla="*/ 3422 w 9909"/>
              <a:gd name="connsiteY31" fmla="*/ 2403 h 10000"/>
              <a:gd name="connsiteX32" fmla="*/ 3333 w 9909"/>
              <a:gd name="connsiteY32" fmla="*/ 2248 h 10000"/>
              <a:gd name="connsiteX33" fmla="*/ 3333 w 9909"/>
              <a:gd name="connsiteY33" fmla="*/ 2325 h 10000"/>
              <a:gd name="connsiteX34" fmla="*/ 3380 w 9909"/>
              <a:gd name="connsiteY34" fmla="*/ 2559 h 10000"/>
              <a:gd name="connsiteX35" fmla="*/ 3243 w 9909"/>
              <a:gd name="connsiteY35" fmla="*/ 2946 h 10000"/>
              <a:gd name="connsiteX36" fmla="*/ 3333 w 9909"/>
              <a:gd name="connsiteY36" fmla="*/ 3256 h 10000"/>
              <a:gd name="connsiteX37" fmla="*/ 3286 w 9909"/>
              <a:gd name="connsiteY37" fmla="*/ 3566 h 10000"/>
              <a:gd name="connsiteX38" fmla="*/ 3286 w 9909"/>
              <a:gd name="connsiteY38" fmla="*/ 3799 h 10000"/>
              <a:gd name="connsiteX39" fmla="*/ 3422 w 9909"/>
              <a:gd name="connsiteY39" fmla="*/ 3799 h 10000"/>
              <a:gd name="connsiteX40" fmla="*/ 3333 w 9909"/>
              <a:gd name="connsiteY40" fmla="*/ 3876 h 10000"/>
              <a:gd name="connsiteX41" fmla="*/ 3380 w 9909"/>
              <a:gd name="connsiteY41" fmla="*/ 4263 h 10000"/>
              <a:gd name="connsiteX42" fmla="*/ 3110 w 9909"/>
              <a:gd name="connsiteY42" fmla="*/ 4652 h 10000"/>
              <a:gd name="connsiteX43" fmla="*/ 3065 w 9909"/>
              <a:gd name="connsiteY43" fmla="*/ 4574 h 10000"/>
              <a:gd name="connsiteX44" fmla="*/ 3243 w 9909"/>
              <a:gd name="connsiteY44" fmla="*/ 4186 h 10000"/>
              <a:gd name="connsiteX45" fmla="*/ 3286 w 9909"/>
              <a:gd name="connsiteY45" fmla="*/ 3954 h 10000"/>
              <a:gd name="connsiteX46" fmla="*/ 3195 w 9909"/>
              <a:gd name="connsiteY46" fmla="*/ 3799 h 10000"/>
              <a:gd name="connsiteX47" fmla="*/ 3195 w 9909"/>
              <a:gd name="connsiteY47" fmla="*/ 3023 h 10000"/>
              <a:gd name="connsiteX48" fmla="*/ 3155 w 9909"/>
              <a:gd name="connsiteY48" fmla="*/ 2868 h 10000"/>
              <a:gd name="connsiteX49" fmla="*/ 3195 w 9909"/>
              <a:gd name="connsiteY49" fmla="*/ 2403 h 10000"/>
              <a:gd name="connsiteX50" fmla="*/ 3110 w 9909"/>
              <a:gd name="connsiteY50" fmla="*/ 2325 h 10000"/>
              <a:gd name="connsiteX51" fmla="*/ 3155 w 9909"/>
              <a:gd name="connsiteY51" fmla="*/ 2248 h 10000"/>
              <a:gd name="connsiteX52" fmla="*/ 3110 w 9909"/>
              <a:gd name="connsiteY52" fmla="*/ 2093 h 10000"/>
              <a:gd name="connsiteX53" fmla="*/ 3018 w 9909"/>
              <a:gd name="connsiteY53" fmla="*/ 2170 h 10000"/>
              <a:gd name="connsiteX54" fmla="*/ 2799 w 9909"/>
              <a:gd name="connsiteY54" fmla="*/ 3178 h 10000"/>
              <a:gd name="connsiteX55" fmla="*/ 2799 w 9909"/>
              <a:gd name="connsiteY55" fmla="*/ 3566 h 10000"/>
              <a:gd name="connsiteX56" fmla="*/ 2932 w 9909"/>
              <a:gd name="connsiteY56" fmla="*/ 3876 h 10000"/>
              <a:gd name="connsiteX57" fmla="*/ 2932 w 9909"/>
              <a:gd name="connsiteY57" fmla="*/ 4031 h 10000"/>
              <a:gd name="connsiteX58" fmla="*/ 2799 w 9909"/>
              <a:gd name="connsiteY58" fmla="*/ 3876 h 10000"/>
              <a:gd name="connsiteX59" fmla="*/ 2268 w 9909"/>
              <a:gd name="connsiteY59" fmla="*/ 3256 h 10000"/>
              <a:gd name="connsiteX60" fmla="*/ 2222 w 9909"/>
              <a:gd name="connsiteY60" fmla="*/ 3411 h 10000"/>
              <a:gd name="connsiteX61" fmla="*/ 2400 w 9909"/>
              <a:gd name="connsiteY61" fmla="*/ 3799 h 10000"/>
              <a:gd name="connsiteX62" fmla="*/ 2310 w 9909"/>
              <a:gd name="connsiteY62" fmla="*/ 3876 h 10000"/>
              <a:gd name="connsiteX63" fmla="*/ 2268 w 9909"/>
              <a:gd name="connsiteY63" fmla="*/ 3799 h 10000"/>
              <a:gd name="connsiteX64" fmla="*/ 2001 w 9909"/>
              <a:gd name="connsiteY64" fmla="*/ 3954 h 10000"/>
              <a:gd name="connsiteX65" fmla="*/ 1956 w 9909"/>
              <a:gd name="connsiteY65" fmla="*/ 4109 h 10000"/>
              <a:gd name="connsiteX66" fmla="*/ 1911 w 9909"/>
              <a:gd name="connsiteY66" fmla="*/ 3954 h 10000"/>
              <a:gd name="connsiteX67" fmla="*/ 1911 w 9909"/>
              <a:gd name="connsiteY67" fmla="*/ 3799 h 10000"/>
              <a:gd name="connsiteX68" fmla="*/ 1465 w 9909"/>
              <a:gd name="connsiteY68" fmla="*/ 4263 h 10000"/>
              <a:gd name="connsiteX69" fmla="*/ 1465 w 9909"/>
              <a:gd name="connsiteY69" fmla="*/ 4418 h 10000"/>
              <a:gd name="connsiteX70" fmla="*/ 1379 w 9909"/>
              <a:gd name="connsiteY70" fmla="*/ 4496 h 10000"/>
              <a:gd name="connsiteX71" fmla="*/ 1244 w 9909"/>
              <a:gd name="connsiteY71" fmla="*/ 4341 h 10000"/>
              <a:gd name="connsiteX72" fmla="*/ 1379 w 9909"/>
              <a:gd name="connsiteY72" fmla="*/ 4186 h 10000"/>
              <a:gd name="connsiteX73" fmla="*/ 1334 w 9909"/>
              <a:gd name="connsiteY73" fmla="*/ 3954 h 10000"/>
              <a:gd name="connsiteX74" fmla="*/ 1157 w 9909"/>
              <a:gd name="connsiteY74" fmla="*/ 3876 h 10000"/>
              <a:gd name="connsiteX75" fmla="*/ 1202 w 9909"/>
              <a:gd name="connsiteY75" fmla="*/ 4031 h 10000"/>
              <a:gd name="connsiteX76" fmla="*/ 1202 w 9909"/>
              <a:gd name="connsiteY76" fmla="*/ 4418 h 10000"/>
              <a:gd name="connsiteX77" fmla="*/ 1244 w 9909"/>
              <a:gd name="connsiteY77" fmla="*/ 4574 h 10000"/>
              <a:gd name="connsiteX78" fmla="*/ 1202 w 9909"/>
              <a:gd name="connsiteY78" fmla="*/ 4729 h 10000"/>
              <a:gd name="connsiteX79" fmla="*/ 1065 w 9909"/>
              <a:gd name="connsiteY79" fmla="*/ 4652 h 10000"/>
              <a:gd name="connsiteX80" fmla="*/ 888 w 9909"/>
              <a:gd name="connsiteY80" fmla="*/ 4884 h 10000"/>
              <a:gd name="connsiteX81" fmla="*/ 976 w 9909"/>
              <a:gd name="connsiteY81" fmla="*/ 5194 h 10000"/>
              <a:gd name="connsiteX82" fmla="*/ 710 w 9909"/>
              <a:gd name="connsiteY82" fmla="*/ 5039 h 10000"/>
              <a:gd name="connsiteX83" fmla="*/ 667 w 9909"/>
              <a:gd name="connsiteY83" fmla="*/ 5116 h 10000"/>
              <a:gd name="connsiteX84" fmla="*/ 756 w 9909"/>
              <a:gd name="connsiteY84" fmla="*/ 5349 h 10000"/>
              <a:gd name="connsiteX85" fmla="*/ 667 w 9909"/>
              <a:gd name="connsiteY85" fmla="*/ 5349 h 10000"/>
              <a:gd name="connsiteX86" fmla="*/ 534 w 9909"/>
              <a:gd name="connsiteY86" fmla="*/ 5194 h 10000"/>
              <a:gd name="connsiteX87" fmla="*/ 534 w 9909"/>
              <a:gd name="connsiteY87" fmla="*/ 4729 h 10000"/>
              <a:gd name="connsiteX88" fmla="*/ 402 w 9909"/>
              <a:gd name="connsiteY88" fmla="*/ 4574 h 10000"/>
              <a:gd name="connsiteX89" fmla="*/ 355 w 9909"/>
              <a:gd name="connsiteY89" fmla="*/ 4418 h 10000"/>
              <a:gd name="connsiteX90" fmla="*/ 445 w 9909"/>
              <a:gd name="connsiteY90" fmla="*/ 4496 h 10000"/>
              <a:gd name="connsiteX91" fmla="*/ 799 w 9909"/>
              <a:gd name="connsiteY91" fmla="*/ 4729 h 10000"/>
              <a:gd name="connsiteX92" fmla="*/ 1021 w 9909"/>
              <a:gd name="connsiteY92" fmla="*/ 4496 h 10000"/>
              <a:gd name="connsiteX93" fmla="*/ 976 w 9909"/>
              <a:gd name="connsiteY93" fmla="*/ 4263 h 10000"/>
              <a:gd name="connsiteX94" fmla="*/ 710 w 9909"/>
              <a:gd name="connsiteY94" fmla="*/ 3799 h 10000"/>
              <a:gd name="connsiteX95" fmla="*/ 445 w 9909"/>
              <a:gd name="connsiteY95" fmla="*/ 3644 h 10000"/>
              <a:gd name="connsiteX96" fmla="*/ 445 w 9909"/>
              <a:gd name="connsiteY96" fmla="*/ 3566 h 10000"/>
              <a:gd name="connsiteX97" fmla="*/ 355 w 9909"/>
              <a:gd name="connsiteY97" fmla="*/ 3488 h 10000"/>
              <a:gd name="connsiteX98" fmla="*/ 265 w 9909"/>
              <a:gd name="connsiteY98" fmla="*/ 3566 h 10000"/>
              <a:gd name="connsiteX99" fmla="*/ 265 w 9909"/>
              <a:gd name="connsiteY99" fmla="*/ 3644 h 10000"/>
              <a:gd name="connsiteX100" fmla="*/ 223 w 9909"/>
              <a:gd name="connsiteY100" fmla="*/ 3644 h 10000"/>
              <a:gd name="connsiteX101" fmla="*/ 133 w 9909"/>
              <a:gd name="connsiteY101" fmla="*/ 3799 h 10000"/>
              <a:gd name="connsiteX102" fmla="*/ 133 w 9909"/>
              <a:gd name="connsiteY102" fmla="*/ 4031 h 10000"/>
              <a:gd name="connsiteX103" fmla="*/ 223 w 9909"/>
              <a:gd name="connsiteY103" fmla="*/ 4186 h 10000"/>
              <a:gd name="connsiteX104" fmla="*/ 177 w 9909"/>
              <a:gd name="connsiteY104" fmla="*/ 4418 h 10000"/>
              <a:gd name="connsiteX105" fmla="*/ 223 w 9909"/>
              <a:gd name="connsiteY105" fmla="*/ 4807 h 10000"/>
              <a:gd name="connsiteX106" fmla="*/ 177 w 9909"/>
              <a:gd name="connsiteY106" fmla="*/ 5039 h 10000"/>
              <a:gd name="connsiteX107" fmla="*/ 265 w 9909"/>
              <a:gd name="connsiteY107" fmla="*/ 5271 h 10000"/>
              <a:gd name="connsiteX108" fmla="*/ 223 w 9909"/>
              <a:gd name="connsiteY108" fmla="*/ 5426 h 10000"/>
              <a:gd name="connsiteX109" fmla="*/ 310 w 9909"/>
              <a:gd name="connsiteY109" fmla="*/ 5582 h 10000"/>
              <a:gd name="connsiteX110" fmla="*/ 310 w 9909"/>
              <a:gd name="connsiteY110" fmla="*/ 5659 h 10000"/>
              <a:gd name="connsiteX111" fmla="*/ 177 w 9909"/>
              <a:gd name="connsiteY111" fmla="*/ 6047 h 10000"/>
              <a:gd name="connsiteX112" fmla="*/ 42 w 9909"/>
              <a:gd name="connsiteY112" fmla="*/ 6202 h 10000"/>
              <a:gd name="connsiteX113" fmla="*/ 88 w 9909"/>
              <a:gd name="connsiteY113" fmla="*/ 6202 h 10000"/>
              <a:gd name="connsiteX114" fmla="*/ 177 w 9909"/>
              <a:gd name="connsiteY114" fmla="*/ 6356 h 10000"/>
              <a:gd name="connsiteX115" fmla="*/ 88 w 9909"/>
              <a:gd name="connsiteY115" fmla="*/ 6512 h 10000"/>
              <a:gd name="connsiteX116" fmla="*/ 42 w 9909"/>
              <a:gd name="connsiteY116" fmla="*/ 6590 h 10000"/>
              <a:gd name="connsiteX117" fmla="*/ 0 w 9909"/>
              <a:gd name="connsiteY117" fmla="*/ 6590 h 10000"/>
              <a:gd name="connsiteX118" fmla="*/ 42 w 9909"/>
              <a:gd name="connsiteY118" fmla="*/ 6822 h 10000"/>
              <a:gd name="connsiteX119" fmla="*/ 42 w 9909"/>
              <a:gd name="connsiteY119" fmla="*/ 6900 h 10000"/>
              <a:gd name="connsiteX120" fmla="*/ 42 w 9909"/>
              <a:gd name="connsiteY120" fmla="*/ 6977 h 10000"/>
              <a:gd name="connsiteX121" fmla="*/ 42 w 9909"/>
              <a:gd name="connsiteY121" fmla="*/ 7054 h 10000"/>
              <a:gd name="connsiteX122" fmla="*/ 88 w 9909"/>
              <a:gd name="connsiteY122" fmla="*/ 7209 h 10000"/>
              <a:gd name="connsiteX123" fmla="*/ 223 w 9909"/>
              <a:gd name="connsiteY123" fmla="*/ 7287 h 10000"/>
              <a:gd name="connsiteX124" fmla="*/ 265 w 9909"/>
              <a:gd name="connsiteY124" fmla="*/ 7364 h 10000"/>
              <a:gd name="connsiteX125" fmla="*/ 265 w 9909"/>
              <a:gd name="connsiteY125" fmla="*/ 7520 h 10000"/>
              <a:gd name="connsiteX126" fmla="*/ 355 w 9909"/>
              <a:gd name="connsiteY126" fmla="*/ 7752 h 10000"/>
              <a:gd name="connsiteX127" fmla="*/ 402 w 9909"/>
              <a:gd name="connsiteY127" fmla="*/ 7752 h 10000"/>
              <a:gd name="connsiteX128" fmla="*/ 355 w 9909"/>
              <a:gd name="connsiteY128" fmla="*/ 7907 h 10000"/>
              <a:gd name="connsiteX129" fmla="*/ 310 w 9909"/>
              <a:gd name="connsiteY129" fmla="*/ 7830 h 10000"/>
              <a:gd name="connsiteX130" fmla="*/ 310 w 9909"/>
              <a:gd name="connsiteY130" fmla="*/ 7907 h 10000"/>
              <a:gd name="connsiteX131" fmla="*/ 355 w 9909"/>
              <a:gd name="connsiteY131" fmla="*/ 8062 h 10000"/>
              <a:gd name="connsiteX132" fmla="*/ 490 w 9909"/>
              <a:gd name="connsiteY132" fmla="*/ 8062 h 10000"/>
              <a:gd name="connsiteX133" fmla="*/ 534 w 9909"/>
              <a:gd name="connsiteY133" fmla="*/ 8140 h 10000"/>
              <a:gd name="connsiteX134" fmla="*/ 490 w 9909"/>
              <a:gd name="connsiteY134" fmla="*/ 8140 h 10000"/>
              <a:gd name="connsiteX135" fmla="*/ 534 w 9909"/>
              <a:gd name="connsiteY135" fmla="*/ 8217 h 10000"/>
              <a:gd name="connsiteX136" fmla="*/ 577 w 9909"/>
              <a:gd name="connsiteY136" fmla="*/ 8217 h 10000"/>
              <a:gd name="connsiteX137" fmla="*/ 621 w 9909"/>
              <a:gd name="connsiteY137" fmla="*/ 8372 h 10000"/>
              <a:gd name="connsiteX138" fmla="*/ 667 w 9909"/>
              <a:gd name="connsiteY138" fmla="*/ 8449 h 10000"/>
              <a:gd name="connsiteX139" fmla="*/ 710 w 9909"/>
              <a:gd name="connsiteY139" fmla="*/ 8372 h 10000"/>
              <a:gd name="connsiteX140" fmla="*/ 934 w 9909"/>
              <a:gd name="connsiteY140" fmla="*/ 8605 h 10000"/>
              <a:gd name="connsiteX141" fmla="*/ 888 w 9909"/>
              <a:gd name="connsiteY141" fmla="*/ 8915 h 10000"/>
              <a:gd name="connsiteX142" fmla="*/ 842 w 9909"/>
              <a:gd name="connsiteY142" fmla="*/ 8838 h 10000"/>
              <a:gd name="connsiteX143" fmla="*/ 799 w 9909"/>
              <a:gd name="connsiteY143" fmla="*/ 8915 h 10000"/>
              <a:gd name="connsiteX144" fmla="*/ 799 w 9909"/>
              <a:gd name="connsiteY144" fmla="*/ 9070 h 10000"/>
              <a:gd name="connsiteX145" fmla="*/ 842 w 9909"/>
              <a:gd name="connsiteY145" fmla="*/ 8993 h 10000"/>
              <a:gd name="connsiteX146" fmla="*/ 888 w 9909"/>
              <a:gd name="connsiteY146" fmla="*/ 9070 h 10000"/>
              <a:gd name="connsiteX147" fmla="*/ 756 w 9909"/>
              <a:gd name="connsiteY147" fmla="*/ 9147 h 10000"/>
              <a:gd name="connsiteX148" fmla="*/ 799 w 9909"/>
              <a:gd name="connsiteY148" fmla="*/ 9225 h 10000"/>
              <a:gd name="connsiteX149" fmla="*/ 710 w 9909"/>
              <a:gd name="connsiteY149" fmla="*/ 9380 h 10000"/>
              <a:gd name="connsiteX150" fmla="*/ 667 w 9909"/>
              <a:gd name="connsiteY150" fmla="*/ 9380 h 10000"/>
              <a:gd name="connsiteX151" fmla="*/ 710 w 9909"/>
              <a:gd name="connsiteY151" fmla="*/ 9380 h 10000"/>
              <a:gd name="connsiteX152" fmla="*/ 888 w 9909"/>
              <a:gd name="connsiteY152" fmla="*/ 9691 h 10000"/>
              <a:gd name="connsiteX153" fmla="*/ 1112 w 9909"/>
              <a:gd name="connsiteY153" fmla="*/ 9691 h 10000"/>
              <a:gd name="connsiteX154" fmla="*/ 1202 w 9909"/>
              <a:gd name="connsiteY154" fmla="*/ 9768 h 10000"/>
              <a:gd name="connsiteX155" fmla="*/ 1289 w 9909"/>
              <a:gd name="connsiteY155" fmla="*/ 9768 h 10000"/>
              <a:gd name="connsiteX156" fmla="*/ 1379 w 9909"/>
              <a:gd name="connsiteY156" fmla="*/ 9923 h 10000"/>
              <a:gd name="connsiteX157" fmla="*/ 1422 w 9909"/>
              <a:gd name="connsiteY157" fmla="*/ 10000 h 10000"/>
              <a:gd name="connsiteX158" fmla="*/ 1465 w 9909"/>
              <a:gd name="connsiteY158" fmla="*/ 10000 h 10000"/>
              <a:gd name="connsiteX159" fmla="*/ 1512 w 9909"/>
              <a:gd name="connsiteY159" fmla="*/ 9923 h 10000"/>
              <a:gd name="connsiteX160" fmla="*/ 1422 w 9909"/>
              <a:gd name="connsiteY160" fmla="*/ 9768 h 10000"/>
              <a:gd name="connsiteX161" fmla="*/ 1422 w 9909"/>
              <a:gd name="connsiteY161" fmla="*/ 9613 h 10000"/>
              <a:gd name="connsiteX162" fmla="*/ 1379 w 9909"/>
              <a:gd name="connsiteY162" fmla="*/ 9457 h 10000"/>
              <a:gd name="connsiteX163" fmla="*/ 1465 w 9909"/>
              <a:gd name="connsiteY163" fmla="*/ 9225 h 10000"/>
              <a:gd name="connsiteX164" fmla="*/ 1512 w 9909"/>
              <a:gd name="connsiteY164" fmla="*/ 9302 h 10000"/>
              <a:gd name="connsiteX165" fmla="*/ 1556 w 9909"/>
              <a:gd name="connsiteY165" fmla="*/ 9225 h 10000"/>
              <a:gd name="connsiteX166" fmla="*/ 1556 w 9909"/>
              <a:gd name="connsiteY166" fmla="*/ 9147 h 10000"/>
              <a:gd name="connsiteX167" fmla="*/ 1512 w 9909"/>
              <a:gd name="connsiteY167" fmla="*/ 9147 h 10000"/>
              <a:gd name="connsiteX168" fmla="*/ 1556 w 9909"/>
              <a:gd name="connsiteY168" fmla="*/ 9070 h 10000"/>
              <a:gd name="connsiteX169" fmla="*/ 1512 w 9909"/>
              <a:gd name="connsiteY169" fmla="*/ 8915 h 10000"/>
              <a:gd name="connsiteX170" fmla="*/ 1422 w 9909"/>
              <a:gd name="connsiteY170" fmla="*/ 8915 h 10000"/>
              <a:gd name="connsiteX171" fmla="*/ 1379 w 9909"/>
              <a:gd name="connsiteY171" fmla="*/ 8760 h 10000"/>
              <a:gd name="connsiteX172" fmla="*/ 1422 w 9909"/>
              <a:gd name="connsiteY172" fmla="*/ 8372 h 10000"/>
              <a:gd name="connsiteX173" fmla="*/ 1512 w 9909"/>
              <a:gd name="connsiteY173" fmla="*/ 8528 h 10000"/>
              <a:gd name="connsiteX174" fmla="*/ 1556 w 9909"/>
              <a:gd name="connsiteY174" fmla="*/ 8528 h 10000"/>
              <a:gd name="connsiteX175" fmla="*/ 1512 w 9909"/>
              <a:gd name="connsiteY175" fmla="*/ 8372 h 10000"/>
              <a:gd name="connsiteX176" fmla="*/ 1645 w 9909"/>
              <a:gd name="connsiteY176" fmla="*/ 8140 h 10000"/>
              <a:gd name="connsiteX177" fmla="*/ 1735 w 9909"/>
              <a:gd name="connsiteY177" fmla="*/ 8217 h 10000"/>
              <a:gd name="connsiteX178" fmla="*/ 1777 w 9909"/>
              <a:gd name="connsiteY178" fmla="*/ 8140 h 10000"/>
              <a:gd name="connsiteX179" fmla="*/ 1866 w 9909"/>
              <a:gd name="connsiteY179" fmla="*/ 8217 h 10000"/>
              <a:gd name="connsiteX180" fmla="*/ 2001 w 9909"/>
              <a:gd name="connsiteY180" fmla="*/ 8372 h 10000"/>
              <a:gd name="connsiteX181" fmla="*/ 2089 w 9909"/>
              <a:gd name="connsiteY181" fmla="*/ 8295 h 10000"/>
              <a:gd name="connsiteX182" fmla="*/ 2178 w 9909"/>
              <a:gd name="connsiteY182" fmla="*/ 8295 h 10000"/>
              <a:gd name="connsiteX183" fmla="*/ 2222 w 9909"/>
              <a:gd name="connsiteY183" fmla="*/ 8372 h 10000"/>
              <a:gd name="connsiteX184" fmla="*/ 2400 w 9909"/>
              <a:gd name="connsiteY184" fmla="*/ 8372 h 10000"/>
              <a:gd name="connsiteX185" fmla="*/ 2443 w 9909"/>
              <a:gd name="connsiteY185" fmla="*/ 8217 h 10000"/>
              <a:gd name="connsiteX186" fmla="*/ 2310 w 9909"/>
              <a:gd name="connsiteY186" fmla="*/ 8140 h 10000"/>
              <a:gd name="connsiteX187" fmla="*/ 2400 w 9909"/>
              <a:gd name="connsiteY187" fmla="*/ 8062 h 10000"/>
              <a:gd name="connsiteX188" fmla="*/ 2354 w 9909"/>
              <a:gd name="connsiteY188" fmla="*/ 7985 h 10000"/>
              <a:gd name="connsiteX189" fmla="*/ 2400 w 9909"/>
              <a:gd name="connsiteY189" fmla="*/ 7907 h 10000"/>
              <a:gd name="connsiteX190" fmla="*/ 2400 w 9909"/>
              <a:gd name="connsiteY190" fmla="*/ 7675 h 10000"/>
              <a:gd name="connsiteX191" fmla="*/ 2487 w 9909"/>
              <a:gd name="connsiteY191" fmla="*/ 7752 h 10000"/>
              <a:gd name="connsiteX192" fmla="*/ 2889 w 9909"/>
              <a:gd name="connsiteY192" fmla="*/ 7520 h 10000"/>
              <a:gd name="connsiteX193" fmla="*/ 2889 w 9909"/>
              <a:gd name="connsiteY193" fmla="*/ 7442 h 10000"/>
              <a:gd name="connsiteX194" fmla="*/ 2932 w 9909"/>
              <a:gd name="connsiteY194" fmla="*/ 7442 h 10000"/>
              <a:gd name="connsiteX195" fmla="*/ 3065 w 9909"/>
              <a:gd name="connsiteY195" fmla="*/ 7442 h 10000"/>
              <a:gd name="connsiteX196" fmla="*/ 3110 w 9909"/>
              <a:gd name="connsiteY196" fmla="*/ 7598 h 10000"/>
              <a:gd name="connsiteX197" fmla="*/ 3110 w 9909"/>
              <a:gd name="connsiteY197" fmla="*/ 7675 h 10000"/>
              <a:gd name="connsiteX198" fmla="*/ 3155 w 9909"/>
              <a:gd name="connsiteY198" fmla="*/ 7675 h 10000"/>
              <a:gd name="connsiteX199" fmla="*/ 3243 w 9909"/>
              <a:gd name="connsiteY199" fmla="*/ 7752 h 10000"/>
              <a:gd name="connsiteX200" fmla="*/ 3243 w 9909"/>
              <a:gd name="connsiteY200" fmla="*/ 7830 h 10000"/>
              <a:gd name="connsiteX201" fmla="*/ 3333 w 9909"/>
              <a:gd name="connsiteY201" fmla="*/ 7830 h 10000"/>
              <a:gd name="connsiteX202" fmla="*/ 3422 w 9909"/>
              <a:gd name="connsiteY202" fmla="*/ 7675 h 10000"/>
              <a:gd name="connsiteX203" fmla="*/ 3511 w 9909"/>
              <a:gd name="connsiteY203" fmla="*/ 7598 h 10000"/>
              <a:gd name="connsiteX204" fmla="*/ 3556 w 9909"/>
              <a:gd name="connsiteY204" fmla="*/ 7830 h 10000"/>
              <a:gd name="connsiteX205" fmla="*/ 3733 w 9909"/>
              <a:gd name="connsiteY205" fmla="*/ 8372 h 10000"/>
              <a:gd name="connsiteX206" fmla="*/ 3777 w 9909"/>
              <a:gd name="connsiteY206" fmla="*/ 8217 h 10000"/>
              <a:gd name="connsiteX207" fmla="*/ 3823 w 9909"/>
              <a:gd name="connsiteY207" fmla="*/ 8372 h 10000"/>
              <a:gd name="connsiteX208" fmla="*/ 3956 w 9909"/>
              <a:gd name="connsiteY208" fmla="*/ 8295 h 10000"/>
              <a:gd name="connsiteX209" fmla="*/ 4090 w 9909"/>
              <a:gd name="connsiteY209" fmla="*/ 8528 h 10000"/>
              <a:gd name="connsiteX210" fmla="*/ 4177 w 9909"/>
              <a:gd name="connsiteY210" fmla="*/ 8605 h 10000"/>
              <a:gd name="connsiteX211" fmla="*/ 4177 w 9909"/>
              <a:gd name="connsiteY211" fmla="*/ 8528 h 10000"/>
              <a:gd name="connsiteX212" fmla="*/ 4221 w 9909"/>
              <a:gd name="connsiteY212" fmla="*/ 8683 h 10000"/>
              <a:gd name="connsiteX213" fmla="*/ 4177 w 9909"/>
              <a:gd name="connsiteY213" fmla="*/ 8760 h 10000"/>
              <a:gd name="connsiteX214" fmla="*/ 4267 w 9909"/>
              <a:gd name="connsiteY214" fmla="*/ 8683 h 10000"/>
              <a:gd name="connsiteX215" fmla="*/ 4309 w 9909"/>
              <a:gd name="connsiteY215" fmla="*/ 8605 h 10000"/>
              <a:gd name="connsiteX216" fmla="*/ 4533 w 9909"/>
              <a:gd name="connsiteY216" fmla="*/ 8372 h 10000"/>
              <a:gd name="connsiteX217" fmla="*/ 4710 w 9909"/>
              <a:gd name="connsiteY217" fmla="*/ 8449 h 10000"/>
              <a:gd name="connsiteX218" fmla="*/ 4798 w 9909"/>
              <a:gd name="connsiteY218" fmla="*/ 8528 h 10000"/>
              <a:gd name="connsiteX219" fmla="*/ 4975 w 9909"/>
              <a:gd name="connsiteY219" fmla="*/ 8528 h 10000"/>
              <a:gd name="connsiteX220" fmla="*/ 4975 w 9909"/>
              <a:gd name="connsiteY220" fmla="*/ 8372 h 10000"/>
              <a:gd name="connsiteX221" fmla="*/ 4975 w 9909"/>
              <a:gd name="connsiteY221" fmla="*/ 8217 h 10000"/>
              <a:gd name="connsiteX222" fmla="*/ 5065 w 9909"/>
              <a:gd name="connsiteY222" fmla="*/ 8140 h 10000"/>
              <a:gd name="connsiteX223" fmla="*/ 5243 w 9909"/>
              <a:gd name="connsiteY223" fmla="*/ 8217 h 10000"/>
              <a:gd name="connsiteX224" fmla="*/ 5331 w 9909"/>
              <a:gd name="connsiteY224" fmla="*/ 8449 h 10000"/>
              <a:gd name="connsiteX225" fmla="*/ 5378 w 9909"/>
              <a:gd name="connsiteY225" fmla="*/ 8449 h 10000"/>
              <a:gd name="connsiteX226" fmla="*/ 5466 w 9909"/>
              <a:gd name="connsiteY226" fmla="*/ 8372 h 10000"/>
              <a:gd name="connsiteX227" fmla="*/ 5735 w 9909"/>
              <a:gd name="connsiteY227" fmla="*/ 8605 h 10000"/>
              <a:gd name="connsiteX228" fmla="*/ 5867 w 9909"/>
              <a:gd name="connsiteY228" fmla="*/ 8683 h 10000"/>
              <a:gd name="connsiteX229" fmla="*/ 6044 w 9909"/>
              <a:gd name="connsiteY229" fmla="*/ 8605 h 10000"/>
              <a:gd name="connsiteX230" fmla="*/ 6132 w 9909"/>
              <a:gd name="connsiteY230" fmla="*/ 8449 h 10000"/>
              <a:gd name="connsiteX231" fmla="*/ 6265 w 9909"/>
              <a:gd name="connsiteY231" fmla="*/ 8528 h 10000"/>
              <a:gd name="connsiteX232" fmla="*/ 6354 w 9909"/>
              <a:gd name="connsiteY232" fmla="*/ 8605 h 10000"/>
              <a:gd name="connsiteX233" fmla="*/ 7865 w 9909"/>
              <a:gd name="connsiteY233" fmla="*/ 7675 h 10000"/>
              <a:gd name="connsiteX234" fmla="*/ 7778 w 9909"/>
              <a:gd name="connsiteY234" fmla="*/ 7675 h 10000"/>
              <a:gd name="connsiteX235" fmla="*/ 7733 w 9909"/>
              <a:gd name="connsiteY235" fmla="*/ 7675 h 10000"/>
              <a:gd name="connsiteX236" fmla="*/ 7687 w 9909"/>
              <a:gd name="connsiteY236" fmla="*/ 7598 h 10000"/>
              <a:gd name="connsiteX237" fmla="*/ 7600 w 9909"/>
              <a:gd name="connsiteY237" fmla="*/ 7598 h 10000"/>
              <a:gd name="connsiteX238" fmla="*/ 7600 w 9909"/>
              <a:gd name="connsiteY238" fmla="*/ 7520 h 10000"/>
              <a:gd name="connsiteX239" fmla="*/ 7733 w 9909"/>
              <a:gd name="connsiteY239" fmla="*/ 7287 h 10000"/>
              <a:gd name="connsiteX240" fmla="*/ 8135 w 9909"/>
              <a:gd name="connsiteY240" fmla="*/ 6590 h 10000"/>
              <a:gd name="connsiteX241" fmla="*/ 8310 w 9909"/>
              <a:gd name="connsiteY241" fmla="*/ 6512 h 10000"/>
              <a:gd name="connsiteX242" fmla="*/ 8353 w 9909"/>
              <a:gd name="connsiteY242" fmla="*/ 6590 h 10000"/>
              <a:gd name="connsiteX243" fmla="*/ 8401 w 9909"/>
              <a:gd name="connsiteY243" fmla="*/ 6512 h 10000"/>
              <a:gd name="connsiteX244" fmla="*/ 8530 w 9909"/>
              <a:gd name="connsiteY244" fmla="*/ 6590 h 10000"/>
              <a:gd name="connsiteX245" fmla="*/ 8579 w 9909"/>
              <a:gd name="connsiteY245" fmla="*/ 6434 h 10000"/>
              <a:gd name="connsiteX246" fmla="*/ 8709 w 9909"/>
              <a:gd name="connsiteY246" fmla="*/ 6512 h 10000"/>
              <a:gd name="connsiteX247" fmla="*/ 8754 w 9909"/>
              <a:gd name="connsiteY247" fmla="*/ 6512 h 10000"/>
              <a:gd name="connsiteX248" fmla="*/ 8709 w 9909"/>
              <a:gd name="connsiteY248" fmla="*/ 6590 h 10000"/>
              <a:gd name="connsiteX249" fmla="*/ 8709 w 9909"/>
              <a:gd name="connsiteY249" fmla="*/ 6667 h 10000"/>
              <a:gd name="connsiteX250" fmla="*/ 8976 w 9909"/>
              <a:gd name="connsiteY250" fmla="*/ 6590 h 10000"/>
              <a:gd name="connsiteX251" fmla="*/ 8932 w 9909"/>
              <a:gd name="connsiteY251" fmla="*/ 6512 h 10000"/>
              <a:gd name="connsiteX252" fmla="*/ 9111 w 9909"/>
              <a:gd name="connsiteY252" fmla="*/ 5969 h 10000"/>
              <a:gd name="connsiteX253" fmla="*/ 9330 w 9909"/>
              <a:gd name="connsiteY253" fmla="*/ 5892 h 10000"/>
              <a:gd name="connsiteX254" fmla="*/ 9330 w 9909"/>
              <a:gd name="connsiteY254" fmla="*/ 6047 h 10000"/>
              <a:gd name="connsiteX255" fmla="*/ 9330 w 9909"/>
              <a:gd name="connsiteY255" fmla="*/ 6202 h 10000"/>
              <a:gd name="connsiteX256" fmla="*/ 9553 w 9909"/>
              <a:gd name="connsiteY256" fmla="*/ 5969 h 10000"/>
              <a:gd name="connsiteX257" fmla="*/ 9553 w 9909"/>
              <a:gd name="connsiteY257" fmla="*/ 5737 h 10000"/>
              <a:gd name="connsiteX258" fmla="*/ 9643 w 9909"/>
              <a:gd name="connsiteY258" fmla="*/ 5737 h 10000"/>
              <a:gd name="connsiteX259" fmla="*/ 9595 w 9909"/>
              <a:gd name="connsiteY259" fmla="*/ 5814 h 10000"/>
              <a:gd name="connsiteX260" fmla="*/ 9553 w 9909"/>
              <a:gd name="connsiteY260" fmla="*/ 6202 h 10000"/>
              <a:gd name="connsiteX261" fmla="*/ 9465 w 9909"/>
              <a:gd name="connsiteY261" fmla="*/ 6279 h 10000"/>
              <a:gd name="connsiteX262" fmla="*/ 9553 w 9909"/>
              <a:gd name="connsiteY262" fmla="*/ 6590 h 10000"/>
              <a:gd name="connsiteX263" fmla="*/ 9553 w 9909"/>
              <a:gd name="connsiteY263" fmla="*/ 6434 h 10000"/>
              <a:gd name="connsiteX264" fmla="*/ 9643 w 9909"/>
              <a:gd name="connsiteY264" fmla="*/ 6434 h 10000"/>
              <a:gd name="connsiteX265" fmla="*/ 9777 w 9909"/>
              <a:gd name="connsiteY265" fmla="*/ 6279 h 10000"/>
              <a:gd name="connsiteX266" fmla="*/ 9777 w 9909"/>
              <a:gd name="connsiteY266" fmla="*/ 6434 h 10000"/>
              <a:gd name="connsiteX267" fmla="*/ 9820 w 9909"/>
              <a:gd name="connsiteY267" fmla="*/ 6356 h 10000"/>
              <a:gd name="connsiteX268" fmla="*/ 9909 w 9909"/>
              <a:gd name="connsiteY268" fmla="*/ 3721 h 10000"/>
              <a:gd name="connsiteX269" fmla="*/ 9820 w 9909"/>
              <a:gd name="connsiteY269" fmla="*/ 3644 h 10000"/>
              <a:gd name="connsiteX270" fmla="*/ 9595 w 9909"/>
              <a:gd name="connsiteY270" fmla="*/ 3566 h 10000"/>
              <a:gd name="connsiteX271" fmla="*/ 9378 w 9909"/>
              <a:gd name="connsiteY271" fmla="*/ 3566 h 10000"/>
              <a:gd name="connsiteX272" fmla="*/ 9287 w 9909"/>
              <a:gd name="connsiteY272" fmla="*/ 3488 h 10000"/>
              <a:gd name="connsiteX273" fmla="*/ 9330 w 9909"/>
              <a:gd name="connsiteY273" fmla="*/ 3333 h 10000"/>
              <a:gd name="connsiteX274" fmla="*/ 9241 w 9909"/>
              <a:gd name="connsiteY274" fmla="*/ 3101 h 10000"/>
              <a:gd name="connsiteX275" fmla="*/ 9063 w 9909"/>
              <a:gd name="connsiteY275" fmla="*/ 3023 h 10000"/>
              <a:gd name="connsiteX276" fmla="*/ 8800 w 9909"/>
              <a:gd name="connsiteY276" fmla="*/ 3178 h 10000"/>
              <a:gd name="connsiteX277" fmla="*/ 8754 w 9909"/>
              <a:gd name="connsiteY277" fmla="*/ 2946 h 10000"/>
              <a:gd name="connsiteX278" fmla="*/ 8666 w 9909"/>
              <a:gd name="connsiteY278" fmla="*/ 2946 h 10000"/>
              <a:gd name="connsiteX279" fmla="*/ 8621 w 9909"/>
              <a:gd name="connsiteY279" fmla="*/ 2868 h 10000"/>
              <a:gd name="connsiteX280" fmla="*/ 8621 w 9909"/>
              <a:gd name="connsiteY280" fmla="*/ 2636 h 10000"/>
              <a:gd name="connsiteX281" fmla="*/ 8310 w 9909"/>
              <a:gd name="connsiteY281" fmla="*/ 2480 h 10000"/>
              <a:gd name="connsiteX282" fmla="*/ 7955 w 9909"/>
              <a:gd name="connsiteY282" fmla="*/ 2325 h 10000"/>
              <a:gd name="connsiteX283" fmla="*/ 7865 w 9909"/>
              <a:gd name="connsiteY283" fmla="*/ 2636 h 10000"/>
              <a:gd name="connsiteX284" fmla="*/ 7955 w 9909"/>
              <a:gd name="connsiteY284" fmla="*/ 2868 h 10000"/>
              <a:gd name="connsiteX285" fmla="*/ 7687 w 9909"/>
              <a:gd name="connsiteY285" fmla="*/ 2868 h 10000"/>
              <a:gd name="connsiteX286" fmla="*/ 7642 w 9909"/>
              <a:gd name="connsiteY286" fmla="*/ 2868 h 10000"/>
              <a:gd name="connsiteX287" fmla="*/ 7554 w 9909"/>
              <a:gd name="connsiteY287" fmla="*/ 2946 h 10000"/>
              <a:gd name="connsiteX288" fmla="*/ 7421 w 9909"/>
              <a:gd name="connsiteY288" fmla="*/ 2714 h 10000"/>
              <a:gd name="connsiteX289" fmla="*/ 7331 w 9909"/>
              <a:gd name="connsiteY289" fmla="*/ 3178 h 10000"/>
              <a:gd name="connsiteX290" fmla="*/ 7245 w 9909"/>
              <a:gd name="connsiteY290" fmla="*/ 3101 h 10000"/>
              <a:gd name="connsiteX291" fmla="*/ 7154 w 9909"/>
              <a:gd name="connsiteY291" fmla="*/ 2791 h 10000"/>
              <a:gd name="connsiteX292" fmla="*/ 7200 w 9909"/>
              <a:gd name="connsiteY292" fmla="*/ 2403 h 10000"/>
              <a:gd name="connsiteX293" fmla="*/ 7111 w 9909"/>
              <a:gd name="connsiteY293" fmla="*/ 2170 h 10000"/>
              <a:gd name="connsiteX294" fmla="*/ 6843 w 9909"/>
              <a:gd name="connsiteY294" fmla="*/ 2016 h 10000"/>
              <a:gd name="connsiteX295" fmla="*/ 6753 w 9909"/>
              <a:gd name="connsiteY295" fmla="*/ 2016 h 10000"/>
              <a:gd name="connsiteX296" fmla="*/ 6710 w 9909"/>
              <a:gd name="connsiteY296" fmla="*/ 2170 h 10000"/>
              <a:gd name="connsiteX297" fmla="*/ 6753 w 9909"/>
              <a:gd name="connsiteY297" fmla="*/ 2325 h 10000"/>
              <a:gd name="connsiteX298" fmla="*/ 6402 w 9909"/>
              <a:gd name="connsiteY298" fmla="*/ 2248 h 10000"/>
              <a:gd name="connsiteX299" fmla="*/ 6443 w 9909"/>
              <a:gd name="connsiteY299" fmla="*/ 2016 h 10000"/>
              <a:gd name="connsiteX300" fmla="*/ 6223 w 9909"/>
              <a:gd name="connsiteY300" fmla="*/ 1938 h 10000"/>
              <a:gd name="connsiteX301" fmla="*/ 6088 w 9909"/>
              <a:gd name="connsiteY301" fmla="*/ 2093 h 10000"/>
              <a:gd name="connsiteX302" fmla="*/ 5826 w 9909"/>
              <a:gd name="connsiteY302" fmla="*/ 1861 h 10000"/>
              <a:gd name="connsiteX0" fmla="*/ 5880 w 9928"/>
              <a:gd name="connsiteY0" fmla="*/ 1861 h 10000"/>
              <a:gd name="connsiteX1" fmla="*/ 5880 w 9928"/>
              <a:gd name="connsiteY1" fmla="*/ 1861 h 10000"/>
              <a:gd name="connsiteX2" fmla="*/ 5830 w 9928"/>
              <a:gd name="connsiteY2" fmla="*/ 1938 h 10000"/>
              <a:gd name="connsiteX3" fmla="*/ 5880 w 9928"/>
              <a:gd name="connsiteY3" fmla="*/ 2093 h 10000"/>
              <a:gd name="connsiteX4" fmla="*/ 5695 w 9928"/>
              <a:gd name="connsiteY4" fmla="*/ 2248 h 10000"/>
              <a:gd name="connsiteX5" fmla="*/ 5648 w 9928"/>
              <a:gd name="connsiteY5" fmla="*/ 2248 h 10000"/>
              <a:gd name="connsiteX6" fmla="*/ 5695 w 9928"/>
              <a:gd name="connsiteY6" fmla="*/ 2016 h 10000"/>
              <a:gd name="connsiteX7" fmla="*/ 6144 w 9928"/>
              <a:gd name="connsiteY7" fmla="*/ 1318 h 10000"/>
              <a:gd name="connsiteX8" fmla="*/ 6144 w 9928"/>
              <a:gd name="connsiteY8" fmla="*/ 853 h 10000"/>
              <a:gd name="connsiteX9" fmla="*/ 5965 w 9928"/>
              <a:gd name="connsiteY9" fmla="*/ 543 h 10000"/>
              <a:gd name="connsiteX10" fmla="*/ 5741 w 9928"/>
              <a:gd name="connsiteY10" fmla="*/ 543 h 10000"/>
              <a:gd name="connsiteX11" fmla="*/ 5741 w 9928"/>
              <a:gd name="connsiteY11" fmla="*/ 698 h 10000"/>
              <a:gd name="connsiteX12" fmla="*/ 5604 w 9928"/>
              <a:gd name="connsiteY12" fmla="*/ 698 h 10000"/>
              <a:gd name="connsiteX13" fmla="*/ 5695 w 9928"/>
              <a:gd name="connsiteY13" fmla="*/ 387 h 10000"/>
              <a:gd name="connsiteX14" fmla="*/ 5472 w 9928"/>
              <a:gd name="connsiteY14" fmla="*/ 310 h 10000"/>
              <a:gd name="connsiteX15" fmla="*/ 5604 w 9928"/>
              <a:gd name="connsiteY15" fmla="*/ 155 h 10000"/>
              <a:gd name="connsiteX16" fmla="*/ 5472 w 9928"/>
              <a:gd name="connsiteY16" fmla="*/ 0 h 10000"/>
              <a:gd name="connsiteX17" fmla="*/ 5247 w 9928"/>
              <a:gd name="connsiteY17" fmla="*/ 387 h 10000"/>
              <a:gd name="connsiteX18" fmla="*/ 5247 w 9928"/>
              <a:gd name="connsiteY18" fmla="*/ 698 h 10000"/>
              <a:gd name="connsiteX19" fmla="*/ 5112 w 9928"/>
              <a:gd name="connsiteY19" fmla="*/ 698 h 10000"/>
              <a:gd name="connsiteX20" fmla="*/ 4709 w 9928"/>
              <a:gd name="connsiteY20" fmla="*/ 853 h 10000"/>
              <a:gd name="connsiteX21" fmla="*/ 4349 w 9928"/>
              <a:gd name="connsiteY21" fmla="*/ 1240 h 10000"/>
              <a:gd name="connsiteX22" fmla="*/ 4215 w 9928"/>
              <a:gd name="connsiteY22" fmla="*/ 1551 h 10000"/>
              <a:gd name="connsiteX23" fmla="*/ 4260 w 9928"/>
              <a:gd name="connsiteY23" fmla="*/ 1938 h 10000"/>
              <a:gd name="connsiteX24" fmla="*/ 3767 w 9928"/>
              <a:gd name="connsiteY24" fmla="*/ 2093 h 10000"/>
              <a:gd name="connsiteX25" fmla="*/ 3812 w 9928"/>
              <a:gd name="connsiteY25" fmla="*/ 2559 h 10000"/>
              <a:gd name="connsiteX26" fmla="*/ 3948 w 9928"/>
              <a:gd name="connsiteY26" fmla="*/ 2791 h 10000"/>
              <a:gd name="connsiteX27" fmla="*/ 3858 w 9928"/>
              <a:gd name="connsiteY27" fmla="*/ 2868 h 10000"/>
              <a:gd name="connsiteX28" fmla="*/ 3723 w 9928"/>
              <a:gd name="connsiteY28" fmla="*/ 2559 h 10000"/>
              <a:gd name="connsiteX29" fmla="*/ 3589 w 9928"/>
              <a:gd name="connsiteY29" fmla="*/ 2480 h 10000"/>
              <a:gd name="connsiteX30" fmla="*/ 3543 w 9928"/>
              <a:gd name="connsiteY30" fmla="*/ 2559 h 10000"/>
              <a:gd name="connsiteX31" fmla="*/ 3453 w 9928"/>
              <a:gd name="connsiteY31" fmla="*/ 2403 h 10000"/>
              <a:gd name="connsiteX32" fmla="*/ 3364 w 9928"/>
              <a:gd name="connsiteY32" fmla="*/ 2248 h 10000"/>
              <a:gd name="connsiteX33" fmla="*/ 3364 w 9928"/>
              <a:gd name="connsiteY33" fmla="*/ 2325 h 10000"/>
              <a:gd name="connsiteX34" fmla="*/ 3411 w 9928"/>
              <a:gd name="connsiteY34" fmla="*/ 2559 h 10000"/>
              <a:gd name="connsiteX35" fmla="*/ 3273 w 9928"/>
              <a:gd name="connsiteY35" fmla="*/ 2946 h 10000"/>
              <a:gd name="connsiteX36" fmla="*/ 3364 w 9928"/>
              <a:gd name="connsiteY36" fmla="*/ 3256 h 10000"/>
              <a:gd name="connsiteX37" fmla="*/ 3316 w 9928"/>
              <a:gd name="connsiteY37" fmla="*/ 3566 h 10000"/>
              <a:gd name="connsiteX38" fmla="*/ 3316 w 9928"/>
              <a:gd name="connsiteY38" fmla="*/ 3799 h 10000"/>
              <a:gd name="connsiteX39" fmla="*/ 3453 w 9928"/>
              <a:gd name="connsiteY39" fmla="*/ 3799 h 10000"/>
              <a:gd name="connsiteX40" fmla="*/ 3364 w 9928"/>
              <a:gd name="connsiteY40" fmla="*/ 3876 h 10000"/>
              <a:gd name="connsiteX41" fmla="*/ 3411 w 9928"/>
              <a:gd name="connsiteY41" fmla="*/ 4263 h 10000"/>
              <a:gd name="connsiteX42" fmla="*/ 3139 w 9928"/>
              <a:gd name="connsiteY42" fmla="*/ 4652 h 10000"/>
              <a:gd name="connsiteX43" fmla="*/ 3093 w 9928"/>
              <a:gd name="connsiteY43" fmla="*/ 4574 h 10000"/>
              <a:gd name="connsiteX44" fmla="*/ 3273 w 9928"/>
              <a:gd name="connsiteY44" fmla="*/ 4186 h 10000"/>
              <a:gd name="connsiteX45" fmla="*/ 3316 w 9928"/>
              <a:gd name="connsiteY45" fmla="*/ 3954 h 10000"/>
              <a:gd name="connsiteX46" fmla="*/ 3224 w 9928"/>
              <a:gd name="connsiteY46" fmla="*/ 3799 h 10000"/>
              <a:gd name="connsiteX47" fmla="*/ 3224 w 9928"/>
              <a:gd name="connsiteY47" fmla="*/ 3023 h 10000"/>
              <a:gd name="connsiteX48" fmla="*/ 3184 w 9928"/>
              <a:gd name="connsiteY48" fmla="*/ 2868 h 10000"/>
              <a:gd name="connsiteX49" fmla="*/ 3224 w 9928"/>
              <a:gd name="connsiteY49" fmla="*/ 2403 h 10000"/>
              <a:gd name="connsiteX50" fmla="*/ 3139 w 9928"/>
              <a:gd name="connsiteY50" fmla="*/ 2325 h 10000"/>
              <a:gd name="connsiteX51" fmla="*/ 3184 w 9928"/>
              <a:gd name="connsiteY51" fmla="*/ 2248 h 10000"/>
              <a:gd name="connsiteX52" fmla="*/ 3139 w 9928"/>
              <a:gd name="connsiteY52" fmla="*/ 2093 h 10000"/>
              <a:gd name="connsiteX53" fmla="*/ 3046 w 9928"/>
              <a:gd name="connsiteY53" fmla="*/ 2170 h 10000"/>
              <a:gd name="connsiteX54" fmla="*/ 2825 w 9928"/>
              <a:gd name="connsiteY54" fmla="*/ 3178 h 10000"/>
              <a:gd name="connsiteX55" fmla="*/ 2825 w 9928"/>
              <a:gd name="connsiteY55" fmla="*/ 3566 h 10000"/>
              <a:gd name="connsiteX56" fmla="*/ 2959 w 9928"/>
              <a:gd name="connsiteY56" fmla="*/ 3876 h 10000"/>
              <a:gd name="connsiteX57" fmla="*/ 2959 w 9928"/>
              <a:gd name="connsiteY57" fmla="*/ 4031 h 10000"/>
              <a:gd name="connsiteX58" fmla="*/ 2825 w 9928"/>
              <a:gd name="connsiteY58" fmla="*/ 3876 h 10000"/>
              <a:gd name="connsiteX59" fmla="*/ 2289 w 9928"/>
              <a:gd name="connsiteY59" fmla="*/ 3256 h 10000"/>
              <a:gd name="connsiteX60" fmla="*/ 2242 w 9928"/>
              <a:gd name="connsiteY60" fmla="*/ 3411 h 10000"/>
              <a:gd name="connsiteX61" fmla="*/ 2422 w 9928"/>
              <a:gd name="connsiteY61" fmla="*/ 3799 h 10000"/>
              <a:gd name="connsiteX62" fmla="*/ 2331 w 9928"/>
              <a:gd name="connsiteY62" fmla="*/ 3876 h 10000"/>
              <a:gd name="connsiteX63" fmla="*/ 2289 w 9928"/>
              <a:gd name="connsiteY63" fmla="*/ 3799 h 10000"/>
              <a:gd name="connsiteX64" fmla="*/ 2019 w 9928"/>
              <a:gd name="connsiteY64" fmla="*/ 3954 h 10000"/>
              <a:gd name="connsiteX65" fmla="*/ 1974 w 9928"/>
              <a:gd name="connsiteY65" fmla="*/ 4109 h 10000"/>
              <a:gd name="connsiteX66" fmla="*/ 1929 w 9928"/>
              <a:gd name="connsiteY66" fmla="*/ 3954 h 10000"/>
              <a:gd name="connsiteX67" fmla="*/ 1929 w 9928"/>
              <a:gd name="connsiteY67" fmla="*/ 3799 h 10000"/>
              <a:gd name="connsiteX68" fmla="*/ 1478 w 9928"/>
              <a:gd name="connsiteY68" fmla="*/ 4263 h 10000"/>
              <a:gd name="connsiteX69" fmla="*/ 1478 w 9928"/>
              <a:gd name="connsiteY69" fmla="*/ 4418 h 10000"/>
              <a:gd name="connsiteX70" fmla="*/ 1392 w 9928"/>
              <a:gd name="connsiteY70" fmla="*/ 4496 h 10000"/>
              <a:gd name="connsiteX71" fmla="*/ 1255 w 9928"/>
              <a:gd name="connsiteY71" fmla="*/ 4341 h 10000"/>
              <a:gd name="connsiteX72" fmla="*/ 1392 w 9928"/>
              <a:gd name="connsiteY72" fmla="*/ 4186 h 10000"/>
              <a:gd name="connsiteX73" fmla="*/ 1346 w 9928"/>
              <a:gd name="connsiteY73" fmla="*/ 3954 h 10000"/>
              <a:gd name="connsiteX74" fmla="*/ 1168 w 9928"/>
              <a:gd name="connsiteY74" fmla="*/ 3876 h 10000"/>
              <a:gd name="connsiteX75" fmla="*/ 1213 w 9928"/>
              <a:gd name="connsiteY75" fmla="*/ 4031 h 10000"/>
              <a:gd name="connsiteX76" fmla="*/ 1213 w 9928"/>
              <a:gd name="connsiteY76" fmla="*/ 4418 h 10000"/>
              <a:gd name="connsiteX77" fmla="*/ 1255 w 9928"/>
              <a:gd name="connsiteY77" fmla="*/ 4574 h 10000"/>
              <a:gd name="connsiteX78" fmla="*/ 1213 w 9928"/>
              <a:gd name="connsiteY78" fmla="*/ 4729 h 10000"/>
              <a:gd name="connsiteX79" fmla="*/ 1075 w 9928"/>
              <a:gd name="connsiteY79" fmla="*/ 4652 h 10000"/>
              <a:gd name="connsiteX80" fmla="*/ 896 w 9928"/>
              <a:gd name="connsiteY80" fmla="*/ 4884 h 10000"/>
              <a:gd name="connsiteX81" fmla="*/ 985 w 9928"/>
              <a:gd name="connsiteY81" fmla="*/ 5194 h 10000"/>
              <a:gd name="connsiteX82" fmla="*/ 717 w 9928"/>
              <a:gd name="connsiteY82" fmla="*/ 5039 h 10000"/>
              <a:gd name="connsiteX83" fmla="*/ 673 w 9928"/>
              <a:gd name="connsiteY83" fmla="*/ 5116 h 10000"/>
              <a:gd name="connsiteX84" fmla="*/ 763 w 9928"/>
              <a:gd name="connsiteY84" fmla="*/ 5349 h 10000"/>
              <a:gd name="connsiteX85" fmla="*/ 673 w 9928"/>
              <a:gd name="connsiteY85" fmla="*/ 5349 h 10000"/>
              <a:gd name="connsiteX86" fmla="*/ 539 w 9928"/>
              <a:gd name="connsiteY86" fmla="*/ 5194 h 10000"/>
              <a:gd name="connsiteX87" fmla="*/ 539 w 9928"/>
              <a:gd name="connsiteY87" fmla="*/ 4729 h 10000"/>
              <a:gd name="connsiteX88" fmla="*/ 406 w 9928"/>
              <a:gd name="connsiteY88" fmla="*/ 4574 h 10000"/>
              <a:gd name="connsiteX89" fmla="*/ 358 w 9928"/>
              <a:gd name="connsiteY89" fmla="*/ 4418 h 10000"/>
              <a:gd name="connsiteX90" fmla="*/ 449 w 9928"/>
              <a:gd name="connsiteY90" fmla="*/ 4496 h 10000"/>
              <a:gd name="connsiteX91" fmla="*/ 806 w 9928"/>
              <a:gd name="connsiteY91" fmla="*/ 4729 h 10000"/>
              <a:gd name="connsiteX92" fmla="*/ 1030 w 9928"/>
              <a:gd name="connsiteY92" fmla="*/ 4496 h 10000"/>
              <a:gd name="connsiteX93" fmla="*/ 985 w 9928"/>
              <a:gd name="connsiteY93" fmla="*/ 4263 h 10000"/>
              <a:gd name="connsiteX94" fmla="*/ 717 w 9928"/>
              <a:gd name="connsiteY94" fmla="*/ 3799 h 10000"/>
              <a:gd name="connsiteX95" fmla="*/ 449 w 9928"/>
              <a:gd name="connsiteY95" fmla="*/ 3644 h 10000"/>
              <a:gd name="connsiteX96" fmla="*/ 449 w 9928"/>
              <a:gd name="connsiteY96" fmla="*/ 3566 h 10000"/>
              <a:gd name="connsiteX97" fmla="*/ 358 w 9928"/>
              <a:gd name="connsiteY97" fmla="*/ 3488 h 10000"/>
              <a:gd name="connsiteX98" fmla="*/ 267 w 9928"/>
              <a:gd name="connsiteY98" fmla="*/ 3566 h 10000"/>
              <a:gd name="connsiteX99" fmla="*/ 267 w 9928"/>
              <a:gd name="connsiteY99" fmla="*/ 3644 h 10000"/>
              <a:gd name="connsiteX100" fmla="*/ 225 w 9928"/>
              <a:gd name="connsiteY100" fmla="*/ 3644 h 10000"/>
              <a:gd name="connsiteX101" fmla="*/ 134 w 9928"/>
              <a:gd name="connsiteY101" fmla="*/ 3799 h 10000"/>
              <a:gd name="connsiteX102" fmla="*/ 134 w 9928"/>
              <a:gd name="connsiteY102" fmla="*/ 4031 h 10000"/>
              <a:gd name="connsiteX103" fmla="*/ 225 w 9928"/>
              <a:gd name="connsiteY103" fmla="*/ 4186 h 10000"/>
              <a:gd name="connsiteX104" fmla="*/ 179 w 9928"/>
              <a:gd name="connsiteY104" fmla="*/ 4418 h 10000"/>
              <a:gd name="connsiteX105" fmla="*/ 225 w 9928"/>
              <a:gd name="connsiteY105" fmla="*/ 4807 h 10000"/>
              <a:gd name="connsiteX106" fmla="*/ 179 w 9928"/>
              <a:gd name="connsiteY106" fmla="*/ 5039 h 10000"/>
              <a:gd name="connsiteX107" fmla="*/ 267 w 9928"/>
              <a:gd name="connsiteY107" fmla="*/ 5271 h 10000"/>
              <a:gd name="connsiteX108" fmla="*/ 225 w 9928"/>
              <a:gd name="connsiteY108" fmla="*/ 5426 h 10000"/>
              <a:gd name="connsiteX109" fmla="*/ 313 w 9928"/>
              <a:gd name="connsiteY109" fmla="*/ 5582 h 10000"/>
              <a:gd name="connsiteX110" fmla="*/ 313 w 9928"/>
              <a:gd name="connsiteY110" fmla="*/ 5659 h 10000"/>
              <a:gd name="connsiteX111" fmla="*/ 179 w 9928"/>
              <a:gd name="connsiteY111" fmla="*/ 6047 h 10000"/>
              <a:gd name="connsiteX112" fmla="*/ 42 w 9928"/>
              <a:gd name="connsiteY112" fmla="*/ 6202 h 10000"/>
              <a:gd name="connsiteX113" fmla="*/ 89 w 9928"/>
              <a:gd name="connsiteY113" fmla="*/ 6202 h 10000"/>
              <a:gd name="connsiteX114" fmla="*/ 179 w 9928"/>
              <a:gd name="connsiteY114" fmla="*/ 6356 h 10000"/>
              <a:gd name="connsiteX115" fmla="*/ 89 w 9928"/>
              <a:gd name="connsiteY115" fmla="*/ 6512 h 10000"/>
              <a:gd name="connsiteX116" fmla="*/ 42 w 9928"/>
              <a:gd name="connsiteY116" fmla="*/ 6590 h 10000"/>
              <a:gd name="connsiteX117" fmla="*/ 0 w 9928"/>
              <a:gd name="connsiteY117" fmla="*/ 6590 h 10000"/>
              <a:gd name="connsiteX118" fmla="*/ 42 w 9928"/>
              <a:gd name="connsiteY118" fmla="*/ 6822 h 10000"/>
              <a:gd name="connsiteX119" fmla="*/ 42 w 9928"/>
              <a:gd name="connsiteY119" fmla="*/ 6900 h 10000"/>
              <a:gd name="connsiteX120" fmla="*/ 42 w 9928"/>
              <a:gd name="connsiteY120" fmla="*/ 6977 h 10000"/>
              <a:gd name="connsiteX121" fmla="*/ 42 w 9928"/>
              <a:gd name="connsiteY121" fmla="*/ 7054 h 10000"/>
              <a:gd name="connsiteX122" fmla="*/ 89 w 9928"/>
              <a:gd name="connsiteY122" fmla="*/ 7209 h 10000"/>
              <a:gd name="connsiteX123" fmla="*/ 225 w 9928"/>
              <a:gd name="connsiteY123" fmla="*/ 7287 h 10000"/>
              <a:gd name="connsiteX124" fmla="*/ 267 w 9928"/>
              <a:gd name="connsiteY124" fmla="*/ 7364 h 10000"/>
              <a:gd name="connsiteX125" fmla="*/ 267 w 9928"/>
              <a:gd name="connsiteY125" fmla="*/ 7520 h 10000"/>
              <a:gd name="connsiteX126" fmla="*/ 358 w 9928"/>
              <a:gd name="connsiteY126" fmla="*/ 7752 h 10000"/>
              <a:gd name="connsiteX127" fmla="*/ 406 w 9928"/>
              <a:gd name="connsiteY127" fmla="*/ 7752 h 10000"/>
              <a:gd name="connsiteX128" fmla="*/ 358 w 9928"/>
              <a:gd name="connsiteY128" fmla="*/ 7907 h 10000"/>
              <a:gd name="connsiteX129" fmla="*/ 313 w 9928"/>
              <a:gd name="connsiteY129" fmla="*/ 7830 h 10000"/>
              <a:gd name="connsiteX130" fmla="*/ 313 w 9928"/>
              <a:gd name="connsiteY130" fmla="*/ 7907 h 10000"/>
              <a:gd name="connsiteX131" fmla="*/ 358 w 9928"/>
              <a:gd name="connsiteY131" fmla="*/ 8062 h 10000"/>
              <a:gd name="connsiteX132" fmla="*/ 494 w 9928"/>
              <a:gd name="connsiteY132" fmla="*/ 8062 h 10000"/>
              <a:gd name="connsiteX133" fmla="*/ 539 w 9928"/>
              <a:gd name="connsiteY133" fmla="*/ 8140 h 10000"/>
              <a:gd name="connsiteX134" fmla="*/ 494 w 9928"/>
              <a:gd name="connsiteY134" fmla="*/ 8140 h 10000"/>
              <a:gd name="connsiteX135" fmla="*/ 539 w 9928"/>
              <a:gd name="connsiteY135" fmla="*/ 8217 h 10000"/>
              <a:gd name="connsiteX136" fmla="*/ 582 w 9928"/>
              <a:gd name="connsiteY136" fmla="*/ 8217 h 10000"/>
              <a:gd name="connsiteX137" fmla="*/ 627 w 9928"/>
              <a:gd name="connsiteY137" fmla="*/ 8372 h 10000"/>
              <a:gd name="connsiteX138" fmla="*/ 673 w 9928"/>
              <a:gd name="connsiteY138" fmla="*/ 8449 h 10000"/>
              <a:gd name="connsiteX139" fmla="*/ 717 w 9928"/>
              <a:gd name="connsiteY139" fmla="*/ 8372 h 10000"/>
              <a:gd name="connsiteX140" fmla="*/ 943 w 9928"/>
              <a:gd name="connsiteY140" fmla="*/ 8605 h 10000"/>
              <a:gd name="connsiteX141" fmla="*/ 896 w 9928"/>
              <a:gd name="connsiteY141" fmla="*/ 8915 h 10000"/>
              <a:gd name="connsiteX142" fmla="*/ 850 w 9928"/>
              <a:gd name="connsiteY142" fmla="*/ 8838 h 10000"/>
              <a:gd name="connsiteX143" fmla="*/ 806 w 9928"/>
              <a:gd name="connsiteY143" fmla="*/ 8915 h 10000"/>
              <a:gd name="connsiteX144" fmla="*/ 806 w 9928"/>
              <a:gd name="connsiteY144" fmla="*/ 9070 h 10000"/>
              <a:gd name="connsiteX145" fmla="*/ 850 w 9928"/>
              <a:gd name="connsiteY145" fmla="*/ 8993 h 10000"/>
              <a:gd name="connsiteX146" fmla="*/ 896 w 9928"/>
              <a:gd name="connsiteY146" fmla="*/ 9070 h 10000"/>
              <a:gd name="connsiteX147" fmla="*/ 763 w 9928"/>
              <a:gd name="connsiteY147" fmla="*/ 9147 h 10000"/>
              <a:gd name="connsiteX148" fmla="*/ 806 w 9928"/>
              <a:gd name="connsiteY148" fmla="*/ 9225 h 10000"/>
              <a:gd name="connsiteX149" fmla="*/ 717 w 9928"/>
              <a:gd name="connsiteY149" fmla="*/ 9380 h 10000"/>
              <a:gd name="connsiteX150" fmla="*/ 673 w 9928"/>
              <a:gd name="connsiteY150" fmla="*/ 9380 h 10000"/>
              <a:gd name="connsiteX151" fmla="*/ 717 w 9928"/>
              <a:gd name="connsiteY151" fmla="*/ 9380 h 10000"/>
              <a:gd name="connsiteX152" fmla="*/ 896 w 9928"/>
              <a:gd name="connsiteY152" fmla="*/ 9691 h 10000"/>
              <a:gd name="connsiteX153" fmla="*/ 1122 w 9928"/>
              <a:gd name="connsiteY153" fmla="*/ 9691 h 10000"/>
              <a:gd name="connsiteX154" fmla="*/ 1213 w 9928"/>
              <a:gd name="connsiteY154" fmla="*/ 9768 h 10000"/>
              <a:gd name="connsiteX155" fmla="*/ 1301 w 9928"/>
              <a:gd name="connsiteY155" fmla="*/ 9768 h 10000"/>
              <a:gd name="connsiteX156" fmla="*/ 1392 w 9928"/>
              <a:gd name="connsiteY156" fmla="*/ 9923 h 10000"/>
              <a:gd name="connsiteX157" fmla="*/ 1435 w 9928"/>
              <a:gd name="connsiteY157" fmla="*/ 10000 h 10000"/>
              <a:gd name="connsiteX158" fmla="*/ 1478 w 9928"/>
              <a:gd name="connsiteY158" fmla="*/ 10000 h 10000"/>
              <a:gd name="connsiteX159" fmla="*/ 1526 w 9928"/>
              <a:gd name="connsiteY159" fmla="*/ 9923 h 10000"/>
              <a:gd name="connsiteX160" fmla="*/ 1435 w 9928"/>
              <a:gd name="connsiteY160" fmla="*/ 9768 h 10000"/>
              <a:gd name="connsiteX161" fmla="*/ 1435 w 9928"/>
              <a:gd name="connsiteY161" fmla="*/ 9613 h 10000"/>
              <a:gd name="connsiteX162" fmla="*/ 1392 w 9928"/>
              <a:gd name="connsiteY162" fmla="*/ 9457 h 10000"/>
              <a:gd name="connsiteX163" fmla="*/ 1478 w 9928"/>
              <a:gd name="connsiteY163" fmla="*/ 9225 h 10000"/>
              <a:gd name="connsiteX164" fmla="*/ 1526 w 9928"/>
              <a:gd name="connsiteY164" fmla="*/ 9302 h 10000"/>
              <a:gd name="connsiteX165" fmla="*/ 1570 w 9928"/>
              <a:gd name="connsiteY165" fmla="*/ 9225 h 10000"/>
              <a:gd name="connsiteX166" fmla="*/ 1570 w 9928"/>
              <a:gd name="connsiteY166" fmla="*/ 9147 h 10000"/>
              <a:gd name="connsiteX167" fmla="*/ 1526 w 9928"/>
              <a:gd name="connsiteY167" fmla="*/ 9147 h 10000"/>
              <a:gd name="connsiteX168" fmla="*/ 1570 w 9928"/>
              <a:gd name="connsiteY168" fmla="*/ 9070 h 10000"/>
              <a:gd name="connsiteX169" fmla="*/ 1526 w 9928"/>
              <a:gd name="connsiteY169" fmla="*/ 8915 h 10000"/>
              <a:gd name="connsiteX170" fmla="*/ 1435 w 9928"/>
              <a:gd name="connsiteY170" fmla="*/ 8915 h 10000"/>
              <a:gd name="connsiteX171" fmla="*/ 1392 w 9928"/>
              <a:gd name="connsiteY171" fmla="*/ 8760 h 10000"/>
              <a:gd name="connsiteX172" fmla="*/ 1435 w 9928"/>
              <a:gd name="connsiteY172" fmla="*/ 8372 h 10000"/>
              <a:gd name="connsiteX173" fmla="*/ 1526 w 9928"/>
              <a:gd name="connsiteY173" fmla="*/ 8528 h 10000"/>
              <a:gd name="connsiteX174" fmla="*/ 1570 w 9928"/>
              <a:gd name="connsiteY174" fmla="*/ 8528 h 10000"/>
              <a:gd name="connsiteX175" fmla="*/ 1526 w 9928"/>
              <a:gd name="connsiteY175" fmla="*/ 8372 h 10000"/>
              <a:gd name="connsiteX176" fmla="*/ 1660 w 9928"/>
              <a:gd name="connsiteY176" fmla="*/ 8140 h 10000"/>
              <a:gd name="connsiteX177" fmla="*/ 1751 w 9928"/>
              <a:gd name="connsiteY177" fmla="*/ 8217 h 10000"/>
              <a:gd name="connsiteX178" fmla="*/ 1793 w 9928"/>
              <a:gd name="connsiteY178" fmla="*/ 8140 h 10000"/>
              <a:gd name="connsiteX179" fmla="*/ 1883 w 9928"/>
              <a:gd name="connsiteY179" fmla="*/ 8217 h 10000"/>
              <a:gd name="connsiteX180" fmla="*/ 2019 w 9928"/>
              <a:gd name="connsiteY180" fmla="*/ 8372 h 10000"/>
              <a:gd name="connsiteX181" fmla="*/ 2108 w 9928"/>
              <a:gd name="connsiteY181" fmla="*/ 8295 h 10000"/>
              <a:gd name="connsiteX182" fmla="*/ 2198 w 9928"/>
              <a:gd name="connsiteY182" fmla="*/ 8295 h 10000"/>
              <a:gd name="connsiteX183" fmla="*/ 2242 w 9928"/>
              <a:gd name="connsiteY183" fmla="*/ 8372 h 10000"/>
              <a:gd name="connsiteX184" fmla="*/ 2422 w 9928"/>
              <a:gd name="connsiteY184" fmla="*/ 8372 h 10000"/>
              <a:gd name="connsiteX185" fmla="*/ 2465 w 9928"/>
              <a:gd name="connsiteY185" fmla="*/ 8217 h 10000"/>
              <a:gd name="connsiteX186" fmla="*/ 2331 w 9928"/>
              <a:gd name="connsiteY186" fmla="*/ 8140 h 10000"/>
              <a:gd name="connsiteX187" fmla="*/ 2422 w 9928"/>
              <a:gd name="connsiteY187" fmla="*/ 8062 h 10000"/>
              <a:gd name="connsiteX188" fmla="*/ 2376 w 9928"/>
              <a:gd name="connsiteY188" fmla="*/ 7985 h 10000"/>
              <a:gd name="connsiteX189" fmla="*/ 2422 w 9928"/>
              <a:gd name="connsiteY189" fmla="*/ 7907 h 10000"/>
              <a:gd name="connsiteX190" fmla="*/ 2422 w 9928"/>
              <a:gd name="connsiteY190" fmla="*/ 7675 h 10000"/>
              <a:gd name="connsiteX191" fmla="*/ 2510 w 9928"/>
              <a:gd name="connsiteY191" fmla="*/ 7752 h 10000"/>
              <a:gd name="connsiteX192" fmla="*/ 2916 w 9928"/>
              <a:gd name="connsiteY192" fmla="*/ 7520 h 10000"/>
              <a:gd name="connsiteX193" fmla="*/ 2916 w 9928"/>
              <a:gd name="connsiteY193" fmla="*/ 7442 h 10000"/>
              <a:gd name="connsiteX194" fmla="*/ 2959 w 9928"/>
              <a:gd name="connsiteY194" fmla="*/ 7442 h 10000"/>
              <a:gd name="connsiteX195" fmla="*/ 3093 w 9928"/>
              <a:gd name="connsiteY195" fmla="*/ 7442 h 10000"/>
              <a:gd name="connsiteX196" fmla="*/ 3139 w 9928"/>
              <a:gd name="connsiteY196" fmla="*/ 7598 h 10000"/>
              <a:gd name="connsiteX197" fmla="*/ 3139 w 9928"/>
              <a:gd name="connsiteY197" fmla="*/ 7675 h 10000"/>
              <a:gd name="connsiteX198" fmla="*/ 3184 w 9928"/>
              <a:gd name="connsiteY198" fmla="*/ 7675 h 10000"/>
              <a:gd name="connsiteX199" fmla="*/ 3273 w 9928"/>
              <a:gd name="connsiteY199" fmla="*/ 7752 h 10000"/>
              <a:gd name="connsiteX200" fmla="*/ 3273 w 9928"/>
              <a:gd name="connsiteY200" fmla="*/ 7830 h 10000"/>
              <a:gd name="connsiteX201" fmla="*/ 3364 w 9928"/>
              <a:gd name="connsiteY201" fmla="*/ 7830 h 10000"/>
              <a:gd name="connsiteX202" fmla="*/ 3453 w 9928"/>
              <a:gd name="connsiteY202" fmla="*/ 7675 h 10000"/>
              <a:gd name="connsiteX203" fmla="*/ 3543 w 9928"/>
              <a:gd name="connsiteY203" fmla="*/ 7598 h 10000"/>
              <a:gd name="connsiteX204" fmla="*/ 3589 w 9928"/>
              <a:gd name="connsiteY204" fmla="*/ 7830 h 10000"/>
              <a:gd name="connsiteX205" fmla="*/ 3767 w 9928"/>
              <a:gd name="connsiteY205" fmla="*/ 8372 h 10000"/>
              <a:gd name="connsiteX206" fmla="*/ 3812 w 9928"/>
              <a:gd name="connsiteY206" fmla="*/ 8217 h 10000"/>
              <a:gd name="connsiteX207" fmla="*/ 3858 w 9928"/>
              <a:gd name="connsiteY207" fmla="*/ 8372 h 10000"/>
              <a:gd name="connsiteX208" fmla="*/ 3992 w 9928"/>
              <a:gd name="connsiteY208" fmla="*/ 8295 h 10000"/>
              <a:gd name="connsiteX209" fmla="*/ 4128 w 9928"/>
              <a:gd name="connsiteY209" fmla="*/ 8528 h 10000"/>
              <a:gd name="connsiteX210" fmla="*/ 4215 w 9928"/>
              <a:gd name="connsiteY210" fmla="*/ 8605 h 10000"/>
              <a:gd name="connsiteX211" fmla="*/ 4215 w 9928"/>
              <a:gd name="connsiteY211" fmla="*/ 8528 h 10000"/>
              <a:gd name="connsiteX212" fmla="*/ 4260 w 9928"/>
              <a:gd name="connsiteY212" fmla="*/ 8683 h 10000"/>
              <a:gd name="connsiteX213" fmla="*/ 4215 w 9928"/>
              <a:gd name="connsiteY213" fmla="*/ 8760 h 10000"/>
              <a:gd name="connsiteX214" fmla="*/ 4306 w 9928"/>
              <a:gd name="connsiteY214" fmla="*/ 8683 h 10000"/>
              <a:gd name="connsiteX215" fmla="*/ 4349 w 9928"/>
              <a:gd name="connsiteY215" fmla="*/ 8605 h 10000"/>
              <a:gd name="connsiteX216" fmla="*/ 4575 w 9928"/>
              <a:gd name="connsiteY216" fmla="*/ 8372 h 10000"/>
              <a:gd name="connsiteX217" fmla="*/ 4753 w 9928"/>
              <a:gd name="connsiteY217" fmla="*/ 8449 h 10000"/>
              <a:gd name="connsiteX218" fmla="*/ 4842 w 9928"/>
              <a:gd name="connsiteY218" fmla="*/ 8528 h 10000"/>
              <a:gd name="connsiteX219" fmla="*/ 5021 w 9928"/>
              <a:gd name="connsiteY219" fmla="*/ 8528 h 10000"/>
              <a:gd name="connsiteX220" fmla="*/ 5021 w 9928"/>
              <a:gd name="connsiteY220" fmla="*/ 8372 h 10000"/>
              <a:gd name="connsiteX221" fmla="*/ 5021 w 9928"/>
              <a:gd name="connsiteY221" fmla="*/ 8217 h 10000"/>
              <a:gd name="connsiteX222" fmla="*/ 5112 w 9928"/>
              <a:gd name="connsiteY222" fmla="*/ 8140 h 10000"/>
              <a:gd name="connsiteX223" fmla="*/ 5291 w 9928"/>
              <a:gd name="connsiteY223" fmla="*/ 8217 h 10000"/>
              <a:gd name="connsiteX224" fmla="*/ 5380 w 9928"/>
              <a:gd name="connsiteY224" fmla="*/ 8449 h 10000"/>
              <a:gd name="connsiteX225" fmla="*/ 5427 w 9928"/>
              <a:gd name="connsiteY225" fmla="*/ 8449 h 10000"/>
              <a:gd name="connsiteX226" fmla="*/ 5516 w 9928"/>
              <a:gd name="connsiteY226" fmla="*/ 8372 h 10000"/>
              <a:gd name="connsiteX227" fmla="*/ 5788 w 9928"/>
              <a:gd name="connsiteY227" fmla="*/ 8605 h 10000"/>
              <a:gd name="connsiteX228" fmla="*/ 5921 w 9928"/>
              <a:gd name="connsiteY228" fmla="*/ 8683 h 10000"/>
              <a:gd name="connsiteX229" fmla="*/ 6100 w 9928"/>
              <a:gd name="connsiteY229" fmla="*/ 8605 h 10000"/>
              <a:gd name="connsiteX230" fmla="*/ 6188 w 9928"/>
              <a:gd name="connsiteY230" fmla="*/ 8449 h 10000"/>
              <a:gd name="connsiteX231" fmla="*/ 6323 w 9928"/>
              <a:gd name="connsiteY231" fmla="*/ 8528 h 10000"/>
              <a:gd name="connsiteX232" fmla="*/ 6412 w 9928"/>
              <a:gd name="connsiteY232" fmla="*/ 8605 h 10000"/>
              <a:gd name="connsiteX233" fmla="*/ 7937 w 9928"/>
              <a:gd name="connsiteY233" fmla="*/ 7675 h 10000"/>
              <a:gd name="connsiteX234" fmla="*/ 7849 w 9928"/>
              <a:gd name="connsiteY234" fmla="*/ 7675 h 10000"/>
              <a:gd name="connsiteX235" fmla="*/ 7804 w 9928"/>
              <a:gd name="connsiteY235" fmla="*/ 7675 h 10000"/>
              <a:gd name="connsiteX236" fmla="*/ 7758 w 9928"/>
              <a:gd name="connsiteY236" fmla="*/ 7598 h 10000"/>
              <a:gd name="connsiteX237" fmla="*/ 7670 w 9928"/>
              <a:gd name="connsiteY237" fmla="*/ 7598 h 10000"/>
              <a:gd name="connsiteX238" fmla="*/ 7670 w 9928"/>
              <a:gd name="connsiteY238" fmla="*/ 7520 h 10000"/>
              <a:gd name="connsiteX239" fmla="*/ 7804 w 9928"/>
              <a:gd name="connsiteY239" fmla="*/ 7287 h 10000"/>
              <a:gd name="connsiteX240" fmla="*/ 8210 w 9928"/>
              <a:gd name="connsiteY240" fmla="*/ 6590 h 10000"/>
              <a:gd name="connsiteX241" fmla="*/ 8386 w 9928"/>
              <a:gd name="connsiteY241" fmla="*/ 6512 h 10000"/>
              <a:gd name="connsiteX242" fmla="*/ 8430 w 9928"/>
              <a:gd name="connsiteY242" fmla="*/ 6590 h 10000"/>
              <a:gd name="connsiteX243" fmla="*/ 8478 w 9928"/>
              <a:gd name="connsiteY243" fmla="*/ 6512 h 10000"/>
              <a:gd name="connsiteX244" fmla="*/ 8608 w 9928"/>
              <a:gd name="connsiteY244" fmla="*/ 6590 h 10000"/>
              <a:gd name="connsiteX245" fmla="*/ 8658 w 9928"/>
              <a:gd name="connsiteY245" fmla="*/ 6434 h 10000"/>
              <a:gd name="connsiteX246" fmla="*/ 8789 w 9928"/>
              <a:gd name="connsiteY246" fmla="*/ 6512 h 10000"/>
              <a:gd name="connsiteX247" fmla="*/ 8834 w 9928"/>
              <a:gd name="connsiteY247" fmla="*/ 6512 h 10000"/>
              <a:gd name="connsiteX248" fmla="*/ 8789 w 9928"/>
              <a:gd name="connsiteY248" fmla="*/ 6590 h 10000"/>
              <a:gd name="connsiteX249" fmla="*/ 8789 w 9928"/>
              <a:gd name="connsiteY249" fmla="*/ 6667 h 10000"/>
              <a:gd name="connsiteX250" fmla="*/ 9058 w 9928"/>
              <a:gd name="connsiteY250" fmla="*/ 6590 h 10000"/>
              <a:gd name="connsiteX251" fmla="*/ 9014 w 9928"/>
              <a:gd name="connsiteY251" fmla="*/ 6512 h 10000"/>
              <a:gd name="connsiteX252" fmla="*/ 9195 w 9928"/>
              <a:gd name="connsiteY252" fmla="*/ 5969 h 10000"/>
              <a:gd name="connsiteX253" fmla="*/ 9416 w 9928"/>
              <a:gd name="connsiteY253" fmla="*/ 5892 h 10000"/>
              <a:gd name="connsiteX254" fmla="*/ 9416 w 9928"/>
              <a:gd name="connsiteY254" fmla="*/ 6047 h 10000"/>
              <a:gd name="connsiteX255" fmla="*/ 9416 w 9928"/>
              <a:gd name="connsiteY255" fmla="*/ 6202 h 10000"/>
              <a:gd name="connsiteX256" fmla="*/ 9641 w 9928"/>
              <a:gd name="connsiteY256" fmla="*/ 5969 h 10000"/>
              <a:gd name="connsiteX257" fmla="*/ 9641 w 9928"/>
              <a:gd name="connsiteY257" fmla="*/ 5737 h 10000"/>
              <a:gd name="connsiteX258" fmla="*/ 9732 w 9928"/>
              <a:gd name="connsiteY258" fmla="*/ 5737 h 10000"/>
              <a:gd name="connsiteX259" fmla="*/ 9683 w 9928"/>
              <a:gd name="connsiteY259" fmla="*/ 5814 h 10000"/>
              <a:gd name="connsiteX260" fmla="*/ 9641 w 9928"/>
              <a:gd name="connsiteY260" fmla="*/ 6202 h 10000"/>
              <a:gd name="connsiteX261" fmla="*/ 9552 w 9928"/>
              <a:gd name="connsiteY261" fmla="*/ 6279 h 10000"/>
              <a:gd name="connsiteX262" fmla="*/ 9641 w 9928"/>
              <a:gd name="connsiteY262" fmla="*/ 6590 h 10000"/>
              <a:gd name="connsiteX263" fmla="*/ 9641 w 9928"/>
              <a:gd name="connsiteY263" fmla="*/ 6434 h 10000"/>
              <a:gd name="connsiteX264" fmla="*/ 9732 w 9928"/>
              <a:gd name="connsiteY264" fmla="*/ 6434 h 10000"/>
              <a:gd name="connsiteX265" fmla="*/ 9867 w 9928"/>
              <a:gd name="connsiteY265" fmla="*/ 6279 h 10000"/>
              <a:gd name="connsiteX266" fmla="*/ 9867 w 9928"/>
              <a:gd name="connsiteY266" fmla="*/ 6434 h 10000"/>
              <a:gd name="connsiteX267" fmla="*/ 9910 w 9928"/>
              <a:gd name="connsiteY267" fmla="*/ 6356 h 10000"/>
              <a:gd name="connsiteX268" fmla="*/ 9910 w 9928"/>
              <a:gd name="connsiteY268" fmla="*/ 3644 h 10000"/>
              <a:gd name="connsiteX269" fmla="*/ 9683 w 9928"/>
              <a:gd name="connsiteY269" fmla="*/ 3566 h 10000"/>
              <a:gd name="connsiteX270" fmla="*/ 9464 w 9928"/>
              <a:gd name="connsiteY270" fmla="*/ 3566 h 10000"/>
              <a:gd name="connsiteX271" fmla="*/ 9372 w 9928"/>
              <a:gd name="connsiteY271" fmla="*/ 3488 h 10000"/>
              <a:gd name="connsiteX272" fmla="*/ 9416 w 9928"/>
              <a:gd name="connsiteY272" fmla="*/ 3333 h 10000"/>
              <a:gd name="connsiteX273" fmla="*/ 9326 w 9928"/>
              <a:gd name="connsiteY273" fmla="*/ 3101 h 10000"/>
              <a:gd name="connsiteX274" fmla="*/ 9146 w 9928"/>
              <a:gd name="connsiteY274" fmla="*/ 3023 h 10000"/>
              <a:gd name="connsiteX275" fmla="*/ 8881 w 9928"/>
              <a:gd name="connsiteY275" fmla="*/ 3178 h 10000"/>
              <a:gd name="connsiteX276" fmla="*/ 8834 w 9928"/>
              <a:gd name="connsiteY276" fmla="*/ 2946 h 10000"/>
              <a:gd name="connsiteX277" fmla="*/ 8746 w 9928"/>
              <a:gd name="connsiteY277" fmla="*/ 2946 h 10000"/>
              <a:gd name="connsiteX278" fmla="*/ 8700 w 9928"/>
              <a:gd name="connsiteY278" fmla="*/ 2868 h 10000"/>
              <a:gd name="connsiteX279" fmla="*/ 8700 w 9928"/>
              <a:gd name="connsiteY279" fmla="*/ 2636 h 10000"/>
              <a:gd name="connsiteX280" fmla="*/ 8386 w 9928"/>
              <a:gd name="connsiteY280" fmla="*/ 2480 h 10000"/>
              <a:gd name="connsiteX281" fmla="*/ 8028 w 9928"/>
              <a:gd name="connsiteY281" fmla="*/ 2325 h 10000"/>
              <a:gd name="connsiteX282" fmla="*/ 7937 w 9928"/>
              <a:gd name="connsiteY282" fmla="*/ 2636 h 10000"/>
              <a:gd name="connsiteX283" fmla="*/ 8028 w 9928"/>
              <a:gd name="connsiteY283" fmla="*/ 2868 h 10000"/>
              <a:gd name="connsiteX284" fmla="*/ 7758 w 9928"/>
              <a:gd name="connsiteY284" fmla="*/ 2868 h 10000"/>
              <a:gd name="connsiteX285" fmla="*/ 7712 w 9928"/>
              <a:gd name="connsiteY285" fmla="*/ 2868 h 10000"/>
              <a:gd name="connsiteX286" fmla="*/ 7623 w 9928"/>
              <a:gd name="connsiteY286" fmla="*/ 2946 h 10000"/>
              <a:gd name="connsiteX287" fmla="*/ 7489 w 9928"/>
              <a:gd name="connsiteY287" fmla="*/ 2714 h 10000"/>
              <a:gd name="connsiteX288" fmla="*/ 7398 w 9928"/>
              <a:gd name="connsiteY288" fmla="*/ 3178 h 10000"/>
              <a:gd name="connsiteX289" fmla="*/ 7312 w 9928"/>
              <a:gd name="connsiteY289" fmla="*/ 3101 h 10000"/>
              <a:gd name="connsiteX290" fmla="*/ 7220 w 9928"/>
              <a:gd name="connsiteY290" fmla="*/ 2791 h 10000"/>
              <a:gd name="connsiteX291" fmla="*/ 7266 w 9928"/>
              <a:gd name="connsiteY291" fmla="*/ 2403 h 10000"/>
              <a:gd name="connsiteX292" fmla="*/ 7176 w 9928"/>
              <a:gd name="connsiteY292" fmla="*/ 2170 h 10000"/>
              <a:gd name="connsiteX293" fmla="*/ 6906 w 9928"/>
              <a:gd name="connsiteY293" fmla="*/ 2016 h 10000"/>
              <a:gd name="connsiteX294" fmla="*/ 6815 w 9928"/>
              <a:gd name="connsiteY294" fmla="*/ 2016 h 10000"/>
              <a:gd name="connsiteX295" fmla="*/ 6772 w 9928"/>
              <a:gd name="connsiteY295" fmla="*/ 2170 h 10000"/>
              <a:gd name="connsiteX296" fmla="*/ 6815 w 9928"/>
              <a:gd name="connsiteY296" fmla="*/ 2325 h 10000"/>
              <a:gd name="connsiteX297" fmla="*/ 6461 w 9928"/>
              <a:gd name="connsiteY297" fmla="*/ 2248 h 10000"/>
              <a:gd name="connsiteX298" fmla="*/ 6502 w 9928"/>
              <a:gd name="connsiteY298" fmla="*/ 2016 h 10000"/>
              <a:gd name="connsiteX299" fmla="*/ 6280 w 9928"/>
              <a:gd name="connsiteY299" fmla="*/ 1938 h 10000"/>
              <a:gd name="connsiteX300" fmla="*/ 6144 w 9928"/>
              <a:gd name="connsiteY300" fmla="*/ 2093 h 10000"/>
              <a:gd name="connsiteX301" fmla="*/ 5880 w 9928"/>
              <a:gd name="connsiteY301" fmla="*/ 1861 h 10000"/>
              <a:gd name="connsiteX0" fmla="*/ 5923 w 9982"/>
              <a:gd name="connsiteY0" fmla="*/ 1861 h 10000"/>
              <a:gd name="connsiteX1" fmla="*/ 5923 w 9982"/>
              <a:gd name="connsiteY1" fmla="*/ 1861 h 10000"/>
              <a:gd name="connsiteX2" fmla="*/ 5872 w 9982"/>
              <a:gd name="connsiteY2" fmla="*/ 1938 h 10000"/>
              <a:gd name="connsiteX3" fmla="*/ 5923 w 9982"/>
              <a:gd name="connsiteY3" fmla="*/ 2093 h 10000"/>
              <a:gd name="connsiteX4" fmla="*/ 5736 w 9982"/>
              <a:gd name="connsiteY4" fmla="*/ 2248 h 10000"/>
              <a:gd name="connsiteX5" fmla="*/ 5689 w 9982"/>
              <a:gd name="connsiteY5" fmla="*/ 2248 h 10000"/>
              <a:gd name="connsiteX6" fmla="*/ 5736 w 9982"/>
              <a:gd name="connsiteY6" fmla="*/ 2016 h 10000"/>
              <a:gd name="connsiteX7" fmla="*/ 6189 w 9982"/>
              <a:gd name="connsiteY7" fmla="*/ 1318 h 10000"/>
              <a:gd name="connsiteX8" fmla="*/ 6189 w 9982"/>
              <a:gd name="connsiteY8" fmla="*/ 853 h 10000"/>
              <a:gd name="connsiteX9" fmla="*/ 6008 w 9982"/>
              <a:gd name="connsiteY9" fmla="*/ 543 h 10000"/>
              <a:gd name="connsiteX10" fmla="*/ 5783 w 9982"/>
              <a:gd name="connsiteY10" fmla="*/ 543 h 10000"/>
              <a:gd name="connsiteX11" fmla="*/ 5783 w 9982"/>
              <a:gd name="connsiteY11" fmla="*/ 698 h 10000"/>
              <a:gd name="connsiteX12" fmla="*/ 5645 w 9982"/>
              <a:gd name="connsiteY12" fmla="*/ 698 h 10000"/>
              <a:gd name="connsiteX13" fmla="*/ 5736 w 9982"/>
              <a:gd name="connsiteY13" fmla="*/ 387 h 10000"/>
              <a:gd name="connsiteX14" fmla="*/ 5512 w 9982"/>
              <a:gd name="connsiteY14" fmla="*/ 310 h 10000"/>
              <a:gd name="connsiteX15" fmla="*/ 5645 w 9982"/>
              <a:gd name="connsiteY15" fmla="*/ 155 h 10000"/>
              <a:gd name="connsiteX16" fmla="*/ 5512 w 9982"/>
              <a:gd name="connsiteY16" fmla="*/ 0 h 10000"/>
              <a:gd name="connsiteX17" fmla="*/ 5285 w 9982"/>
              <a:gd name="connsiteY17" fmla="*/ 387 h 10000"/>
              <a:gd name="connsiteX18" fmla="*/ 5285 w 9982"/>
              <a:gd name="connsiteY18" fmla="*/ 698 h 10000"/>
              <a:gd name="connsiteX19" fmla="*/ 5149 w 9982"/>
              <a:gd name="connsiteY19" fmla="*/ 698 h 10000"/>
              <a:gd name="connsiteX20" fmla="*/ 4743 w 9982"/>
              <a:gd name="connsiteY20" fmla="*/ 853 h 10000"/>
              <a:gd name="connsiteX21" fmla="*/ 4381 w 9982"/>
              <a:gd name="connsiteY21" fmla="*/ 1240 h 10000"/>
              <a:gd name="connsiteX22" fmla="*/ 4246 w 9982"/>
              <a:gd name="connsiteY22" fmla="*/ 1551 h 10000"/>
              <a:gd name="connsiteX23" fmla="*/ 4291 w 9982"/>
              <a:gd name="connsiteY23" fmla="*/ 1938 h 10000"/>
              <a:gd name="connsiteX24" fmla="*/ 3794 w 9982"/>
              <a:gd name="connsiteY24" fmla="*/ 2093 h 10000"/>
              <a:gd name="connsiteX25" fmla="*/ 3840 w 9982"/>
              <a:gd name="connsiteY25" fmla="*/ 2559 h 10000"/>
              <a:gd name="connsiteX26" fmla="*/ 3977 w 9982"/>
              <a:gd name="connsiteY26" fmla="*/ 2791 h 10000"/>
              <a:gd name="connsiteX27" fmla="*/ 3886 w 9982"/>
              <a:gd name="connsiteY27" fmla="*/ 2868 h 10000"/>
              <a:gd name="connsiteX28" fmla="*/ 3750 w 9982"/>
              <a:gd name="connsiteY28" fmla="*/ 2559 h 10000"/>
              <a:gd name="connsiteX29" fmla="*/ 3615 w 9982"/>
              <a:gd name="connsiteY29" fmla="*/ 2480 h 10000"/>
              <a:gd name="connsiteX30" fmla="*/ 3569 w 9982"/>
              <a:gd name="connsiteY30" fmla="*/ 2559 h 10000"/>
              <a:gd name="connsiteX31" fmla="*/ 3478 w 9982"/>
              <a:gd name="connsiteY31" fmla="*/ 2403 h 10000"/>
              <a:gd name="connsiteX32" fmla="*/ 3388 w 9982"/>
              <a:gd name="connsiteY32" fmla="*/ 2248 h 10000"/>
              <a:gd name="connsiteX33" fmla="*/ 3388 w 9982"/>
              <a:gd name="connsiteY33" fmla="*/ 2325 h 10000"/>
              <a:gd name="connsiteX34" fmla="*/ 3436 w 9982"/>
              <a:gd name="connsiteY34" fmla="*/ 2559 h 10000"/>
              <a:gd name="connsiteX35" fmla="*/ 3297 w 9982"/>
              <a:gd name="connsiteY35" fmla="*/ 2946 h 10000"/>
              <a:gd name="connsiteX36" fmla="*/ 3388 w 9982"/>
              <a:gd name="connsiteY36" fmla="*/ 3256 h 10000"/>
              <a:gd name="connsiteX37" fmla="*/ 3340 w 9982"/>
              <a:gd name="connsiteY37" fmla="*/ 3566 h 10000"/>
              <a:gd name="connsiteX38" fmla="*/ 3340 w 9982"/>
              <a:gd name="connsiteY38" fmla="*/ 3799 h 10000"/>
              <a:gd name="connsiteX39" fmla="*/ 3478 w 9982"/>
              <a:gd name="connsiteY39" fmla="*/ 3799 h 10000"/>
              <a:gd name="connsiteX40" fmla="*/ 3388 w 9982"/>
              <a:gd name="connsiteY40" fmla="*/ 3876 h 10000"/>
              <a:gd name="connsiteX41" fmla="*/ 3436 w 9982"/>
              <a:gd name="connsiteY41" fmla="*/ 4263 h 10000"/>
              <a:gd name="connsiteX42" fmla="*/ 3162 w 9982"/>
              <a:gd name="connsiteY42" fmla="*/ 4652 h 10000"/>
              <a:gd name="connsiteX43" fmla="*/ 3115 w 9982"/>
              <a:gd name="connsiteY43" fmla="*/ 4574 h 10000"/>
              <a:gd name="connsiteX44" fmla="*/ 3297 w 9982"/>
              <a:gd name="connsiteY44" fmla="*/ 4186 h 10000"/>
              <a:gd name="connsiteX45" fmla="*/ 3340 w 9982"/>
              <a:gd name="connsiteY45" fmla="*/ 3954 h 10000"/>
              <a:gd name="connsiteX46" fmla="*/ 3247 w 9982"/>
              <a:gd name="connsiteY46" fmla="*/ 3799 h 10000"/>
              <a:gd name="connsiteX47" fmla="*/ 3247 w 9982"/>
              <a:gd name="connsiteY47" fmla="*/ 3023 h 10000"/>
              <a:gd name="connsiteX48" fmla="*/ 3207 w 9982"/>
              <a:gd name="connsiteY48" fmla="*/ 2868 h 10000"/>
              <a:gd name="connsiteX49" fmla="*/ 3247 w 9982"/>
              <a:gd name="connsiteY49" fmla="*/ 2403 h 10000"/>
              <a:gd name="connsiteX50" fmla="*/ 3162 w 9982"/>
              <a:gd name="connsiteY50" fmla="*/ 2325 h 10000"/>
              <a:gd name="connsiteX51" fmla="*/ 3207 w 9982"/>
              <a:gd name="connsiteY51" fmla="*/ 2248 h 10000"/>
              <a:gd name="connsiteX52" fmla="*/ 3162 w 9982"/>
              <a:gd name="connsiteY52" fmla="*/ 2093 h 10000"/>
              <a:gd name="connsiteX53" fmla="*/ 3068 w 9982"/>
              <a:gd name="connsiteY53" fmla="*/ 2170 h 10000"/>
              <a:gd name="connsiteX54" fmla="*/ 2845 w 9982"/>
              <a:gd name="connsiteY54" fmla="*/ 3178 h 10000"/>
              <a:gd name="connsiteX55" fmla="*/ 2845 w 9982"/>
              <a:gd name="connsiteY55" fmla="*/ 3566 h 10000"/>
              <a:gd name="connsiteX56" fmla="*/ 2980 w 9982"/>
              <a:gd name="connsiteY56" fmla="*/ 3876 h 10000"/>
              <a:gd name="connsiteX57" fmla="*/ 2980 w 9982"/>
              <a:gd name="connsiteY57" fmla="*/ 4031 h 10000"/>
              <a:gd name="connsiteX58" fmla="*/ 2845 w 9982"/>
              <a:gd name="connsiteY58" fmla="*/ 3876 h 10000"/>
              <a:gd name="connsiteX59" fmla="*/ 2306 w 9982"/>
              <a:gd name="connsiteY59" fmla="*/ 3256 h 10000"/>
              <a:gd name="connsiteX60" fmla="*/ 2258 w 9982"/>
              <a:gd name="connsiteY60" fmla="*/ 3411 h 10000"/>
              <a:gd name="connsiteX61" fmla="*/ 2440 w 9982"/>
              <a:gd name="connsiteY61" fmla="*/ 3799 h 10000"/>
              <a:gd name="connsiteX62" fmla="*/ 2348 w 9982"/>
              <a:gd name="connsiteY62" fmla="*/ 3876 h 10000"/>
              <a:gd name="connsiteX63" fmla="*/ 2306 w 9982"/>
              <a:gd name="connsiteY63" fmla="*/ 3799 h 10000"/>
              <a:gd name="connsiteX64" fmla="*/ 2034 w 9982"/>
              <a:gd name="connsiteY64" fmla="*/ 3954 h 10000"/>
              <a:gd name="connsiteX65" fmla="*/ 1988 w 9982"/>
              <a:gd name="connsiteY65" fmla="*/ 4109 h 10000"/>
              <a:gd name="connsiteX66" fmla="*/ 1943 w 9982"/>
              <a:gd name="connsiteY66" fmla="*/ 3954 h 10000"/>
              <a:gd name="connsiteX67" fmla="*/ 1943 w 9982"/>
              <a:gd name="connsiteY67" fmla="*/ 3799 h 10000"/>
              <a:gd name="connsiteX68" fmla="*/ 1489 w 9982"/>
              <a:gd name="connsiteY68" fmla="*/ 4263 h 10000"/>
              <a:gd name="connsiteX69" fmla="*/ 1489 w 9982"/>
              <a:gd name="connsiteY69" fmla="*/ 4418 h 10000"/>
              <a:gd name="connsiteX70" fmla="*/ 1402 w 9982"/>
              <a:gd name="connsiteY70" fmla="*/ 4496 h 10000"/>
              <a:gd name="connsiteX71" fmla="*/ 1264 w 9982"/>
              <a:gd name="connsiteY71" fmla="*/ 4341 h 10000"/>
              <a:gd name="connsiteX72" fmla="*/ 1402 w 9982"/>
              <a:gd name="connsiteY72" fmla="*/ 4186 h 10000"/>
              <a:gd name="connsiteX73" fmla="*/ 1356 w 9982"/>
              <a:gd name="connsiteY73" fmla="*/ 3954 h 10000"/>
              <a:gd name="connsiteX74" fmla="*/ 1176 w 9982"/>
              <a:gd name="connsiteY74" fmla="*/ 3876 h 10000"/>
              <a:gd name="connsiteX75" fmla="*/ 1222 w 9982"/>
              <a:gd name="connsiteY75" fmla="*/ 4031 h 10000"/>
              <a:gd name="connsiteX76" fmla="*/ 1222 w 9982"/>
              <a:gd name="connsiteY76" fmla="*/ 4418 h 10000"/>
              <a:gd name="connsiteX77" fmla="*/ 1264 w 9982"/>
              <a:gd name="connsiteY77" fmla="*/ 4574 h 10000"/>
              <a:gd name="connsiteX78" fmla="*/ 1222 w 9982"/>
              <a:gd name="connsiteY78" fmla="*/ 4729 h 10000"/>
              <a:gd name="connsiteX79" fmla="*/ 1083 w 9982"/>
              <a:gd name="connsiteY79" fmla="*/ 4652 h 10000"/>
              <a:gd name="connsiteX80" fmla="*/ 902 w 9982"/>
              <a:gd name="connsiteY80" fmla="*/ 4884 h 10000"/>
              <a:gd name="connsiteX81" fmla="*/ 992 w 9982"/>
              <a:gd name="connsiteY81" fmla="*/ 5194 h 10000"/>
              <a:gd name="connsiteX82" fmla="*/ 722 w 9982"/>
              <a:gd name="connsiteY82" fmla="*/ 5039 h 10000"/>
              <a:gd name="connsiteX83" fmla="*/ 678 w 9982"/>
              <a:gd name="connsiteY83" fmla="*/ 5116 h 10000"/>
              <a:gd name="connsiteX84" fmla="*/ 769 w 9982"/>
              <a:gd name="connsiteY84" fmla="*/ 5349 h 10000"/>
              <a:gd name="connsiteX85" fmla="*/ 678 w 9982"/>
              <a:gd name="connsiteY85" fmla="*/ 5349 h 10000"/>
              <a:gd name="connsiteX86" fmla="*/ 543 w 9982"/>
              <a:gd name="connsiteY86" fmla="*/ 5194 h 10000"/>
              <a:gd name="connsiteX87" fmla="*/ 543 w 9982"/>
              <a:gd name="connsiteY87" fmla="*/ 4729 h 10000"/>
              <a:gd name="connsiteX88" fmla="*/ 409 w 9982"/>
              <a:gd name="connsiteY88" fmla="*/ 4574 h 10000"/>
              <a:gd name="connsiteX89" fmla="*/ 361 w 9982"/>
              <a:gd name="connsiteY89" fmla="*/ 4418 h 10000"/>
              <a:gd name="connsiteX90" fmla="*/ 452 w 9982"/>
              <a:gd name="connsiteY90" fmla="*/ 4496 h 10000"/>
              <a:gd name="connsiteX91" fmla="*/ 812 w 9982"/>
              <a:gd name="connsiteY91" fmla="*/ 4729 h 10000"/>
              <a:gd name="connsiteX92" fmla="*/ 1037 w 9982"/>
              <a:gd name="connsiteY92" fmla="*/ 4496 h 10000"/>
              <a:gd name="connsiteX93" fmla="*/ 992 w 9982"/>
              <a:gd name="connsiteY93" fmla="*/ 4263 h 10000"/>
              <a:gd name="connsiteX94" fmla="*/ 722 w 9982"/>
              <a:gd name="connsiteY94" fmla="*/ 3799 h 10000"/>
              <a:gd name="connsiteX95" fmla="*/ 452 w 9982"/>
              <a:gd name="connsiteY95" fmla="*/ 3644 h 10000"/>
              <a:gd name="connsiteX96" fmla="*/ 452 w 9982"/>
              <a:gd name="connsiteY96" fmla="*/ 3566 h 10000"/>
              <a:gd name="connsiteX97" fmla="*/ 361 w 9982"/>
              <a:gd name="connsiteY97" fmla="*/ 3488 h 10000"/>
              <a:gd name="connsiteX98" fmla="*/ 269 w 9982"/>
              <a:gd name="connsiteY98" fmla="*/ 3566 h 10000"/>
              <a:gd name="connsiteX99" fmla="*/ 269 w 9982"/>
              <a:gd name="connsiteY99" fmla="*/ 3644 h 10000"/>
              <a:gd name="connsiteX100" fmla="*/ 227 w 9982"/>
              <a:gd name="connsiteY100" fmla="*/ 3644 h 10000"/>
              <a:gd name="connsiteX101" fmla="*/ 135 w 9982"/>
              <a:gd name="connsiteY101" fmla="*/ 3799 h 10000"/>
              <a:gd name="connsiteX102" fmla="*/ 135 w 9982"/>
              <a:gd name="connsiteY102" fmla="*/ 4031 h 10000"/>
              <a:gd name="connsiteX103" fmla="*/ 227 w 9982"/>
              <a:gd name="connsiteY103" fmla="*/ 4186 h 10000"/>
              <a:gd name="connsiteX104" fmla="*/ 180 w 9982"/>
              <a:gd name="connsiteY104" fmla="*/ 4418 h 10000"/>
              <a:gd name="connsiteX105" fmla="*/ 227 w 9982"/>
              <a:gd name="connsiteY105" fmla="*/ 4807 h 10000"/>
              <a:gd name="connsiteX106" fmla="*/ 180 w 9982"/>
              <a:gd name="connsiteY106" fmla="*/ 5039 h 10000"/>
              <a:gd name="connsiteX107" fmla="*/ 269 w 9982"/>
              <a:gd name="connsiteY107" fmla="*/ 5271 h 10000"/>
              <a:gd name="connsiteX108" fmla="*/ 227 w 9982"/>
              <a:gd name="connsiteY108" fmla="*/ 5426 h 10000"/>
              <a:gd name="connsiteX109" fmla="*/ 315 w 9982"/>
              <a:gd name="connsiteY109" fmla="*/ 5582 h 10000"/>
              <a:gd name="connsiteX110" fmla="*/ 315 w 9982"/>
              <a:gd name="connsiteY110" fmla="*/ 5659 h 10000"/>
              <a:gd name="connsiteX111" fmla="*/ 180 w 9982"/>
              <a:gd name="connsiteY111" fmla="*/ 6047 h 10000"/>
              <a:gd name="connsiteX112" fmla="*/ 42 w 9982"/>
              <a:gd name="connsiteY112" fmla="*/ 6202 h 10000"/>
              <a:gd name="connsiteX113" fmla="*/ 90 w 9982"/>
              <a:gd name="connsiteY113" fmla="*/ 6202 h 10000"/>
              <a:gd name="connsiteX114" fmla="*/ 180 w 9982"/>
              <a:gd name="connsiteY114" fmla="*/ 6356 h 10000"/>
              <a:gd name="connsiteX115" fmla="*/ 90 w 9982"/>
              <a:gd name="connsiteY115" fmla="*/ 6512 h 10000"/>
              <a:gd name="connsiteX116" fmla="*/ 42 w 9982"/>
              <a:gd name="connsiteY116" fmla="*/ 6590 h 10000"/>
              <a:gd name="connsiteX117" fmla="*/ 0 w 9982"/>
              <a:gd name="connsiteY117" fmla="*/ 6590 h 10000"/>
              <a:gd name="connsiteX118" fmla="*/ 42 w 9982"/>
              <a:gd name="connsiteY118" fmla="*/ 6822 h 10000"/>
              <a:gd name="connsiteX119" fmla="*/ 42 w 9982"/>
              <a:gd name="connsiteY119" fmla="*/ 6900 h 10000"/>
              <a:gd name="connsiteX120" fmla="*/ 42 w 9982"/>
              <a:gd name="connsiteY120" fmla="*/ 6977 h 10000"/>
              <a:gd name="connsiteX121" fmla="*/ 42 w 9982"/>
              <a:gd name="connsiteY121" fmla="*/ 7054 h 10000"/>
              <a:gd name="connsiteX122" fmla="*/ 90 w 9982"/>
              <a:gd name="connsiteY122" fmla="*/ 7209 h 10000"/>
              <a:gd name="connsiteX123" fmla="*/ 227 w 9982"/>
              <a:gd name="connsiteY123" fmla="*/ 7287 h 10000"/>
              <a:gd name="connsiteX124" fmla="*/ 269 w 9982"/>
              <a:gd name="connsiteY124" fmla="*/ 7364 h 10000"/>
              <a:gd name="connsiteX125" fmla="*/ 269 w 9982"/>
              <a:gd name="connsiteY125" fmla="*/ 7520 h 10000"/>
              <a:gd name="connsiteX126" fmla="*/ 361 w 9982"/>
              <a:gd name="connsiteY126" fmla="*/ 7752 h 10000"/>
              <a:gd name="connsiteX127" fmla="*/ 409 w 9982"/>
              <a:gd name="connsiteY127" fmla="*/ 7752 h 10000"/>
              <a:gd name="connsiteX128" fmla="*/ 361 w 9982"/>
              <a:gd name="connsiteY128" fmla="*/ 7907 h 10000"/>
              <a:gd name="connsiteX129" fmla="*/ 315 w 9982"/>
              <a:gd name="connsiteY129" fmla="*/ 7830 h 10000"/>
              <a:gd name="connsiteX130" fmla="*/ 315 w 9982"/>
              <a:gd name="connsiteY130" fmla="*/ 7907 h 10000"/>
              <a:gd name="connsiteX131" fmla="*/ 361 w 9982"/>
              <a:gd name="connsiteY131" fmla="*/ 8062 h 10000"/>
              <a:gd name="connsiteX132" fmla="*/ 498 w 9982"/>
              <a:gd name="connsiteY132" fmla="*/ 8062 h 10000"/>
              <a:gd name="connsiteX133" fmla="*/ 543 w 9982"/>
              <a:gd name="connsiteY133" fmla="*/ 8140 h 10000"/>
              <a:gd name="connsiteX134" fmla="*/ 498 w 9982"/>
              <a:gd name="connsiteY134" fmla="*/ 8140 h 10000"/>
              <a:gd name="connsiteX135" fmla="*/ 543 w 9982"/>
              <a:gd name="connsiteY135" fmla="*/ 8217 h 10000"/>
              <a:gd name="connsiteX136" fmla="*/ 586 w 9982"/>
              <a:gd name="connsiteY136" fmla="*/ 8217 h 10000"/>
              <a:gd name="connsiteX137" fmla="*/ 632 w 9982"/>
              <a:gd name="connsiteY137" fmla="*/ 8372 h 10000"/>
              <a:gd name="connsiteX138" fmla="*/ 678 w 9982"/>
              <a:gd name="connsiteY138" fmla="*/ 8449 h 10000"/>
              <a:gd name="connsiteX139" fmla="*/ 722 w 9982"/>
              <a:gd name="connsiteY139" fmla="*/ 8372 h 10000"/>
              <a:gd name="connsiteX140" fmla="*/ 950 w 9982"/>
              <a:gd name="connsiteY140" fmla="*/ 8605 h 10000"/>
              <a:gd name="connsiteX141" fmla="*/ 902 w 9982"/>
              <a:gd name="connsiteY141" fmla="*/ 8915 h 10000"/>
              <a:gd name="connsiteX142" fmla="*/ 856 w 9982"/>
              <a:gd name="connsiteY142" fmla="*/ 8838 h 10000"/>
              <a:gd name="connsiteX143" fmla="*/ 812 w 9982"/>
              <a:gd name="connsiteY143" fmla="*/ 8915 h 10000"/>
              <a:gd name="connsiteX144" fmla="*/ 812 w 9982"/>
              <a:gd name="connsiteY144" fmla="*/ 9070 h 10000"/>
              <a:gd name="connsiteX145" fmla="*/ 856 w 9982"/>
              <a:gd name="connsiteY145" fmla="*/ 8993 h 10000"/>
              <a:gd name="connsiteX146" fmla="*/ 902 w 9982"/>
              <a:gd name="connsiteY146" fmla="*/ 9070 h 10000"/>
              <a:gd name="connsiteX147" fmla="*/ 769 w 9982"/>
              <a:gd name="connsiteY147" fmla="*/ 9147 h 10000"/>
              <a:gd name="connsiteX148" fmla="*/ 812 w 9982"/>
              <a:gd name="connsiteY148" fmla="*/ 9225 h 10000"/>
              <a:gd name="connsiteX149" fmla="*/ 722 w 9982"/>
              <a:gd name="connsiteY149" fmla="*/ 9380 h 10000"/>
              <a:gd name="connsiteX150" fmla="*/ 678 w 9982"/>
              <a:gd name="connsiteY150" fmla="*/ 9380 h 10000"/>
              <a:gd name="connsiteX151" fmla="*/ 722 w 9982"/>
              <a:gd name="connsiteY151" fmla="*/ 9380 h 10000"/>
              <a:gd name="connsiteX152" fmla="*/ 902 w 9982"/>
              <a:gd name="connsiteY152" fmla="*/ 9691 h 10000"/>
              <a:gd name="connsiteX153" fmla="*/ 1130 w 9982"/>
              <a:gd name="connsiteY153" fmla="*/ 9691 h 10000"/>
              <a:gd name="connsiteX154" fmla="*/ 1222 w 9982"/>
              <a:gd name="connsiteY154" fmla="*/ 9768 h 10000"/>
              <a:gd name="connsiteX155" fmla="*/ 1310 w 9982"/>
              <a:gd name="connsiteY155" fmla="*/ 9768 h 10000"/>
              <a:gd name="connsiteX156" fmla="*/ 1402 w 9982"/>
              <a:gd name="connsiteY156" fmla="*/ 9923 h 10000"/>
              <a:gd name="connsiteX157" fmla="*/ 1445 w 9982"/>
              <a:gd name="connsiteY157" fmla="*/ 10000 h 10000"/>
              <a:gd name="connsiteX158" fmla="*/ 1489 w 9982"/>
              <a:gd name="connsiteY158" fmla="*/ 10000 h 10000"/>
              <a:gd name="connsiteX159" fmla="*/ 1537 w 9982"/>
              <a:gd name="connsiteY159" fmla="*/ 9923 h 10000"/>
              <a:gd name="connsiteX160" fmla="*/ 1445 w 9982"/>
              <a:gd name="connsiteY160" fmla="*/ 9768 h 10000"/>
              <a:gd name="connsiteX161" fmla="*/ 1445 w 9982"/>
              <a:gd name="connsiteY161" fmla="*/ 9613 h 10000"/>
              <a:gd name="connsiteX162" fmla="*/ 1402 w 9982"/>
              <a:gd name="connsiteY162" fmla="*/ 9457 h 10000"/>
              <a:gd name="connsiteX163" fmla="*/ 1489 w 9982"/>
              <a:gd name="connsiteY163" fmla="*/ 9225 h 10000"/>
              <a:gd name="connsiteX164" fmla="*/ 1537 w 9982"/>
              <a:gd name="connsiteY164" fmla="*/ 9302 h 10000"/>
              <a:gd name="connsiteX165" fmla="*/ 1581 w 9982"/>
              <a:gd name="connsiteY165" fmla="*/ 9225 h 10000"/>
              <a:gd name="connsiteX166" fmla="*/ 1581 w 9982"/>
              <a:gd name="connsiteY166" fmla="*/ 9147 h 10000"/>
              <a:gd name="connsiteX167" fmla="*/ 1537 w 9982"/>
              <a:gd name="connsiteY167" fmla="*/ 9147 h 10000"/>
              <a:gd name="connsiteX168" fmla="*/ 1581 w 9982"/>
              <a:gd name="connsiteY168" fmla="*/ 9070 h 10000"/>
              <a:gd name="connsiteX169" fmla="*/ 1537 w 9982"/>
              <a:gd name="connsiteY169" fmla="*/ 8915 h 10000"/>
              <a:gd name="connsiteX170" fmla="*/ 1445 w 9982"/>
              <a:gd name="connsiteY170" fmla="*/ 8915 h 10000"/>
              <a:gd name="connsiteX171" fmla="*/ 1402 w 9982"/>
              <a:gd name="connsiteY171" fmla="*/ 8760 h 10000"/>
              <a:gd name="connsiteX172" fmla="*/ 1445 w 9982"/>
              <a:gd name="connsiteY172" fmla="*/ 8372 h 10000"/>
              <a:gd name="connsiteX173" fmla="*/ 1537 w 9982"/>
              <a:gd name="connsiteY173" fmla="*/ 8528 h 10000"/>
              <a:gd name="connsiteX174" fmla="*/ 1581 w 9982"/>
              <a:gd name="connsiteY174" fmla="*/ 8528 h 10000"/>
              <a:gd name="connsiteX175" fmla="*/ 1537 w 9982"/>
              <a:gd name="connsiteY175" fmla="*/ 8372 h 10000"/>
              <a:gd name="connsiteX176" fmla="*/ 1672 w 9982"/>
              <a:gd name="connsiteY176" fmla="*/ 8140 h 10000"/>
              <a:gd name="connsiteX177" fmla="*/ 1764 w 9982"/>
              <a:gd name="connsiteY177" fmla="*/ 8217 h 10000"/>
              <a:gd name="connsiteX178" fmla="*/ 1806 w 9982"/>
              <a:gd name="connsiteY178" fmla="*/ 8140 h 10000"/>
              <a:gd name="connsiteX179" fmla="*/ 1897 w 9982"/>
              <a:gd name="connsiteY179" fmla="*/ 8217 h 10000"/>
              <a:gd name="connsiteX180" fmla="*/ 2034 w 9982"/>
              <a:gd name="connsiteY180" fmla="*/ 8372 h 10000"/>
              <a:gd name="connsiteX181" fmla="*/ 2123 w 9982"/>
              <a:gd name="connsiteY181" fmla="*/ 8295 h 10000"/>
              <a:gd name="connsiteX182" fmla="*/ 2214 w 9982"/>
              <a:gd name="connsiteY182" fmla="*/ 8295 h 10000"/>
              <a:gd name="connsiteX183" fmla="*/ 2258 w 9982"/>
              <a:gd name="connsiteY183" fmla="*/ 8372 h 10000"/>
              <a:gd name="connsiteX184" fmla="*/ 2440 w 9982"/>
              <a:gd name="connsiteY184" fmla="*/ 8372 h 10000"/>
              <a:gd name="connsiteX185" fmla="*/ 2483 w 9982"/>
              <a:gd name="connsiteY185" fmla="*/ 8217 h 10000"/>
              <a:gd name="connsiteX186" fmla="*/ 2348 w 9982"/>
              <a:gd name="connsiteY186" fmla="*/ 8140 h 10000"/>
              <a:gd name="connsiteX187" fmla="*/ 2440 w 9982"/>
              <a:gd name="connsiteY187" fmla="*/ 8062 h 10000"/>
              <a:gd name="connsiteX188" fmla="*/ 2393 w 9982"/>
              <a:gd name="connsiteY188" fmla="*/ 7985 h 10000"/>
              <a:gd name="connsiteX189" fmla="*/ 2440 w 9982"/>
              <a:gd name="connsiteY189" fmla="*/ 7907 h 10000"/>
              <a:gd name="connsiteX190" fmla="*/ 2440 w 9982"/>
              <a:gd name="connsiteY190" fmla="*/ 7675 h 10000"/>
              <a:gd name="connsiteX191" fmla="*/ 2528 w 9982"/>
              <a:gd name="connsiteY191" fmla="*/ 7752 h 10000"/>
              <a:gd name="connsiteX192" fmla="*/ 2937 w 9982"/>
              <a:gd name="connsiteY192" fmla="*/ 7520 h 10000"/>
              <a:gd name="connsiteX193" fmla="*/ 2937 w 9982"/>
              <a:gd name="connsiteY193" fmla="*/ 7442 h 10000"/>
              <a:gd name="connsiteX194" fmla="*/ 2980 w 9982"/>
              <a:gd name="connsiteY194" fmla="*/ 7442 h 10000"/>
              <a:gd name="connsiteX195" fmla="*/ 3115 w 9982"/>
              <a:gd name="connsiteY195" fmla="*/ 7442 h 10000"/>
              <a:gd name="connsiteX196" fmla="*/ 3162 w 9982"/>
              <a:gd name="connsiteY196" fmla="*/ 7598 h 10000"/>
              <a:gd name="connsiteX197" fmla="*/ 3162 w 9982"/>
              <a:gd name="connsiteY197" fmla="*/ 7675 h 10000"/>
              <a:gd name="connsiteX198" fmla="*/ 3207 w 9982"/>
              <a:gd name="connsiteY198" fmla="*/ 7675 h 10000"/>
              <a:gd name="connsiteX199" fmla="*/ 3297 w 9982"/>
              <a:gd name="connsiteY199" fmla="*/ 7752 h 10000"/>
              <a:gd name="connsiteX200" fmla="*/ 3297 w 9982"/>
              <a:gd name="connsiteY200" fmla="*/ 7830 h 10000"/>
              <a:gd name="connsiteX201" fmla="*/ 3388 w 9982"/>
              <a:gd name="connsiteY201" fmla="*/ 7830 h 10000"/>
              <a:gd name="connsiteX202" fmla="*/ 3478 w 9982"/>
              <a:gd name="connsiteY202" fmla="*/ 7675 h 10000"/>
              <a:gd name="connsiteX203" fmla="*/ 3569 w 9982"/>
              <a:gd name="connsiteY203" fmla="*/ 7598 h 10000"/>
              <a:gd name="connsiteX204" fmla="*/ 3615 w 9982"/>
              <a:gd name="connsiteY204" fmla="*/ 7830 h 10000"/>
              <a:gd name="connsiteX205" fmla="*/ 3794 w 9982"/>
              <a:gd name="connsiteY205" fmla="*/ 8372 h 10000"/>
              <a:gd name="connsiteX206" fmla="*/ 3840 w 9982"/>
              <a:gd name="connsiteY206" fmla="*/ 8217 h 10000"/>
              <a:gd name="connsiteX207" fmla="*/ 3886 w 9982"/>
              <a:gd name="connsiteY207" fmla="*/ 8372 h 10000"/>
              <a:gd name="connsiteX208" fmla="*/ 4021 w 9982"/>
              <a:gd name="connsiteY208" fmla="*/ 8295 h 10000"/>
              <a:gd name="connsiteX209" fmla="*/ 4158 w 9982"/>
              <a:gd name="connsiteY209" fmla="*/ 8528 h 10000"/>
              <a:gd name="connsiteX210" fmla="*/ 4246 w 9982"/>
              <a:gd name="connsiteY210" fmla="*/ 8605 h 10000"/>
              <a:gd name="connsiteX211" fmla="*/ 4246 w 9982"/>
              <a:gd name="connsiteY211" fmla="*/ 8528 h 10000"/>
              <a:gd name="connsiteX212" fmla="*/ 4291 w 9982"/>
              <a:gd name="connsiteY212" fmla="*/ 8683 h 10000"/>
              <a:gd name="connsiteX213" fmla="*/ 4246 w 9982"/>
              <a:gd name="connsiteY213" fmla="*/ 8760 h 10000"/>
              <a:gd name="connsiteX214" fmla="*/ 4337 w 9982"/>
              <a:gd name="connsiteY214" fmla="*/ 8683 h 10000"/>
              <a:gd name="connsiteX215" fmla="*/ 4381 w 9982"/>
              <a:gd name="connsiteY215" fmla="*/ 8605 h 10000"/>
              <a:gd name="connsiteX216" fmla="*/ 4608 w 9982"/>
              <a:gd name="connsiteY216" fmla="*/ 8372 h 10000"/>
              <a:gd name="connsiteX217" fmla="*/ 4787 w 9982"/>
              <a:gd name="connsiteY217" fmla="*/ 8449 h 10000"/>
              <a:gd name="connsiteX218" fmla="*/ 4877 w 9982"/>
              <a:gd name="connsiteY218" fmla="*/ 8528 h 10000"/>
              <a:gd name="connsiteX219" fmla="*/ 5057 w 9982"/>
              <a:gd name="connsiteY219" fmla="*/ 8528 h 10000"/>
              <a:gd name="connsiteX220" fmla="*/ 5057 w 9982"/>
              <a:gd name="connsiteY220" fmla="*/ 8372 h 10000"/>
              <a:gd name="connsiteX221" fmla="*/ 5057 w 9982"/>
              <a:gd name="connsiteY221" fmla="*/ 8217 h 10000"/>
              <a:gd name="connsiteX222" fmla="*/ 5149 w 9982"/>
              <a:gd name="connsiteY222" fmla="*/ 8140 h 10000"/>
              <a:gd name="connsiteX223" fmla="*/ 5329 w 9982"/>
              <a:gd name="connsiteY223" fmla="*/ 8217 h 10000"/>
              <a:gd name="connsiteX224" fmla="*/ 5419 w 9982"/>
              <a:gd name="connsiteY224" fmla="*/ 8449 h 10000"/>
              <a:gd name="connsiteX225" fmla="*/ 5466 w 9982"/>
              <a:gd name="connsiteY225" fmla="*/ 8449 h 10000"/>
              <a:gd name="connsiteX226" fmla="*/ 5556 w 9982"/>
              <a:gd name="connsiteY226" fmla="*/ 8372 h 10000"/>
              <a:gd name="connsiteX227" fmla="*/ 5830 w 9982"/>
              <a:gd name="connsiteY227" fmla="*/ 8605 h 10000"/>
              <a:gd name="connsiteX228" fmla="*/ 5964 w 9982"/>
              <a:gd name="connsiteY228" fmla="*/ 8683 h 10000"/>
              <a:gd name="connsiteX229" fmla="*/ 6144 w 9982"/>
              <a:gd name="connsiteY229" fmla="*/ 8605 h 10000"/>
              <a:gd name="connsiteX230" fmla="*/ 6233 w 9982"/>
              <a:gd name="connsiteY230" fmla="*/ 8449 h 10000"/>
              <a:gd name="connsiteX231" fmla="*/ 6369 w 9982"/>
              <a:gd name="connsiteY231" fmla="*/ 8528 h 10000"/>
              <a:gd name="connsiteX232" fmla="*/ 6459 w 9982"/>
              <a:gd name="connsiteY232" fmla="*/ 8605 h 10000"/>
              <a:gd name="connsiteX233" fmla="*/ 7995 w 9982"/>
              <a:gd name="connsiteY233" fmla="*/ 7675 h 10000"/>
              <a:gd name="connsiteX234" fmla="*/ 7906 w 9982"/>
              <a:gd name="connsiteY234" fmla="*/ 7675 h 10000"/>
              <a:gd name="connsiteX235" fmla="*/ 7861 w 9982"/>
              <a:gd name="connsiteY235" fmla="*/ 7675 h 10000"/>
              <a:gd name="connsiteX236" fmla="*/ 7814 w 9982"/>
              <a:gd name="connsiteY236" fmla="*/ 7598 h 10000"/>
              <a:gd name="connsiteX237" fmla="*/ 7726 w 9982"/>
              <a:gd name="connsiteY237" fmla="*/ 7598 h 10000"/>
              <a:gd name="connsiteX238" fmla="*/ 7726 w 9982"/>
              <a:gd name="connsiteY238" fmla="*/ 7520 h 10000"/>
              <a:gd name="connsiteX239" fmla="*/ 7861 w 9982"/>
              <a:gd name="connsiteY239" fmla="*/ 7287 h 10000"/>
              <a:gd name="connsiteX240" fmla="*/ 8270 w 9982"/>
              <a:gd name="connsiteY240" fmla="*/ 6590 h 10000"/>
              <a:gd name="connsiteX241" fmla="*/ 8447 w 9982"/>
              <a:gd name="connsiteY241" fmla="*/ 6512 h 10000"/>
              <a:gd name="connsiteX242" fmla="*/ 8491 w 9982"/>
              <a:gd name="connsiteY242" fmla="*/ 6590 h 10000"/>
              <a:gd name="connsiteX243" fmla="*/ 8539 w 9982"/>
              <a:gd name="connsiteY243" fmla="*/ 6512 h 10000"/>
              <a:gd name="connsiteX244" fmla="*/ 8670 w 9982"/>
              <a:gd name="connsiteY244" fmla="*/ 6590 h 10000"/>
              <a:gd name="connsiteX245" fmla="*/ 8721 w 9982"/>
              <a:gd name="connsiteY245" fmla="*/ 6434 h 10000"/>
              <a:gd name="connsiteX246" fmla="*/ 8853 w 9982"/>
              <a:gd name="connsiteY246" fmla="*/ 6512 h 10000"/>
              <a:gd name="connsiteX247" fmla="*/ 8898 w 9982"/>
              <a:gd name="connsiteY247" fmla="*/ 6512 h 10000"/>
              <a:gd name="connsiteX248" fmla="*/ 8853 w 9982"/>
              <a:gd name="connsiteY248" fmla="*/ 6590 h 10000"/>
              <a:gd name="connsiteX249" fmla="*/ 8853 w 9982"/>
              <a:gd name="connsiteY249" fmla="*/ 6667 h 10000"/>
              <a:gd name="connsiteX250" fmla="*/ 9124 w 9982"/>
              <a:gd name="connsiteY250" fmla="*/ 6590 h 10000"/>
              <a:gd name="connsiteX251" fmla="*/ 9079 w 9982"/>
              <a:gd name="connsiteY251" fmla="*/ 6512 h 10000"/>
              <a:gd name="connsiteX252" fmla="*/ 9262 w 9982"/>
              <a:gd name="connsiteY252" fmla="*/ 5969 h 10000"/>
              <a:gd name="connsiteX253" fmla="*/ 9484 w 9982"/>
              <a:gd name="connsiteY253" fmla="*/ 5892 h 10000"/>
              <a:gd name="connsiteX254" fmla="*/ 9484 w 9982"/>
              <a:gd name="connsiteY254" fmla="*/ 6047 h 10000"/>
              <a:gd name="connsiteX255" fmla="*/ 9484 w 9982"/>
              <a:gd name="connsiteY255" fmla="*/ 6202 h 10000"/>
              <a:gd name="connsiteX256" fmla="*/ 9711 w 9982"/>
              <a:gd name="connsiteY256" fmla="*/ 5969 h 10000"/>
              <a:gd name="connsiteX257" fmla="*/ 9711 w 9982"/>
              <a:gd name="connsiteY257" fmla="*/ 5737 h 10000"/>
              <a:gd name="connsiteX258" fmla="*/ 9803 w 9982"/>
              <a:gd name="connsiteY258" fmla="*/ 5737 h 10000"/>
              <a:gd name="connsiteX259" fmla="*/ 9753 w 9982"/>
              <a:gd name="connsiteY259" fmla="*/ 5814 h 10000"/>
              <a:gd name="connsiteX260" fmla="*/ 9711 w 9982"/>
              <a:gd name="connsiteY260" fmla="*/ 6202 h 10000"/>
              <a:gd name="connsiteX261" fmla="*/ 9621 w 9982"/>
              <a:gd name="connsiteY261" fmla="*/ 6279 h 10000"/>
              <a:gd name="connsiteX262" fmla="*/ 9711 w 9982"/>
              <a:gd name="connsiteY262" fmla="*/ 6590 h 10000"/>
              <a:gd name="connsiteX263" fmla="*/ 9711 w 9982"/>
              <a:gd name="connsiteY263" fmla="*/ 6434 h 10000"/>
              <a:gd name="connsiteX264" fmla="*/ 9803 w 9982"/>
              <a:gd name="connsiteY264" fmla="*/ 6434 h 10000"/>
              <a:gd name="connsiteX265" fmla="*/ 9939 w 9982"/>
              <a:gd name="connsiteY265" fmla="*/ 6279 h 10000"/>
              <a:gd name="connsiteX266" fmla="*/ 9939 w 9982"/>
              <a:gd name="connsiteY266" fmla="*/ 6434 h 10000"/>
              <a:gd name="connsiteX267" fmla="*/ 9982 w 9982"/>
              <a:gd name="connsiteY267" fmla="*/ 6356 h 10000"/>
              <a:gd name="connsiteX268" fmla="*/ 9753 w 9982"/>
              <a:gd name="connsiteY268" fmla="*/ 3566 h 10000"/>
              <a:gd name="connsiteX269" fmla="*/ 9533 w 9982"/>
              <a:gd name="connsiteY269" fmla="*/ 3566 h 10000"/>
              <a:gd name="connsiteX270" fmla="*/ 9440 w 9982"/>
              <a:gd name="connsiteY270" fmla="*/ 3488 h 10000"/>
              <a:gd name="connsiteX271" fmla="*/ 9484 w 9982"/>
              <a:gd name="connsiteY271" fmla="*/ 3333 h 10000"/>
              <a:gd name="connsiteX272" fmla="*/ 9394 w 9982"/>
              <a:gd name="connsiteY272" fmla="*/ 3101 h 10000"/>
              <a:gd name="connsiteX273" fmla="*/ 9212 w 9982"/>
              <a:gd name="connsiteY273" fmla="*/ 3023 h 10000"/>
              <a:gd name="connsiteX274" fmla="*/ 8945 w 9982"/>
              <a:gd name="connsiteY274" fmla="*/ 3178 h 10000"/>
              <a:gd name="connsiteX275" fmla="*/ 8898 w 9982"/>
              <a:gd name="connsiteY275" fmla="*/ 2946 h 10000"/>
              <a:gd name="connsiteX276" fmla="*/ 8809 w 9982"/>
              <a:gd name="connsiteY276" fmla="*/ 2946 h 10000"/>
              <a:gd name="connsiteX277" fmla="*/ 8763 w 9982"/>
              <a:gd name="connsiteY277" fmla="*/ 2868 h 10000"/>
              <a:gd name="connsiteX278" fmla="*/ 8763 w 9982"/>
              <a:gd name="connsiteY278" fmla="*/ 2636 h 10000"/>
              <a:gd name="connsiteX279" fmla="*/ 8447 w 9982"/>
              <a:gd name="connsiteY279" fmla="*/ 2480 h 10000"/>
              <a:gd name="connsiteX280" fmla="*/ 8086 w 9982"/>
              <a:gd name="connsiteY280" fmla="*/ 2325 h 10000"/>
              <a:gd name="connsiteX281" fmla="*/ 7995 w 9982"/>
              <a:gd name="connsiteY281" fmla="*/ 2636 h 10000"/>
              <a:gd name="connsiteX282" fmla="*/ 8086 w 9982"/>
              <a:gd name="connsiteY282" fmla="*/ 2868 h 10000"/>
              <a:gd name="connsiteX283" fmla="*/ 7814 w 9982"/>
              <a:gd name="connsiteY283" fmla="*/ 2868 h 10000"/>
              <a:gd name="connsiteX284" fmla="*/ 7768 w 9982"/>
              <a:gd name="connsiteY284" fmla="*/ 2868 h 10000"/>
              <a:gd name="connsiteX285" fmla="*/ 7678 w 9982"/>
              <a:gd name="connsiteY285" fmla="*/ 2946 h 10000"/>
              <a:gd name="connsiteX286" fmla="*/ 7543 w 9982"/>
              <a:gd name="connsiteY286" fmla="*/ 2714 h 10000"/>
              <a:gd name="connsiteX287" fmla="*/ 7452 w 9982"/>
              <a:gd name="connsiteY287" fmla="*/ 3178 h 10000"/>
              <a:gd name="connsiteX288" fmla="*/ 7365 w 9982"/>
              <a:gd name="connsiteY288" fmla="*/ 3101 h 10000"/>
              <a:gd name="connsiteX289" fmla="*/ 7272 w 9982"/>
              <a:gd name="connsiteY289" fmla="*/ 2791 h 10000"/>
              <a:gd name="connsiteX290" fmla="*/ 7319 w 9982"/>
              <a:gd name="connsiteY290" fmla="*/ 2403 h 10000"/>
              <a:gd name="connsiteX291" fmla="*/ 7228 w 9982"/>
              <a:gd name="connsiteY291" fmla="*/ 2170 h 10000"/>
              <a:gd name="connsiteX292" fmla="*/ 6956 w 9982"/>
              <a:gd name="connsiteY292" fmla="*/ 2016 h 10000"/>
              <a:gd name="connsiteX293" fmla="*/ 6864 w 9982"/>
              <a:gd name="connsiteY293" fmla="*/ 2016 h 10000"/>
              <a:gd name="connsiteX294" fmla="*/ 6821 w 9982"/>
              <a:gd name="connsiteY294" fmla="*/ 2170 h 10000"/>
              <a:gd name="connsiteX295" fmla="*/ 6864 w 9982"/>
              <a:gd name="connsiteY295" fmla="*/ 2325 h 10000"/>
              <a:gd name="connsiteX296" fmla="*/ 6508 w 9982"/>
              <a:gd name="connsiteY296" fmla="*/ 2248 h 10000"/>
              <a:gd name="connsiteX297" fmla="*/ 6549 w 9982"/>
              <a:gd name="connsiteY297" fmla="*/ 2016 h 10000"/>
              <a:gd name="connsiteX298" fmla="*/ 6326 w 9982"/>
              <a:gd name="connsiteY298" fmla="*/ 1938 h 10000"/>
              <a:gd name="connsiteX299" fmla="*/ 6189 w 9982"/>
              <a:gd name="connsiteY299" fmla="*/ 2093 h 10000"/>
              <a:gd name="connsiteX300" fmla="*/ 5923 w 9982"/>
              <a:gd name="connsiteY300" fmla="*/ 1861 h 10000"/>
              <a:gd name="connsiteX0" fmla="*/ 5934 w 10000"/>
              <a:gd name="connsiteY0" fmla="*/ 1861 h 10000"/>
              <a:gd name="connsiteX1" fmla="*/ 5934 w 10000"/>
              <a:gd name="connsiteY1" fmla="*/ 1861 h 10000"/>
              <a:gd name="connsiteX2" fmla="*/ 5883 w 10000"/>
              <a:gd name="connsiteY2" fmla="*/ 1938 h 10000"/>
              <a:gd name="connsiteX3" fmla="*/ 5934 w 10000"/>
              <a:gd name="connsiteY3" fmla="*/ 2093 h 10000"/>
              <a:gd name="connsiteX4" fmla="*/ 5746 w 10000"/>
              <a:gd name="connsiteY4" fmla="*/ 2248 h 10000"/>
              <a:gd name="connsiteX5" fmla="*/ 5699 w 10000"/>
              <a:gd name="connsiteY5" fmla="*/ 2248 h 10000"/>
              <a:gd name="connsiteX6" fmla="*/ 5746 w 10000"/>
              <a:gd name="connsiteY6" fmla="*/ 2016 h 10000"/>
              <a:gd name="connsiteX7" fmla="*/ 6200 w 10000"/>
              <a:gd name="connsiteY7" fmla="*/ 1318 h 10000"/>
              <a:gd name="connsiteX8" fmla="*/ 6200 w 10000"/>
              <a:gd name="connsiteY8" fmla="*/ 853 h 10000"/>
              <a:gd name="connsiteX9" fmla="*/ 6019 w 10000"/>
              <a:gd name="connsiteY9" fmla="*/ 543 h 10000"/>
              <a:gd name="connsiteX10" fmla="*/ 5793 w 10000"/>
              <a:gd name="connsiteY10" fmla="*/ 543 h 10000"/>
              <a:gd name="connsiteX11" fmla="*/ 5793 w 10000"/>
              <a:gd name="connsiteY11" fmla="*/ 698 h 10000"/>
              <a:gd name="connsiteX12" fmla="*/ 5655 w 10000"/>
              <a:gd name="connsiteY12" fmla="*/ 698 h 10000"/>
              <a:gd name="connsiteX13" fmla="*/ 5746 w 10000"/>
              <a:gd name="connsiteY13" fmla="*/ 387 h 10000"/>
              <a:gd name="connsiteX14" fmla="*/ 5522 w 10000"/>
              <a:gd name="connsiteY14" fmla="*/ 310 h 10000"/>
              <a:gd name="connsiteX15" fmla="*/ 5655 w 10000"/>
              <a:gd name="connsiteY15" fmla="*/ 155 h 10000"/>
              <a:gd name="connsiteX16" fmla="*/ 5522 w 10000"/>
              <a:gd name="connsiteY16" fmla="*/ 0 h 10000"/>
              <a:gd name="connsiteX17" fmla="*/ 5295 w 10000"/>
              <a:gd name="connsiteY17" fmla="*/ 387 h 10000"/>
              <a:gd name="connsiteX18" fmla="*/ 5295 w 10000"/>
              <a:gd name="connsiteY18" fmla="*/ 698 h 10000"/>
              <a:gd name="connsiteX19" fmla="*/ 5158 w 10000"/>
              <a:gd name="connsiteY19" fmla="*/ 698 h 10000"/>
              <a:gd name="connsiteX20" fmla="*/ 4752 w 10000"/>
              <a:gd name="connsiteY20" fmla="*/ 853 h 10000"/>
              <a:gd name="connsiteX21" fmla="*/ 4389 w 10000"/>
              <a:gd name="connsiteY21" fmla="*/ 1240 h 10000"/>
              <a:gd name="connsiteX22" fmla="*/ 4254 w 10000"/>
              <a:gd name="connsiteY22" fmla="*/ 1551 h 10000"/>
              <a:gd name="connsiteX23" fmla="*/ 4299 w 10000"/>
              <a:gd name="connsiteY23" fmla="*/ 1938 h 10000"/>
              <a:gd name="connsiteX24" fmla="*/ 3801 w 10000"/>
              <a:gd name="connsiteY24" fmla="*/ 2093 h 10000"/>
              <a:gd name="connsiteX25" fmla="*/ 3847 w 10000"/>
              <a:gd name="connsiteY25" fmla="*/ 2559 h 10000"/>
              <a:gd name="connsiteX26" fmla="*/ 3984 w 10000"/>
              <a:gd name="connsiteY26" fmla="*/ 2791 h 10000"/>
              <a:gd name="connsiteX27" fmla="*/ 3893 w 10000"/>
              <a:gd name="connsiteY27" fmla="*/ 2868 h 10000"/>
              <a:gd name="connsiteX28" fmla="*/ 3757 w 10000"/>
              <a:gd name="connsiteY28" fmla="*/ 2559 h 10000"/>
              <a:gd name="connsiteX29" fmla="*/ 3622 w 10000"/>
              <a:gd name="connsiteY29" fmla="*/ 2480 h 10000"/>
              <a:gd name="connsiteX30" fmla="*/ 3575 w 10000"/>
              <a:gd name="connsiteY30" fmla="*/ 2559 h 10000"/>
              <a:gd name="connsiteX31" fmla="*/ 3484 w 10000"/>
              <a:gd name="connsiteY31" fmla="*/ 2403 h 10000"/>
              <a:gd name="connsiteX32" fmla="*/ 3394 w 10000"/>
              <a:gd name="connsiteY32" fmla="*/ 2248 h 10000"/>
              <a:gd name="connsiteX33" fmla="*/ 3394 w 10000"/>
              <a:gd name="connsiteY33" fmla="*/ 2325 h 10000"/>
              <a:gd name="connsiteX34" fmla="*/ 3442 w 10000"/>
              <a:gd name="connsiteY34" fmla="*/ 2559 h 10000"/>
              <a:gd name="connsiteX35" fmla="*/ 3303 w 10000"/>
              <a:gd name="connsiteY35" fmla="*/ 2946 h 10000"/>
              <a:gd name="connsiteX36" fmla="*/ 3394 w 10000"/>
              <a:gd name="connsiteY36" fmla="*/ 3256 h 10000"/>
              <a:gd name="connsiteX37" fmla="*/ 3346 w 10000"/>
              <a:gd name="connsiteY37" fmla="*/ 3566 h 10000"/>
              <a:gd name="connsiteX38" fmla="*/ 3346 w 10000"/>
              <a:gd name="connsiteY38" fmla="*/ 3799 h 10000"/>
              <a:gd name="connsiteX39" fmla="*/ 3484 w 10000"/>
              <a:gd name="connsiteY39" fmla="*/ 3799 h 10000"/>
              <a:gd name="connsiteX40" fmla="*/ 3394 w 10000"/>
              <a:gd name="connsiteY40" fmla="*/ 3876 h 10000"/>
              <a:gd name="connsiteX41" fmla="*/ 3442 w 10000"/>
              <a:gd name="connsiteY41" fmla="*/ 4263 h 10000"/>
              <a:gd name="connsiteX42" fmla="*/ 3168 w 10000"/>
              <a:gd name="connsiteY42" fmla="*/ 4652 h 10000"/>
              <a:gd name="connsiteX43" fmla="*/ 3121 w 10000"/>
              <a:gd name="connsiteY43" fmla="*/ 4574 h 10000"/>
              <a:gd name="connsiteX44" fmla="*/ 3303 w 10000"/>
              <a:gd name="connsiteY44" fmla="*/ 4186 h 10000"/>
              <a:gd name="connsiteX45" fmla="*/ 3346 w 10000"/>
              <a:gd name="connsiteY45" fmla="*/ 3954 h 10000"/>
              <a:gd name="connsiteX46" fmla="*/ 3253 w 10000"/>
              <a:gd name="connsiteY46" fmla="*/ 3799 h 10000"/>
              <a:gd name="connsiteX47" fmla="*/ 3253 w 10000"/>
              <a:gd name="connsiteY47" fmla="*/ 3023 h 10000"/>
              <a:gd name="connsiteX48" fmla="*/ 3213 w 10000"/>
              <a:gd name="connsiteY48" fmla="*/ 2868 h 10000"/>
              <a:gd name="connsiteX49" fmla="*/ 3253 w 10000"/>
              <a:gd name="connsiteY49" fmla="*/ 2403 h 10000"/>
              <a:gd name="connsiteX50" fmla="*/ 3168 w 10000"/>
              <a:gd name="connsiteY50" fmla="*/ 2325 h 10000"/>
              <a:gd name="connsiteX51" fmla="*/ 3213 w 10000"/>
              <a:gd name="connsiteY51" fmla="*/ 2248 h 10000"/>
              <a:gd name="connsiteX52" fmla="*/ 3168 w 10000"/>
              <a:gd name="connsiteY52" fmla="*/ 2093 h 10000"/>
              <a:gd name="connsiteX53" fmla="*/ 3074 w 10000"/>
              <a:gd name="connsiteY53" fmla="*/ 2170 h 10000"/>
              <a:gd name="connsiteX54" fmla="*/ 2850 w 10000"/>
              <a:gd name="connsiteY54" fmla="*/ 3178 h 10000"/>
              <a:gd name="connsiteX55" fmla="*/ 2850 w 10000"/>
              <a:gd name="connsiteY55" fmla="*/ 3566 h 10000"/>
              <a:gd name="connsiteX56" fmla="*/ 2985 w 10000"/>
              <a:gd name="connsiteY56" fmla="*/ 3876 h 10000"/>
              <a:gd name="connsiteX57" fmla="*/ 2985 w 10000"/>
              <a:gd name="connsiteY57" fmla="*/ 4031 h 10000"/>
              <a:gd name="connsiteX58" fmla="*/ 2850 w 10000"/>
              <a:gd name="connsiteY58" fmla="*/ 3876 h 10000"/>
              <a:gd name="connsiteX59" fmla="*/ 2310 w 10000"/>
              <a:gd name="connsiteY59" fmla="*/ 3256 h 10000"/>
              <a:gd name="connsiteX60" fmla="*/ 2262 w 10000"/>
              <a:gd name="connsiteY60" fmla="*/ 3411 h 10000"/>
              <a:gd name="connsiteX61" fmla="*/ 2444 w 10000"/>
              <a:gd name="connsiteY61" fmla="*/ 3799 h 10000"/>
              <a:gd name="connsiteX62" fmla="*/ 2352 w 10000"/>
              <a:gd name="connsiteY62" fmla="*/ 3876 h 10000"/>
              <a:gd name="connsiteX63" fmla="*/ 2310 w 10000"/>
              <a:gd name="connsiteY63" fmla="*/ 3799 h 10000"/>
              <a:gd name="connsiteX64" fmla="*/ 2038 w 10000"/>
              <a:gd name="connsiteY64" fmla="*/ 3954 h 10000"/>
              <a:gd name="connsiteX65" fmla="*/ 1992 w 10000"/>
              <a:gd name="connsiteY65" fmla="*/ 4109 h 10000"/>
              <a:gd name="connsiteX66" fmla="*/ 1947 w 10000"/>
              <a:gd name="connsiteY66" fmla="*/ 3954 h 10000"/>
              <a:gd name="connsiteX67" fmla="*/ 1947 w 10000"/>
              <a:gd name="connsiteY67" fmla="*/ 3799 h 10000"/>
              <a:gd name="connsiteX68" fmla="*/ 1492 w 10000"/>
              <a:gd name="connsiteY68" fmla="*/ 4263 h 10000"/>
              <a:gd name="connsiteX69" fmla="*/ 1492 w 10000"/>
              <a:gd name="connsiteY69" fmla="*/ 4418 h 10000"/>
              <a:gd name="connsiteX70" fmla="*/ 1405 w 10000"/>
              <a:gd name="connsiteY70" fmla="*/ 4496 h 10000"/>
              <a:gd name="connsiteX71" fmla="*/ 1266 w 10000"/>
              <a:gd name="connsiteY71" fmla="*/ 4341 h 10000"/>
              <a:gd name="connsiteX72" fmla="*/ 1405 w 10000"/>
              <a:gd name="connsiteY72" fmla="*/ 4186 h 10000"/>
              <a:gd name="connsiteX73" fmla="*/ 1358 w 10000"/>
              <a:gd name="connsiteY73" fmla="*/ 3954 h 10000"/>
              <a:gd name="connsiteX74" fmla="*/ 1178 w 10000"/>
              <a:gd name="connsiteY74" fmla="*/ 3876 h 10000"/>
              <a:gd name="connsiteX75" fmla="*/ 1224 w 10000"/>
              <a:gd name="connsiteY75" fmla="*/ 4031 h 10000"/>
              <a:gd name="connsiteX76" fmla="*/ 1224 w 10000"/>
              <a:gd name="connsiteY76" fmla="*/ 4418 h 10000"/>
              <a:gd name="connsiteX77" fmla="*/ 1266 w 10000"/>
              <a:gd name="connsiteY77" fmla="*/ 4574 h 10000"/>
              <a:gd name="connsiteX78" fmla="*/ 1224 w 10000"/>
              <a:gd name="connsiteY78" fmla="*/ 4729 h 10000"/>
              <a:gd name="connsiteX79" fmla="*/ 1085 w 10000"/>
              <a:gd name="connsiteY79" fmla="*/ 4652 h 10000"/>
              <a:gd name="connsiteX80" fmla="*/ 904 w 10000"/>
              <a:gd name="connsiteY80" fmla="*/ 4884 h 10000"/>
              <a:gd name="connsiteX81" fmla="*/ 994 w 10000"/>
              <a:gd name="connsiteY81" fmla="*/ 5194 h 10000"/>
              <a:gd name="connsiteX82" fmla="*/ 723 w 10000"/>
              <a:gd name="connsiteY82" fmla="*/ 5039 h 10000"/>
              <a:gd name="connsiteX83" fmla="*/ 679 w 10000"/>
              <a:gd name="connsiteY83" fmla="*/ 5116 h 10000"/>
              <a:gd name="connsiteX84" fmla="*/ 770 w 10000"/>
              <a:gd name="connsiteY84" fmla="*/ 5349 h 10000"/>
              <a:gd name="connsiteX85" fmla="*/ 679 w 10000"/>
              <a:gd name="connsiteY85" fmla="*/ 5349 h 10000"/>
              <a:gd name="connsiteX86" fmla="*/ 544 w 10000"/>
              <a:gd name="connsiteY86" fmla="*/ 5194 h 10000"/>
              <a:gd name="connsiteX87" fmla="*/ 544 w 10000"/>
              <a:gd name="connsiteY87" fmla="*/ 4729 h 10000"/>
              <a:gd name="connsiteX88" fmla="*/ 410 w 10000"/>
              <a:gd name="connsiteY88" fmla="*/ 4574 h 10000"/>
              <a:gd name="connsiteX89" fmla="*/ 362 w 10000"/>
              <a:gd name="connsiteY89" fmla="*/ 4418 h 10000"/>
              <a:gd name="connsiteX90" fmla="*/ 453 w 10000"/>
              <a:gd name="connsiteY90" fmla="*/ 4496 h 10000"/>
              <a:gd name="connsiteX91" fmla="*/ 813 w 10000"/>
              <a:gd name="connsiteY91" fmla="*/ 4729 h 10000"/>
              <a:gd name="connsiteX92" fmla="*/ 1039 w 10000"/>
              <a:gd name="connsiteY92" fmla="*/ 4496 h 10000"/>
              <a:gd name="connsiteX93" fmla="*/ 994 w 10000"/>
              <a:gd name="connsiteY93" fmla="*/ 4263 h 10000"/>
              <a:gd name="connsiteX94" fmla="*/ 723 w 10000"/>
              <a:gd name="connsiteY94" fmla="*/ 3799 h 10000"/>
              <a:gd name="connsiteX95" fmla="*/ 453 w 10000"/>
              <a:gd name="connsiteY95" fmla="*/ 3644 h 10000"/>
              <a:gd name="connsiteX96" fmla="*/ 453 w 10000"/>
              <a:gd name="connsiteY96" fmla="*/ 3566 h 10000"/>
              <a:gd name="connsiteX97" fmla="*/ 362 w 10000"/>
              <a:gd name="connsiteY97" fmla="*/ 3488 h 10000"/>
              <a:gd name="connsiteX98" fmla="*/ 269 w 10000"/>
              <a:gd name="connsiteY98" fmla="*/ 3566 h 10000"/>
              <a:gd name="connsiteX99" fmla="*/ 269 w 10000"/>
              <a:gd name="connsiteY99" fmla="*/ 3644 h 10000"/>
              <a:gd name="connsiteX100" fmla="*/ 227 w 10000"/>
              <a:gd name="connsiteY100" fmla="*/ 3644 h 10000"/>
              <a:gd name="connsiteX101" fmla="*/ 135 w 10000"/>
              <a:gd name="connsiteY101" fmla="*/ 3799 h 10000"/>
              <a:gd name="connsiteX102" fmla="*/ 135 w 10000"/>
              <a:gd name="connsiteY102" fmla="*/ 4031 h 10000"/>
              <a:gd name="connsiteX103" fmla="*/ 227 w 10000"/>
              <a:gd name="connsiteY103" fmla="*/ 4186 h 10000"/>
              <a:gd name="connsiteX104" fmla="*/ 180 w 10000"/>
              <a:gd name="connsiteY104" fmla="*/ 4418 h 10000"/>
              <a:gd name="connsiteX105" fmla="*/ 227 w 10000"/>
              <a:gd name="connsiteY105" fmla="*/ 4807 h 10000"/>
              <a:gd name="connsiteX106" fmla="*/ 180 w 10000"/>
              <a:gd name="connsiteY106" fmla="*/ 5039 h 10000"/>
              <a:gd name="connsiteX107" fmla="*/ 269 w 10000"/>
              <a:gd name="connsiteY107" fmla="*/ 5271 h 10000"/>
              <a:gd name="connsiteX108" fmla="*/ 227 w 10000"/>
              <a:gd name="connsiteY108" fmla="*/ 5426 h 10000"/>
              <a:gd name="connsiteX109" fmla="*/ 316 w 10000"/>
              <a:gd name="connsiteY109" fmla="*/ 5582 h 10000"/>
              <a:gd name="connsiteX110" fmla="*/ 316 w 10000"/>
              <a:gd name="connsiteY110" fmla="*/ 5659 h 10000"/>
              <a:gd name="connsiteX111" fmla="*/ 180 w 10000"/>
              <a:gd name="connsiteY111" fmla="*/ 6047 h 10000"/>
              <a:gd name="connsiteX112" fmla="*/ 42 w 10000"/>
              <a:gd name="connsiteY112" fmla="*/ 6202 h 10000"/>
              <a:gd name="connsiteX113" fmla="*/ 90 w 10000"/>
              <a:gd name="connsiteY113" fmla="*/ 6202 h 10000"/>
              <a:gd name="connsiteX114" fmla="*/ 180 w 10000"/>
              <a:gd name="connsiteY114" fmla="*/ 6356 h 10000"/>
              <a:gd name="connsiteX115" fmla="*/ 90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90 w 10000"/>
              <a:gd name="connsiteY122" fmla="*/ 7209 h 10000"/>
              <a:gd name="connsiteX123" fmla="*/ 227 w 10000"/>
              <a:gd name="connsiteY123" fmla="*/ 7287 h 10000"/>
              <a:gd name="connsiteX124" fmla="*/ 269 w 10000"/>
              <a:gd name="connsiteY124" fmla="*/ 7364 h 10000"/>
              <a:gd name="connsiteX125" fmla="*/ 269 w 10000"/>
              <a:gd name="connsiteY125" fmla="*/ 7520 h 10000"/>
              <a:gd name="connsiteX126" fmla="*/ 362 w 10000"/>
              <a:gd name="connsiteY126" fmla="*/ 7752 h 10000"/>
              <a:gd name="connsiteX127" fmla="*/ 410 w 10000"/>
              <a:gd name="connsiteY127" fmla="*/ 7752 h 10000"/>
              <a:gd name="connsiteX128" fmla="*/ 362 w 10000"/>
              <a:gd name="connsiteY128" fmla="*/ 7907 h 10000"/>
              <a:gd name="connsiteX129" fmla="*/ 316 w 10000"/>
              <a:gd name="connsiteY129" fmla="*/ 7830 h 10000"/>
              <a:gd name="connsiteX130" fmla="*/ 316 w 10000"/>
              <a:gd name="connsiteY130" fmla="*/ 7907 h 10000"/>
              <a:gd name="connsiteX131" fmla="*/ 362 w 10000"/>
              <a:gd name="connsiteY131" fmla="*/ 8062 h 10000"/>
              <a:gd name="connsiteX132" fmla="*/ 499 w 10000"/>
              <a:gd name="connsiteY132" fmla="*/ 8062 h 10000"/>
              <a:gd name="connsiteX133" fmla="*/ 544 w 10000"/>
              <a:gd name="connsiteY133" fmla="*/ 8140 h 10000"/>
              <a:gd name="connsiteX134" fmla="*/ 499 w 10000"/>
              <a:gd name="connsiteY134" fmla="*/ 8140 h 10000"/>
              <a:gd name="connsiteX135" fmla="*/ 544 w 10000"/>
              <a:gd name="connsiteY135" fmla="*/ 8217 h 10000"/>
              <a:gd name="connsiteX136" fmla="*/ 587 w 10000"/>
              <a:gd name="connsiteY136" fmla="*/ 8217 h 10000"/>
              <a:gd name="connsiteX137" fmla="*/ 633 w 10000"/>
              <a:gd name="connsiteY137" fmla="*/ 8372 h 10000"/>
              <a:gd name="connsiteX138" fmla="*/ 679 w 10000"/>
              <a:gd name="connsiteY138" fmla="*/ 8449 h 10000"/>
              <a:gd name="connsiteX139" fmla="*/ 723 w 10000"/>
              <a:gd name="connsiteY139" fmla="*/ 8372 h 10000"/>
              <a:gd name="connsiteX140" fmla="*/ 952 w 10000"/>
              <a:gd name="connsiteY140" fmla="*/ 8605 h 10000"/>
              <a:gd name="connsiteX141" fmla="*/ 904 w 10000"/>
              <a:gd name="connsiteY141" fmla="*/ 8915 h 10000"/>
              <a:gd name="connsiteX142" fmla="*/ 858 w 10000"/>
              <a:gd name="connsiteY142" fmla="*/ 8838 h 10000"/>
              <a:gd name="connsiteX143" fmla="*/ 813 w 10000"/>
              <a:gd name="connsiteY143" fmla="*/ 8915 h 10000"/>
              <a:gd name="connsiteX144" fmla="*/ 813 w 10000"/>
              <a:gd name="connsiteY144" fmla="*/ 9070 h 10000"/>
              <a:gd name="connsiteX145" fmla="*/ 858 w 10000"/>
              <a:gd name="connsiteY145" fmla="*/ 8993 h 10000"/>
              <a:gd name="connsiteX146" fmla="*/ 904 w 10000"/>
              <a:gd name="connsiteY146" fmla="*/ 9070 h 10000"/>
              <a:gd name="connsiteX147" fmla="*/ 770 w 10000"/>
              <a:gd name="connsiteY147" fmla="*/ 9147 h 10000"/>
              <a:gd name="connsiteX148" fmla="*/ 813 w 10000"/>
              <a:gd name="connsiteY148" fmla="*/ 9225 h 10000"/>
              <a:gd name="connsiteX149" fmla="*/ 723 w 10000"/>
              <a:gd name="connsiteY149" fmla="*/ 9380 h 10000"/>
              <a:gd name="connsiteX150" fmla="*/ 679 w 10000"/>
              <a:gd name="connsiteY150" fmla="*/ 9380 h 10000"/>
              <a:gd name="connsiteX151" fmla="*/ 723 w 10000"/>
              <a:gd name="connsiteY151" fmla="*/ 9380 h 10000"/>
              <a:gd name="connsiteX152" fmla="*/ 904 w 10000"/>
              <a:gd name="connsiteY152" fmla="*/ 9691 h 10000"/>
              <a:gd name="connsiteX153" fmla="*/ 1132 w 10000"/>
              <a:gd name="connsiteY153" fmla="*/ 9691 h 10000"/>
              <a:gd name="connsiteX154" fmla="*/ 1224 w 10000"/>
              <a:gd name="connsiteY154" fmla="*/ 9768 h 10000"/>
              <a:gd name="connsiteX155" fmla="*/ 1312 w 10000"/>
              <a:gd name="connsiteY155" fmla="*/ 9768 h 10000"/>
              <a:gd name="connsiteX156" fmla="*/ 1405 w 10000"/>
              <a:gd name="connsiteY156" fmla="*/ 9923 h 10000"/>
              <a:gd name="connsiteX157" fmla="*/ 1448 w 10000"/>
              <a:gd name="connsiteY157" fmla="*/ 10000 h 10000"/>
              <a:gd name="connsiteX158" fmla="*/ 1492 w 10000"/>
              <a:gd name="connsiteY158" fmla="*/ 10000 h 10000"/>
              <a:gd name="connsiteX159" fmla="*/ 1540 w 10000"/>
              <a:gd name="connsiteY159" fmla="*/ 9923 h 10000"/>
              <a:gd name="connsiteX160" fmla="*/ 1448 w 10000"/>
              <a:gd name="connsiteY160" fmla="*/ 9768 h 10000"/>
              <a:gd name="connsiteX161" fmla="*/ 1448 w 10000"/>
              <a:gd name="connsiteY161" fmla="*/ 9613 h 10000"/>
              <a:gd name="connsiteX162" fmla="*/ 1405 w 10000"/>
              <a:gd name="connsiteY162" fmla="*/ 9457 h 10000"/>
              <a:gd name="connsiteX163" fmla="*/ 1492 w 10000"/>
              <a:gd name="connsiteY163" fmla="*/ 9225 h 10000"/>
              <a:gd name="connsiteX164" fmla="*/ 1540 w 10000"/>
              <a:gd name="connsiteY164" fmla="*/ 9302 h 10000"/>
              <a:gd name="connsiteX165" fmla="*/ 1584 w 10000"/>
              <a:gd name="connsiteY165" fmla="*/ 9225 h 10000"/>
              <a:gd name="connsiteX166" fmla="*/ 1584 w 10000"/>
              <a:gd name="connsiteY166" fmla="*/ 9147 h 10000"/>
              <a:gd name="connsiteX167" fmla="*/ 1540 w 10000"/>
              <a:gd name="connsiteY167" fmla="*/ 9147 h 10000"/>
              <a:gd name="connsiteX168" fmla="*/ 1584 w 10000"/>
              <a:gd name="connsiteY168" fmla="*/ 9070 h 10000"/>
              <a:gd name="connsiteX169" fmla="*/ 1540 w 10000"/>
              <a:gd name="connsiteY169" fmla="*/ 8915 h 10000"/>
              <a:gd name="connsiteX170" fmla="*/ 1448 w 10000"/>
              <a:gd name="connsiteY170" fmla="*/ 8915 h 10000"/>
              <a:gd name="connsiteX171" fmla="*/ 1405 w 10000"/>
              <a:gd name="connsiteY171" fmla="*/ 8760 h 10000"/>
              <a:gd name="connsiteX172" fmla="*/ 1448 w 10000"/>
              <a:gd name="connsiteY172" fmla="*/ 8372 h 10000"/>
              <a:gd name="connsiteX173" fmla="*/ 1540 w 10000"/>
              <a:gd name="connsiteY173" fmla="*/ 8528 h 10000"/>
              <a:gd name="connsiteX174" fmla="*/ 1584 w 10000"/>
              <a:gd name="connsiteY174" fmla="*/ 8528 h 10000"/>
              <a:gd name="connsiteX175" fmla="*/ 1540 w 10000"/>
              <a:gd name="connsiteY175" fmla="*/ 8372 h 10000"/>
              <a:gd name="connsiteX176" fmla="*/ 1675 w 10000"/>
              <a:gd name="connsiteY176" fmla="*/ 8140 h 10000"/>
              <a:gd name="connsiteX177" fmla="*/ 1767 w 10000"/>
              <a:gd name="connsiteY177" fmla="*/ 8217 h 10000"/>
              <a:gd name="connsiteX178" fmla="*/ 1809 w 10000"/>
              <a:gd name="connsiteY178" fmla="*/ 8140 h 10000"/>
              <a:gd name="connsiteX179" fmla="*/ 1900 w 10000"/>
              <a:gd name="connsiteY179" fmla="*/ 8217 h 10000"/>
              <a:gd name="connsiteX180" fmla="*/ 2038 w 10000"/>
              <a:gd name="connsiteY180" fmla="*/ 8372 h 10000"/>
              <a:gd name="connsiteX181" fmla="*/ 2127 w 10000"/>
              <a:gd name="connsiteY181" fmla="*/ 8295 h 10000"/>
              <a:gd name="connsiteX182" fmla="*/ 2218 w 10000"/>
              <a:gd name="connsiteY182" fmla="*/ 8295 h 10000"/>
              <a:gd name="connsiteX183" fmla="*/ 2262 w 10000"/>
              <a:gd name="connsiteY183" fmla="*/ 8372 h 10000"/>
              <a:gd name="connsiteX184" fmla="*/ 2444 w 10000"/>
              <a:gd name="connsiteY184" fmla="*/ 8372 h 10000"/>
              <a:gd name="connsiteX185" fmla="*/ 2487 w 10000"/>
              <a:gd name="connsiteY185" fmla="*/ 8217 h 10000"/>
              <a:gd name="connsiteX186" fmla="*/ 2352 w 10000"/>
              <a:gd name="connsiteY186" fmla="*/ 8140 h 10000"/>
              <a:gd name="connsiteX187" fmla="*/ 2444 w 10000"/>
              <a:gd name="connsiteY187" fmla="*/ 8062 h 10000"/>
              <a:gd name="connsiteX188" fmla="*/ 2397 w 10000"/>
              <a:gd name="connsiteY188" fmla="*/ 7985 h 10000"/>
              <a:gd name="connsiteX189" fmla="*/ 2444 w 10000"/>
              <a:gd name="connsiteY189" fmla="*/ 7907 h 10000"/>
              <a:gd name="connsiteX190" fmla="*/ 2444 w 10000"/>
              <a:gd name="connsiteY190" fmla="*/ 7675 h 10000"/>
              <a:gd name="connsiteX191" fmla="*/ 2533 w 10000"/>
              <a:gd name="connsiteY191" fmla="*/ 7752 h 10000"/>
              <a:gd name="connsiteX192" fmla="*/ 2942 w 10000"/>
              <a:gd name="connsiteY192" fmla="*/ 7520 h 10000"/>
              <a:gd name="connsiteX193" fmla="*/ 2942 w 10000"/>
              <a:gd name="connsiteY193" fmla="*/ 7442 h 10000"/>
              <a:gd name="connsiteX194" fmla="*/ 2985 w 10000"/>
              <a:gd name="connsiteY194" fmla="*/ 7442 h 10000"/>
              <a:gd name="connsiteX195" fmla="*/ 3121 w 10000"/>
              <a:gd name="connsiteY195" fmla="*/ 7442 h 10000"/>
              <a:gd name="connsiteX196" fmla="*/ 3168 w 10000"/>
              <a:gd name="connsiteY196" fmla="*/ 7598 h 10000"/>
              <a:gd name="connsiteX197" fmla="*/ 3168 w 10000"/>
              <a:gd name="connsiteY197" fmla="*/ 7675 h 10000"/>
              <a:gd name="connsiteX198" fmla="*/ 3213 w 10000"/>
              <a:gd name="connsiteY198" fmla="*/ 7675 h 10000"/>
              <a:gd name="connsiteX199" fmla="*/ 3303 w 10000"/>
              <a:gd name="connsiteY199" fmla="*/ 7752 h 10000"/>
              <a:gd name="connsiteX200" fmla="*/ 3303 w 10000"/>
              <a:gd name="connsiteY200" fmla="*/ 7830 h 10000"/>
              <a:gd name="connsiteX201" fmla="*/ 3394 w 10000"/>
              <a:gd name="connsiteY201" fmla="*/ 7830 h 10000"/>
              <a:gd name="connsiteX202" fmla="*/ 3484 w 10000"/>
              <a:gd name="connsiteY202" fmla="*/ 7675 h 10000"/>
              <a:gd name="connsiteX203" fmla="*/ 3575 w 10000"/>
              <a:gd name="connsiteY203" fmla="*/ 7598 h 10000"/>
              <a:gd name="connsiteX204" fmla="*/ 3622 w 10000"/>
              <a:gd name="connsiteY204" fmla="*/ 7830 h 10000"/>
              <a:gd name="connsiteX205" fmla="*/ 3801 w 10000"/>
              <a:gd name="connsiteY205" fmla="*/ 8372 h 10000"/>
              <a:gd name="connsiteX206" fmla="*/ 3847 w 10000"/>
              <a:gd name="connsiteY206" fmla="*/ 8217 h 10000"/>
              <a:gd name="connsiteX207" fmla="*/ 3893 w 10000"/>
              <a:gd name="connsiteY207" fmla="*/ 8372 h 10000"/>
              <a:gd name="connsiteX208" fmla="*/ 4028 w 10000"/>
              <a:gd name="connsiteY208" fmla="*/ 8295 h 10000"/>
              <a:gd name="connsiteX209" fmla="*/ 4165 w 10000"/>
              <a:gd name="connsiteY209" fmla="*/ 8528 h 10000"/>
              <a:gd name="connsiteX210" fmla="*/ 4254 w 10000"/>
              <a:gd name="connsiteY210" fmla="*/ 8605 h 10000"/>
              <a:gd name="connsiteX211" fmla="*/ 4254 w 10000"/>
              <a:gd name="connsiteY211" fmla="*/ 8528 h 10000"/>
              <a:gd name="connsiteX212" fmla="*/ 4299 w 10000"/>
              <a:gd name="connsiteY212" fmla="*/ 8683 h 10000"/>
              <a:gd name="connsiteX213" fmla="*/ 4254 w 10000"/>
              <a:gd name="connsiteY213" fmla="*/ 8760 h 10000"/>
              <a:gd name="connsiteX214" fmla="*/ 4345 w 10000"/>
              <a:gd name="connsiteY214" fmla="*/ 8683 h 10000"/>
              <a:gd name="connsiteX215" fmla="*/ 4389 w 10000"/>
              <a:gd name="connsiteY215" fmla="*/ 8605 h 10000"/>
              <a:gd name="connsiteX216" fmla="*/ 4616 w 10000"/>
              <a:gd name="connsiteY216" fmla="*/ 8372 h 10000"/>
              <a:gd name="connsiteX217" fmla="*/ 4796 w 10000"/>
              <a:gd name="connsiteY217" fmla="*/ 8449 h 10000"/>
              <a:gd name="connsiteX218" fmla="*/ 4886 w 10000"/>
              <a:gd name="connsiteY218" fmla="*/ 8528 h 10000"/>
              <a:gd name="connsiteX219" fmla="*/ 5066 w 10000"/>
              <a:gd name="connsiteY219" fmla="*/ 8528 h 10000"/>
              <a:gd name="connsiteX220" fmla="*/ 5066 w 10000"/>
              <a:gd name="connsiteY220" fmla="*/ 8372 h 10000"/>
              <a:gd name="connsiteX221" fmla="*/ 5066 w 10000"/>
              <a:gd name="connsiteY221" fmla="*/ 8217 h 10000"/>
              <a:gd name="connsiteX222" fmla="*/ 5158 w 10000"/>
              <a:gd name="connsiteY222" fmla="*/ 8140 h 10000"/>
              <a:gd name="connsiteX223" fmla="*/ 5339 w 10000"/>
              <a:gd name="connsiteY223" fmla="*/ 8217 h 10000"/>
              <a:gd name="connsiteX224" fmla="*/ 5429 w 10000"/>
              <a:gd name="connsiteY224" fmla="*/ 8449 h 10000"/>
              <a:gd name="connsiteX225" fmla="*/ 5476 w 10000"/>
              <a:gd name="connsiteY225" fmla="*/ 8449 h 10000"/>
              <a:gd name="connsiteX226" fmla="*/ 5566 w 10000"/>
              <a:gd name="connsiteY226" fmla="*/ 8372 h 10000"/>
              <a:gd name="connsiteX227" fmla="*/ 5841 w 10000"/>
              <a:gd name="connsiteY227" fmla="*/ 8605 h 10000"/>
              <a:gd name="connsiteX228" fmla="*/ 5975 w 10000"/>
              <a:gd name="connsiteY228" fmla="*/ 8683 h 10000"/>
              <a:gd name="connsiteX229" fmla="*/ 6155 w 10000"/>
              <a:gd name="connsiteY229" fmla="*/ 8605 h 10000"/>
              <a:gd name="connsiteX230" fmla="*/ 6244 w 10000"/>
              <a:gd name="connsiteY230" fmla="*/ 8449 h 10000"/>
              <a:gd name="connsiteX231" fmla="*/ 6380 w 10000"/>
              <a:gd name="connsiteY231" fmla="*/ 8528 h 10000"/>
              <a:gd name="connsiteX232" fmla="*/ 6471 w 10000"/>
              <a:gd name="connsiteY232" fmla="*/ 8605 h 10000"/>
              <a:gd name="connsiteX233" fmla="*/ 8009 w 10000"/>
              <a:gd name="connsiteY233" fmla="*/ 7675 h 10000"/>
              <a:gd name="connsiteX234" fmla="*/ 7920 w 10000"/>
              <a:gd name="connsiteY234" fmla="*/ 7675 h 10000"/>
              <a:gd name="connsiteX235" fmla="*/ 7875 w 10000"/>
              <a:gd name="connsiteY235" fmla="*/ 7675 h 10000"/>
              <a:gd name="connsiteX236" fmla="*/ 7828 w 10000"/>
              <a:gd name="connsiteY236" fmla="*/ 7598 h 10000"/>
              <a:gd name="connsiteX237" fmla="*/ 7740 w 10000"/>
              <a:gd name="connsiteY237" fmla="*/ 7598 h 10000"/>
              <a:gd name="connsiteX238" fmla="*/ 7740 w 10000"/>
              <a:gd name="connsiteY238" fmla="*/ 7520 h 10000"/>
              <a:gd name="connsiteX239" fmla="*/ 7875 w 10000"/>
              <a:gd name="connsiteY239" fmla="*/ 7287 h 10000"/>
              <a:gd name="connsiteX240" fmla="*/ 8285 w 10000"/>
              <a:gd name="connsiteY240" fmla="*/ 6590 h 10000"/>
              <a:gd name="connsiteX241" fmla="*/ 8462 w 10000"/>
              <a:gd name="connsiteY241" fmla="*/ 6512 h 10000"/>
              <a:gd name="connsiteX242" fmla="*/ 8506 w 10000"/>
              <a:gd name="connsiteY242" fmla="*/ 6590 h 10000"/>
              <a:gd name="connsiteX243" fmla="*/ 8554 w 10000"/>
              <a:gd name="connsiteY243" fmla="*/ 6512 h 10000"/>
              <a:gd name="connsiteX244" fmla="*/ 8686 w 10000"/>
              <a:gd name="connsiteY244" fmla="*/ 6590 h 10000"/>
              <a:gd name="connsiteX245" fmla="*/ 8737 w 10000"/>
              <a:gd name="connsiteY245" fmla="*/ 6434 h 10000"/>
              <a:gd name="connsiteX246" fmla="*/ 8869 w 10000"/>
              <a:gd name="connsiteY246" fmla="*/ 6512 h 10000"/>
              <a:gd name="connsiteX247" fmla="*/ 8914 w 10000"/>
              <a:gd name="connsiteY247" fmla="*/ 6512 h 10000"/>
              <a:gd name="connsiteX248" fmla="*/ 8869 w 10000"/>
              <a:gd name="connsiteY248" fmla="*/ 6590 h 10000"/>
              <a:gd name="connsiteX249" fmla="*/ 8869 w 10000"/>
              <a:gd name="connsiteY249" fmla="*/ 6667 h 10000"/>
              <a:gd name="connsiteX250" fmla="*/ 9140 w 10000"/>
              <a:gd name="connsiteY250" fmla="*/ 6590 h 10000"/>
              <a:gd name="connsiteX251" fmla="*/ 9095 w 10000"/>
              <a:gd name="connsiteY251" fmla="*/ 6512 h 10000"/>
              <a:gd name="connsiteX252" fmla="*/ 9279 w 10000"/>
              <a:gd name="connsiteY252" fmla="*/ 5969 h 10000"/>
              <a:gd name="connsiteX253" fmla="*/ 9501 w 10000"/>
              <a:gd name="connsiteY253" fmla="*/ 5892 h 10000"/>
              <a:gd name="connsiteX254" fmla="*/ 9501 w 10000"/>
              <a:gd name="connsiteY254" fmla="*/ 6047 h 10000"/>
              <a:gd name="connsiteX255" fmla="*/ 9501 w 10000"/>
              <a:gd name="connsiteY255" fmla="*/ 6202 h 10000"/>
              <a:gd name="connsiteX256" fmla="*/ 9729 w 10000"/>
              <a:gd name="connsiteY256" fmla="*/ 5969 h 10000"/>
              <a:gd name="connsiteX257" fmla="*/ 9729 w 10000"/>
              <a:gd name="connsiteY257" fmla="*/ 5737 h 10000"/>
              <a:gd name="connsiteX258" fmla="*/ 9821 w 10000"/>
              <a:gd name="connsiteY258" fmla="*/ 5737 h 10000"/>
              <a:gd name="connsiteX259" fmla="*/ 9771 w 10000"/>
              <a:gd name="connsiteY259" fmla="*/ 5814 h 10000"/>
              <a:gd name="connsiteX260" fmla="*/ 9729 w 10000"/>
              <a:gd name="connsiteY260" fmla="*/ 6202 h 10000"/>
              <a:gd name="connsiteX261" fmla="*/ 9638 w 10000"/>
              <a:gd name="connsiteY261" fmla="*/ 6279 h 10000"/>
              <a:gd name="connsiteX262" fmla="*/ 9729 w 10000"/>
              <a:gd name="connsiteY262" fmla="*/ 6590 h 10000"/>
              <a:gd name="connsiteX263" fmla="*/ 9729 w 10000"/>
              <a:gd name="connsiteY263" fmla="*/ 6434 h 10000"/>
              <a:gd name="connsiteX264" fmla="*/ 9821 w 10000"/>
              <a:gd name="connsiteY264" fmla="*/ 6434 h 10000"/>
              <a:gd name="connsiteX265" fmla="*/ 9957 w 10000"/>
              <a:gd name="connsiteY265" fmla="*/ 6279 h 10000"/>
              <a:gd name="connsiteX266" fmla="*/ 9957 w 10000"/>
              <a:gd name="connsiteY266" fmla="*/ 6434 h 10000"/>
              <a:gd name="connsiteX267" fmla="*/ 10000 w 10000"/>
              <a:gd name="connsiteY267" fmla="*/ 6356 h 10000"/>
              <a:gd name="connsiteX268" fmla="*/ 9550 w 10000"/>
              <a:gd name="connsiteY268" fmla="*/ 3566 h 10000"/>
              <a:gd name="connsiteX269" fmla="*/ 9457 w 10000"/>
              <a:gd name="connsiteY269" fmla="*/ 3488 h 10000"/>
              <a:gd name="connsiteX270" fmla="*/ 9501 w 10000"/>
              <a:gd name="connsiteY270" fmla="*/ 3333 h 10000"/>
              <a:gd name="connsiteX271" fmla="*/ 9411 w 10000"/>
              <a:gd name="connsiteY271" fmla="*/ 3101 h 10000"/>
              <a:gd name="connsiteX272" fmla="*/ 9229 w 10000"/>
              <a:gd name="connsiteY272" fmla="*/ 3023 h 10000"/>
              <a:gd name="connsiteX273" fmla="*/ 8961 w 10000"/>
              <a:gd name="connsiteY273" fmla="*/ 3178 h 10000"/>
              <a:gd name="connsiteX274" fmla="*/ 8914 w 10000"/>
              <a:gd name="connsiteY274" fmla="*/ 2946 h 10000"/>
              <a:gd name="connsiteX275" fmla="*/ 8825 w 10000"/>
              <a:gd name="connsiteY275" fmla="*/ 2946 h 10000"/>
              <a:gd name="connsiteX276" fmla="*/ 8779 w 10000"/>
              <a:gd name="connsiteY276" fmla="*/ 2868 h 10000"/>
              <a:gd name="connsiteX277" fmla="*/ 8779 w 10000"/>
              <a:gd name="connsiteY277" fmla="*/ 2636 h 10000"/>
              <a:gd name="connsiteX278" fmla="*/ 8462 w 10000"/>
              <a:gd name="connsiteY278" fmla="*/ 2480 h 10000"/>
              <a:gd name="connsiteX279" fmla="*/ 8101 w 10000"/>
              <a:gd name="connsiteY279" fmla="*/ 2325 h 10000"/>
              <a:gd name="connsiteX280" fmla="*/ 8009 w 10000"/>
              <a:gd name="connsiteY280" fmla="*/ 2636 h 10000"/>
              <a:gd name="connsiteX281" fmla="*/ 8101 w 10000"/>
              <a:gd name="connsiteY281" fmla="*/ 2868 h 10000"/>
              <a:gd name="connsiteX282" fmla="*/ 7828 w 10000"/>
              <a:gd name="connsiteY282" fmla="*/ 2868 h 10000"/>
              <a:gd name="connsiteX283" fmla="*/ 7782 w 10000"/>
              <a:gd name="connsiteY283" fmla="*/ 2868 h 10000"/>
              <a:gd name="connsiteX284" fmla="*/ 7692 w 10000"/>
              <a:gd name="connsiteY284" fmla="*/ 2946 h 10000"/>
              <a:gd name="connsiteX285" fmla="*/ 7557 w 10000"/>
              <a:gd name="connsiteY285" fmla="*/ 2714 h 10000"/>
              <a:gd name="connsiteX286" fmla="*/ 7465 w 10000"/>
              <a:gd name="connsiteY286" fmla="*/ 3178 h 10000"/>
              <a:gd name="connsiteX287" fmla="*/ 7378 w 10000"/>
              <a:gd name="connsiteY287" fmla="*/ 3101 h 10000"/>
              <a:gd name="connsiteX288" fmla="*/ 7285 w 10000"/>
              <a:gd name="connsiteY288" fmla="*/ 2791 h 10000"/>
              <a:gd name="connsiteX289" fmla="*/ 7332 w 10000"/>
              <a:gd name="connsiteY289" fmla="*/ 2403 h 10000"/>
              <a:gd name="connsiteX290" fmla="*/ 7241 w 10000"/>
              <a:gd name="connsiteY290" fmla="*/ 2170 h 10000"/>
              <a:gd name="connsiteX291" fmla="*/ 6969 w 10000"/>
              <a:gd name="connsiteY291" fmla="*/ 2016 h 10000"/>
              <a:gd name="connsiteX292" fmla="*/ 6876 w 10000"/>
              <a:gd name="connsiteY292" fmla="*/ 2016 h 10000"/>
              <a:gd name="connsiteX293" fmla="*/ 6833 w 10000"/>
              <a:gd name="connsiteY293" fmla="*/ 2170 h 10000"/>
              <a:gd name="connsiteX294" fmla="*/ 6876 w 10000"/>
              <a:gd name="connsiteY294" fmla="*/ 2325 h 10000"/>
              <a:gd name="connsiteX295" fmla="*/ 6520 w 10000"/>
              <a:gd name="connsiteY295" fmla="*/ 2248 h 10000"/>
              <a:gd name="connsiteX296" fmla="*/ 6561 w 10000"/>
              <a:gd name="connsiteY296" fmla="*/ 2016 h 10000"/>
              <a:gd name="connsiteX297" fmla="*/ 6337 w 10000"/>
              <a:gd name="connsiteY297" fmla="*/ 1938 h 10000"/>
              <a:gd name="connsiteX298" fmla="*/ 6200 w 10000"/>
              <a:gd name="connsiteY298" fmla="*/ 2093 h 10000"/>
              <a:gd name="connsiteX299" fmla="*/ 5934 w 10000"/>
              <a:gd name="connsiteY299" fmla="*/ 1861 h 10000"/>
              <a:gd name="connsiteX0" fmla="*/ 5934 w 10000"/>
              <a:gd name="connsiteY0" fmla="*/ 1861 h 10000"/>
              <a:gd name="connsiteX1" fmla="*/ 5934 w 10000"/>
              <a:gd name="connsiteY1" fmla="*/ 1861 h 10000"/>
              <a:gd name="connsiteX2" fmla="*/ 5883 w 10000"/>
              <a:gd name="connsiteY2" fmla="*/ 1938 h 10000"/>
              <a:gd name="connsiteX3" fmla="*/ 5934 w 10000"/>
              <a:gd name="connsiteY3" fmla="*/ 2093 h 10000"/>
              <a:gd name="connsiteX4" fmla="*/ 5746 w 10000"/>
              <a:gd name="connsiteY4" fmla="*/ 2248 h 10000"/>
              <a:gd name="connsiteX5" fmla="*/ 5699 w 10000"/>
              <a:gd name="connsiteY5" fmla="*/ 2248 h 10000"/>
              <a:gd name="connsiteX6" fmla="*/ 5746 w 10000"/>
              <a:gd name="connsiteY6" fmla="*/ 2016 h 10000"/>
              <a:gd name="connsiteX7" fmla="*/ 6200 w 10000"/>
              <a:gd name="connsiteY7" fmla="*/ 1318 h 10000"/>
              <a:gd name="connsiteX8" fmla="*/ 6200 w 10000"/>
              <a:gd name="connsiteY8" fmla="*/ 853 h 10000"/>
              <a:gd name="connsiteX9" fmla="*/ 6019 w 10000"/>
              <a:gd name="connsiteY9" fmla="*/ 543 h 10000"/>
              <a:gd name="connsiteX10" fmla="*/ 5793 w 10000"/>
              <a:gd name="connsiteY10" fmla="*/ 543 h 10000"/>
              <a:gd name="connsiteX11" fmla="*/ 5793 w 10000"/>
              <a:gd name="connsiteY11" fmla="*/ 698 h 10000"/>
              <a:gd name="connsiteX12" fmla="*/ 5655 w 10000"/>
              <a:gd name="connsiteY12" fmla="*/ 698 h 10000"/>
              <a:gd name="connsiteX13" fmla="*/ 5746 w 10000"/>
              <a:gd name="connsiteY13" fmla="*/ 387 h 10000"/>
              <a:gd name="connsiteX14" fmla="*/ 5522 w 10000"/>
              <a:gd name="connsiteY14" fmla="*/ 310 h 10000"/>
              <a:gd name="connsiteX15" fmla="*/ 5655 w 10000"/>
              <a:gd name="connsiteY15" fmla="*/ 155 h 10000"/>
              <a:gd name="connsiteX16" fmla="*/ 5522 w 10000"/>
              <a:gd name="connsiteY16" fmla="*/ 0 h 10000"/>
              <a:gd name="connsiteX17" fmla="*/ 5295 w 10000"/>
              <a:gd name="connsiteY17" fmla="*/ 387 h 10000"/>
              <a:gd name="connsiteX18" fmla="*/ 5295 w 10000"/>
              <a:gd name="connsiteY18" fmla="*/ 698 h 10000"/>
              <a:gd name="connsiteX19" fmla="*/ 5158 w 10000"/>
              <a:gd name="connsiteY19" fmla="*/ 698 h 10000"/>
              <a:gd name="connsiteX20" fmla="*/ 4752 w 10000"/>
              <a:gd name="connsiteY20" fmla="*/ 853 h 10000"/>
              <a:gd name="connsiteX21" fmla="*/ 4389 w 10000"/>
              <a:gd name="connsiteY21" fmla="*/ 1240 h 10000"/>
              <a:gd name="connsiteX22" fmla="*/ 4254 w 10000"/>
              <a:gd name="connsiteY22" fmla="*/ 1551 h 10000"/>
              <a:gd name="connsiteX23" fmla="*/ 4299 w 10000"/>
              <a:gd name="connsiteY23" fmla="*/ 1938 h 10000"/>
              <a:gd name="connsiteX24" fmla="*/ 3801 w 10000"/>
              <a:gd name="connsiteY24" fmla="*/ 2093 h 10000"/>
              <a:gd name="connsiteX25" fmla="*/ 3847 w 10000"/>
              <a:gd name="connsiteY25" fmla="*/ 2559 h 10000"/>
              <a:gd name="connsiteX26" fmla="*/ 3984 w 10000"/>
              <a:gd name="connsiteY26" fmla="*/ 2791 h 10000"/>
              <a:gd name="connsiteX27" fmla="*/ 3893 w 10000"/>
              <a:gd name="connsiteY27" fmla="*/ 2868 h 10000"/>
              <a:gd name="connsiteX28" fmla="*/ 3757 w 10000"/>
              <a:gd name="connsiteY28" fmla="*/ 2559 h 10000"/>
              <a:gd name="connsiteX29" fmla="*/ 3622 w 10000"/>
              <a:gd name="connsiteY29" fmla="*/ 2480 h 10000"/>
              <a:gd name="connsiteX30" fmla="*/ 3575 w 10000"/>
              <a:gd name="connsiteY30" fmla="*/ 2559 h 10000"/>
              <a:gd name="connsiteX31" fmla="*/ 3484 w 10000"/>
              <a:gd name="connsiteY31" fmla="*/ 2403 h 10000"/>
              <a:gd name="connsiteX32" fmla="*/ 3394 w 10000"/>
              <a:gd name="connsiteY32" fmla="*/ 2248 h 10000"/>
              <a:gd name="connsiteX33" fmla="*/ 3394 w 10000"/>
              <a:gd name="connsiteY33" fmla="*/ 2325 h 10000"/>
              <a:gd name="connsiteX34" fmla="*/ 3442 w 10000"/>
              <a:gd name="connsiteY34" fmla="*/ 2559 h 10000"/>
              <a:gd name="connsiteX35" fmla="*/ 3303 w 10000"/>
              <a:gd name="connsiteY35" fmla="*/ 2946 h 10000"/>
              <a:gd name="connsiteX36" fmla="*/ 3394 w 10000"/>
              <a:gd name="connsiteY36" fmla="*/ 3256 h 10000"/>
              <a:gd name="connsiteX37" fmla="*/ 3346 w 10000"/>
              <a:gd name="connsiteY37" fmla="*/ 3566 h 10000"/>
              <a:gd name="connsiteX38" fmla="*/ 3346 w 10000"/>
              <a:gd name="connsiteY38" fmla="*/ 3799 h 10000"/>
              <a:gd name="connsiteX39" fmla="*/ 3484 w 10000"/>
              <a:gd name="connsiteY39" fmla="*/ 3799 h 10000"/>
              <a:gd name="connsiteX40" fmla="*/ 3394 w 10000"/>
              <a:gd name="connsiteY40" fmla="*/ 3876 h 10000"/>
              <a:gd name="connsiteX41" fmla="*/ 3442 w 10000"/>
              <a:gd name="connsiteY41" fmla="*/ 4263 h 10000"/>
              <a:gd name="connsiteX42" fmla="*/ 3168 w 10000"/>
              <a:gd name="connsiteY42" fmla="*/ 4652 h 10000"/>
              <a:gd name="connsiteX43" fmla="*/ 3121 w 10000"/>
              <a:gd name="connsiteY43" fmla="*/ 4574 h 10000"/>
              <a:gd name="connsiteX44" fmla="*/ 3303 w 10000"/>
              <a:gd name="connsiteY44" fmla="*/ 4186 h 10000"/>
              <a:gd name="connsiteX45" fmla="*/ 3346 w 10000"/>
              <a:gd name="connsiteY45" fmla="*/ 3954 h 10000"/>
              <a:gd name="connsiteX46" fmla="*/ 3253 w 10000"/>
              <a:gd name="connsiteY46" fmla="*/ 3799 h 10000"/>
              <a:gd name="connsiteX47" fmla="*/ 3253 w 10000"/>
              <a:gd name="connsiteY47" fmla="*/ 3023 h 10000"/>
              <a:gd name="connsiteX48" fmla="*/ 3213 w 10000"/>
              <a:gd name="connsiteY48" fmla="*/ 2868 h 10000"/>
              <a:gd name="connsiteX49" fmla="*/ 3253 w 10000"/>
              <a:gd name="connsiteY49" fmla="*/ 2403 h 10000"/>
              <a:gd name="connsiteX50" fmla="*/ 3168 w 10000"/>
              <a:gd name="connsiteY50" fmla="*/ 2325 h 10000"/>
              <a:gd name="connsiteX51" fmla="*/ 3213 w 10000"/>
              <a:gd name="connsiteY51" fmla="*/ 2248 h 10000"/>
              <a:gd name="connsiteX52" fmla="*/ 3168 w 10000"/>
              <a:gd name="connsiteY52" fmla="*/ 2093 h 10000"/>
              <a:gd name="connsiteX53" fmla="*/ 3074 w 10000"/>
              <a:gd name="connsiteY53" fmla="*/ 2170 h 10000"/>
              <a:gd name="connsiteX54" fmla="*/ 2850 w 10000"/>
              <a:gd name="connsiteY54" fmla="*/ 3178 h 10000"/>
              <a:gd name="connsiteX55" fmla="*/ 2850 w 10000"/>
              <a:gd name="connsiteY55" fmla="*/ 3566 h 10000"/>
              <a:gd name="connsiteX56" fmla="*/ 2985 w 10000"/>
              <a:gd name="connsiteY56" fmla="*/ 3876 h 10000"/>
              <a:gd name="connsiteX57" fmla="*/ 2985 w 10000"/>
              <a:gd name="connsiteY57" fmla="*/ 4031 h 10000"/>
              <a:gd name="connsiteX58" fmla="*/ 2850 w 10000"/>
              <a:gd name="connsiteY58" fmla="*/ 3876 h 10000"/>
              <a:gd name="connsiteX59" fmla="*/ 2310 w 10000"/>
              <a:gd name="connsiteY59" fmla="*/ 3256 h 10000"/>
              <a:gd name="connsiteX60" fmla="*/ 2262 w 10000"/>
              <a:gd name="connsiteY60" fmla="*/ 3411 h 10000"/>
              <a:gd name="connsiteX61" fmla="*/ 2444 w 10000"/>
              <a:gd name="connsiteY61" fmla="*/ 3799 h 10000"/>
              <a:gd name="connsiteX62" fmla="*/ 2352 w 10000"/>
              <a:gd name="connsiteY62" fmla="*/ 3876 h 10000"/>
              <a:gd name="connsiteX63" fmla="*/ 2310 w 10000"/>
              <a:gd name="connsiteY63" fmla="*/ 3799 h 10000"/>
              <a:gd name="connsiteX64" fmla="*/ 2038 w 10000"/>
              <a:gd name="connsiteY64" fmla="*/ 3954 h 10000"/>
              <a:gd name="connsiteX65" fmla="*/ 1992 w 10000"/>
              <a:gd name="connsiteY65" fmla="*/ 4109 h 10000"/>
              <a:gd name="connsiteX66" fmla="*/ 1947 w 10000"/>
              <a:gd name="connsiteY66" fmla="*/ 3954 h 10000"/>
              <a:gd name="connsiteX67" fmla="*/ 1947 w 10000"/>
              <a:gd name="connsiteY67" fmla="*/ 3799 h 10000"/>
              <a:gd name="connsiteX68" fmla="*/ 1492 w 10000"/>
              <a:gd name="connsiteY68" fmla="*/ 4263 h 10000"/>
              <a:gd name="connsiteX69" fmla="*/ 1492 w 10000"/>
              <a:gd name="connsiteY69" fmla="*/ 4418 h 10000"/>
              <a:gd name="connsiteX70" fmla="*/ 1405 w 10000"/>
              <a:gd name="connsiteY70" fmla="*/ 4496 h 10000"/>
              <a:gd name="connsiteX71" fmla="*/ 1266 w 10000"/>
              <a:gd name="connsiteY71" fmla="*/ 4341 h 10000"/>
              <a:gd name="connsiteX72" fmla="*/ 1405 w 10000"/>
              <a:gd name="connsiteY72" fmla="*/ 4186 h 10000"/>
              <a:gd name="connsiteX73" fmla="*/ 1358 w 10000"/>
              <a:gd name="connsiteY73" fmla="*/ 3954 h 10000"/>
              <a:gd name="connsiteX74" fmla="*/ 1178 w 10000"/>
              <a:gd name="connsiteY74" fmla="*/ 3876 h 10000"/>
              <a:gd name="connsiteX75" fmla="*/ 1224 w 10000"/>
              <a:gd name="connsiteY75" fmla="*/ 4031 h 10000"/>
              <a:gd name="connsiteX76" fmla="*/ 1224 w 10000"/>
              <a:gd name="connsiteY76" fmla="*/ 4418 h 10000"/>
              <a:gd name="connsiteX77" fmla="*/ 1266 w 10000"/>
              <a:gd name="connsiteY77" fmla="*/ 4574 h 10000"/>
              <a:gd name="connsiteX78" fmla="*/ 1224 w 10000"/>
              <a:gd name="connsiteY78" fmla="*/ 4729 h 10000"/>
              <a:gd name="connsiteX79" fmla="*/ 1085 w 10000"/>
              <a:gd name="connsiteY79" fmla="*/ 4652 h 10000"/>
              <a:gd name="connsiteX80" fmla="*/ 904 w 10000"/>
              <a:gd name="connsiteY80" fmla="*/ 4884 h 10000"/>
              <a:gd name="connsiteX81" fmla="*/ 994 w 10000"/>
              <a:gd name="connsiteY81" fmla="*/ 5194 h 10000"/>
              <a:gd name="connsiteX82" fmla="*/ 723 w 10000"/>
              <a:gd name="connsiteY82" fmla="*/ 5039 h 10000"/>
              <a:gd name="connsiteX83" fmla="*/ 679 w 10000"/>
              <a:gd name="connsiteY83" fmla="*/ 5116 h 10000"/>
              <a:gd name="connsiteX84" fmla="*/ 770 w 10000"/>
              <a:gd name="connsiteY84" fmla="*/ 5349 h 10000"/>
              <a:gd name="connsiteX85" fmla="*/ 679 w 10000"/>
              <a:gd name="connsiteY85" fmla="*/ 5349 h 10000"/>
              <a:gd name="connsiteX86" fmla="*/ 544 w 10000"/>
              <a:gd name="connsiteY86" fmla="*/ 5194 h 10000"/>
              <a:gd name="connsiteX87" fmla="*/ 544 w 10000"/>
              <a:gd name="connsiteY87" fmla="*/ 4729 h 10000"/>
              <a:gd name="connsiteX88" fmla="*/ 410 w 10000"/>
              <a:gd name="connsiteY88" fmla="*/ 4574 h 10000"/>
              <a:gd name="connsiteX89" fmla="*/ 362 w 10000"/>
              <a:gd name="connsiteY89" fmla="*/ 4418 h 10000"/>
              <a:gd name="connsiteX90" fmla="*/ 453 w 10000"/>
              <a:gd name="connsiteY90" fmla="*/ 4496 h 10000"/>
              <a:gd name="connsiteX91" fmla="*/ 813 w 10000"/>
              <a:gd name="connsiteY91" fmla="*/ 4729 h 10000"/>
              <a:gd name="connsiteX92" fmla="*/ 1039 w 10000"/>
              <a:gd name="connsiteY92" fmla="*/ 4496 h 10000"/>
              <a:gd name="connsiteX93" fmla="*/ 994 w 10000"/>
              <a:gd name="connsiteY93" fmla="*/ 4263 h 10000"/>
              <a:gd name="connsiteX94" fmla="*/ 723 w 10000"/>
              <a:gd name="connsiteY94" fmla="*/ 3799 h 10000"/>
              <a:gd name="connsiteX95" fmla="*/ 453 w 10000"/>
              <a:gd name="connsiteY95" fmla="*/ 3644 h 10000"/>
              <a:gd name="connsiteX96" fmla="*/ 453 w 10000"/>
              <a:gd name="connsiteY96" fmla="*/ 3566 h 10000"/>
              <a:gd name="connsiteX97" fmla="*/ 362 w 10000"/>
              <a:gd name="connsiteY97" fmla="*/ 3488 h 10000"/>
              <a:gd name="connsiteX98" fmla="*/ 269 w 10000"/>
              <a:gd name="connsiteY98" fmla="*/ 3566 h 10000"/>
              <a:gd name="connsiteX99" fmla="*/ 269 w 10000"/>
              <a:gd name="connsiteY99" fmla="*/ 3644 h 10000"/>
              <a:gd name="connsiteX100" fmla="*/ 227 w 10000"/>
              <a:gd name="connsiteY100" fmla="*/ 3644 h 10000"/>
              <a:gd name="connsiteX101" fmla="*/ 135 w 10000"/>
              <a:gd name="connsiteY101" fmla="*/ 3799 h 10000"/>
              <a:gd name="connsiteX102" fmla="*/ 135 w 10000"/>
              <a:gd name="connsiteY102" fmla="*/ 4031 h 10000"/>
              <a:gd name="connsiteX103" fmla="*/ 227 w 10000"/>
              <a:gd name="connsiteY103" fmla="*/ 4186 h 10000"/>
              <a:gd name="connsiteX104" fmla="*/ 180 w 10000"/>
              <a:gd name="connsiteY104" fmla="*/ 4418 h 10000"/>
              <a:gd name="connsiteX105" fmla="*/ 227 w 10000"/>
              <a:gd name="connsiteY105" fmla="*/ 4807 h 10000"/>
              <a:gd name="connsiteX106" fmla="*/ 180 w 10000"/>
              <a:gd name="connsiteY106" fmla="*/ 5039 h 10000"/>
              <a:gd name="connsiteX107" fmla="*/ 269 w 10000"/>
              <a:gd name="connsiteY107" fmla="*/ 5271 h 10000"/>
              <a:gd name="connsiteX108" fmla="*/ 227 w 10000"/>
              <a:gd name="connsiteY108" fmla="*/ 5426 h 10000"/>
              <a:gd name="connsiteX109" fmla="*/ 316 w 10000"/>
              <a:gd name="connsiteY109" fmla="*/ 5582 h 10000"/>
              <a:gd name="connsiteX110" fmla="*/ 316 w 10000"/>
              <a:gd name="connsiteY110" fmla="*/ 5659 h 10000"/>
              <a:gd name="connsiteX111" fmla="*/ 180 w 10000"/>
              <a:gd name="connsiteY111" fmla="*/ 6047 h 10000"/>
              <a:gd name="connsiteX112" fmla="*/ 42 w 10000"/>
              <a:gd name="connsiteY112" fmla="*/ 6202 h 10000"/>
              <a:gd name="connsiteX113" fmla="*/ 90 w 10000"/>
              <a:gd name="connsiteY113" fmla="*/ 6202 h 10000"/>
              <a:gd name="connsiteX114" fmla="*/ 180 w 10000"/>
              <a:gd name="connsiteY114" fmla="*/ 6356 h 10000"/>
              <a:gd name="connsiteX115" fmla="*/ 90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90 w 10000"/>
              <a:gd name="connsiteY122" fmla="*/ 7209 h 10000"/>
              <a:gd name="connsiteX123" fmla="*/ 227 w 10000"/>
              <a:gd name="connsiteY123" fmla="*/ 7287 h 10000"/>
              <a:gd name="connsiteX124" fmla="*/ 269 w 10000"/>
              <a:gd name="connsiteY124" fmla="*/ 7364 h 10000"/>
              <a:gd name="connsiteX125" fmla="*/ 269 w 10000"/>
              <a:gd name="connsiteY125" fmla="*/ 7520 h 10000"/>
              <a:gd name="connsiteX126" fmla="*/ 362 w 10000"/>
              <a:gd name="connsiteY126" fmla="*/ 7752 h 10000"/>
              <a:gd name="connsiteX127" fmla="*/ 410 w 10000"/>
              <a:gd name="connsiteY127" fmla="*/ 7752 h 10000"/>
              <a:gd name="connsiteX128" fmla="*/ 362 w 10000"/>
              <a:gd name="connsiteY128" fmla="*/ 7907 h 10000"/>
              <a:gd name="connsiteX129" fmla="*/ 316 w 10000"/>
              <a:gd name="connsiteY129" fmla="*/ 7830 h 10000"/>
              <a:gd name="connsiteX130" fmla="*/ 316 w 10000"/>
              <a:gd name="connsiteY130" fmla="*/ 7907 h 10000"/>
              <a:gd name="connsiteX131" fmla="*/ 362 w 10000"/>
              <a:gd name="connsiteY131" fmla="*/ 8062 h 10000"/>
              <a:gd name="connsiteX132" fmla="*/ 499 w 10000"/>
              <a:gd name="connsiteY132" fmla="*/ 8062 h 10000"/>
              <a:gd name="connsiteX133" fmla="*/ 544 w 10000"/>
              <a:gd name="connsiteY133" fmla="*/ 8140 h 10000"/>
              <a:gd name="connsiteX134" fmla="*/ 499 w 10000"/>
              <a:gd name="connsiteY134" fmla="*/ 8140 h 10000"/>
              <a:gd name="connsiteX135" fmla="*/ 544 w 10000"/>
              <a:gd name="connsiteY135" fmla="*/ 8217 h 10000"/>
              <a:gd name="connsiteX136" fmla="*/ 587 w 10000"/>
              <a:gd name="connsiteY136" fmla="*/ 8217 h 10000"/>
              <a:gd name="connsiteX137" fmla="*/ 633 w 10000"/>
              <a:gd name="connsiteY137" fmla="*/ 8372 h 10000"/>
              <a:gd name="connsiteX138" fmla="*/ 679 w 10000"/>
              <a:gd name="connsiteY138" fmla="*/ 8449 h 10000"/>
              <a:gd name="connsiteX139" fmla="*/ 723 w 10000"/>
              <a:gd name="connsiteY139" fmla="*/ 8372 h 10000"/>
              <a:gd name="connsiteX140" fmla="*/ 952 w 10000"/>
              <a:gd name="connsiteY140" fmla="*/ 8605 h 10000"/>
              <a:gd name="connsiteX141" fmla="*/ 904 w 10000"/>
              <a:gd name="connsiteY141" fmla="*/ 8915 h 10000"/>
              <a:gd name="connsiteX142" fmla="*/ 858 w 10000"/>
              <a:gd name="connsiteY142" fmla="*/ 8838 h 10000"/>
              <a:gd name="connsiteX143" fmla="*/ 813 w 10000"/>
              <a:gd name="connsiteY143" fmla="*/ 8915 h 10000"/>
              <a:gd name="connsiteX144" fmla="*/ 813 w 10000"/>
              <a:gd name="connsiteY144" fmla="*/ 9070 h 10000"/>
              <a:gd name="connsiteX145" fmla="*/ 858 w 10000"/>
              <a:gd name="connsiteY145" fmla="*/ 8993 h 10000"/>
              <a:gd name="connsiteX146" fmla="*/ 904 w 10000"/>
              <a:gd name="connsiteY146" fmla="*/ 9070 h 10000"/>
              <a:gd name="connsiteX147" fmla="*/ 770 w 10000"/>
              <a:gd name="connsiteY147" fmla="*/ 9147 h 10000"/>
              <a:gd name="connsiteX148" fmla="*/ 813 w 10000"/>
              <a:gd name="connsiteY148" fmla="*/ 9225 h 10000"/>
              <a:gd name="connsiteX149" fmla="*/ 723 w 10000"/>
              <a:gd name="connsiteY149" fmla="*/ 9380 h 10000"/>
              <a:gd name="connsiteX150" fmla="*/ 679 w 10000"/>
              <a:gd name="connsiteY150" fmla="*/ 9380 h 10000"/>
              <a:gd name="connsiteX151" fmla="*/ 723 w 10000"/>
              <a:gd name="connsiteY151" fmla="*/ 9380 h 10000"/>
              <a:gd name="connsiteX152" fmla="*/ 904 w 10000"/>
              <a:gd name="connsiteY152" fmla="*/ 9691 h 10000"/>
              <a:gd name="connsiteX153" fmla="*/ 1132 w 10000"/>
              <a:gd name="connsiteY153" fmla="*/ 9691 h 10000"/>
              <a:gd name="connsiteX154" fmla="*/ 1224 w 10000"/>
              <a:gd name="connsiteY154" fmla="*/ 9768 h 10000"/>
              <a:gd name="connsiteX155" fmla="*/ 1312 w 10000"/>
              <a:gd name="connsiteY155" fmla="*/ 9768 h 10000"/>
              <a:gd name="connsiteX156" fmla="*/ 1405 w 10000"/>
              <a:gd name="connsiteY156" fmla="*/ 9923 h 10000"/>
              <a:gd name="connsiteX157" fmla="*/ 1448 w 10000"/>
              <a:gd name="connsiteY157" fmla="*/ 10000 h 10000"/>
              <a:gd name="connsiteX158" fmla="*/ 1492 w 10000"/>
              <a:gd name="connsiteY158" fmla="*/ 10000 h 10000"/>
              <a:gd name="connsiteX159" fmla="*/ 1540 w 10000"/>
              <a:gd name="connsiteY159" fmla="*/ 9923 h 10000"/>
              <a:gd name="connsiteX160" fmla="*/ 1448 w 10000"/>
              <a:gd name="connsiteY160" fmla="*/ 9768 h 10000"/>
              <a:gd name="connsiteX161" fmla="*/ 1448 w 10000"/>
              <a:gd name="connsiteY161" fmla="*/ 9613 h 10000"/>
              <a:gd name="connsiteX162" fmla="*/ 1405 w 10000"/>
              <a:gd name="connsiteY162" fmla="*/ 9457 h 10000"/>
              <a:gd name="connsiteX163" fmla="*/ 1492 w 10000"/>
              <a:gd name="connsiteY163" fmla="*/ 9225 h 10000"/>
              <a:gd name="connsiteX164" fmla="*/ 1540 w 10000"/>
              <a:gd name="connsiteY164" fmla="*/ 9302 h 10000"/>
              <a:gd name="connsiteX165" fmla="*/ 1584 w 10000"/>
              <a:gd name="connsiteY165" fmla="*/ 9225 h 10000"/>
              <a:gd name="connsiteX166" fmla="*/ 1584 w 10000"/>
              <a:gd name="connsiteY166" fmla="*/ 9147 h 10000"/>
              <a:gd name="connsiteX167" fmla="*/ 1540 w 10000"/>
              <a:gd name="connsiteY167" fmla="*/ 9147 h 10000"/>
              <a:gd name="connsiteX168" fmla="*/ 1584 w 10000"/>
              <a:gd name="connsiteY168" fmla="*/ 9070 h 10000"/>
              <a:gd name="connsiteX169" fmla="*/ 1540 w 10000"/>
              <a:gd name="connsiteY169" fmla="*/ 8915 h 10000"/>
              <a:gd name="connsiteX170" fmla="*/ 1448 w 10000"/>
              <a:gd name="connsiteY170" fmla="*/ 8915 h 10000"/>
              <a:gd name="connsiteX171" fmla="*/ 1405 w 10000"/>
              <a:gd name="connsiteY171" fmla="*/ 8760 h 10000"/>
              <a:gd name="connsiteX172" fmla="*/ 1448 w 10000"/>
              <a:gd name="connsiteY172" fmla="*/ 8372 h 10000"/>
              <a:gd name="connsiteX173" fmla="*/ 1540 w 10000"/>
              <a:gd name="connsiteY173" fmla="*/ 8528 h 10000"/>
              <a:gd name="connsiteX174" fmla="*/ 1584 w 10000"/>
              <a:gd name="connsiteY174" fmla="*/ 8528 h 10000"/>
              <a:gd name="connsiteX175" fmla="*/ 1540 w 10000"/>
              <a:gd name="connsiteY175" fmla="*/ 8372 h 10000"/>
              <a:gd name="connsiteX176" fmla="*/ 1675 w 10000"/>
              <a:gd name="connsiteY176" fmla="*/ 8140 h 10000"/>
              <a:gd name="connsiteX177" fmla="*/ 1767 w 10000"/>
              <a:gd name="connsiteY177" fmla="*/ 8217 h 10000"/>
              <a:gd name="connsiteX178" fmla="*/ 1809 w 10000"/>
              <a:gd name="connsiteY178" fmla="*/ 8140 h 10000"/>
              <a:gd name="connsiteX179" fmla="*/ 1900 w 10000"/>
              <a:gd name="connsiteY179" fmla="*/ 8217 h 10000"/>
              <a:gd name="connsiteX180" fmla="*/ 2038 w 10000"/>
              <a:gd name="connsiteY180" fmla="*/ 8372 h 10000"/>
              <a:gd name="connsiteX181" fmla="*/ 2127 w 10000"/>
              <a:gd name="connsiteY181" fmla="*/ 8295 h 10000"/>
              <a:gd name="connsiteX182" fmla="*/ 2218 w 10000"/>
              <a:gd name="connsiteY182" fmla="*/ 8295 h 10000"/>
              <a:gd name="connsiteX183" fmla="*/ 2262 w 10000"/>
              <a:gd name="connsiteY183" fmla="*/ 8372 h 10000"/>
              <a:gd name="connsiteX184" fmla="*/ 2444 w 10000"/>
              <a:gd name="connsiteY184" fmla="*/ 8372 h 10000"/>
              <a:gd name="connsiteX185" fmla="*/ 2487 w 10000"/>
              <a:gd name="connsiteY185" fmla="*/ 8217 h 10000"/>
              <a:gd name="connsiteX186" fmla="*/ 2352 w 10000"/>
              <a:gd name="connsiteY186" fmla="*/ 8140 h 10000"/>
              <a:gd name="connsiteX187" fmla="*/ 2444 w 10000"/>
              <a:gd name="connsiteY187" fmla="*/ 8062 h 10000"/>
              <a:gd name="connsiteX188" fmla="*/ 2397 w 10000"/>
              <a:gd name="connsiteY188" fmla="*/ 7985 h 10000"/>
              <a:gd name="connsiteX189" fmla="*/ 2444 w 10000"/>
              <a:gd name="connsiteY189" fmla="*/ 7907 h 10000"/>
              <a:gd name="connsiteX190" fmla="*/ 2444 w 10000"/>
              <a:gd name="connsiteY190" fmla="*/ 7675 h 10000"/>
              <a:gd name="connsiteX191" fmla="*/ 2533 w 10000"/>
              <a:gd name="connsiteY191" fmla="*/ 7752 h 10000"/>
              <a:gd name="connsiteX192" fmla="*/ 2942 w 10000"/>
              <a:gd name="connsiteY192" fmla="*/ 7520 h 10000"/>
              <a:gd name="connsiteX193" fmla="*/ 2942 w 10000"/>
              <a:gd name="connsiteY193" fmla="*/ 7442 h 10000"/>
              <a:gd name="connsiteX194" fmla="*/ 2985 w 10000"/>
              <a:gd name="connsiteY194" fmla="*/ 7442 h 10000"/>
              <a:gd name="connsiteX195" fmla="*/ 3121 w 10000"/>
              <a:gd name="connsiteY195" fmla="*/ 7442 h 10000"/>
              <a:gd name="connsiteX196" fmla="*/ 3168 w 10000"/>
              <a:gd name="connsiteY196" fmla="*/ 7598 h 10000"/>
              <a:gd name="connsiteX197" fmla="*/ 3168 w 10000"/>
              <a:gd name="connsiteY197" fmla="*/ 7675 h 10000"/>
              <a:gd name="connsiteX198" fmla="*/ 3213 w 10000"/>
              <a:gd name="connsiteY198" fmla="*/ 7675 h 10000"/>
              <a:gd name="connsiteX199" fmla="*/ 3303 w 10000"/>
              <a:gd name="connsiteY199" fmla="*/ 7752 h 10000"/>
              <a:gd name="connsiteX200" fmla="*/ 3303 w 10000"/>
              <a:gd name="connsiteY200" fmla="*/ 7830 h 10000"/>
              <a:gd name="connsiteX201" fmla="*/ 3394 w 10000"/>
              <a:gd name="connsiteY201" fmla="*/ 7830 h 10000"/>
              <a:gd name="connsiteX202" fmla="*/ 3484 w 10000"/>
              <a:gd name="connsiteY202" fmla="*/ 7675 h 10000"/>
              <a:gd name="connsiteX203" fmla="*/ 3575 w 10000"/>
              <a:gd name="connsiteY203" fmla="*/ 7598 h 10000"/>
              <a:gd name="connsiteX204" fmla="*/ 3622 w 10000"/>
              <a:gd name="connsiteY204" fmla="*/ 7830 h 10000"/>
              <a:gd name="connsiteX205" fmla="*/ 3801 w 10000"/>
              <a:gd name="connsiteY205" fmla="*/ 8372 h 10000"/>
              <a:gd name="connsiteX206" fmla="*/ 3847 w 10000"/>
              <a:gd name="connsiteY206" fmla="*/ 8217 h 10000"/>
              <a:gd name="connsiteX207" fmla="*/ 3893 w 10000"/>
              <a:gd name="connsiteY207" fmla="*/ 8372 h 10000"/>
              <a:gd name="connsiteX208" fmla="*/ 4028 w 10000"/>
              <a:gd name="connsiteY208" fmla="*/ 8295 h 10000"/>
              <a:gd name="connsiteX209" fmla="*/ 4165 w 10000"/>
              <a:gd name="connsiteY209" fmla="*/ 8528 h 10000"/>
              <a:gd name="connsiteX210" fmla="*/ 4254 w 10000"/>
              <a:gd name="connsiteY210" fmla="*/ 8605 h 10000"/>
              <a:gd name="connsiteX211" fmla="*/ 4254 w 10000"/>
              <a:gd name="connsiteY211" fmla="*/ 8528 h 10000"/>
              <a:gd name="connsiteX212" fmla="*/ 4299 w 10000"/>
              <a:gd name="connsiteY212" fmla="*/ 8683 h 10000"/>
              <a:gd name="connsiteX213" fmla="*/ 4254 w 10000"/>
              <a:gd name="connsiteY213" fmla="*/ 8760 h 10000"/>
              <a:gd name="connsiteX214" fmla="*/ 4345 w 10000"/>
              <a:gd name="connsiteY214" fmla="*/ 8683 h 10000"/>
              <a:gd name="connsiteX215" fmla="*/ 4389 w 10000"/>
              <a:gd name="connsiteY215" fmla="*/ 8605 h 10000"/>
              <a:gd name="connsiteX216" fmla="*/ 4616 w 10000"/>
              <a:gd name="connsiteY216" fmla="*/ 8372 h 10000"/>
              <a:gd name="connsiteX217" fmla="*/ 4796 w 10000"/>
              <a:gd name="connsiteY217" fmla="*/ 8449 h 10000"/>
              <a:gd name="connsiteX218" fmla="*/ 4886 w 10000"/>
              <a:gd name="connsiteY218" fmla="*/ 8528 h 10000"/>
              <a:gd name="connsiteX219" fmla="*/ 5066 w 10000"/>
              <a:gd name="connsiteY219" fmla="*/ 8528 h 10000"/>
              <a:gd name="connsiteX220" fmla="*/ 5066 w 10000"/>
              <a:gd name="connsiteY220" fmla="*/ 8372 h 10000"/>
              <a:gd name="connsiteX221" fmla="*/ 5066 w 10000"/>
              <a:gd name="connsiteY221" fmla="*/ 8217 h 10000"/>
              <a:gd name="connsiteX222" fmla="*/ 5158 w 10000"/>
              <a:gd name="connsiteY222" fmla="*/ 8140 h 10000"/>
              <a:gd name="connsiteX223" fmla="*/ 5339 w 10000"/>
              <a:gd name="connsiteY223" fmla="*/ 8217 h 10000"/>
              <a:gd name="connsiteX224" fmla="*/ 5429 w 10000"/>
              <a:gd name="connsiteY224" fmla="*/ 8449 h 10000"/>
              <a:gd name="connsiteX225" fmla="*/ 5476 w 10000"/>
              <a:gd name="connsiteY225" fmla="*/ 8449 h 10000"/>
              <a:gd name="connsiteX226" fmla="*/ 5566 w 10000"/>
              <a:gd name="connsiteY226" fmla="*/ 8372 h 10000"/>
              <a:gd name="connsiteX227" fmla="*/ 5841 w 10000"/>
              <a:gd name="connsiteY227" fmla="*/ 8605 h 10000"/>
              <a:gd name="connsiteX228" fmla="*/ 5975 w 10000"/>
              <a:gd name="connsiteY228" fmla="*/ 8683 h 10000"/>
              <a:gd name="connsiteX229" fmla="*/ 6155 w 10000"/>
              <a:gd name="connsiteY229" fmla="*/ 8605 h 10000"/>
              <a:gd name="connsiteX230" fmla="*/ 6244 w 10000"/>
              <a:gd name="connsiteY230" fmla="*/ 8449 h 10000"/>
              <a:gd name="connsiteX231" fmla="*/ 6380 w 10000"/>
              <a:gd name="connsiteY231" fmla="*/ 8528 h 10000"/>
              <a:gd name="connsiteX232" fmla="*/ 6471 w 10000"/>
              <a:gd name="connsiteY232" fmla="*/ 8605 h 10000"/>
              <a:gd name="connsiteX233" fmla="*/ 8009 w 10000"/>
              <a:gd name="connsiteY233" fmla="*/ 7675 h 10000"/>
              <a:gd name="connsiteX234" fmla="*/ 7920 w 10000"/>
              <a:gd name="connsiteY234" fmla="*/ 7675 h 10000"/>
              <a:gd name="connsiteX235" fmla="*/ 7875 w 10000"/>
              <a:gd name="connsiteY235" fmla="*/ 7675 h 10000"/>
              <a:gd name="connsiteX236" fmla="*/ 7828 w 10000"/>
              <a:gd name="connsiteY236" fmla="*/ 7598 h 10000"/>
              <a:gd name="connsiteX237" fmla="*/ 7740 w 10000"/>
              <a:gd name="connsiteY237" fmla="*/ 7598 h 10000"/>
              <a:gd name="connsiteX238" fmla="*/ 7740 w 10000"/>
              <a:gd name="connsiteY238" fmla="*/ 7520 h 10000"/>
              <a:gd name="connsiteX239" fmla="*/ 7875 w 10000"/>
              <a:gd name="connsiteY239" fmla="*/ 7287 h 10000"/>
              <a:gd name="connsiteX240" fmla="*/ 8285 w 10000"/>
              <a:gd name="connsiteY240" fmla="*/ 6590 h 10000"/>
              <a:gd name="connsiteX241" fmla="*/ 8462 w 10000"/>
              <a:gd name="connsiteY241" fmla="*/ 6512 h 10000"/>
              <a:gd name="connsiteX242" fmla="*/ 8506 w 10000"/>
              <a:gd name="connsiteY242" fmla="*/ 6590 h 10000"/>
              <a:gd name="connsiteX243" fmla="*/ 8554 w 10000"/>
              <a:gd name="connsiteY243" fmla="*/ 6512 h 10000"/>
              <a:gd name="connsiteX244" fmla="*/ 8686 w 10000"/>
              <a:gd name="connsiteY244" fmla="*/ 6590 h 10000"/>
              <a:gd name="connsiteX245" fmla="*/ 8737 w 10000"/>
              <a:gd name="connsiteY245" fmla="*/ 6434 h 10000"/>
              <a:gd name="connsiteX246" fmla="*/ 8869 w 10000"/>
              <a:gd name="connsiteY246" fmla="*/ 6512 h 10000"/>
              <a:gd name="connsiteX247" fmla="*/ 8914 w 10000"/>
              <a:gd name="connsiteY247" fmla="*/ 6512 h 10000"/>
              <a:gd name="connsiteX248" fmla="*/ 8869 w 10000"/>
              <a:gd name="connsiteY248" fmla="*/ 6590 h 10000"/>
              <a:gd name="connsiteX249" fmla="*/ 8869 w 10000"/>
              <a:gd name="connsiteY249" fmla="*/ 6667 h 10000"/>
              <a:gd name="connsiteX250" fmla="*/ 9140 w 10000"/>
              <a:gd name="connsiteY250" fmla="*/ 6590 h 10000"/>
              <a:gd name="connsiteX251" fmla="*/ 9095 w 10000"/>
              <a:gd name="connsiteY251" fmla="*/ 6512 h 10000"/>
              <a:gd name="connsiteX252" fmla="*/ 9279 w 10000"/>
              <a:gd name="connsiteY252" fmla="*/ 5969 h 10000"/>
              <a:gd name="connsiteX253" fmla="*/ 9501 w 10000"/>
              <a:gd name="connsiteY253" fmla="*/ 5892 h 10000"/>
              <a:gd name="connsiteX254" fmla="*/ 9501 w 10000"/>
              <a:gd name="connsiteY254" fmla="*/ 6047 h 10000"/>
              <a:gd name="connsiteX255" fmla="*/ 9501 w 10000"/>
              <a:gd name="connsiteY255" fmla="*/ 6202 h 10000"/>
              <a:gd name="connsiteX256" fmla="*/ 9729 w 10000"/>
              <a:gd name="connsiteY256" fmla="*/ 5969 h 10000"/>
              <a:gd name="connsiteX257" fmla="*/ 9729 w 10000"/>
              <a:gd name="connsiteY257" fmla="*/ 5737 h 10000"/>
              <a:gd name="connsiteX258" fmla="*/ 9771 w 10000"/>
              <a:gd name="connsiteY258" fmla="*/ 5814 h 10000"/>
              <a:gd name="connsiteX259" fmla="*/ 9729 w 10000"/>
              <a:gd name="connsiteY259" fmla="*/ 6202 h 10000"/>
              <a:gd name="connsiteX260" fmla="*/ 9638 w 10000"/>
              <a:gd name="connsiteY260" fmla="*/ 6279 h 10000"/>
              <a:gd name="connsiteX261" fmla="*/ 9729 w 10000"/>
              <a:gd name="connsiteY261" fmla="*/ 6590 h 10000"/>
              <a:gd name="connsiteX262" fmla="*/ 9729 w 10000"/>
              <a:gd name="connsiteY262" fmla="*/ 6434 h 10000"/>
              <a:gd name="connsiteX263" fmla="*/ 9821 w 10000"/>
              <a:gd name="connsiteY263" fmla="*/ 6434 h 10000"/>
              <a:gd name="connsiteX264" fmla="*/ 9957 w 10000"/>
              <a:gd name="connsiteY264" fmla="*/ 6279 h 10000"/>
              <a:gd name="connsiteX265" fmla="*/ 9957 w 10000"/>
              <a:gd name="connsiteY265" fmla="*/ 6434 h 10000"/>
              <a:gd name="connsiteX266" fmla="*/ 10000 w 10000"/>
              <a:gd name="connsiteY266" fmla="*/ 6356 h 10000"/>
              <a:gd name="connsiteX267" fmla="*/ 9550 w 10000"/>
              <a:gd name="connsiteY267" fmla="*/ 3566 h 10000"/>
              <a:gd name="connsiteX268" fmla="*/ 9457 w 10000"/>
              <a:gd name="connsiteY268" fmla="*/ 3488 h 10000"/>
              <a:gd name="connsiteX269" fmla="*/ 9501 w 10000"/>
              <a:gd name="connsiteY269" fmla="*/ 3333 h 10000"/>
              <a:gd name="connsiteX270" fmla="*/ 9411 w 10000"/>
              <a:gd name="connsiteY270" fmla="*/ 3101 h 10000"/>
              <a:gd name="connsiteX271" fmla="*/ 9229 w 10000"/>
              <a:gd name="connsiteY271" fmla="*/ 3023 h 10000"/>
              <a:gd name="connsiteX272" fmla="*/ 8961 w 10000"/>
              <a:gd name="connsiteY272" fmla="*/ 3178 h 10000"/>
              <a:gd name="connsiteX273" fmla="*/ 8914 w 10000"/>
              <a:gd name="connsiteY273" fmla="*/ 2946 h 10000"/>
              <a:gd name="connsiteX274" fmla="*/ 8825 w 10000"/>
              <a:gd name="connsiteY274" fmla="*/ 2946 h 10000"/>
              <a:gd name="connsiteX275" fmla="*/ 8779 w 10000"/>
              <a:gd name="connsiteY275" fmla="*/ 2868 h 10000"/>
              <a:gd name="connsiteX276" fmla="*/ 8779 w 10000"/>
              <a:gd name="connsiteY276" fmla="*/ 2636 h 10000"/>
              <a:gd name="connsiteX277" fmla="*/ 8462 w 10000"/>
              <a:gd name="connsiteY277" fmla="*/ 2480 h 10000"/>
              <a:gd name="connsiteX278" fmla="*/ 8101 w 10000"/>
              <a:gd name="connsiteY278" fmla="*/ 2325 h 10000"/>
              <a:gd name="connsiteX279" fmla="*/ 8009 w 10000"/>
              <a:gd name="connsiteY279" fmla="*/ 2636 h 10000"/>
              <a:gd name="connsiteX280" fmla="*/ 8101 w 10000"/>
              <a:gd name="connsiteY280" fmla="*/ 2868 h 10000"/>
              <a:gd name="connsiteX281" fmla="*/ 7828 w 10000"/>
              <a:gd name="connsiteY281" fmla="*/ 2868 h 10000"/>
              <a:gd name="connsiteX282" fmla="*/ 7782 w 10000"/>
              <a:gd name="connsiteY282" fmla="*/ 2868 h 10000"/>
              <a:gd name="connsiteX283" fmla="*/ 7692 w 10000"/>
              <a:gd name="connsiteY283" fmla="*/ 2946 h 10000"/>
              <a:gd name="connsiteX284" fmla="*/ 7557 w 10000"/>
              <a:gd name="connsiteY284" fmla="*/ 2714 h 10000"/>
              <a:gd name="connsiteX285" fmla="*/ 7465 w 10000"/>
              <a:gd name="connsiteY285" fmla="*/ 3178 h 10000"/>
              <a:gd name="connsiteX286" fmla="*/ 7378 w 10000"/>
              <a:gd name="connsiteY286" fmla="*/ 3101 h 10000"/>
              <a:gd name="connsiteX287" fmla="*/ 7285 w 10000"/>
              <a:gd name="connsiteY287" fmla="*/ 2791 h 10000"/>
              <a:gd name="connsiteX288" fmla="*/ 7332 w 10000"/>
              <a:gd name="connsiteY288" fmla="*/ 2403 h 10000"/>
              <a:gd name="connsiteX289" fmla="*/ 7241 w 10000"/>
              <a:gd name="connsiteY289" fmla="*/ 2170 h 10000"/>
              <a:gd name="connsiteX290" fmla="*/ 6969 w 10000"/>
              <a:gd name="connsiteY290" fmla="*/ 2016 h 10000"/>
              <a:gd name="connsiteX291" fmla="*/ 6876 w 10000"/>
              <a:gd name="connsiteY291" fmla="*/ 2016 h 10000"/>
              <a:gd name="connsiteX292" fmla="*/ 6833 w 10000"/>
              <a:gd name="connsiteY292" fmla="*/ 2170 h 10000"/>
              <a:gd name="connsiteX293" fmla="*/ 6876 w 10000"/>
              <a:gd name="connsiteY293" fmla="*/ 2325 h 10000"/>
              <a:gd name="connsiteX294" fmla="*/ 6520 w 10000"/>
              <a:gd name="connsiteY294" fmla="*/ 2248 h 10000"/>
              <a:gd name="connsiteX295" fmla="*/ 6561 w 10000"/>
              <a:gd name="connsiteY295" fmla="*/ 2016 h 10000"/>
              <a:gd name="connsiteX296" fmla="*/ 6337 w 10000"/>
              <a:gd name="connsiteY296" fmla="*/ 1938 h 10000"/>
              <a:gd name="connsiteX297" fmla="*/ 6200 w 10000"/>
              <a:gd name="connsiteY297" fmla="*/ 2093 h 10000"/>
              <a:gd name="connsiteX298" fmla="*/ 5934 w 10000"/>
              <a:gd name="connsiteY298" fmla="*/ 1861 h 10000"/>
              <a:gd name="connsiteX0" fmla="*/ 5934 w 10000"/>
              <a:gd name="connsiteY0" fmla="*/ 1861 h 10000"/>
              <a:gd name="connsiteX1" fmla="*/ 5934 w 10000"/>
              <a:gd name="connsiteY1" fmla="*/ 1861 h 10000"/>
              <a:gd name="connsiteX2" fmla="*/ 5883 w 10000"/>
              <a:gd name="connsiteY2" fmla="*/ 1938 h 10000"/>
              <a:gd name="connsiteX3" fmla="*/ 5934 w 10000"/>
              <a:gd name="connsiteY3" fmla="*/ 2093 h 10000"/>
              <a:gd name="connsiteX4" fmla="*/ 5746 w 10000"/>
              <a:gd name="connsiteY4" fmla="*/ 2248 h 10000"/>
              <a:gd name="connsiteX5" fmla="*/ 5699 w 10000"/>
              <a:gd name="connsiteY5" fmla="*/ 2248 h 10000"/>
              <a:gd name="connsiteX6" fmla="*/ 5746 w 10000"/>
              <a:gd name="connsiteY6" fmla="*/ 2016 h 10000"/>
              <a:gd name="connsiteX7" fmla="*/ 6200 w 10000"/>
              <a:gd name="connsiteY7" fmla="*/ 1318 h 10000"/>
              <a:gd name="connsiteX8" fmla="*/ 6200 w 10000"/>
              <a:gd name="connsiteY8" fmla="*/ 853 h 10000"/>
              <a:gd name="connsiteX9" fmla="*/ 6019 w 10000"/>
              <a:gd name="connsiteY9" fmla="*/ 543 h 10000"/>
              <a:gd name="connsiteX10" fmla="*/ 5793 w 10000"/>
              <a:gd name="connsiteY10" fmla="*/ 543 h 10000"/>
              <a:gd name="connsiteX11" fmla="*/ 5793 w 10000"/>
              <a:gd name="connsiteY11" fmla="*/ 698 h 10000"/>
              <a:gd name="connsiteX12" fmla="*/ 5655 w 10000"/>
              <a:gd name="connsiteY12" fmla="*/ 698 h 10000"/>
              <a:gd name="connsiteX13" fmla="*/ 5746 w 10000"/>
              <a:gd name="connsiteY13" fmla="*/ 387 h 10000"/>
              <a:gd name="connsiteX14" fmla="*/ 5522 w 10000"/>
              <a:gd name="connsiteY14" fmla="*/ 310 h 10000"/>
              <a:gd name="connsiteX15" fmla="*/ 5655 w 10000"/>
              <a:gd name="connsiteY15" fmla="*/ 155 h 10000"/>
              <a:gd name="connsiteX16" fmla="*/ 5522 w 10000"/>
              <a:gd name="connsiteY16" fmla="*/ 0 h 10000"/>
              <a:gd name="connsiteX17" fmla="*/ 5295 w 10000"/>
              <a:gd name="connsiteY17" fmla="*/ 387 h 10000"/>
              <a:gd name="connsiteX18" fmla="*/ 5295 w 10000"/>
              <a:gd name="connsiteY18" fmla="*/ 698 h 10000"/>
              <a:gd name="connsiteX19" fmla="*/ 5158 w 10000"/>
              <a:gd name="connsiteY19" fmla="*/ 698 h 10000"/>
              <a:gd name="connsiteX20" fmla="*/ 4752 w 10000"/>
              <a:gd name="connsiteY20" fmla="*/ 853 h 10000"/>
              <a:gd name="connsiteX21" fmla="*/ 4389 w 10000"/>
              <a:gd name="connsiteY21" fmla="*/ 1240 h 10000"/>
              <a:gd name="connsiteX22" fmla="*/ 4254 w 10000"/>
              <a:gd name="connsiteY22" fmla="*/ 1551 h 10000"/>
              <a:gd name="connsiteX23" fmla="*/ 4299 w 10000"/>
              <a:gd name="connsiteY23" fmla="*/ 1938 h 10000"/>
              <a:gd name="connsiteX24" fmla="*/ 3801 w 10000"/>
              <a:gd name="connsiteY24" fmla="*/ 2093 h 10000"/>
              <a:gd name="connsiteX25" fmla="*/ 3847 w 10000"/>
              <a:gd name="connsiteY25" fmla="*/ 2559 h 10000"/>
              <a:gd name="connsiteX26" fmla="*/ 3984 w 10000"/>
              <a:gd name="connsiteY26" fmla="*/ 2791 h 10000"/>
              <a:gd name="connsiteX27" fmla="*/ 3893 w 10000"/>
              <a:gd name="connsiteY27" fmla="*/ 2868 h 10000"/>
              <a:gd name="connsiteX28" fmla="*/ 3757 w 10000"/>
              <a:gd name="connsiteY28" fmla="*/ 2559 h 10000"/>
              <a:gd name="connsiteX29" fmla="*/ 3622 w 10000"/>
              <a:gd name="connsiteY29" fmla="*/ 2480 h 10000"/>
              <a:gd name="connsiteX30" fmla="*/ 3575 w 10000"/>
              <a:gd name="connsiteY30" fmla="*/ 2559 h 10000"/>
              <a:gd name="connsiteX31" fmla="*/ 3484 w 10000"/>
              <a:gd name="connsiteY31" fmla="*/ 2403 h 10000"/>
              <a:gd name="connsiteX32" fmla="*/ 3394 w 10000"/>
              <a:gd name="connsiteY32" fmla="*/ 2248 h 10000"/>
              <a:gd name="connsiteX33" fmla="*/ 3394 w 10000"/>
              <a:gd name="connsiteY33" fmla="*/ 2325 h 10000"/>
              <a:gd name="connsiteX34" fmla="*/ 3442 w 10000"/>
              <a:gd name="connsiteY34" fmla="*/ 2559 h 10000"/>
              <a:gd name="connsiteX35" fmla="*/ 3303 w 10000"/>
              <a:gd name="connsiteY35" fmla="*/ 2946 h 10000"/>
              <a:gd name="connsiteX36" fmla="*/ 3394 w 10000"/>
              <a:gd name="connsiteY36" fmla="*/ 3256 h 10000"/>
              <a:gd name="connsiteX37" fmla="*/ 3346 w 10000"/>
              <a:gd name="connsiteY37" fmla="*/ 3566 h 10000"/>
              <a:gd name="connsiteX38" fmla="*/ 3346 w 10000"/>
              <a:gd name="connsiteY38" fmla="*/ 3799 h 10000"/>
              <a:gd name="connsiteX39" fmla="*/ 3484 w 10000"/>
              <a:gd name="connsiteY39" fmla="*/ 3799 h 10000"/>
              <a:gd name="connsiteX40" fmla="*/ 3394 w 10000"/>
              <a:gd name="connsiteY40" fmla="*/ 3876 h 10000"/>
              <a:gd name="connsiteX41" fmla="*/ 3442 w 10000"/>
              <a:gd name="connsiteY41" fmla="*/ 4263 h 10000"/>
              <a:gd name="connsiteX42" fmla="*/ 3168 w 10000"/>
              <a:gd name="connsiteY42" fmla="*/ 4652 h 10000"/>
              <a:gd name="connsiteX43" fmla="*/ 3121 w 10000"/>
              <a:gd name="connsiteY43" fmla="*/ 4574 h 10000"/>
              <a:gd name="connsiteX44" fmla="*/ 3303 w 10000"/>
              <a:gd name="connsiteY44" fmla="*/ 4186 h 10000"/>
              <a:gd name="connsiteX45" fmla="*/ 3346 w 10000"/>
              <a:gd name="connsiteY45" fmla="*/ 3954 h 10000"/>
              <a:gd name="connsiteX46" fmla="*/ 3253 w 10000"/>
              <a:gd name="connsiteY46" fmla="*/ 3799 h 10000"/>
              <a:gd name="connsiteX47" fmla="*/ 3253 w 10000"/>
              <a:gd name="connsiteY47" fmla="*/ 3023 h 10000"/>
              <a:gd name="connsiteX48" fmla="*/ 3213 w 10000"/>
              <a:gd name="connsiteY48" fmla="*/ 2868 h 10000"/>
              <a:gd name="connsiteX49" fmla="*/ 3253 w 10000"/>
              <a:gd name="connsiteY49" fmla="*/ 2403 h 10000"/>
              <a:gd name="connsiteX50" fmla="*/ 3168 w 10000"/>
              <a:gd name="connsiteY50" fmla="*/ 2325 h 10000"/>
              <a:gd name="connsiteX51" fmla="*/ 3213 w 10000"/>
              <a:gd name="connsiteY51" fmla="*/ 2248 h 10000"/>
              <a:gd name="connsiteX52" fmla="*/ 3168 w 10000"/>
              <a:gd name="connsiteY52" fmla="*/ 2093 h 10000"/>
              <a:gd name="connsiteX53" fmla="*/ 3074 w 10000"/>
              <a:gd name="connsiteY53" fmla="*/ 2170 h 10000"/>
              <a:gd name="connsiteX54" fmla="*/ 2850 w 10000"/>
              <a:gd name="connsiteY54" fmla="*/ 3178 h 10000"/>
              <a:gd name="connsiteX55" fmla="*/ 2850 w 10000"/>
              <a:gd name="connsiteY55" fmla="*/ 3566 h 10000"/>
              <a:gd name="connsiteX56" fmla="*/ 2985 w 10000"/>
              <a:gd name="connsiteY56" fmla="*/ 3876 h 10000"/>
              <a:gd name="connsiteX57" fmla="*/ 2985 w 10000"/>
              <a:gd name="connsiteY57" fmla="*/ 4031 h 10000"/>
              <a:gd name="connsiteX58" fmla="*/ 2850 w 10000"/>
              <a:gd name="connsiteY58" fmla="*/ 3876 h 10000"/>
              <a:gd name="connsiteX59" fmla="*/ 2310 w 10000"/>
              <a:gd name="connsiteY59" fmla="*/ 3256 h 10000"/>
              <a:gd name="connsiteX60" fmla="*/ 2262 w 10000"/>
              <a:gd name="connsiteY60" fmla="*/ 3411 h 10000"/>
              <a:gd name="connsiteX61" fmla="*/ 2444 w 10000"/>
              <a:gd name="connsiteY61" fmla="*/ 3799 h 10000"/>
              <a:gd name="connsiteX62" fmla="*/ 2352 w 10000"/>
              <a:gd name="connsiteY62" fmla="*/ 3876 h 10000"/>
              <a:gd name="connsiteX63" fmla="*/ 2310 w 10000"/>
              <a:gd name="connsiteY63" fmla="*/ 3799 h 10000"/>
              <a:gd name="connsiteX64" fmla="*/ 2038 w 10000"/>
              <a:gd name="connsiteY64" fmla="*/ 3954 h 10000"/>
              <a:gd name="connsiteX65" fmla="*/ 1992 w 10000"/>
              <a:gd name="connsiteY65" fmla="*/ 4109 h 10000"/>
              <a:gd name="connsiteX66" fmla="*/ 1947 w 10000"/>
              <a:gd name="connsiteY66" fmla="*/ 3954 h 10000"/>
              <a:gd name="connsiteX67" fmla="*/ 1947 w 10000"/>
              <a:gd name="connsiteY67" fmla="*/ 3799 h 10000"/>
              <a:gd name="connsiteX68" fmla="*/ 1492 w 10000"/>
              <a:gd name="connsiteY68" fmla="*/ 4263 h 10000"/>
              <a:gd name="connsiteX69" fmla="*/ 1492 w 10000"/>
              <a:gd name="connsiteY69" fmla="*/ 4418 h 10000"/>
              <a:gd name="connsiteX70" fmla="*/ 1405 w 10000"/>
              <a:gd name="connsiteY70" fmla="*/ 4496 h 10000"/>
              <a:gd name="connsiteX71" fmla="*/ 1266 w 10000"/>
              <a:gd name="connsiteY71" fmla="*/ 4341 h 10000"/>
              <a:gd name="connsiteX72" fmla="*/ 1405 w 10000"/>
              <a:gd name="connsiteY72" fmla="*/ 4186 h 10000"/>
              <a:gd name="connsiteX73" fmla="*/ 1358 w 10000"/>
              <a:gd name="connsiteY73" fmla="*/ 3954 h 10000"/>
              <a:gd name="connsiteX74" fmla="*/ 1178 w 10000"/>
              <a:gd name="connsiteY74" fmla="*/ 3876 h 10000"/>
              <a:gd name="connsiteX75" fmla="*/ 1224 w 10000"/>
              <a:gd name="connsiteY75" fmla="*/ 4031 h 10000"/>
              <a:gd name="connsiteX76" fmla="*/ 1224 w 10000"/>
              <a:gd name="connsiteY76" fmla="*/ 4418 h 10000"/>
              <a:gd name="connsiteX77" fmla="*/ 1266 w 10000"/>
              <a:gd name="connsiteY77" fmla="*/ 4574 h 10000"/>
              <a:gd name="connsiteX78" fmla="*/ 1224 w 10000"/>
              <a:gd name="connsiteY78" fmla="*/ 4729 h 10000"/>
              <a:gd name="connsiteX79" fmla="*/ 1085 w 10000"/>
              <a:gd name="connsiteY79" fmla="*/ 4652 h 10000"/>
              <a:gd name="connsiteX80" fmla="*/ 904 w 10000"/>
              <a:gd name="connsiteY80" fmla="*/ 4884 h 10000"/>
              <a:gd name="connsiteX81" fmla="*/ 994 w 10000"/>
              <a:gd name="connsiteY81" fmla="*/ 5194 h 10000"/>
              <a:gd name="connsiteX82" fmla="*/ 723 w 10000"/>
              <a:gd name="connsiteY82" fmla="*/ 5039 h 10000"/>
              <a:gd name="connsiteX83" fmla="*/ 679 w 10000"/>
              <a:gd name="connsiteY83" fmla="*/ 5116 h 10000"/>
              <a:gd name="connsiteX84" fmla="*/ 770 w 10000"/>
              <a:gd name="connsiteY84" fmla="*/ 5349 h 10000"/>
              <a:gd name="connsiteX85" fmla="*/ 679 w 10000"/>
              <a:gd name="connsiteY85" fmla="*/ 5349 h 10000"/>
              <a:gd name="connsiteX86" fmla="*/ 544 w 10000"/>
              <a:gd name="connsiteY86" fmla="*/ 5194 h 10000"/>
              <a:gd name="connsiteX87" fmla="*/ 544 w 10000"/>
              <a:gd name="connsiteY87" fmla="*/ 4729 h 10000"/>
              <a:gd name="connsiteX88" fmla="*/ 410 w 10000"/>
              <a:gd name="connsiteY88" fmla="*/ 4574 h 10000"/>
              <a:gd name="connsiteX89" fmla="*/ 362 w 10000"/>
              <a:gd name="connsiteY89" fmla="*/ 4418 h 10000"/>
              <a:gd name="connsiteX90" fmla="*/ 453 w 10000"/>
              <a:gd name="connsiteY90" fmla="*/ 4496 h 10000"/>
              <a:gd name="connsiteX91" fmla="*/ 813 w 10000"/>
              <a:gd name="connsiteY91" fmla="*/ 4729 h 10000"/>
              <a:gd name="connsiteX92" fmla="*/ 1039 w 10000"/>
              <a:gd name="connsiteY92" fmla="*/ 4496 h 10000"/>
              <a:gd name="connsiteX93" fmla="*/ 994 w 10000"/>
              <a:gd name="connsiteY93" fmla="*/ 4263 h 10000"/>
              <a:gd name="connsiteX94" fmla="*/ 723 w 10000"/>
              <a:gd name="connsiteY94" fmla="*/ 3799 h 10000"/>
              <a:gd name="connsiteX95" fmla="*/ 453 w 10000"/>
              <a:gd name="connsiteY95" fmla="*/ 3644 h 10000"/>
              <a:gd name="connsiteX96" fmla="*/ 453 w 10000"/>
              <a:gd name="connsiteY96" fmla="*/ 3566 h 10000"/>
              <a:gd name="connsiteX97" fmla="*/ 362 w 10000"/>
              <a:gd name="connsiteY97" fmla="*/ 3488 h 10000"/>
              <a:gd name="connsiteX98" fmla="*/ 269 w 10000"/>
              <a:gd name="connsiteY98" fmla="*/ 3566 h 10000"/>
              <a:gd name="connsiteX99" fmla="*/ 269 w 10000"/>
              <a:gd name="connsiteY99" fmla="*/ 3644 h 10000"/>
              <a:gd name="connsiteX100" fmla="*/ 227 w 10000"/>
              <a:gd name="connsiteY100" fmla="*/ 3644 h 10000"/>
              <a:gd name="connsiteX101" fmla="*/ 135 w 10000"/>
              <a:gd name="connsiteY101" fmla="*/ 3799 h 10000"/>
              <a:gd name="connsiteX102" fmla="*/ 135 w 10000"/>
              <a:gd name="connsiteY102" fmla="*/ 4031 h 10000"/>
              <a:gd name="connsiteX103" fmla="*/ 227 w 10000"/>
              <a:gd name="connsiteY103" fmla="*/ 4186 h 10000"/>
              <a:gd name="connsiteX104" fmla="*/ 180 w 10000"/>
              <a:gd name="connsiteY104" fmla="*/ 4418 h 10000"/>
              <a:gd name="connsiteX105" fmla="*/ 227 w 10000"/>
              <a:gd name="connsiteY105" fmla="*/ 4807 h 10000"/>
              <a:gd name="connsiteX106" fmla="*/ 180 w 10000"/>
              <a:gd name="connsiteY106" fmla="*/ 5039 h 10000"/>
              <a:gd name="connsiteX107" fmla="*/ 269 w 10000"/>
              <a:gd name="connsiteY107" fmla="*/ 5271 h 10000"/>
              <a:gd name="connsiteX108" fmla="*/ 227 w 10000"/>
              <a:gd name="connsiteY108" fmla="*/ 5426 h 10000"/>
              <a:gd name="connsiteX109" fmla="*/ 316 w 10000"/>
              <a:gd name="connsiteY109" fmla="*/ 5582 h 10000"/>
              <a:gd name="connsiteX110" fmla="*/ 316 w 10000"/>
              <a:gd name="connsiteY110" fmla="*/ 5659 h 10000"/>
              <a:gd name="connsiteX111" fmla="*/ 180 w 10000"/>
              <a:gd name="connsiteY111" fmla="*/ 6047 h 10000"/>
              <a:gd name="connsiteX112" fmla="*/ 42 w 10000"/>
              <a:gd name="connsiteY112" fmla="*/ 6202 h 10000"/>
              <a:gd name="connsiteX113" fmla="*/ 90 w 10000"/>
              <a:gd name="connsiteY113" fmla="*/ 6202 h 10000"/>
              <a:gd name="connsiteX114" fmla="*/ 180 w 10000"/>
              <a:gd name="connsiteY114" fmla="*/ 6356 h 10000"/>
              <a:gd name="connsiteX115" fmla="*/ 90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90 w 10000"/>
              <a:gd name="connsiteY122" fmla="*/ 7209 h 10000"/>
              <a:gd name="connsiteX123" fmla="*/ 227 w 10000"/>
              <a:gd name="connsiteY123" fmla="*/ 7287 h 10000"/>
              <a:gd name="connsiteX124" fmla="*/ 269 w 10000"/>
              <a:gd name="connsiteY124" fmla="*/ 7364 h 10000"/>
              <a:gd name="connsiteX125" fmla="*/ 269 w 10000"/>
              <a:gd name="connsiteY125" fmla="*/ 7520 h 10000"/>
              <a:gd name="connsiteX126" fmla="*/ 362 w 10000"/>
              <a:gd name="connsiteY126" fmla="*/ 7752 h 10000"/>
              <a:gd name="connsiteX127" fmla="*/ 410 w 10000"/>
              <a:gd name="connsiteY127" fmla="*/ 7752 h 10000"/>
              <a:gd name="connsiteX128" fmla="*/ 362 w 10000"/>
              <a:gd name="connsiteY128" fmla="*/ 7907 h 10000"/>
              <a:gd name="connsiteX129" fmla="*/ 316 w 10000"/>
              <a:gd name="connsiteY129" fmla="*/ 7830 h 10000"/>
              <a:gd name="connsiteX130" fmla="*/ 316 w 10000"/>
              <a:gd name="connsiteY130" fmla="*/ 7907 h 10000"/>
              <a:gd name="connsiteX131" fmla="*/ 362 w 10000"/>
              <a:gd name="connsiteY131" fmla="*/ 8062 h 10000"/>
              <a:gd name="connsiteX132" fmla="*/ 499 w 10000"/>
              <a:gd name="connsiteY132" fmla="*/ 8062 h 10000"/>
              <a:gd name="connsiteX133" fmla="*/ 544 w 10000"/>
              <a:gd name="connsiteY133" fmla="*/ 8140 h 10000"/>
              <a:gd name="connsiteX134" fmla="*/ 499 w 10000"/>
              <a:gd name="connsiteY134" fmla="*/ 8140 h 10000"/>
              <a:gd name="connsiteX135" fmla="*/ 544 w 10000"/>
              <a:gd name="connsiteY135" fmla="*/ 8217 h 10000"/>
              <a:gd name="connsiteX136" fmla="*/ 587 w 10000"/>
              <a:gd name="connsiteY136" fmla="*/ 8217 h 10000"/>
              <a:gd name="connsiteX137" fmla="*/ 633 w 10000"/>
              <a:gd name="connsiteY137" fmla="*/ 8372 h 10000"/>
              <a:gd name="connsiteX138" fmla="*/ 679 w 10000"/>
              <a:gd name="connsiteY138" fmla="*/ 8449 h 10000"/>
              <a:gd name="connsiteX139" fmla="*/ 723 w 10000"/>
              <a:gd name="connsiteY139" fmla="*/ 8372 h 10000"/>
              <a:gd name="connsiteX140" fmla="*/ 952 w 10000"/>
              <a:gd name="connsiteY140" fmla="*/ 8605 h 10000"/>
              <a:gd name="connsiteX141" fmla="*/ 904 w 10000"/>
              <a:gd name="connsiteY141" fmla="*/ 8915 h 10000"/>
              <a:gd name="connsiteX142" fmla="*/ 858 w 10000"/>
              <a:gd name="connsiteY142" fmla="*/ 8838 h 10000"/>
              <a:gd name="connsiteX143" fmla="*/ 813 w 10000"/>
              <a:gd name="connsiteY143" fmla="*/ 8915 h 10000"/>
              <a:gd name="connsiteX144" fmla="*/ 813 w 10000"/>
              <a:gd name="connsiteY144" fmla="*/ 9070 h 10000"/>
              <a:gd name="connsiteX145" fmla="*/ 858 w 10000"/>
              <a:gd name="connsiteY145" fmla="*/ 8993 h 10000"/>
              <a:gd name="connsiteX146" fmla="*/ 904 w 10000"/>
              <a:gd name="connsiteY146" fmla="*/ 9070 h 10000"/>
              <a:gd name="connsiteX147" fmla="*/ 770 w 10000"/>
              <a:gd name="connsiteY147" fmla="*/ 9147 h 10000"/>
              <a:gd name="connsiteX148" fmla="*/ 813 w 10000"/>
              <a:gd name="connsiteY148" fmla="*/ 9225 h 10000"/>
              <a:gd name="connsiteX149" fmla="*/ 723 w 10000"/>
              <a:gd name="connsiteY149" fmla="*/ 9380 h 10000"/>
              <a:gd name="connsiteX150" fmla="*/ 679 w 10000"/>
              <a:gd name="connsiteY150" fmla="*/ 9380 h 10000"/>
              <a:gd name="connsiteX151" fmla="*/ 723 w 10000"/>
              <a:gd name="connsiteY151" fmla="*/ 9380 h 10000"/>
              <a:gd name="connsiteX152" fmla="*/ 904 w 10000"/>
              <a:gd name="connsiteY152" fmla="*/ 9691 h 10000"/>
              <a:gd name="connsiteX153" fmla="*/ 1132 w 10000"/>
              <a:gd name="connsiteY153" fmla="*/ 9691 h 10000"/>
              <a:gd name="connsiteX154" fmla="*/ 1224 w 10000"/>
              <a:gd name="connsiteY154" fmla="*/ 9768 h 10000"/>
              <a:gd name="connsiteX155" fmla="*/ 1312 w 10000"/>
              <a:gd name="connsiteY155" fmla="*/ 9768 h 10000"/>
              <a:gd name="connsiteX156" fmla="*/ 1405 w 10000"/>
              <a:gd name="connsiteY156" fmla="*/ 9923 h 10000"/>
              <a:gd name="connsiteX157" fmla="*/ 1448 w 10000"/>
              <a:gd name="connsiteY157" fmla="*/ 10000 h 10000"/>
              <a:gd name="connsiteX158" fmla="*/ 1492 w 10000"/>
              <a:gd name="connsiteY158" fmla="*/ 10000 h 10000"/>
              <a:gd name="connsiteX159" fmla="*/ 1540 w 10000"/>
              <a:gd name="connsiteY159" fmla="*/ 9923 h 10000"/>
              <a:gd name="connsiteX160" fmla="*/ 1448 w 10000"/>
              <a:gd name="connsiteY160" fmla="*/ 9768 h 10000"/>
              <a:gd name="connsiteX161" fmla="*/ 1448 w 10000"/>
              <a:gd name="connsiteY161" fmla="*/ 9613 h 10000"/>
              <a:gd name="connsiteX162" fmla="*/ 1405 w 10000"/>
              <a:gd name="connsiteY162" fmla="*/ 9457 h 10000"/>
              <a:gd name="connsiteX163" fmla="*/ 1492 w 10000"/>
              <a:gd name="connsiteY163" fmla="*/ 9225 h 10000"/>
              <a:gd name="connsiteX164" fmla="*/ 1540 w 10000"/>
              <a:gd name="connsiteY164" fmla="*/ 9302 h 10000"/>
              <a:gd name="connsiteX165" fmla="*/ 1584 w 10000"/>
              <a:gd name="connsiteY165" fmla="*/ 9225 h 10000"/>
              <a:gd name="connsiteX166" fmla="*/ 1584 w 10000"/>
              <a:gd name="connsiteY166" fmla="*/ 9147 h 10000"/>
              <a:gd name="connsiteX167" fmla="*/ 1540 w 10000"/>
              <a:gd name="connsiteY167" fmla="*/ 9147 h 10000"/>
              <a:gd name="connsiteX168" fmla="*/ 1584 w 10000"/>
              <a:gd name="connsiteY168" fmla="*/ 9070 h 10000"/>
              <a:gd name="connsiteX169" fmla="*/ 1540 w 10000"/>
              <a:gd name="connsiteY169" fmla="*/ 8915 h 10000"/>
              <a:gd name="connsiteX170" fmla="*/ 1448 w 10000"/>
              <a:gd name="connsiteY170" fmla="*/ 8915 h 10000"/>
              <a:gd name="connsiteX171" fmla="*/ 1405 w 10000"/>
              <a:gd name="connsiteY171" fmla="*/ 8760 h 10000"/>
              <a:gd name="connsiteX172" fmla="*/ 1448 w 10000"/>
              <a:gd name="connsiteY172" fmla="*/ 8372 h 10000"/>
              <a:gd name="connsiteX173" fmla="*/ 1540 w 10000"/>
              <a:gd name="connsiteY173" fmla="*/ 8528 h 10000"/>
              <a:gd name="connsiteX174" fmla="*/ 1584 w 10000"/>
              <a:gd name="connsiteY174" fmla="*/ 8528 h 10000"/>
              <a:gd name="connsiteX175" fmla="*/ 1540 w 10000"/>
              <a:gd name="connsiteY175" fmla="*/ 8372 h 10000"/>
              <a:gd name="connsiteX176" fmla="*/ 1675 w 10000"/>
              <a:gd name="connsiteY176" fmla="*/ 8140 h 10000"/>
              <a:gd name="connsiteX177" fmla="*/ 1767 w 10000"/>
              <a:gd name="connsiteY177" fmla="*/ 8217 h 10000"/>
              <a:gd name="connsiteX178" fmla="*/ 1809 w 10000"/>
              <a:gd name="connsiteY178" fmla="*/ 8140 h 10000"/>
              <a:gd name="connsiteX179" fmla="*/ 1900 w 10000"/>
              <a:gd name="connsiteY179" fmla="*/ 8217 h 10000"/>
              <a:gd name="connsiteX180" fmla="*/ 2038 w 10000"/>
              <a:gd name="connsiteY180" fmla="*/ 8372 h 10000"/>
              <a:gd name="connsiteX181" fmla="*/ 2127 w 10000"/>
              <a:gd name="connsiteY181" fmla="*/ 8295 h 10000"/>
              <a:gd name="connsiteX182" fmla="*/ 2218 w 10000"/>
              <a:gd name="connsiteY182" fmla="*/ 8295 h 10000"/>
              <a:gd name="connsiteX183" fmla="*/ 2262 w 10000"/>
              <a:gd name="connsiteY183" fmla="*/ 8372 h 10000"/>
              <a:gd name="connsiteX184" fmla="*/ 2444 w 10000"/>
              <a:gd name="connsiteY184" fmla="*/ 8372 h 10000"/>
              <a:gd name="connsiteX185" fmla="*/ 2487 w 10000"/>
              <a:gd name="connsiteY185" fmla="*/ 8217 h 10000"/>
              <a:gd name="connsiteX186" fmla="*/ 2352 w 10000"/>
              <a:gd name="connsiteY186" fmla="*/ 8140 h 10000"/>
              <a:gd name="connsiteX187" fmla="*/ 2444 w 10000"/>
              <a:gd name="connsiteY187" fmla="*/ 8062 h 10000"/>
              <a:gd name="connsiteX188" fmla="*/ 2397 w 10000"/>
              <a:gd name="connsiteY188" fmla="*/ 7985 h 10000"/>
              <a:gd name="connsiteX189" fmla="*/ 2444 w 10000"/>
              <a:gd name="connsiteY189" fmla="*/ 7907 h 10000"/>
              <a:gd name="connsiteX190" fmla="*/ 2444 w 10000"/>
              <a:gd name="connsiteY190" fmla="*/ 7675 h 10000"/>
              <a:gd name="connsiteX191" fmla="*/ 2533 w 10000"/>
              <a:gd name="connsiteY191" fmla="*/ 7752 h 10000"/>
              <a:gd name="connsiteX192" fmla="*/ 2942 w 10000"/>
              <a:gd name="connsiteY192" fmla="*/ 7520 h 10000"/>
              <a:gd name="connsiteX193" fmla="*/ 2942 w 10000"/>
              <a:gd name="connsiteY193" fmla="*/ 7442 h 10000"/>
              <a:gd name="connsiteX194" fmla="*/ 2985 w 10000"/>
              <a:gd name="connsiteY194" fmla="*/ 7442 h 10000"/>
              <a:gd name="connsiteX195" fmla="*/ 3121 w 10000"/>
              <a:gd name="connsiteY195" fmla="*/ 7442 h 10000"/>
              <a:gd name="connsiteX196" fmla="*/ 3168 w 10000"/>
              <a:gd name="connsiteY196" fmla="*/ 7598 h 10000"/>
              <a:gd name="connsiteX197" fmla="*/ 3168 w 10000"/>
              <a:gd name="connsiteY197" fmla="*/ 7675 h 10000"/>
              <a:gd name="connsiteX198" fmla="*/ 3213 w 10000"/>
              <a:gd name="connsiteY198" fmla="*/ 7675 h 10000"/>
              <a:gd name="connsiteX199" fmla="*/ 3303 w 10000"/>
              <a:gd name="connsiteY199" fmla="*/ 7752 h 10000"/>
              <a:gd name="connsiteX200" fmla="*/ 3303 w 10000"/>
              <a:gd name="connsiteY200" fmla="*/ 7830 h 10000"/>
              <a:gd name="connsiteX201" fmla="*/ 3394 w 10000"/>
              <a:gd name="connsiteY201" fmla="*/ 7830 h 10000"/>
              <a:gd name="connsiteX202" fmla="*/ 3484 w 10000"/>
              <a:gd name="connsiteY202" fmla="*/ 7675 h 10000"/>
              <a:gd name="connsiteX203" fmla="*/ 3575 w 10000"/>
              <a:gd name="connsiteY203" fmla="*/ 7598 h 10000"/>
              <a:gd name="connsiteX204" fmla="*/ 3622 w 10000"/>
              <a:gd name="connsiteY204" fmla="*/ 7830 h 10000"/>
              <a:gd name="connsiteX205" fmla="*/ 3801 w 10000"/>
              <a:gd name="connsiteY205" fmla="*/ 8372 h 10000"/>
              <a:gd name="connsiteX206" fmla="*/ 3847 w 10000"/>
              <a:gd name="connsiteY206" fmla="*/ 8217 h 10000"/>
              <a:gd name="connsiteX207" fmla="*/ 3893 w 10000"/>
              <a:gd name="connsiteY207" fmla="*/ 8372 h 10000"/>
              <a:gd name="connsiteX208" fmla="*/ 4028 w 10000"/>
              <a:gd name="connsiteY208" fmla="*/ 8295 h 10000"/>
              <a:gd name="connsiteX209" fmla="*/ 4165 w 10000"/>
              <a:gd name="connsiteY209" fmla="*/ 8528 h 10000"/>
              <a:gd name="connsiteX210" fmla="*/ 4254 w 10000"/>
              <a:gd name="connsiteY210" fmla="*/ 8605 h 10000"/>
              <a:gd name="connsiteX211" fmla="*/ 4254 w 10000"/>
              <a:gd name="connsiteY211" fmla="*/ 8528 h 10000"/>
              <a:gd name="connsiteX212" fmla="*/ 4299 w 10000"/>
              <a:gd name="connsiteY212" fmla="*/ 8683 h 10000"/>
              <a:gd name="connsiteX213" fmla="*/ 4254 w 10000"/>
              <a:gd name="connsiteY213" fmla="*/ 8760 h 10000"/>
              <a:gd name="connsiteX214" fmla="*/ 4345 w 10000"/>
              <a:gd name="connsiteY214" fmla="*/ 8683 h 10000"/>
              <a:gd name="connsiteX215" fmla="*/ 4389 w 10000"/>
              <a:gd name="connsiteY215" fmla="*/ 8605 h 10000"/>
              <a:gd name="connsiteX216" fmla="*/ 4616 w 10000"/>
              <a:gd name="connsiteY216" fmla="*/ 8372 h 10000"/>
              <a:gd name="connsiteX217" fmla="*/ 4796 w 10000"/>
              <a:gd name="connsiteY217" fmla="*/ 8449 h 10000"/>
              <a:gd name="connsiteX218" fmla="*/ 4886 w 10000"/>
              <a:gd name="connsiteY218" fmla="*/ 8528 h 10000"/>
              <a:gd name="connsiteX219" fmla="*/ 5066 w 10000"/>
              <a:gd name="connsiteY219" fmla="*/ 8528 h 10000"/>
              <a:gd name="connsiteX220" fmla="*/ 5066 w 10000"/>
              <a:gd name="connsiteY220" fmla="*/ 8372 h 10000"/>
              <a:gd name="connsiteX221" fmla="*/ 5066 w 10000"/>
              <a:gd name="connsiteY221" fmla="*/ 8217 h 10000"/>
              <a:gd name="connsiteX222" fmla="*/ 5158 w 10000"/>
              <a:gd name="connsiteY222" fmla="*/ 8140 h 10000"/>
              <a:gd name="connsiteX223" fmla="*/ 5339 w 10000"/>
              <a:gd name="connsiteY223" fmla="*/ 8217 h 10000"/>
              <a:gd name="connsiteX224" fmla="*/ 5429 w 10000"/>
              <a:gd name="connsiteY224" fmla="*/ 8449 h 10000"/>
              <a:gd name="connsiteX225" fmla="*/ 5476 w 10000"/>
              <a:gd name="connsiteY225" fmla="*/ 8449 h 10000"/>
              <a:gd name="connsiteX226" fmla="*/ 5566 w 10000"/>
              <a:gd name="connsiteY226" fmla="*/ 8372 h 10000"/>
              <a:gd name="connsiteX227" fmla="*/ 5841 w 10000"/>
              <a:gd name="connsiteY227" fmla="*/ 8605 h 10000"/>
              <a:gd name="connsiteX228" fmla="*/ 5975 w 10000"/>
              <a:gd name="connsiteY228" fmla="*/ 8683 h 10000"/>
              <a:gd name="connsiteX229" fmla="*/ 6155 w 10000"/>
              <a:gd name="connsiteY229" fmla="*/ 8605 h 10000"/>
              <a:gd name="connsiteX230" fmla="*/ 6244 w 10000"/>
              <a:gd name="connsiteY230" fmla="*/ 8449 h 10000"/>
              <a:gd name="connsiteX231" fmla="*/ 6380 w 10000"/>
              <a:gd name="connsiteY231" fmla="*/ 8528 h 10000"/>
              <a:gd name="connsiteX232" fmla="*/ 6471 w 10000"/>
              <a:gd name="connsiteY232" fmla="*/ 8605 h 10000"/>
              <a:gd name="connsiteX233" fmla="*/ 8009 w 10000"/>
              <a:gd name="connsiteY233" fmla="*/ 7675 h 10000"/>
              <a:gd name="connsiteX234" fmla="*/ 7920 w 10000"/>
              <a:gd name="connsiteY234" fmla="*/ 7675 h 10000"/>
              <a:gd name="connsiteX235" fmla="*/ 7875 w 10000"/>
              <a:gd name="connsiteY235" fmla="*/ 7675 h 10000"/>
              <a:gd name="connsiteX236" fmla="*/ 7828 w 10000"/>
              <a:gd name="connsiteY236" fmla="*/ 7598 h 10000"/>
              <a:gd name="connsiteX237" fmla="*/ 7740 w 10000"/>
              <a:gd name="connsiteY237" fmla="*/ 7598 h 10000"/>
              <a:gd name="connsiteX238" fmla="*/ 7740 w 10000"/>
              <a:gd name="connsiteY238" fmla="*/ 7520 h 10000"/>
              <a:gd name="connsiteX239" fmla="*/ 7875 w 10000"/>
              <a:gd name="connsiteY239" fmla="*/ 7287 h 10000"/>
              <a:gd name="connsiteX240" fmla="*/ 8285 w 10000"/>
              <a:gd name="connsiteY240" fmla="*/ 6590 h 10000"/>
              <a:gd name="connsiteX241" fmla="*/ 8462 w 10000"/>
              <a:gd name="connsiteY241" fmla="*/ 6512 h 10000"/>
              <a:gd name="connsiteX242" fmla="*/ 8506 w 10000"/>
              <a:gd name="connsiteY242" fmla="*/ 6590 h 10000"/>
              <a:gd name="connsiteX243" fmla="*/ 8554 w 10000"/>
              <a:gd name="connsiteY243" fmla="*/ 6512 h 10000"/>
              <a:gd name="connsiteX244" fmla="*/ 8686 w 10000"/>
              <a:gd name="connsiteY244" fmla="*/ 6590 h 10000"/>
              <a:gd name="connsiteX245" fmla="*/ 8737 w 10000"/>
              <a:gd name="connsiteY245" fmla="*/ 6434 h 10000"/>
              <a:gd name="connsiteX246" fmla="*/ 8869 w 10000"/>
              <a:gd name="connsiteY246" fmla="*/ 6512 h 10000"/>
              <a:gd name="connsiteX247" fmla="*/ 8914 w 10000"/>
              <a:gd name="connsiteY247" fmla="*/ 6512 h 10000"/>
              <a:gd name="connsiteX248" fmla="*/ 8869 w 10000"/>
              <a:gd name="connsiteY248" fmla="*/ 6590 h 10000"/>
              <a:gd name="connsiteX249" fmla="*/ 8869 w 10000"/>
              <a:gd name="connsiteY249" fmla="*/ 6667 h 10000"/>
              <a:gd name="connsiteX250" fmla="*/ 9140 w 10000"/>
              <a:gd name="connsiteY250" fmla="*/ 6590 h 10000"/>
              <a:gd name="connsiteX251" fmla="*/ 9095 w 10000"/>
              <a:gd name="connsiteY251" fmla="*/ 6512 h 10000"/>
              <a:gd name="connsiteX252" fmla="*/ 9279 w 10000"/>
              <a:gd name="connsiteY252" fmla="*/ 5969 h 10000"/>
              <a:gd name="connsiteX253" fmla="*/ 9501 w 10000"/>
              <a:gd name="connsiteY253" fmla="*/ 5892 h 10000"/>
              <a:gd name="connsiteX254" fmla="*/ 9501 w 10000"/>
              <a:gd name="connsiteY254" fmla="*/ 6047 h 10000"/>
              <a:gd name="connsiteX255" fmla="*/ 9501 w 10000"/>
              <a:gd name="connsiteY255" fmla="*/ 6202 h 10000"/>
              <a:gd name="connsiteX256" fmla="*/ 9729 w 10000"/>
              <a:gd name="connsiteY256" fmla="*/ 5969 h 10000"/>
              <a:gd name="connsiteX257" fmla="*/ 9729 w 10000"/>
              <a:gd name="connsiteY257" fmla="*/ 5737 h 10000"/>
              <a:gd name="connsiteX258" fmla="*/ 9729 w 10000"/>
              <a:gd name="connsiteY258" fmla="*/ 6202 h 10000"/>
              <a:gd name="connsiteX259" fmla="*/ 9638 w 10000"/>
              <a:gd name="connsiteY259" fmla="*/ 6279 h 10000"/>
              <a:gd name="connsiteX260" fmla="*/ 9729 w 10000"/>
              <a:gd name="connsiteY260" fmla="*/ 6590 h 10000"/>
              <a:gd name="connsiteX261" fmla="*/ 9729 w 10000"/>
              <a:gd name="connsiteY261" fmla="*/ 6434 h 10000"/>
              <a:gd name="connsiteX262" fmla="*/ 9821 w 10000"/>
              <a:gd name="connsiteY262" fmla="*/ 6434 h 10000"/>
              <a:gd name="connsiteX263" fmla="*/ 9957 w 10000"/>
              <a:gd name="connsiteY263" fmla="*/ 6279 h 10000"/>
              <a:gd name="connsiteX264" fmla="*/ 9957 w 10000"/>
              <a:gd name="connsiteY264" fmla="*/ 6434 h 10000"/>
              <a:gd name="connsiteX265" fmla="*/ 10000 w 10000"/>
              <a:gd name="connsiteY265" fmla="*/ 6356 h 10000"/>
              <a:gd name="connsiteX266" fmla="*/ 9550 w 10000"/>
              <a:gd name="connsiteY266" fmla="*/ 3566 h 10000"/>
              <a:gd name="connsiteX267" fmla="*/ 9457 w 10000"/>
              <a:gd name="connsiteY267" fmla="*/ 3488 h 10000"/>
              <a:gd name="connsiteX268" fmla="*/ 9501 w 10000"/>
              <a:gd name="connsiteY268" fmla="*/ 3333 h 10000"/>
              <a:gd name="connsiteX269" fmla="*/ 9411 w 10000"/>
              <a:gd name="connsiteY269" fmla="*/ 3101 h 10000"/>
              <a:gd name="connsiteX270" fmla="*/ 9229 w 10000"/>
              <a:gd name="connsiteY270" fmla="*/ 3023 h 10000"/>
              <a:gd name="connsiteX271" fmla="*/ 8961 w 10000"/>
              <a:gd name="connsiteY271" fmla="*/ 3178 h 10000"/>
              <a:gd name="connsiteX272" fmla="*/ 8914 w 10000"/>
              <a:gd name="connsiteY272" fmla="*/ 2946 h 10000"/>
              <a:gd name="connsiteX273" fmla="*/ 8825 w 10000"/>
              <a:gd name="connsiteY273" fmla="*/ 2946 h 10000"/>
              <a:gd name="connsiteX274" fmla="*/ 8779 w 10000"/>
              <a:gd name="connsiteY274" fmla="*/ 2868 h 10000"/>
              <a:gd name="connsiteX275" fmla="*/ 8779 w 10000"/>
              <a:gd name="connsiteY275" fmla="*/ 2636 h 10000"/>
              <a:gd name="connsiteX276" fmla="*/ 8462 w 10000"/>
              <a:gd name="connsiteY276" fmla="*/ 2480 h 10000"/>
              <a:gd name="connsiteX277" fmla="*/ 8101 w 10000"/>
              <a:gd name="connsiteY277" fmla="*/ 2325 h 10000"/>
              <a:gd name="connsiteX278" fmla="*/ 8009 w 10000"/>
              <a:gd name="connsiteY278" fmla="*/ 2636 h 10000"/>
              <a:gd name="connsiteX279" fmla="*/ 8101 w 10000"/>
              <a:gd name="connsiteY279" fmla="*/ 2868 h 10000"/>
              <a:gd name="connsiteX280" fmla="*/ 7828 w 10000"/>
              <a:gd name="connsiteY280" fmla="*/ 2868 h 10000"/>
              <a:gd name="connsiteX281" fmla="*/ 7782 w 10000"/>
              <a:gd name="connsiteY281" fmla="*/ 2868 h 10000"/>
              <a:gd name="connsiteX282" fmla="*/ 7692 w 10000"/>
              <a:gd name="connsiteY282" fmla="*/ 2946 h 10000"/>
              <a:gd name="connsiteX283" fmla="*/ 7557 w 10000"/>
              <a:gd name="connsiteY283" fmla="*/ 2714 h 10000"/>
              <a:gd name="connsiteX284" fmla="*/ 7465 w 10000"/>
              <a:gd name="connsiteY284" fmla="*/ 3178 h 10000"/>
              <a:gd name="connsiteX285" fmla="*/ 7378 w 10000"/>
              <a:gd name="connsiteY285" fmla="*/ 3101 h 10000"/>
              <a:gd name="connsiteX286" fmla="*/ 7285 w 10000"/>
              <a:gd name="connsiteY286" fmla="*/ 2791 h 10000"/>
              <a:gd name="connsiteX287" fmla="*/ 7332 w 10000"/>
              <a:gd name="connsiteY287" fmla="*/ 2403 h 10000"/>
              <a:gd name="connsiteX288" fmla="*/ 7241 w 10000"/>
              <a:gd name="connsiteY288" fmla="*/ 2170 h 10000"/>
              <a:gd name="connsiteX289" fmla="*/ 6969 w 10000"/>
              <a:gd name="connsiteY289" fmla="*/ 2016 h 10000"/>
              <a:gd name="connsiteX290" fmla="*/ 6876 w 10000"/>
              <a:gd name="connsiteY290" fmla="*/ 2016 h 10000"/>
              <a:gd name="connsiteX291" fmla="*/ 6833 w 10000"/>
              <a:gd name="connsiteY291" fmla="*/ 2170 h 10000"/>
              <a:gd name="connsiteX292" fmla="*/ 6876 w 10000"/>
              <a:gd name="connsiteY292" fmla="*/ 2325 h 10000"/>
              <a:gd name="connsiteX293" fmla="*/ 6520 w 10000"/>
              <a:gd name="connsiteY293" fmla="*/ 2248 h 10000"/>
              <a:gd name="connsiteX294" fmla="*/ 6561 w 10000"/>
              <a:gd name="connsiteY294" fmla="*/ 2016 h 10000"/>
              <a:gd name="connsiteX295" fmla="*/ 6337 w 10000"/>
              <a:gd name="connsiteY295" fmla="*/ 1938 h 10000"/>
              <a:gd name="connsiteX296" fmla="*/ 6200 w 10000"/>
              <a:gd name="connsiteY296" fmla="*/ 2093 h 10000"/>
              <a:gd name="connsiteX297" fmla="*/ 5934 w 10000"/>
              <a:gd name="connsiteY297" fmla="*/ 1861 h 10000"/>
              <a:gd name="connsiteX0" fmla="*/ 5934 w 10000"/>
              <a:gd name="connsiteY0" fmla="*/ 1861 h 10000"/>
              <a:gd name="connsiteX1" fmla="*/ 5934 w 10000"/>
              <a:gd name="connsiteY1" fmla="*/ 1861 h 10000"/>
              <a:gd name="connsiteX2" fmla="*/ 5883 w 10000"/>
              <a:gd name="connsiteY2" fmla="*/ 1938 h 10000"/>
              <a:gd name="connsiteX3" fmla="*/ 5934 w 10000"/>
              <a:gd name="connsiteY3" fmla="*/ 2093 h 10000"/>
              <a:gd name="connsiteX4" fmla="*/ 5746 w 10000"/>
              <a:gd name="connsiteY4" fmla="*/ 2248 h 10000"/>
              <a:gd name="connsiteX5" fmla="*/ 5699 w 10000"/>
              <a:gd name="connsiteY5" fmla="*/ 2248 h 10000"/>
              <a:gd name="connsiteX6" fmla="*/ 5746 w 10000"/>
              <a:gd name="connsiteY6" fmla="*/ 2016 h 10000"/>
              <a:gd name="connsiteX7" fmla="*/ 6200 w 10000"/>
              <a:gd name="connsiteY7" fmla="*/ 1318 h 10000"/>
              <a:gd name="connsiteX8" fmla="*/ 6200 w 10000"/>
              <a:gd name="connsiteY8" fmla="*/ 853 h 10000"/>
              <a:gd name="connsiteX9" fmla="*/ 6019 w 10000"/>
              <a:gd name="connsiteY9" fmla="*/ 543 h 10000"/>
              <a:gd name="connsiteX10" fmla="*/ 5793 w 10000"/>
              <a:gd name="connsiteY10" fmla="*/ 543 h 10000"/>
              <a:gd name="connsiteX11" fmla="*/ 5793 w 10000"/>
              <a:gd name="connsiteY11" fmla="*/ 698 h 10000"/>
              <a:gd name="connsiteX12" fmla="*/ 5655 w 10000"/>
              <a:gd name="connsiteY12" fmla="*/ 698 h 10000"/>
              <a:gd name="connsiteX13" fmla="*/ 5746 w 10000"/>
              <a:gd name="connsiteY13" fmla="*/ 387 h 10000"/>
              <a:gd name="connsiteX14" fmla="*/ 5522 w 10000"/>
              <a:gd name="connsiteY14" fmla="*/ 310 h 10000"/>
              <a:gd name="connsiteX15" fmla="*/ 5655 w 10000"/>
              <a:gd name="connsiteY15" fmla="*/ 155 h 10000"/>
              <a:gd name="connsiteX16" fmla="*/ 5522 w 10000"/>
              <a:gd name="connsiteY16" fmla="*/ 0 h 10000"/>
              <a:gd name="connsiteX17" fmla="*/ 5295 w 10000"/>
              <a:gd name="connsiteY17" fmla="*/ 387 h 10000"/>
              <a:gd name="connsiteX18" fmla="*/ 5295 w 10000"/>
              <a:gd name="connsiteY18" fmla="*/ 698 h 10000"/>
              <a:gd name="connsiteX19" fmla="*/ 5158 w 10000"/>
              <a:gd name="connsiteY19" fmla="*/ 698 h 10000"/>
              <a:gd name="connsiteX20" fmla="*/ 4752 w 10000"/>
              <a:gd name="connsiteY20" fmla="*/ 853 h 10000"/>
              <a:gd name="connsiteX21" fmla="*/ 4389 w 10000"/>
              <a:gd name="connsiteY21" fmla="*/ 1240 h 10000"/>
              <a:gd name="connsiteX22" fmla="*/ 4254 w 10000"/>
              <a:gd name="connsiteY22" fmla="*/ 1551 h 10000"/>
              <a:gd name="connsiteX23" fmla="*/ 4299 w 10000"/>
              <a:gd name="connsiteY23" fmla="*/ 1938 h 10000"/>
              <a:gd name="connsiteX24" fmla="*/ 3801 w 10000"/>
              <a:gd name="connsiteY24" fmla="*/ 2093 h 10000"/>
              <a:gd name="connsiteX25" fmla="*/ 3847 w 10000"/>
              <a:gd name="connsiteY25" fmla="*/ 2559 h 10000"/>
              <a:gd name="connsiteX26" fmla="*/ 3984 w 10000"/>
              <a:gd name="connsiteY26" fmla="*/ 2791 h 10000"/>
              <a:gd name="connsiteX27" fmla="*/ 3893 w 10000"/>
              <a:gd name="connsiteY27" fmla="*/ 2868 h 10000"/>
              <a:gd name="connsiteX28" fmla="*/ 3757 w 10000"/>
              <a:gd name="connsiteY28" fmla="*/ 2559 h 10000"/>
              <a:gd name="connsiteX29" fmla="*/ 3622 w 10000"/>
              <a:gd name="connsiteY29" fmla="*/ 2480 h 10000"/>
              <a:gd name="connsiteX30" fmla="*/ 3575 w 10000"/>
              <a:gd name="connsiteY30" fmla="*/ 2559 h 10000"/>
              <a:gd name="connsiteX31" fmla="*/ 3484 w 10000"/>
              <a:gd name="connsiteY31" fmla="*/ 2403 h 10000"/>
              <a:gd name="connsiteX32" fmla="*/ 3394 w 10000"/>
              <a:gd name="connsiteY32" fmla="*/ 2248 h 10000"/>
              <a:gd name="connsiteX33" fmla="*/ 3394 w 10000"/>
              <a:gd name="connsiteY33" fmla="*/ 2325 h 10000"/>
              <a:gd name="connsiteX34" fmla="*/ 3442 w 10000"/>
              <a:gd name="connsiteY34" fmla="*/ 2559 h 10000"/>
              <a:gd name="connsiteX35" fmla="*/ 3303 w 10000"/>
              <a:gd name="connsiteY35" fmla="*/ 2946 h 10000"/>
              <a:gd name="connsiteX36" fmla="*/ 3394 w 10000"/>
              <a:gd name="connsiteY36" fmla="*/ 3256 h 10000"/>
              <a:gd name="connsiteX37" fmla="*/ 3346 w 10000"/>
              <a:gd name="connsiteY37" fmla="*/ 3566 h 10000"/>
              <a:gd name="connsiteX38" fmla="*/ 3346 w 10000"/>
              <a:gd name="connsiteY38" fmla="*/ 3799 h 10000"/>
              <a:gd name="connsiteX39" fmla="*/ 3484 w 10000"/>
              <a:gd name="connsiteY39" fmla="*/ 3799 h 10000"/>
              <a:gd name="connsiteX40" fmla="*/ 3394 w 10000"/>
              <a:gd name="connsiteY40" fmla="*/ 3876 h 10000"/>
              <a:gd name="connsiteX41" fmla="*/ 3442 w 10000"/>
              <a:gd name="connsiteY41" fmla="*/ 4263 h 10000"/>
              <a:gd name="connsiteX42" fmla="*/ 3168 w 10000"/>
              <a:gd name="connsiteY42" fmla="*/ 4652 h 10000"/>
              <a:gd name="connsiteX43" fmla="*/ 3121 w 10000"/>
              <a:gd name="connsiteY43" fmla="*/ 4574 h 10000"/>
              <a:gd name="connsiteX44" fmla="*/ 3303 w 10000"/>
              <a:gd name="connsiteY44" fmla="*/ 4186 h 10000"/>
              <a:gd name="connsiteX45" fmla="*/ 3346 w 10000"/>
              <a:gd name="connsiteY45" fmla="*/ 3954 h 10000"/>
              <a:gd name="connsiteX46" fmla="*/ 3253 w 10000"/>
              <a:gd name="connsiteY46" fmla="*/ 3799 h 10000"/>
              <a:gd name="connsiteX47" fmla="*/ 3253 w 10000"/>
              <a:gd name="connsiteY47" fmla="*/ 3023 h 10000"/>
              <a:gd name="connsiteX48" fmla="*/ 3213 w 10000"/>
              <a:gd name="connsiteY48" fmla="*/ 2868 h 10000"/>
              <a:gd name="connsiteX49" fmla="*/ 3253 w 10000"/>
              <a:gd name="connsiteY49" fmla="*/ 2403 h 10000"/>
              <a:gd name="connsiteX50" fmla="*/ 3168 w 10000"/>
              <a:gd name="connsiteY50" fmla="*/ 2325 h 10000"/>
              <a:gd name="connsiteX51" fmla="*/ 3213 w 10000"/>
              <a:gd name="connsiteY51" fmla="*/ 2248 h 10000"/>
              <a:gd name="connsiteX52" fmla="*/ 3168 w 10000"/>
              <a:gd name="connsiteY52" fmla="*/ 2093 h 10000"/>
              <a:gd name="connsiteX53" fmla="*/ 3074 w 10000"/>
              <a:gd name="connsiteY53" fmla="*/ 2170 h 10000"/>
              <a:gd name="connsiteX54" fmla="*/ 2850 w 10000"/>
              <a:gd name="connsiteY54" fmla="*/ 3178 h 10000"/>
              <a:gd name="connsiteX55" fmla="*/ 2850 w 10000"/>
              <a:gd name="connsiteY55" fmla="*/ 3566 h 10000"/>
              <a:gd name="connsiteX56" fmla="*/ 2985 w 10000"/>
              <a:gd name="connsiteY56" fmla="*/ 3876 h 10000"/>
              <a:gd name="connsiteX57" fmla="*/ 2985 w 10000"/>
              <a:gd name="connsiteY57" fmla="*/ 4031 h 10000"/>
              <a:gd name="connsiteX58" fmla="*/ 2850 w 10000"/>
              <a:gd name="connsiteY58" fmla="*/ 3876 h 10000"/>
              <a:gd name="connsiteX59" fmla="*/ 2310 w 10000"/>
              <a:gd name="connsiteY59" fmla="*/ 3256 h 10000"/>
              <a:gd name="connsiteX60" fmla="*/ 2262 w 10000"/>
              <a:gd name="connsiteY60" fmla="*/ 3411 h 10000"/>
              <a:gd name="connsiteX61" fmla="*/ 2444 w 10000"/>
              <a:gd name="connsiteY61" fmla="*/ 3799 h 10000"/>
              <a:gd name="connsiteX62" fmla="*/ 2352 w 10000"/>
              <a:gd name="connsiteY62" fmla="*/ 3876 h 10000"/>
              <a:gd name="connsiteX63" fmla="*/ 2310 w 10000"/>
              <a:gd name="connsiteY63" fmla="*/ 3799 h 10000"/>
              <a:gd name="connsiteX64" fmla="*/ 2038 w 10000"/>
              <a:gd name="connsiteY64" fmla="*/ 3954 h 10000"/>
              <a:gd name="connsiteX65" fmla="*/ 1992 w 10000"/>
              <a:gd name="connsiteY65" fmla="*/ 4109 h 10000"/>
              <a:gd name="connsiteX66" fmla="*/ 1947 w 10000"/>
              <a:gd name="connsiteY66" fmla="*/ 3954 h 10000"/>
              <a:gd name="connsiteX67" fmla="*/ 1947 w 10000"/>
              <a:gd name="connsiteY67" fmla="*/ 3799 h 10000"/>
              <a:gd name="connsiteX68" fmla="*/ 1492 w 10000"/>
              <a:gd name="connsiteY68" fmla="*/ 4263 h 10000"/>
              <a:gd name="connsiteX69" fmla="*/ 1492 w 10000"/>
              <a:gd name="connsiteY69" fmla="*/ 4418 h 10000"/>
              <a:gd name="connsiteX70" fmla="*/ 1405 w 10000"/>
              <a:gd name="connsiteY70" fmla="*/ 4496 h 10000"/>
              <a:gd name="connsiteX71" fmla="*/ 1266 w 10000"/>
              <a:gd name="connsiteY71" fmla="*/ 4341 h 10000"/>
              <a:gd name="connsiteX72" fmla="*/ 1405 w 10000"/>
              <a:gd name="connsiteY72" fmla="*/ 4186 h 10000"/>
              <a:gd name="connsiteX73" fmla="*/ 1358 w 10000"/>
              <a:gd name="connsiteY73" fmla="*/ 3954 h 10000"/>
              <a:gd name="connsiteX74" fmla="*/ 1178 w 10000"/>
              <a:gd name="connsiteY74" fmla="*/ 3876 h 10000"/>
              <a:gd name="connsiteX75" fmla="*/ 1224 w 10000"/>
              <a:gd name="connsiteY75" fmla="*/ 4031 h 10000"/>
              <a:gd name="connsiteX76" fmla="*/ 1224 w 10000"/>
              <a:gd name="connsiteY76" fmla="*/ 4418 h 10000"/>
              <a:gd name="connsiteX77" fmla="*/ 1266 w 10000"/>
              <a:gd name="connsiteY77" fmla="*/ 4574 h 10000"/>
              <a:gd name="connsiteX78" fmla="*/ 1224 w 10000"/>
              <a:gd name="connsiteY78" fmla="*/ 4729 h 10000"/>
              <a:gd name="connsiteX79" fmla="*/ 1085 w 10000"/>
              <a:gd name="connsiteY79" fmla="*/ 4652 h 10000"/>
              <a:gd name="connsiteX80" fmla="*/ 904 w 10000"/>
              <a:gd name="connsiteY80" fmla="*/ 4884 h 10000"/>
              <a:gd name="connsiteX81" fmla="*/ 994 w 10000"/>
              <a:gd name="connsiteY81" fmla="*/ 5194 h 10000"/>
              <a:gd name="connsiteX82" fmla="*/ 723 w 10000"/>
              <a:gd name="connsiteY82" fmla="*/ 5039 h 10000"/>
              <a:gd name="connsiteX83" fmla="*/ 679 w 10000"/>
              <a:gd name="connsiteY83" fmla="*/ 5116 h 10000"/>
              <a:gd name="connsiteX84" fmla="*/ 770 w 10000"/>
              <a:gd name="connsiteY84" fmla="*/ 5349 h 10000"/>
              <a:gd name="connsiteX85" fmla="*/ 679 w 10000"/>
              <a:gd name="connsiteY85" fmla="*/ 5349 h 10000"/>
              <a:gd name="connsiteX86" fmla="*/ 544 w 10000"/>
              <a:gd name="connsiteY86" fmla="*/ 5194 h 10000"/>
              <a:gd name="connsiteX87" fmla="*/ 544 w 10000"/>
              <a:gd name="connsiteY87" fmla="*/ 4729 h 10000"/>
              <a:gd name="connsiteX88" fmla="*/ 410 w 10000"/>
              <a:gd name="connsiteY88" fmla="*/ 4574 h 10000"/>
              <a:gd name="connsiteX89" fmla="*/ 362 w 10000"/>
              <a:gd name="connsiteY89" fmla="*/ 4418 h 10000"/>
              <a:gd name="connsiteX90" fmla="*/ 453 w 10000"/>
              <a:gd name="connsiteY90" fmla="*/ 4496 h 10000"/>
              <a:gd name="connsiteX91" fmla="*/ 813 w 10000"/>
              <a:gd name="connsiteY91" fmla="*/ 4729 h 10000"/>
              <a:gd name="connsiteX92" fmla="*/ 1039 w 10000"/>
              <a:gd name="connsiteY92" fmla="*/ 4496 h 10000"/>
              <a:gd name="connsiteX93" fmla="*/ 994 w 10000"/>
              <a:gd name="connsiteY93" fmla="*/ 4263 h 10000"/>
              <a:gd name="connsiteX94" fmla="*/ 723 w 10000"/>
              <a:gd name="connsiteY94" fmla="*/ 3799 h 10000"/>
              <a:gd name="connsiteX95" fmla="*/ 453 w 10000"/>
              <a:gd name="connsiteY95" fmla="*/ 3644 h 10000"/>
              <a:gd name="connsiteX96" fmla="*/ 453 w 10000"/>
              <a:gd name="connsiteY96" fmla="*/ 3566 h 10000"/>
              <a:gd name="connsiteX97" fmla="*/ 362 w 10000"/>
              <a:gd name="connsiteY97" fmla="*/ 3488 h 10000"/>
              <a:gd name="connsiteX98" fmla="*/ 269 w 10000"/>
              <a:gd name="connsiteY98" fmla="*/ 3566 h 10000"/>
              <a:gd name="connsiteX99" fmla="*/ 269 w 10000"/>
              <a:gd name="connsiteY99" fmla="*/ 3644 h 10000"/>
              <a:gd name="connsiteX100" fmla="*/ 227 w 10000"/>
              <a:gd name="connsiteY100" fmla="*/ 3644 h 10000"/>
              <a:gd name="connsiteX101" fmla="*/ 135 w 10000"/>
              <a:gd name="connsiteY101" fmla="*/ 3799 h 10000"/>
              <a:gd name="connsiteX102" fmla="*/ 135 w 10000"/>
              <a:gd name="connsiteY102" fmla="*/ 4031 h 10000"/>
              <a:gd name="connsiteX103" fmla="*/ 227 w 10000"/>
              <a:gd name="connsiteY103" fmla="*/ 4186 h 10000"/>
              <a:gd name="connsiteX104" fmla="*/ 180 w 10000"/>
              <a:gd name="connsiteY104" fmla="*/ 4418 h 10000"/>
              <a:gd name="connsiteX105" fmla="*/ 227 w 10000"/>
              <a:gd name="connsiteY105" fmla="*/ 4807 h 10000"/>
              <a:gd name="connsiteX106" fmla="*/ 180 w 10000"/>
              <a:gd name="connsiteY106" fmla="*/ 5039 h 10000"/>
              <a:gd name="connsiteX107" fmla="*/ 269 w 10000"/>
              <a:gd name="connsiteY107" fmla="*/ 5271 h 10000"/>
              <a:gd name="connsiteX108" fmla="*/ 227 w 10000"/>
              <a:gd name="connsiteY108" fmla="*/ 5426 h 10000"/>
              <a:gd name="connsiteX109" fmla="*/ 316 w 10000"/>
              <a:gd name="connsiteY109" fmla="*/ 5582 h 10000"/>
              <a:gd name="connsiteX110" fmla="*/ 316 w 10000"/>
              <a:gd name="connsiteY110" fmla="*/ 5659 h 10000"/>
              <a:gd name="connsiteX111" fmla="*/ 180 w 10000"/>
              <a:gd name="connsiteY111" fmla="*/ 6047 h 10000"/>
              <a:gd name="connsiteX112" fmla="*/ 42 w 10000"/>
              <a:gd name="connsiteY112" fmla="*/ 6202 h 10000"/>
              <a:gd name="connsiteX113" fmla="*/ 90 w 10000"/>
              <a:gd name="connsiteY113" fmla="*/ 6202 h 10000"/>
              <a:gd name="connsiteX114" fmla="*/ 180 w 10000"/>
              <a:gd name="connsiteY114" fmla="*/ 6356 h 10000"/>
              <a:gd name="connsiteX115" fmla="*/ 90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90 w 10000"/>
              <a:gd name="connsiteY122" fmla="*/ 7209 h 10000"/>
              <a:gd name="connsiteX123" fmla="*/ 227 w 10000"/>
              <a:gd name="connsiteY123" fmla="*/ 7287 h 10000"/>
              <a:gd name="connsiteX124" fmla="*/ 269 w 10000"/>
              <a:gd name="connsiteY124" fmla="*/ 7364 h 10000"/>
              <a:gd name="connsiteX125" fmla="*/ 269 w 10000"/>
              <a:gd name="connsiteY125" fmla="*/ 7520 h 10000"/>
              <a:gd name="connsiteX126" fmla="*/ 362 w 10000"/>
              <a:gd name="connsiteY126" fmla="*/ 7752 h 10000"/>
              <a:gd name="connsiteX127" fmla="*/ 410 w 10000"/>
              <a:gd name="connsiteY127" fmla="*/ 7752 h 10000"/>
              <a:gd name="connsiteX128" fmla="*/ 362 w 10000"/>
              <a:gd name="connsiteY128" fmla="*/ 7907 h 10000"/>
              <a:gd name="connsiteX129" fmla="*/ 316 w 10000"/>
              <a:gd name="connsiteY129" fmla="*/ 7830 h 10000"/>
              <a:gd name="connsiteX130" fmla="*/ 316 w 10000"/>
              <a:gd name="connsiteY130" fmla="*/ 7907 h 10000"/>
              <a:gd name="connsiteX131" fmla="*/ 362 w 10000"/>
              <a:gd name="connsiteY131" fmla="*/ 8062 h 10000"/>
              <a:gd name="connsiteX132" fmla="*/ 499 w 10000"/>
              <a:gd name="connsiteY132" fmla="*/ 8062 h 10000"/>
              <a:gd name="connsiteX133" fmla="*/ 544 w 10000"/>
              <a:gd name="connsiteY133" fmla="*/ 8140 h 10000"/>
              <a:gd name="connsiteX134" fmla="*/ 499 w 10000"/>
              <a:gd name="connsiteY134" fmla="*/ 8140 h 10000"/>
              <a:gd name="connsiteX135" fmla="*/ 544 w 10000"/>
              <a:gd name="connsiteY135" fmla="*/ 8217 h 10000"/>
              <a:gd name="connsiteX136" fmla="*/ 587 w 10000"/>
              <a:gd name="connsiteY136" fmla="*/ 8217 h 10000"/>
              <a:gd name="connsiteX137" fmla="*/ 633 w 10000"/>
              <a:gd name="connsiteY137" fmla="*/ 8372 h 10000"/>
              <a:gd name="connsiteX138" fmla="*/ 679 w 10000"/>
              <a:gd name="connsiteY138" fmla="*/ 8449 h 10000"/>
              <a:gd name="connsiteX139" fmla="*/ 723 w 10000"/>
              <a:gd name="connsiteY139" fmla="*/ 8372 h 10000"/>
              <a:gd name="connsiteX140" fmla="*/ 952 w 10000"/>
              <a:gd name="connsiteY140" fmla="*/ 8605 h 10000"/>
              <a:gd name="connsiteX141" fmla="*/ 904 w 10000"/>
              <a:gd name="connsiteY141" fmla="*/ 8915 h 10000"/>
              <a:gd name="connsiteX142" fmla="*/ 858 w 10000"/>
              <a:gd name="connsiteY142" fmla="*/ 8838 h 10000"/>
              <a:gd name="connsiteX143" fmla="*/ 813 w 10000"/>
              <a:gd name="connsiteY143" fmla="*/ 8915 h 10000"/>
              <a:gd name="connsiteX144" fmla="*/ 813 w 10000"/>
              <a:gd name="connsiteY144" fmla="*/ 9070 h 10000"/>
              <a:gd name="connsiteX145" fmla="*/ 858 w 10000"/>
              <a:gd name="connsiteY145" fmla="*/ 8993 h 10000"/>
              <a:gd name="connsiteX146" fmla="*/ 904 w 10000"/>
              <a:gd name="connsiteY146" fmla="*/ 9070 h 10000"/>
              <a:gd name="connsiteX147" fmla="*/ 770 w 10000"/>
              <a:gd name="connsiteY147" fmla="*/ 9147 h 10000"/>
              <a:gd name="connsiteX148" fmla="*/ 813 w 10000"/>
              <a:gd name="connsiteY148" fmla="*/ 9225 h 10000"/>
              <a:gd name="connsiteX149" fmla="*/ 723 w 10000"/>
              <a:gd name="connsiteY149" fmla="*/ 9380 h 10000"/>
              <a:gd name="connsiteX150" fmla="*/ 679 w 10000"/>
              <a:gd name="connsiteY150" fmla="*/ 9380 h 10000"/>
              <a:gd name="connsiteX151" fmla="*/ 723 w 10000"/>
              <a:gd name="connsiteY151" fmla="*/ 9380 h 10000"/>
              <a:gd name="connsiteX152" fmla="*/ 904 w 10000"/>
              <a:gd name="connsiteY152" fmla="*/ 9691 h 10000"/>
              <a:gd name="connsiteX153" fmla="*/ 1132 w 10000"/>
              <a:gd name="connsiteY153" fmla="*/ 9691 h 10000"/>
              <a:gd name="connsiteX154" fmla="*/ 1224 w 10000"/>
              <a:gd name="connsiteY154" fmla="*/ 9768 h 10000"/>
              <a:gd name="connsiteX155" fmla="*/ 1312 w 10000"/>
              <a:gd name="connsiteY155" fmla="*/ 9768 h 10000"/>
              <a:gd name="connsiteX156" fmla="*/ 1405 w 10000"/>
              <a:gd name="connsiteY156" fmla="*/ 9923 h 10000"/>
              <a:gd name="connsiteX157" fmla="*/ 1448 w 10000"/>
              <a:gd name="connsiteY157" fmla="*/ 10000 h 10000"/>
              <a:gd name="connsiteX158" fmla="*/ 1492 w 10000"/>
              <a:gd name="connsiteY158" fmla="*/ 10000 h 10000"/>
              <a:gd name="connsiteX159" fmla="*/ 1540 w 10000"/>
              <a:gd name="connsiteY159" fmla="*/ 9923 h 10000"/>
              <a:gd name="connsiteX160" fmla="*/ 1448 w 10000"/>
              <a:gd name="connsiteY160" fmla="*/ 9768 h 10000"/>
              <a:gd name="connsiteX161" fmla="*/ 1448 w 10000"/>
              <a:gd name="connsiteY161" fmla="*/ 9613 h 10000"/>
              <a:gd name="connsiteX162" fmla="*/ 1405 w 10000"/>
              <a:gd name="connsiteY162" fmla="*/ 9457 h 10000"/>
              <a:gd name="connsiteX163" fmla="*/ 1492 w 10000"/>
              <a:gd name="connsiteY163" fmla="*/ 9225 h 10000"/>
              <a:gd name="connsiteX164" fmla="*/ 1540 w 10000"/>
              <a:gd name="connsiteY164" fmla="*/ 9302 h 10000"/>
              <a:gd name="connsiteX165" fmla="*/ 1584 w 10000"/>
              <a:gd name="connsiteY165" fmla="*/ 9225 h 10000"/>
              <a:gd name="connsiteX166" fmla="*/ 1584 w 10000"/>
              <a:gd name="connsiteY166" fmla="*/ 9147 h 10000"/>
              <a:gd name="connsiteX167" fmla="*/ 1540 w 10000"/>
              <a:gd name="connsiteY167" fmla="*/ 9147 h 10000"/>
              <a:gd name="connsiteX168" fmla="*/ 1584 w 10000"/>
              <a:gd name="connsiteY168" fmla="*/ 9070 h 10000"/>
              <a:gd name="connsiteX169" fmla="*/ 1540 w 10000"/>
              <a:gd name="connsiteY169" fmla="*/ 8915 h 10000"/>
              <a:gd name="connsiteX170" fmla="*/ 1448 w 10000"/>
              <a:gd name="connsiteY170" fmla="*/ 8915 h 10000"/>
              <a:gd name="connsiteX171" fmla="*/ 1405 w 10000"/>
              <a:gd name="connsiteY171" fmla="*/ 8760 h 10000"/>
              <a:gd name="connsiteX172" fmla="*/ 1448 w 10000"/>
              <a:gd name="connsiteY172" fmla="*/ 8372 h 10000"/>
              <a:gd name="connsiteX173" fmla="*/ 1540 w 10000"/>
              <a:gd name="connsiteY173" fmla="*/ 8528 h 10000"/>
              <a:gd name="connsiteX174" fmla="*/ 1584 w 10000"/>
              <a:gd name="connsiteY174" fmla="*/ 8528 h 10000"/>
              <a:gd name="connsiteX175" fmla="*/ 1540 w 10000"/>
              <a:gd name="connsiteY175" fmla="*/ 8372 h 10000"/>
              <a:gd name="connsiteX176" fmla="*/ 1675 w 10000"/>
              <a:gd name="connsiteY176" fmla="*/ 8140 h 10000"/>
              <a:gd name="connsiteX177" fmla="*/ 1767 w 10000"/>
              <a:gd name="connsiteY177" fmla="*/ 8217 h 10000"/>
              <a:gd name="connsiteX178" fmla="*/ 1809 w 10000"/>
              <a:gd name="connsiteY178" fmla="*/ 8140 h 10000"/>
              <a:gd name="connsiteX179" fmla="*/ 1900 w 10000"/>
              <a:gd name="connsiteY179" fmla="*/ 8217 h 10000"/>
              <a:gd name="connsiteX180" fmla="*/ 2038 w 10000"/>
              <a:gd name="connsiteY180" fmla="*/ 8372 h 10000"/>
              <a:gd name="connsiteX181" fmla="*/ 2127 w 10000"/>
              <a:gd name="connsiteY181" fmla="*/ 8295 h 10000"/>
              <a:gd name="connsiteX182" fmla="*/ 2218 w 10000"/>
              <a:gd name="connsiteY182" fmla="*/ 8295 h 10000"/>
              <a:gd name="connsiteX183" fmla="*/ 2262 w 10000"/>
              <a:gd name="connsiteY183" fmla="*/ 8372 h 10000"/>
              <a:gd name="connsiteX184" fmla="*/ 2444 w 10000"/>
              <a:gd name="connsiteY184" fmla="*/ 8372 h 10000"/>
              <a:gd name="connsiteX185" fmla="*/ 2487 w 10000"/>
              <a:gd name="connsiteY185" fmla="*/ 8217 h 10000"/>
              <a:gd name="connsiteX186" fmla="*/ 2352 w 10000"/>
              <a:gd name="connsiteY186" fmla="*/ 8140 h 10000"/>
              <a:gd name="connsiteX187" fmla="*/ 2444 w 10000"/>
              <a:gd name="connsiteY187" fmla="*/ 8062 h 10000"/>
              <a:gd name="connsiteX188" fmla="*/ 2397 w 10000"/>
              <a:gd name="connsiteY188" fmla="*/ 7985 h 10000"/>
              <a:gd name="connsiteX189" fmla="*/ 2444 w 10000"/>
              <a:gd name="connsiteY189" fmla="*/ 7907 h 10000"/>
              <a:gd name="connsiteX190" fmla="*/ 2444 w 10000"/>
              <a:gd name="connsiteY190" fmla="*/ 7675 h 10000"/>
              <a:gd name="connsiteX191" fmla="*/ 2533 w 10000"/>
              <a:gd name="connsiteY191" fmla="*/ 7752 h 10000"/>
              <a:gd name="connsiteX192" fmla="*/ 2942 w 10000"/>
              <a:gd name="connsiteY192" fmla="*/ 7520 h 10000"/>
              <a:gd name="connsiteX193" fmla="*/ 2942 w 10000"/>
              <a:gd name="connsiteY193" fmla="*/ 7442 h 10000"/>
              <a:gd name="connsiteX194" fmla="*/ 2985 w 10000"/>
              <a:gd name="connsiteY194" fmla="*/ 7442 h 10000"/>
              <a:gd name="connsiteX195" fmla="*/ 3121 w 10000"/>
              <a:gd name="connsiteY195" fmla="*/ 7442 h 10000"/>
              <a:gd name="connsiteX196" fmla="*/ 3168 w 10000"/>
              <a:gd name="connsiteY196" fmla="*/ 7598 h 10000"/>
              <a:gd name="connsiteX197" fmla="*/ 3168 w 10000"/>
              <a:gd name="connsiteY197" fmla="*/ 7675 h 10000"/>
              <a:gd name="connsiteX198" fmla="*/ 3213 w 10000"/>
              <a:gd name="connsiteY198" fmla="*/ 7675 h 10000"/>
              <a:gd name="connsiteX199" fmla="*/ 3303 w 10000"/>
              <a:gd name="connsiteY199" fmla="*/ 7752 h 10000"/>
              <a:gd name="connsiteX200" fmla="*/ 3303 w 10000"/>
              <a:gd name="connsiteY200" fmla="*/ 7830 h 10000"/>
              <a:gd name="connsiteX201" fmla="*/ 3394 w 10000"/>
              <a:gd name="connsiteY201" fmla="*/ 7830 h 10000"/>
              <a:gd name="connsiteX202" fmla="*/ 3484 w 10000"/>
              <a:gd name="connsiteY202" fmla="*/ 7675 h 10000"/>
              <a:gd name="connsiteX203" fmla="*/ 3575 w 10000"/>
              <a:gd name="connsiteY203" fmla="*/ 7598 h 10000"/>
              <a:gd name="connsiteX204" fmla="*/ 3622 w 10000"/>
              <a:gd name="connsiteY204" fmla="*/ 7830 h 10000"/>
              <a:gd name="connsiteX205" fmla="*/ 3801 w 10000"/>
              <a:gd name="connsiteY205" fmla="*/ 8372 h 10000"/>
              <a:gd name="connsiteX206" fmla="*/ 3847 w 10000"/>
              <a:gd name="connsiteY206" fmla="*/ 8217 h 10000"/>
              <a:gd name="connsiteX207" fmla="*/ 3893 w 10000"/>
              <a:gd name="connsiteY207" fmla="*/ 8372 h 10000"/>
              <a:gd name="connsiteX208" fmla="*/ 4028 w 10000"/>
              <a:gd name="connsiteY208" fmla="*/ 8295 h 10000"/>
              <a:gd name="connsiteX209" fmla="*/ 4165 w 10000"/>
              <a:gd name="connsiteY209" fmla="*/ 8528 h 10000"/>
              <a:gd name="connsiteX210" fmla="*/ 4254 w 10000"/>
              <a:gd name="connsiteY210" fmla="*/ 8605 h 10000"/>
              <a:gd name="connsiteX211" fmla="*/ 4254 w 10000"/>
              <a:gd name="connsiteY211" fmla="*/ 8528 h 10000"/>
              <a:gd name="connsiteX212" fmla="*/ 4299 w 10000"/>
              <a:gd name="connsiteY212" fmla="*/ 8683 h 10000"/>
              <a:gd name="connsiteX213" fmla="*/ 4254 w 10000"/>
              <a:gd name="connsiteY213" fmla="*/ 8760 h 10000"/>
              <a:gd name="connsiteX214" fmla="*/ 4345 w 10000"/>
              <a:gd name="connsiteY214" fmla="*/ 8683 h 10000"/>
              <a:gd name="connsiteX215" fmla="*/ 4389 w 10000"/>
              <a:gd name="connsiteY215" fmla="*/ 8605 h 10000"/>
              <a:gd name="connsiteX216" fmla="*/ 4616 w 10000"/>
              <a:gd name="connsiteY216" fmla="*/ 8372 h 10000"/>
              <a:gd name="connsiteX217" fmla="*/ 4796 w 10000"/>
              <a:gd name="connsiteY217" fmla="*/ 8449 h 10000"/>
              <a:gd name="connsiteX218" fmla="*/ 4886 w 10000"/>
              <a:gd name="connsiteY218" fmla="*/ 8528 h 10000"/>
              <a:gd name="connsiteX219" fmla="*/ 5066 w 10000"/>
              <a:gd name="connsiteY219" fmla="*/ 8528 h 10000"/>
              <a:gd name="connsiteX220" fmla="*/ 5066 w 10000"/>
              <a:gd name="connsiteY220" fmla="*/ 8372 h 10000"/>
              <a:gd name="connsiteX221" fmla="*/ 5066 w 10000"/>
              <a:gd name="connsiteY221" fmla="*/ 8217 h 10000"/>
              <a:gd name="connsiteX222" fmla="*/ 5158 w 10000"/>
              <a:gd name="connsiteY222" fmla="*/ 8140 h 10000"/>
              <a:gd name="connsiteX223" fmla="*/ 5339 w 10000"/>
              <a:gd name="connsiteY223" fmla="*/ 8217 h 10000"/>
              <a:gd name="connsiteX224" fmla="*/ 5429 w 10000"/>
              <a:gd name="connsiteY224" fmla="*/ 8449 h 10000"/>
              <a:gd name="connsiteX225" fmla="*/ 5476 w 10000"/>
              <a:gd name="connsiteY225" fmla="*/ 8449 h 10000"/>
              <a:gd name="connsiteX226" fmla="*/ 5566 w 10000"/>
              <a:gd name="connsiteY226" fmla="*/ 8372 h 10000"/>
              <a:gd name="connsiteX227" fmla="*/ 5841 w 10000"/>
              <a:gd name="connsiteY227" fmla="*/ 8605 h 10000"/>
              <a:gd name="connsiteX228" fmla="*/ 5975 w 10000"/>
              <a:gd name="connsiteY228" fmla="*/ 8683 h 10000"/>
              <a:gd name="connsiteX229" fmla="*/ 6155 w 10000"/>
              <a:gd name="connsiteY229" fmla="*/ 8605 h 10000"/>
              <a:gd name="connsiteX230" fmla="*/ 6244 w 10000"/>
              <a:gd name="connsiteY230" fmla="*/ 8449 h 10000"/>
              <a:gd name="connsiteX231" fmla="*/ 6380 w 10000"/>
              <a:gd name="connsiteY231" fmla="*/ 8528 h 10000"/>
              <a:gd name="connsiteX232" fmla="*/ 6471 w 10000"/>
              <a:gd name="connsiteY232" fmla="*/ 8605 h 10000"/>
              <a:gd name="connsiteX233" fmla="*/ 8009 w 10000"/>
              <a:gd name="connsiteY233" fmla="*/ 7675 h 10000"/>
              <a:gd name="connsiteX234" fmla="*/ 7920 w 10000"/>
              <a:gd name="connsiteY234" fmla="*/ 7675 h 10000"/>
              <a:gd name="connsiteX235" fmla="*/ 7875 w 10000"/>
              <a:gd name="connsiteY235" fmla="*/ 7675 h 10000"/>
              <a:gd name="connsiteX236" fmla="*/ 7828 w 10000"/>
              <a:gd name="connsiteY236" fmla="*/ 7598 h 10000"/>
              <a:gd name="connsiteX237" fmla="*/ 7740 w 10000"/>
              <a:gd name="connsiteY237" fmla="*/ 7598 h 10000"/>
              <a:gd name="connsiteX238" fmla="*/ 7740 w 10000"/>
              <a:gd name="connsiteY238" fmla="*/ 7520 h 10000"/>
              <a:gd name="connsiteX239" fmla="*/ 7875 w 10000"/>
              <a:gd name="connsiteY239" fmla="*/ 7287 h 10000"/>
              <a:gd name="connsiteX240" fmla="*/ 8285 w 10000"/>
              <a:gd name="connsiteY240" fmla="*/ 6590 h 10000"/>
              <a:gd name="connsiteX241" fmla="*/ 8462 w 10000"/>
              <a:gd name="connsiteY241" fmla="*/ 6512 h 10000"/>
              <a:gd name="connsiteX242" fmla="*/ 8506 w 10000"/>
              <a:gd name="connsiteY242" fmla="*/ 6590 h 10000"/>
              <a:gd name="connsiteX243" fmla="*/ 8554 w 10000"/>
              <a:gd name="connsiteY243" fmla="*/ 6512 h 10000"/>
              <a:gd name="connsiteX244" fmla="*/ 8686 w 10000"/>
              <a:gd name="connsiteY244" fmla="*/ 6590 h 10000"/>
              <a:gd name="connsiteX245" fmla="*/ 8737 w 10000"/>
              <a:gd name="connsiteY245" fmla="*/ 6434 h 10000"/>
              <a:gd name="connsiteX246" fmla="*/ 8869 w 10000"/>
              <a:gd name="connsiteY246" fmla="*/ 6512 h 10000"/>
              <a:gd name="connsiteX247" fmla="*/ 8914 w 10000"/>
              <a:gd name="connsiteY247" fmla="*/ 6512 h 10000"/>
              <a:gd name="connsiteX248" fmla="*/ 8869 w 10000"/>
              <a:gd name="connsiteY248" fmla="*/ 6590 h 10000"/>
              <a:gd name="connsiteX249" fmla="*/ 8869 w 10000"/>
              <a:gd name="connsiteY249" fmla="*/ 6667 h 10000"/>
              <a:gd name="connsiteX250" fmla="*/ 9140 w 10000"/>
              <a:gd name="connsiteY250" fmla="*/ 6590 h 10000"/>
              <a:gd name="connsiteX251" fmla="*/ 9095 w 10000"/>
              <a:gd name="connsiteY251" fmla="*/ 6512 h 10000"/>
              <a:gd name="connsiteX252" fmla="*/ 9279 w 10000"/>
              <a:gd name="connsiteY252" fmla="*/ 5969 h 10000"/>
              <a:gd name="connsiteX253" fmla="*/ 9501 w 10000"/>
              <a:gd name="connsiteY253" fmla="*/ 5892 h 10000"/>
              <a:gd name="connsiteX254" fmla="*/ 9501 w 10000"/>
              <a:gd name="connsiteY254" fmla="*/ 6047 h 10000"/>
              <a:gd name="connsiteX255" fmla="*/ 9501 w 10000"/>
              <a:gd name="connsiteY255" fmla="*/ 6202 h 10000"/>
              <a:gd name="connsiteX256" fmla="*/ 9729 w 10000"/>
              <a:gd name="connsiteY256" fmla="*/ 5969 h 10000"/>
              <a:gd name="connsiteX257" fmla="*/ 9729 w 10000"/>
              <a:gd name="connsiteY257" fmla="*/ 6202 h 10000"/>
              <a:gd name="connsiteX258" fmla="*/ 9638 w 10000"/>
              <a:gd name="connsiteY258" fmla="*/ 6279 h 10000"/>
              <a:gd name="connsiteX259" fmla="*/ 9729 w 10000"/>
              <a:gd name="connsiteY259" fmla="*/ 6590 h 10000"/>
              <a:gd name="connsiteX260" fmla="*/ 9729 w 10000"/>
              <a:gd name="connsiteY260" fmla="*/ 6434 h 10000"/>
              <a:gd name="connsiteX261" fmla="*/ 9821 w 10000"/>
              <a:gd name="connsiteY261" fmla="*/ 6434 h 10000"/>
              <a:gd name="connsiteX262" fmla="*/ 9957 w 10000"/>
              <a:gd name="connsiteY262" fmla="*/ 6279 h 10000"/>
              <a:gd name="connsiteX263" fmla="*/ 9957 w 10000"/>
              <a:gd name="connsiteY263" fmla="*/ 6434 h 10000"/>
              <a:gd name="connsiteX264" fmla="*/ 10000 w 10000"/>
              <a:gd name="connsiteY264" fmla="*/ 6356 h 10000"/>
              <a:gd name="connsiteX265" fmla="*/ 9550 w 10000"/>
              <a:gd name="connsiteY265" fmla="*/ 3566 h 10000"/>
              <a:gd name="connsiteX266" fmla="*/ 9457 w 10000"/>
              <a:gd name="connsiteY266" fmla="*/ 3488 h 10000"/>
              <a:gd name="connsiteX267" fmla="*/ 9501 w 10000"/>
              <a:gd name="connsiteY267" fmla="*/ 3333 h 10000"/>
              <a:gd name="connsiteX268" fmla="*/ 9411 w 10000"/>
              <a:gd name="connsiteY268" fmla="*/ 3101 h 10000"/>
              <a:gd name="connsiteX269" fmla="*/ 9229 w 10000"/>
              <a:gd name="connsiteY269" fmla="*/ 3023 h 10000"/>
              <a:gd name="connsiteX270" fmla="*/ 8961 w 10000"/>
              <a:gd name="connsiteY270" fmla="*/ 3178 h 10000"/>
              <a:gd name="connsiteX271" fmla="*/ 8914 w 10000"/>
              <a:gd name="connsiteY271" fmla="*/ 2946 h 10000"/>
              <a:gd name="connsiteX272" fmla="*/ 8825 w 10000"/>
              <a:gd name="connsiteY272" fmla="*/ 2946 h 10000"/>
              <a:gd name="connsiteX273" fmla="*/ 8779 w 10000"/>
              <a:gd name="connsiteY273" fmla="*/ 2868 h 10000"/>
              <a:gd name="connsiteX274" fmla="*/ 8779 w 10000"/>
              <a:gd name="connsiteY274" fmla="*/ 2636 h 10000"/>
              <a:gd name="connsiteX275" fmla="*/ 8462 w 10000"/>
              <a:gd name="connsiteY275" fmla="*/ 2480 h 10000"/>
              <a:gd name="connsiteX276" fmla="*/ 8101 w 10000"/>
              <a:gd name="connsiteY276" fmla="*/ 2325 h 10000"/>
              <a:gd name="connsiteX277" fmla="*/ 8009 w 10000"/>
              <a:gd name="connsiteY277" fmla="*/ 2636 h 10000"/>
              <a:gd name="connsiteX278" fmla="*/ 8101 w 10000"/>
              <a:gd name="connsiteY278" fmla="*/ 2868 h 10000"/>
              <a:gd name="connsiteX279" fmla="*/ 7828 w 10000"/>
              <a:gd name="connsiteY279" fmla="*/ 2868 h 10000"/>
              <a:gd name="connsiteX280" fmla="*/ 7782 w 10000"/>
              <a:gd name="connsiteY280" fmla="*/ 2868 h 10000"/>
              <a:gd name="connsiteX281" fmla="*/ 7692 w 10000"/>
              <a:gd name="connsiteY281" fmla="*/ 2946 h 10000"/>
              <a:gd name="connsiteX282" fmla="*/ 7557 w 10000"/>
              <a:gd name="connsiteY282" fmla="*/ 2714 h 10000"/>
              <a:gd name="connsiteX283" fmla="*/ 7465 w 10000"/>
              <a:gd name="connsiteY283" fmla="*/ 3178 h 10000"/>
              <a:gd name="connsiteX284" fmla="*/ 7378 w 10000"/>
              <a:gd name="connsiteY284" fmla="*/ 3101 h 10000"/>
              <a:gd name="connsiteX285" fmla="*/ 7285 w 10000"/>
              <a:gd name="connsiteY285" fmla="*/ 2791 h 10000"/>
              <a:gd name="connsiteX286" fmla="*/ 7332 w 10000"/>
              <a:gd name="connsiteY286" fmla="*/ 2403 h 10000"/>
              <a:gd name="connsiteX287" fmla="*/ 7241 w 10000"/>
              <a:gd name="connsiteY287" fmla="*/ 2170 h 10000"/>
              <a:gd name="connsiteX288" fmla="*/ 6969 w 10000"/>
              <a:gd name="connsiteY288" fmla="*/ 2016 h 10000"/>
              <a:gd name="connsiteX289" fmla="*/ 6876 w 10000"/>
              <a:gd name="connsiteY289" fmla="*/ 2016 h 10000"/>
              <a:gd name="connsiteX290" fmla="*/ 6833 w 10000"/>
              <a:gd name="connsiteY290" fmla="*/ 2170 h 10000"/>
              <a:gd name="connsiteX291" fmla="*/ 6876 w 10000"/>
              <a:gd name="connsiteY291" fmla="*/ 2325 h 10000"/>
              <a:gd name="connsiteX292" fmla="*/ 6520 w 10000"/>
              <a:gd name="connsiteY292" fmla="*/ 2248 h 10000"/>
              <a:gd name="connsiteX293" fmla="*/ 6561 w 10000"/>
              <a:gd name="connsiteY293" fmla="*/ 2016 h 10000"/>
              <a:gd name="connsiteX294" fmla="*/ 6337 w 10000"/>
              <a:gd name="connsiteY294" fmla="*/ 1938 h 10000"/>
              <a:gd name="connsiteX295" fmla="*/ 6200 w 10000"/>
              <a:gd name="connsiteY295" fmla="*/ 2093 h 10000"/>
              <a:gd name="connsiteX296" fmla="*/ 5934 w 10000"/>
              <a:gd name="connsiteY296" fmla="*/ 1861 h 10000"/>
              <a:gd name="connsiteX0" fmla="*/ 5934 w 10000"/>
              <a:gd name="connsiteY0" fmla="*/ 1861 h 10000"/>
              <a:gd name="connsiteX1" fmla="*/ 5934 w 10000"/>
              <a:gd name="connsiteY1" fmla="*/ 1861 h 10000"/>
              <a:gd name="connsiteX2" fmla="*/ 5883 w 10000"/>
              <a:gd name="connsiteY2" fmla="*/ 1938 h 10000"/>
              <a:gd name="connsiteX3" fmla="*/ 5934 w 10000"/>
              <a:gd name="connsiteY3" fmla="*/ 2093 h 10000"/>
              <a:gd name="connsiteX4" fmla="*/ 5746 w 10000"/>
              <a:gd name="connsiteY4" fmla="*/ 2248 h 10000"/>
              <a:gd name="connsiteX5" fmla="*/ 5699 w 10000"/>
              <a:gd name="connsiteY5" fmla="*/ 2248 h 10000"/>
              <a:gd name="connsiteX6" fmla="*/ 5746 w 10000"/>
              <a:gd name="connsiteY6" fmla="*/ 2016 h 10000"/>
              <a:gd name="connsiteX7" fmla="*/ 6200 w 10000"/>
              <a:gd name="connsiteY7" fmla="*/ 1318 h 10000"/>
              <a:gd name="connsiteX8" fmla="*/ 6200 w 10000"/>
              <a:gd name="connsiteY8" fmla="*/ 853 h 10000"/>
              <a:gd name="connsiteX9" fmla="*/ 6019 w 10000"/>
              <a:gd name="connsiteY9" fmla="*/ 543 h 10000"/>
              <a:gd name="connsiteX10" fmla="*/ 5793 w 10000"/>
              <a:gd name="connsiteY10" fmla="*/ 543 h 10000"/>
              <a:gd name="connsiteX11" fmla="*/ 5793 w 10000"/>
              <a:gd name="connsiteY11" fmla="*/ 698 h 10000"/>
              <a:gd name="connsiteX12" fmla="*/ 5655 w 10000"/>
              <a:gd name="connsiteY12" fmla="*/ 698 h 10000"/>
              <a:gd name="connsiteX13" fmla="*/ 5746 w 10000"/>
              <a:gd name="connsiteY13" fmla="*/ 387 h 10000"/>
              <a:gd name="connsiteX14" fmla="*/ 5522 w 10000"/>
              <a:gd name="connsiteY14" fmla="*/ 310 h 10000"/>
              <a:gd name="connsiteX15" fmla="*/ 5655 w 10000"/>
              <a:gd name="connsiteY15" fmla="*/ 155 h 10000"/>
              <a:gd name="connsiteX16" fmla="*/ 5522 w 10000"/>
              <a:gd name="connsiteY16" fmla="*/ 0 h 10000"/>
              <a:gd name="connsiteX17" fmla="*/ 5295 w 10000"/>
              <a:gd name="connsiteY17" fmla="*/ 387 h 10000"/>
              <a:gd name="connsiteX18" fmla="*/ 5295 w 10000"/>
              <a:gd name="connsiteY18" fmla="*/ 698 h 10000"/>
              <a:gd name="connsiteX19" fmla="*/ 5158 w 10000"/>
              <a:gd name="connsiteY19" fmla="*/ 698 h 10000"/>
              <a:gd name="connsiteX20" fmla="*/ 4752 w 10000"/>
              <a:gd name="connsiteY20" fmla="*/ 853 h 10000"/>
              <a:gd name="connsiteX21" fmla="*/ 4389 w 10000"/>
              <a:gd name="connsiteY21" fmla="*/ 1240 h 10000"/>
              <a:gd name="connsiteX22" fmla="*/ 4254 w 10000"/>
              <a:gd name="connsiteY22" fmla="*/ 1551 h 10000"/>
              <a:gd name="connsiteX23" fmla="*/ 4299 w 10000"/>
              <a:gd name="connsiteY23" fmla="*/ 1938 h 10000"/>
              <a:gd name="connsiteX24" fmla="*/ 3801 w 10000"/>
              <a:gd name="connsiteY24" fmla="*/ 2093 h 10000"/>
              <a:gd name="connsiteX25" fmla="*/ 3847 w 10000"/>
              <a:gd name="connsiteY25" fmla="*/ 2559 h 10000"/>
              <a:gd name="connsiteX26" fmla="*/ 3984 w 10000"/>
              <a:gd name="connsiteY26" fmla="*/ 2791 h 10000"/>
              <a:gd name="connsiteX27" fmla="*/ 3893 w 10000"/>
              <a:gd name="connsiteY27" fmla="*/ 2868 h 10000"/>
              <a:gd name="connsiteX28" fmla="*/ 3757 w 10000"/>
              <a:gd name="connsiteY28" fmla="*/ 2559 h 10000"/>
              <a:gd name="connsiteX29" fmla="*/ 3622 w 10000"/>
              <a:gd name="connsiteY29" fmla="*/ 2480 h 10000"/>
              <a:gd name="connsiteX30" fmla="*/ 3575 w 10000"/>
              <a:gd name="connsiteY30" fmla="*/ 2559 h 10000"/>
              <a:gd name="connsiteX31" fmla="*/ 3484 w 10000"/>
              <a:gd name="connsiteY31" fmla="*/ 2403 h 10000"/>
              <a:gd name="connsiteX32" fmla="*/ 3394 w 10000"/>
              <a:gd name="connsiteY32" fmla="*/ 2248 h 10000"/>
              <a:gd name="connsiteX33" fmla="*/ 3394 w 10000"/>
              <a:gd name="connsiteY33" fmla="*/ 2325 h 10000"/>
              <a:gd name="connsiteX34" fmla="*/ 3442 w 10000"/>
              <a:gd name="connsiteY34" fmla="*/ 2559 h 10000"/>
              <a:gd name="connsiteX35" fmla="*/ 3303 w 10000"/>
              <a:gd name="connsiteY35" fmla="*/ 2946 h 10000"/>
              <a:gd name="connsiteX36" fmla="*/ 3394 w 10000"/>
              <a:gd name="connsiteY36" fmla="*/ 3256 h 10000"/>
              <a:gd name="connsiteX37" fmla="*/ 3346 w 10000"/>
              <a:gd name="connsiteY37" fmla="*/ 3566 h 10000"/>
              <a:gd name="connsiteX38" fmla="*/ 3346 w 10000"/>
              <a:gd name="connsiteY38" fmla="*/ 3799 h 10000"/>
              <a:gd name="connsiteX39" fmla="*/ 3484 w 10000"/>
              <a:gd name="connsiteY39" fmla="*/ 3799 h 10000"/>
              <a:gd name="connsiteX40" fmla="*/ 3394 w 10000"/>
              <a:gd name="connsiteY40" fmla="*/ 3876 h 10000"/>
              <a:gd name="connsiteX41" fmla="*/ 3442 w 10000"/>
              <a:gd name="connsiteY41" fmla="*/ 4263 h 10000"/>
              <a:gd name="connsiteX42" fmla="*/ 3168 w 10000"/>
              <a:gd name="connsiteY42" fmla="*/ 4652 h 10000"/>
              <a:gd name="connsiteX43" fmla="*/ 3121 w 10000"/>
              <a:gd name="connsiteY43" fmla="*/ 4574 h 10000"/>
              <a:gd name="connsiteX44" fmla="*/ 3303 w 10000"/>
              <a:gd name="connsiteY44" fmla="*/ 4186 h 10000"/>
              <a:gd name="connsiteX45" fmla="*/ 3346 w 10000"/>
              <a:gd name="connsiteY45" fmla="*/ 3954 h 10000"/>
              <a:gd name="connsiteX46" fmla="*/ 3253 w 10000"/>
              <a:gd name="connsiteY46" fmla="*/ 3799 h 10000"/>
              <a:gd name="connsiteX47" fmla="*/ 3253 w 10000"/>
              <a:gd name="connsiteY47" fmla="*/ 3023 h 10000"/>
              <a:gd name="connsiteX48" fmla="*/ 3213 w 10000"/>
              <a:gd name="connsiteY48" fmla="*/ 2868 h 10000"/>
              <a:gd name="connsiteX49" fmla="*/ 3253 w 10000"/>
              <a:gd name="connsiteY49" fmla="*/ 2403 h 10000"/>
              <a:gd name="connsiteX50" fmla="*/ 3168 w 10000"/>
              <a:gd name="connsiteY50" fmla="*/ 2325 h 10000"/>
              <a:gd name="connsiteX51" fmla="*/ 3213 w 10000"/>
              <a:gd name="connsiteY51" fmla="*/ 2248 h 10000"/>
              <a:gd name="connsiteX52" fmla="*/ 3168 w 10000"/>
              <a:gd name="connsiteY52" fmla="*/ 2093 h 10000"/>
              <a:gd name="connsiteX53" fmla="*/ 3074 w 10000"/>
              <a:gd name="connsiteY53" fmla="*/ 2170 h 10000"/>
              <a:gd name="connsiteX54" fmla="*/ 2850 w 10000"/>
              <a:gd name="connsiteY54" fmla="*/ 3178 h 10000"/>
              <a:gd name="connsiteX55" fmla="*/ 2850 w 10000"/>
              <a:gd name="connsiteY55" fmla="*/ 3566 h 10000"/>
              <a:gd name="connsiteX56" fmla="*/ 2985 w 10000"/>
              <a:gd name="connsiteY56" fmla="*/ 3876 h 10000"/>
              <a:gd name="connsiteX57" fmla="*/ 2985 w 10000"/>
              <a:gd name="connsiteY57" fmla="*/ 4031 h 10000"/>
              <a:gd name="connsiteX58" fmla="*/ 2850 w 10000"/>
              <a:gd name="connsiteY58" fmla="*/ 3876 h 10000"/>
              <a:gd name="connsiteX59" fmla="*/ 2310 w 10000"/>
              <a:gd name="connsiteY59" fmla="*/ 3256 h 10000"/>
              <a:gd name="connsiteX60" fmla="*/ 2262 w 10000"/>
              <a:gd name="connsiteY60" fmla="*/ 3411 h 10000"/>
              <a:gd name="connsiteX61" fmla="*/ 2444 w 10000"/>
              <a:gd name="connsiteY61" fmla="*/ 3799 h 10000"/>
              <a:gd name="connsiteX62" fmla="*/ 2352 w 10000"/>
              <a:gd name="connsiteY62" fmla="*/ 3876 h 10000"/>
              <a:gd name="connsiteX63" fmla="*/ 2310 w 10000"/>
              <a:gd name="connsiteY63" fmla="*/ 3799 h 10000"/>
              <a:gd name="connsiteX64" fmla="*/ 2038 w 10000"/>
              <a:gd name="connsiteY64" fmla="*/ 3954 h 10000"/>
              <a:gd name="connsiteX65" fmla="*/ 1992 w 10000"/>
              <a:gd name="connsiteY65" fmla="*/ 4109 h 10000"/>
              <a:gd name="connsiteX66" fmla="*/ 1947 w 10000"/>
              <a:gd name="connsiteY66" fmla="*/ 3954 h 10000"/>
              <a:gd name="connsiteX67" fmla="*/ 1947 w 10000"/>
              <a:gd name="connsiteY67" fmla="*/ 3799 h 10000"/>
              <a:gd name="connsiteX68" fmla="*/ 1492 w 10000"/>
              <a:gd name="connsiteY68" fmla="*/ 4263 h 10000"/>
              <a:gd name="connsiteX69" fmla="*/ 1492 w 10000"/>
              <a:gd name="connsiteY69" fmla="*/ 4418 h 10000"/>
              <a:gd name="connsiteX70" fmla="*/ 1405 w 10000"/>
              <a:gd name="connsiteY70" fmla="*/ 4496 h 10000"/>
              <a:gd name="connsiteX71" fmla="*/ 1266 w 10000"/>
              <a:gd name="connsiteY71" fmla="*/ 4341 h 10000"/>
              <a:gd name="connsiteX72" fmla="*/ 1405 w 10000"/>
              <a:gd name="connsiteY72" fmla="*/ 4186 h 10000"/>
              <a:gd name="connsiteX73" fmla="*/ 1358 w 10000"/>
              <a:gd name="connsiteY73" fmla="*/ 3954 h 10000"/>
              <a:gd name="connsiteX74" fmla="*/ 1178 w 10000"/>
              <a:gd name="connsiteY74" fmla="*/ 3876 h 10000"/>
              <a:gd name="connsiteX75" fmla="*/ 1224 w 10000"/>
              <a:gd name="connsiteY75" fmla="*/ 4031 h 10000"/>
              <a:gd name="connsiteX76" fmla="*/ 1224 w 10000"/>
              <a:gd name="connsiteY76" fmla="*/ 4418 h 10000"/>
              <a:gd name="connsiteX77" fmla="*/ 1266 w 10000"/>
              <a:gd name="connsiteY77" fmla="*/ 4574 h 10000"/>
              <a:gd name="connsiteX78" fmla="*/ 1224 w 10000"/>
              <a:gd name="connsiteY78" fmla="*/ 4729 h 10000"/>
              <a:gd name="connsiteX79" fmla="*/ 1085 w 10000"/>
              <a:gd name="connsiteY79" fmla="*/ 4652 h 10000"/>
              <a:gd name="connsiteX80" fmla="*/ 904 w 10000"/>
              <a:gd name="connsiteY80" fmla="*/ 4884 h 10000"/>
              <a:gd name="connsiteX81" fmla="*/ 994 w 10000"/>
              <a:gd name="connsiteY81" fmla="*/ 5194 h 10000"/>
              <a:gd name="connsiteX82" fmla="*/ 723 w 10000"/>
              <a:gd name="connsiteY82" fmla="*/ 5039 h 10000"/>
              <a:gd name="connsiteX83" fmla="*/ 679 w 10000"/>
              <a:gd name="connsiteY83" fmla="*/ 5116 h 10000"/>
              <a:gd name="connsiteX84" fmla="*/ 770 w 10000"/>
              <a:gd name="connsiteY84" fmla="*/ 5349 h 10000"/>
              <a:gd name="connsiteX85" fmla="*/ 679 w 10000"/>
              <a:gd name="connsiteY85" fmla="*/ 5349 h 10000"/>
              <a:gd name="connsiteX86" fmla="*/ 544 w 10000"/>
              <a:gd name="connsiteY86" fmla="*/ 5194 h 10000"/>
              <a:gd name="connsiteX87" fmla="*/ 544 w 10000"/>
              <a:gd name="connsiteY87" fmla="*/ 4729 h 10000"/>
              <a:gd name="connsiteX88" fmla="*/ 410 w 10000"/>
              <a:gd name="connsiteY88" fmla="*/ 4574 h 10000"/>
              <a:gd name="connsiteX89" fmla="*/ 362 w 10000"/>
              <a:gd name="connsiteY89" fmla="*/ 4418 h 10000"/>
              <a:gd name="connsiteX90" fmla="*/ 453 w 10000"/>
              <a:gd name="connsiteY90" fmla="*/ 4496 h 10000"/>
              <a:gd name="connsiteX91" fmla="*/ 813 w 10000"/>
              <a:gd name="connsiteY91" fmla="*/ 4729 h 10000"/>
              <a:gd name="connsiteX92" fmla="*/ 1039 w 10000"/>
              <a:gd name="connsiteY92" fmla="*/ 4496 h 10000"/>
              <a:gd name="connsiteX93" fmla="*/ 994 w 10000"/>
              <a:gd name="connsiteY93" fmla="*/ 4263 h 10000"/>
              <a:gd name="connsiteX94" fmla="*/ 723 w 10000"/>
              <a:gd name="connsiteY94" fmla="*/ 3799 h 10000"/>
              <a:gd name="connsiteX95" fmla="*/ 453 w 10000"/>
              <a:gd name="connsiteY95" fmla="*/ 3644 h 10000"/>
              <a:gd name="connsiteX96" fmla="*/ 453 w 10000"/>
              <a:gd name="connsiteY96" fmla="*/ 3566 h 10000"/>
              <a:gd name="connsiteX97" fmla="*/ 362 w 10000"/>
              <a:gd name="connsiteY97" fmla="*/ 3488 h 10000"/>
              <a:gd name="connsiteX98" fmla="*/ 269 w 10000"/>
              <a:gd name="connsiteY98" fmla="*/ 3566 h 10000"/>
              <a:gd name="connsiteX99" fmla="*/ 269 w 10000"/>
              <a:gd name="connsiteY99" fmla="*/ 3644 h 10000"/>
              <a:gd name="connsiteX100" fmla="*/ 227 w 10000"/>
              <a:gd name="connsiteY100" fmla="*/ 3644 h 10000"/>
              <a:gd name="connsiteX101" fmla="*/ 135 w 10000"/>
              <a:gd name="connsiteY101" fmla="*/ 3799 h 10000"/>
              <a:gd name="connsiteX102" fmla="*/ 135 w 10000"/>
              <a:gd name="connsiteY102" fmla="*/ 4031 h 10000"/>
              <a:gd name="connsiteX103" fmla="*/ 227 w 10000"/>
              <a:gd name="connsiteY103" fmla="*/ 4186 h 10000"/>
              <a:gd name="connsiteX104" fmla="*/ 180 w 10000"/>
              <a:gd name="connsiteY104" fmla="*/ 4418 h 10000"/>
              <a:gd name="connsiteX105" fmla="*/ 227 w 10000"/>
              <a:gd name="connsiteY105" fmla="*/ 4807 h 10000"/>
              <a:gd name="connsiteX106" fmla="*/ 180 w 10000"/>
              <a:gd name="connsiteY106" fmla="*/ 5039 h 10000"/>
              <a:gd name="connsiteX107" fmla="*/ 269 w 10000"/>
              <a:gd name="connsiteY107" fmla="*/ 5271 h 10000"/>
              <a:gd name="connsiteX108" fmla="*/ 227 w 10000"/>
              <a:gd name="connsiteY108" fmla="*/ 5426 h 10000"/>
              <a:gd name="connsiteX109" fmla="*/ 316 w 10000"/>
              <a:gd name="connsiteY109" fmla="*/ 5582 h 10000"/>
              <a:gd name="connsiteX110" fmla="*/ 316 w 10000"/>
              <a:gd name="connsiteY110" fmla="*/ 5659 h 10000"/>
              <a:gd name="connsiteX111" fmla="*/ 180 w 10000"/>
              <a:gd name="connsiteY111" fmla="*/ 6047 h 10000"/>
              <a:gd name="connsiteX112" fmla="*/ 42 w 10000"/>
              <a:gd name="connsiteY112" fmla="*/ 6202 h 10000"/>
              <a:gd name="connsiteX113" fmla="*/ 90 w 10000"/>
              <a:gd name="connsiteY113" fmla="*/ 6202 h 10000"/>
              <a:gd name="connsiteX114" fmla="*/ 180 w 10000"/>
              <a:gd name="connsiteY114" fmla="*/ 6356 h 10000"/>
              <a:gd name="connsiteX115" fmla="*/ 90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90 w 10000"/>
              <a:gd name="connsiteY122" fmla="*/ 7209 h 10000"/>
              <a:gd name="connsiteX123" fmla="*/ 227 w 10000"/>
              <a:gd name="connsiteY123" fmla="*/ 7287 h 10000"/>
              <a:gd name="connsiteX124" fmla="*/ 269 w 10000"/>
              <a:gd name="connsiteY124" fmla="*/ 7364 h 10000"/>
              <a:gd name="connsiteX125" fmla="*/ 269 w 10000"/>
              <a:gd name="connsiteY125" fmla="*/ 7520 h 10000"/>
              <a:gd name="connsiteX126" fmla="*/ 362 w 10000"/>
              <a:gd name="connsiteY126" fmla="*/ 7752 h 10000"/>
              <a:gd name="connsiteX127" fmla="*/ 410 w 10000"/>
              <a:gd name="connsiteY127" fmla="*/ 7752 h 10000"/>
              <a:gd name="connsiteX128" fmla="*/ 362 w 10000"/>
              <a:gd name="connsiteY128" fmla="*/ 7907 h 10000"/>
              <a:gd name="connsiteX129" fmla="*/ 316 w 10000"/>
              <a:gd name="connsiteY129" fmla="*/ 7830 h 10000"/>
              <a:gd name="connsiteX130" fmla="*/ 316 w 10000"/>
              <a:gd name="connsiteY130" fmla="*/ 7907 h 10000"/>
              <a:gd name="connsiteX131" fmla="*/ 362 w 10000"/>
              <a:gd name="connsiteY131" fmla="*/ 8062 h 10000"/>
              <a:gd name="connsiteX132" fmla="*/ 499 w 10000"/>
              <a:gd name="connsiteY132" fmla="*/ 8062 h 10000"/>
              <a:gd name="connsiteX133" fmla="*/ 544 w 10000"/>
              <a:gd name="connsiteY133" fmla="*/ 8140 h 10000"/>
              <a:gd name="connsiteX134" fmla="*/ 499 w 10000"/>
              <a:gd name="connsiteY134" fmla="*/ 8140 h 10000"/>
              <a:gd name="connsiteX135" fmla="*/ 544 w 10000"/>
              <a:gd name="connsiteY135" fmla="*/ 8217 h 10000"/>
              <a:gd name="connsiteX136" fmla="*/ 587 w 10000"/>
              <a:gd name="connsiteY136" fmla="*/ 8217 h 10000"/>
              <a:gd name="connsiteX137" fmla="*/ 633 w 10000"/>
              <a:gd name="connsiteY137" fmla="*/ 8372 h 10000"/>
              <a:gd name="connsiteX138" fmla="*/ 679 w 10000"/>
              <a:gd name="connsiteY138" fmla="*/ 8449 h 10000"/>
              <a:gd name="connsiteX139" fmla="*/ 723 w 10000"/>
              <a:gd name="connsiteY139" fmla="*/ 8372 h 10000"/>
              <a:gd name="connsiteX140" fmla="*/ 952 w 10000"/>
              <a:gd name="connsiteY140" fmla="*/ 8605 h 10000"/>
              <a:gd name="connsiteX141" fmla="*/ 904 w 10000"/>
              <a:gd name="connsiteY141" fmla="*/ 8915 h 10000"/>
              <a:gd name="connsiteX142" fmla="*/ 858 w 10000"/>
              <a:gd name="connsiteY142" fmla="*/ 8838 h 10000"/>
              <a:gd name="connsiteX143" fmla="*/ 813 w 10000"/>
              <a:gd name="connsiteY143" fmla="*/ 8915 h 10000"/>
              <a:gd name="connsiteX144" fmla="*/ 813 w 10000"/>
              <a:gd name="connsiteY144" fmla="*/ 9070 h 10000"/>
              <a:gd name="connsiteX145" fmla="*/ 858 w 10000"/>
              <a:gd name="connsiteY145" fmla="*/ 8993 h 10000"/>
              <a:gd name="connsiteX146" fmla="*/ 904 w 10000"/>
              <a:gd name="connsiteY146" fmla="*/ 9070 h 10000"/>
              <a:gd name="connsiteX147" fmla="*/ 770 w 10000"/>
              <a:gd name="connsiteY147" fmla="*/ 9147 h 10000"/>
              <a:gd name="connsiteX148" fmla="*/ 813 w 10000"/>
              <a:gd name="connsiteY148" fmla="*/ 9225 h 10000"/>
              <a:gd name="connsiteX149" fmla="*/ 723 w 10000"/>
              <a:gd name="connsiteY149" fmla="*/ 9380 h 10000"/>
              <a:gd name="connsiteX150" fmla="*/ 679 w 10000"/>
              <a:gd name="connsiteY150" fmla="*/ 9380 h 10000"/>
              <a:gd name="connsiteX151" fmla="*/ 723 w 10000"/>
              <a:gd name="connsiteY151" fmla="*/ 9380 h 10000"/>
              <a:gd name="connsiteX152" fmla="*/ 904 w 10000"/>
              <a:gd name="connsiteY152" fmla="*/ 9691 h 10000"/>
              <a:gd name="connsiteX153" fmla="*/ 1132 w 10000"/>
              <a:gd name="connsiteY153" fmla="*/ 9691 h 10000"/>
              <a:gd name="connsiteX154" fmla="*/ 1224 w 10000"/>
              <a:gd name="connsiteY154" fmla="*/ 9768 h 10000"/>
              <a:gd name="connsiteX155" fmla="*/ 1312 w 10000"/>
              <a:gd name="connsiteY155" fmla="*/ 9768 h 10000"/>
              <a:gd name="connsiteX156" fmla="*/ 1405 w 10000"/>
              <a:gd name="connsiteY156" fmla="*/ 9923 h 10000"/>
              <a:gd name="connsiteX157" fmla="*/ 1448 w 10000"/>
              <a:gd name="connsiteY157" fmla="*/ 10000 h 10000"/>
              <a:gd name="connsiteX158" fmla="*/ 1492 w 10000"/>
              <a:gd name="connsiteY158" fmla="*/ 10000 h 10000"/>
              <a:gd name="connsiteX159" fmla="*/ 1540 w 10000"/>
              <a:gd name="connsiteY159" fmla="*/ 9923 h 10000"/>
              <a:gd name="connsiteX160" fmla="*/ 1448 w 10000"/>
              <a:gd name="connsiteY160" fmla="*/ 9768 h 10000"/>
              <a:gd name="connsiteX161" fmla="*/ 1448 w 10000"/>
              <a:gd name="connsiteY161" fmla="*/ 9613 h 10000"/>
              <a:gd name="connsiteX162" fmla="*/ 1405 w 10000"/>
              <a:gd name="connsiteY162" fmla="*/ 9457 h 10000"/>
              <a:gd name="connsiteX163" fmla="*/ 1492 w 10000"/>
              <a:gd name="connsiteY163" fmla="*/ 9225 h 10000"/>
              <a:gd name="connsiteX164" fmla="*/ 1540 w 10000"/>
              <a:gd name="connsiteY164" fmla="*/ 9302 h 10000"/>
              <a:gd name="connsiteX165" fmla="*/ 1584 w 10000"/>
              <a:gd name="connsiteY165" fmla="*/ 9225 h 10000"/>
              <a:gd name="connsiteX166" fmla="*/ 1584 w 10000"/>
              <a:gd name="connsiteY166" fmla="*/ 9147 h 10000"/>
              <a:gd name="connsiteX167" fmla="*/ 1540 w 10000"/>
              <a:gd name="connsiteY167" fmla="*/ 9147 h 10000"/>
              <a:gd name="connsiteX168" fmla="*/ 1584 w 10000"/>
              <a:gd name="connsiteY168" fmla="*/ 9070 h 10000"/>
              <a:gd name="connsiteX169" fmla="*/ 1540 w 10000"/>
              <a:gd name="connsiteY169" fmla="*/ 8915 h 10000"/>
              <a:gd name="connsiteX170" fmla="*/ 1448 w 10000"/>
              <a:gd name="connsiteY170" fmla="*/ 8915 h 10000"/>
              <a:gd name="connsiteX171" fmla="*/ 1405 w 10000"/>
              <a:gd name="connsiteY171" fmla="*/ 8760 h 10000"/>
              <a:gd name="connsiteX172" fmla="*/ 1448 w 10000"/>
              <a:gd name="connsiteY172" fmla="*/ 8372 h 10000"/>
              <a:gd name="connsiteX173" fmla="*/ 1540 w 10000"/>
              <a:gd name="connsiteY173" fmla="*/ 8528 h 10000"/>
              <a:gd name="connsiteX174" fmla="*/ 1584 w 10000"/>
              <a:gd name="connsiteY174" fmla="*/ 8528 h 10000"/>
              <a:gd name="connsiteX175" fmla="*/ 1540 w 10000"/>
              <a:gd name="connsiteY175" fmla="*/ 8372 h 10000"/>
              <a:gd name="connsiteX176" fmla="*/ 1675 w 10000"/>
              <a:gd name="connsiteY176" fmla="*/ 8140 h 10000"/>
              <a:gd name="connsiteX177" fmla="*/ 1767 w 10000"/>
              <a:gd name="connsiteY177" fmla="*/ 8217 h 10000"/>
              <a:gd name="connsiteX178" fmla="*/ 1809 w 10000"/>
              <a:gd name="connsiteY178" fmla="*/ 8140 h 10000"/>
              <a:gd name="connsiteX179" fmla="*/ 1900 w 10000"/>
              <a:gd name="connsiteY179" fmla="*/ 8217 h 10000"/>
              <a:gd name="connsiteX180" fmla="*/ 2038 w 10000"/>
              <a:gd name="connsiteY180" fmla="*/ 8372 h 10000"/>
              <a:gd name="connsiteX181" fmla="*/ 2127 w 10000"/>
              <a:gd name="connsiteY181" fmla="*/ 8295 h 10000"/>
              <a:gd name="connsiteX182" fmla="*/ 2218 w 10000"/>
              <a:gd name="connsiteY182" fmla="*/ 8295 h 10000"/>
              <a:gd name="connsiteX183" fmla="*/ 2262 w 10000"/>
              <a:gd name="connsiteY183" fmla="*/ 8372 h 10000"/>
              <a:gd name="connsiteX184" fmla="*/ 2444 w 10000"/>
              <a:gd name="connsiteY184" fmla="*/ 8372 h 10000"/>
              <a:gd name="connsiteX185" fmla="*/ 2487 w 10000"/>
              <a:gd name="connsiteY185" fmla="*/ 8217 h 10000"/>
              <a:gd name="connsiteX186" fmla="*/ 2352 w 10000"/>
              <a:gd name="connsiteY186" fmla="*/ 8140 h 10000"/>
              <a:gd name="connsiteX187" fmla="*/ 2444 w 10000"/>
              <a:gd name="connsiteY187" fmla="*/ 8062 h 10000"/>
              <a:gd name="connsiteX188" fmla="*/ 2397 w 10000"/>
              <a:gd name="connsiteY188" fmla="*/ 7985 h 10000"/>
              <a:gd name="connsiteX189" fmla="*/ 2444 w 10000"/>
              <a:gd name="connsiteY189" fmla="*/ 7907 h 10000"/>
              <a:gd name="connsiteX190" fmla="*/ 2444 w 10000"/>
              <a:gd name="connsiteY190" fmla="*/ 7675 h 10000"/>
              <a:gd name="connsiteX191" fmla="*/ 2533 w 10000"/>
              <a:gd name="connsiteY191" fmla="*/ 7752 h 10000"/>
              <a:gd name="connsiteX192" fmla="*/ 2942 w 10000"/>
              <a:gd name="connsiteY192" fmla="*/ 7520 h 10000"/>
              <a:gd name="connsiteX193" fmla="*/ 2942 w 10000"/>
              <a:gd name="connsiteY193" fmla="*/ 7442 h 10000"/>
              <a:gd name="connsiteX194" fmla="*/ 2985 w 10000"/>
              <a:gd name="connsiteY194" fmla="*/ 7442 h 10000"/>
              <a:gd name="connsiteX195" fmla="*/ 3121 w 10000"/>
              <a:gd name="connsiteY195" fmla="*/ 7442 h 10000"/>
              <a:gd name="connsiteX196" fmla="*/ 3168 w 10000"/>
              <a:gd name="connsiteY196" fmla="*/ 7598 h 10000"/>
              <a:gd name="connsiteX197" fmla="*/ 3168 w 10000"/>
              <a:gd name="connsiteY197" fmla="*/ 7675 h 10000"/>
              <a:gd name="connsiteX198" fmla="*/ 3213 w 10000"/>
              <a:gd name="connsiteY198" fmla="*/ 7675 h 10000"/>
              <a:gd name="connsiteX199" fmla="*/ 3303 w 10000"/>
              <a:gd name="connsiteY199" fmla="*/ 7752 h 10000"/>
              <a:gd name="connsiteX200" fmla="*/ 3303 w 10000"/>
              <a:gd name="connsiteY200" fmla="*/ 7830 h 10000"/>
              <a:gd name="connsiteX201" fmla="*/ 3394 w 10000"/>
              <a:gd name="connsiteY201" fmla="*/ 7830 h 10000"/>
              <a:gd name="connsiteX202" fmla="*/ 3484 w 10000"/>
              <a:gd name="connsiteY202" fmla="*/ 7675 h 10000"/>
              <a:gd name="connsiteX203" fmla="*/ 3575 w 10000"/>
              <a:gd name="connsiteY203" fmla="*/ 7598 h 10000"/>
              <a:gd name="connsiteX204" fmla="*/ 3622 w 10000"/>
              <a:gd name="connsiteY204" fmla="*/ 7830 h 10000"/>
              <a:gd name="connsiteX205" fmla="*/ 3801 w 10000"/>
              <a:gd name="connsiteY205" fmla="*/ 8372 h 10000"/>
              <a:gd name="connsiteX206" fmla="*/ 3847 w 10000"/>
              <a:gd name="connsiteY206" fmla="*/ 8217 h 10000"/>
              <a:gd name="connsiteX207" fmla="*/ 3893 w 10000"/>
              <a:gd name="connsiteY207" fmla="*/ 8372 h 10000"/>
              <a:gd name="connsiteX208" fmla="*/ 4028 w 10000"/>
              <a:gd name="connsiteY208" fmla="*/ 8295 h 10000"/>
              <a:gd name="connsiteX209" fmla="*/ 4165 w 10000"/>
              <a:gd name="connsiteY209" fmla="*/ 8528 h 10000"/>
              <a:gd name="connsiteX210" fmla="*/ 4254 w 10000"/>
              <a:gd name="connsiteY210" fmla="*/ 8605 h 10000"/>
              <a:gd name="connsiteX211" fmla="*/ 4254 w 10000"/>
              <a:gd name="connsiteY211" fmla="*/ 8528 h 10000"/>
              <a:gd name="connsiteX212" fmla="*/ 4299 w 10000"/>
              <a:gd name="connsiteY212" fmla="*/ 8683 h 10000"/>
              <a:gd name="connsiteX213" fmla="*/ 4254 w 10000"/>
              <a:gd name="connsiteY213" fmla="*/ 8760 h 10000"/>
              <a:gd name="connsiteX214" fmla="*/ 4345 w 10000"/>
              <a:gd name="connsiteY214" fmla="*/ 8683 h 10000"/>
              <a:gd name="connsiteX215" fmla="*/ 4389 w 10000"/>
              <a:gd name="connsiteY215" fmla="*/ 8605 h 10000"/>
              <a:gd name="connsiteX216" fmla="*/ 4616 w 10000"/>
              <a:gd name="connsiteY216" fmla="*/ 8372 h 10000"/>
              <a:gd name="connsiteX217" fmla="*/ 4796 w 10000"/>
              <a:gd name="connsiteY217" fmla="*/ 8449 h 10000"/>
              <a:gd name="connsiteX218" fmla="*/ 4886 w 10000"/>
              <a:gd name="connsiteY218" fmla="*/ 8528 h 10000"/>
              <a:gd name="connsiteX219" fmla="*/ 5066 w 10000"/>
              <a:gd name="connsiteY219" fmla="*/ 8528 h 10000"/>
              <a:gd name="connsiteX220" fmla="*/ 5066 w 10000"/>
              <a:gd name="connsiteY220" fmla="*/ 8372 h 10000"/>
              <a:gd name="connsiteX221" fmla="*/ 5066 w 10000"/>
              <a:gd name="connsiteY221" fmla="*/ 8217 h 10000"/>
              <a:gd name="connsiteX222" fmla="*/ 5158 w 10000"/>
              <a:gd name="connsiteY222" fmla="*/ 8140 h 10000"/>
              <a:gd name="connsiteX223" fmla="*/ 5339 w 10000"/>
              <a:gd name="connsiteY223" fmla="*/ 8217 h 10000"/>
              <a:gd name="connsiteX224" fmla="*/ 5429 w 10000"/>
              <a:gd name="connsiteY224" fmla="*/ 8449 h 10000"/>
              <a:gd name="connsiteX225" fmla="*/ 5476 w 10000"/>
              <a:gd name="connsiteY225" fmla="*/ 8449 h 10000"/>
              <a:gd name="connsiteX226" fmla="*/ 5566 w 10000"/>
              <a:gd name="connsiteY226" fmla="*/ 8372 h 10000"/>
              <a:gd name="connsiteX227" fmla="*/ 5841 w 10000"/>
              <a:gd name="connsiteY227" fmla="*/ 8605 h 10000"/>
              <a:gd name="connsiteX228" fmla="*/ 5975 w 10000"/>
              <a:gd name="connsiteY228" fmla="*/ 8683 h 10000"/>
              <a:gd name="connsiteX229" fmla="*/ 6155 w 10000"/>
              <a:gd name="connsiteY229" fmla="*/ 8605 h 10000"/>
              <a:gd name="connsiteX230" fmla="*/ 6244 w 10000"/>
              <a:gd name="connsiteY230" fmla="*/ 8449 h 10000"/>
              <a:gd name="connsiteX231" fmla="*/ 6380 w 10000"/>
              <a:gd name="connsiteY231" fmla="*/ 8528 h 10000"/>
              <a:gd name="connsiteX232" fmla="*/ 6471 w 10000"/>
              <a:gd name="connsiteY232" fmla="*/ 8605 h 10000"/>
              <a:gd name="connsiteX233" fmla="*/ 8009 w 10000"/>
              <a:gd name="connsiteY233" fmla="*/ 7675 h 10000"/>
              <a:gd name="connsiteX234" fmla="*/ 7920 w 10000"/>
              <a:gd name="connsiteY234" fmla="*/ 7675 h 10000"/>
              <a:gd name="connsiteX235" fmla="*/ 7875 w 10000"/>
              <a:gd name="connsiteY235" fmla="*/ 7675 h 10000"/>
              <a:gd name="connsiteX236" fmla="*/ 7828 w 10000"/>
              <a:gd name="connsiteY236" fmla="*/ 7598 h 10000"/>
              <a:gd name="connsiteX237" fmla="*/ 7740 w 10000"/>
              <a:gd name="connsiteY237" fmla="*/ 7598 h 10000"/>
              <a:gd name="connsiteX238" fmla="*/ 7740 w 10000"/>
              <a:gd name="connsiteY238" fmla="*/ 7520 h 10000"/>
              <a:gd name="connsiteX239" fmla="*/ 7875 w 10000"/>
              <a:gd name="connsiteY239" fmla="*/ 7287 h 10000"/>
              <a:gd name="connsiteX240" fmla="*/ 8285 w 10000"/>
              <a:gd name="connsiteY240" fmla="*/ 6590 h 10000"/>
              <a:gd name="connsiteX241" fmla="*/ 8462 w 10000"/>
              <a:gd name="connsiteY241" fmla="*/ 6512 h 10000"/>
              <a:gd name="connsiteX242" fmla="*/ 8506 w 10000"/>
              <a:gd name="connsiteY242" fmla="*/ 6590 h 10000"/>
              <a:gd name="connsiteX243" fmla="*/ 8554 w 10000"/>
              <a:gd name="connsiteY243" fmla="*/ 6512 h 10000"/>
              <a:gd name="connsiteX244" fmla="*/ 8686 w 10000"/>
              <a:gd name="connsiteY244" fmla="*/ 6590 h 10000"/>
              <a:gd name="connsiteX245" fmla="*/ 8737 w 10000"/>
              <a:gd name="connsiteY245" fmla="*/ 6434 h 10000"/>
              <a:gd name="connsiteX246" fmla="*/ 8869 w 10000"/>
              <a:gd name="connsiteY246" fmla="*/ 6512 h 10000"/>
              <a:gd name="connsiteX247" fmla="*/ 8914 w 10000"/>
              <a:gd name="connsiteY247" fmla="*/ 6512 h 10000"/>
              <a:gd name="connsiteX248" fmla="*/ 8869 w 10000"/>
              <a:gd name="connsiteY248" fmla="*/ 6590 h 10000"/>
              <a:gd name="connsiteX249" fmla="*/ 8869 w 10000"/>
              <a:gd name="connsiteY249" fmla="*/ 6667 h 10000"/>
              <a:gd name="connsiteX250" fmla="*/ 9140 w 10000"/>
              <a:gd name="connsiteY250" fmla="*/ 6590 h 10000"/>
              <a:gd name="connsiteX251" fmla="*/ 9095 w 10000"/>
              <a:gd name="connsiteY251" fmla="*/ 6512 h 10000"/>
              <a:gd name="connsiteX252" fmla="*/ 9279 w 10000"/>
              <a:gd name="connsiteY252" fmla="*/ 5969 h 10000"/>
              <a:gd name="connsiteX253" fmla="*/ 9501 w 10000"/>
              <a:gd name="connsiteY253" fmla="*/ 5892 h 10000"/>
              <a:gd name="connsiteX254" fmla="*/ 9501 w 10000"/>
              <a:gd name="connsiteY254" fmla="*/ 6047 h 10000"/>
              <a:gd name="connsiteX255" fmla="*/ 9501 w 10000"/>
              <a:gd name="connsiteY255" fmla="*/ 6202 h 10000"/>
              <a:gd name="connsiteX256" fmla="*/ 9729 w 10000"/>
              <a:gd name="connsiteY256" fmla="*/ 6202 h 10000"/>
              <a:gd name="connsiteX257" fmla="*/ 9638 w 10000"/>
              <a:gd name="connsiteY257" fmla="*/ 6279 h 10000"/>
              <a:gd name="connsiteX258" fmla="*/ 9729 w 10000"/>
              <a:gd name="connsiteY258" fmla="*/ 6590 h 10000"/>
              <a:gd name="connsiteX259" fmla="*/ 9729 w 10000"/>
              <a:gd name="connsiteY259" fmla="*/ 6434 h 10000"/>
              <a:gd name="connsiteX260" fmla="*/ 9821 w 10000"/>
              <a:gd name="connsiteY260" fmla="*/ 6434 h 10000"/>
              <a:gd name="connsiteX261" fmla="*/ 9957 w 10000"/>
              <a:gd name="connsiteY261" fmla="*/ 6279 h 10000"/>
              <a:gd name="connsiteX262" fmla="*/ 9957 w 10000"/>
              <a:gd name="connsiteY262" fmla="*/ 6434 h 10000"/>
              <a:gd name="connsiteX263" fmla="*/ 10000 w 10000"/>
              <a:gd name="connsiteY263" fmla="*/ 6356 h 10000"/>
              <a:gd name="connsiteX264" fmla="*/ 9550 w 10000"/>
              <a:gd name="connsiteY264" fmla="*/ 3566 h 10000"/>
              <a:gd name="connsiteX265" fmla="*/ 9457 w 10000"/>
              <a:gd name="connsiteY265" fmla="*/ 3488 h 10000"/>
              <a:gd name="connsiteX266" fmla="*/ 9501 w 10000"/>
              <a:gd name="connsiteY266" fmla="*/ 3333 h 10000"/>
              <a:gd name="connsiteX267" fmla="*/ 9411 w 10000"/>
              <a:gd name="connsiteY267" fmla="*/ 3101 h 10000"/>
              <a:gd name="connsiteX268" fmla="*/ 9229 w 10000"/>
              <a:gd name="connsiteY268" fmla="*/ 3023 h 10000"/>
              <a:gd name="connsiteX269" fmla="*/ 8961 w 10000"/>
              <a:gd name="connsiteY269" fmla="*/ 3178 h 10000"/>
              <a:gd name="connsiteX270" fmla="*/ 8914 w 10000"/>
              <a:gd name="connsiteY270" fmla="*/ 2946 h 10000"/>
              <a:gd name="connsiteX271" fmla="*/ 8825 w 10000"/>
              <a:gd name="connsiteY271" fmla="*/ 2946 h 10000"/>
              <a:gd name="connsiteX272" fmla="*/ 8779 w 10000"/>
              <a:gd name="connsiteY272" fmla="*/ 2868 h 10000"/>
              <a:gd name="connsiteX273" fmla="*/ 8779 w 10000"/>
              <a:gd name="connsiteY273" fmla="*/ 2636 h 10000"/>
              <a:gd name="connsiteX274" fmla="*/ 8462 w 10000"/>
              <a:gd name="connsiteY274" fmla="*/ 2480 h 10000"/>
              <a:gd name="connsiteX275" fmla="*/ 8101 w 10000"/>
              <a:gd name="connsiteY275" fmla="*/ 2325 h 10000"/>
              <a:gd name="connsiteX276" fmla="*/ 8009 w 10000"/>
              <a:gd name="connsiteY276" fmla="*/ 2636 h 10000"/>
              <a:gd name="connsiteX277" fmla="*/ 8101 w 10000"/>
              <a:gd name="connsiteY277" fmla="*/ 2868 h 10000"/>
              <a:gd name="connsiteX278" fmla="*/ 7828 w 10000"/>
              <a:gd name="connsiteY278" fmla="*/ 2868 h 10000"/>
              <a:gd name="connsiteX279" fmla="*/ 7782 w 10000"/>
              <a:gd name="connsiteY279" fmla="*/ 2868 h 10000"/>
              <a:gd name="connsiteX280" fmla="*/ 7692 w 10000"/>
              <a:gd name="connsiteY280" fmla="*/ 2946 h 10000"/>
              <a:gd name="connsiteX281" fmla="*/ 7557 w 10000"/>
              <a:gd name="connsiteY281" fmla="*/ 2714 h 10000"/>
              <a:gd name="connsiteX282" fmla="*/ 7465 w 10000"/>
              <a:gd name="connsiteY282" fmla="*/ 3178 h 10000"/>
              <a:gd name="connsiteX283" fmla="*/ 7378 w 10000"/>
              <a:gd name="connsiteY283" fmla="*/ 3101 h 10000"/>
              <a:gd name="connsiteX284" fmla="*/ 7285 w 10000"/>
              <a:gd name="connsiteY284" fmla="*/ 2791 h 10000"/>
              <a:gd name="connsiteX285" fmla="*/ 7332 w 10000"/>
              <a:gd name="connsiteY285" fmla="*/ 2403 h 10000"/>
              <a:gd name="connsiteX286" fmla="*/ 7241 w 10000"/>
              <a:gd name="connsiteY286" fmla="*/ 2170 h 10000"/>
              <a:gd name="connsiteX287" fmla="*/ 6969 w 10000"/>
              <a:gd name="connsiteY287" fmla="*/ 2016 h 10000"/>
              <a:gd name="connsiteX288" fmla="*/ 6876 w 10000"/>
              <a:gd name="connsiteY288" fmla="*/ 2016 h 10000"/>
              <a:gd name="connsiteX289" fmla="*/ 6833 w 10000"/>
              <a:gd name="connsiteY289" fmla="*/ 2170 h 10000"/>
              <a:gd name="connsiteX290" fmla="*/ 6876 w 10000"/>
              <a:gd name="connsiteY290" fmla="*/ 2325 h 10000"/>
              <a:gd name="connsiteX291" fmla="*/ 6520 w 10000"/>
              <a:gd name="connsiteY291" fmla="*/ 2248 h 10000"/>
              <a:gd name="connsiteX292" fmla="*/ 6561 w 10000"/>
              <a:gd name="connsiteY292" fmla="*/ 2016 h 10000"/>
              <a:gd name="connsiteX293" fmla="*/ 6337 w 10000"/>
              <a:gd name="connsiteY293" fmla="*/ 1938 h 10000"/>
              <a:gd name="connsiteX294" fmla="*/ 6200 w 10000"/>
              <a:gd name="connsiteY294" fmla="*/ 2093 h 10000"/>
              <a:gd name="connsiteX295" fmla="*/ 5934 w 10000"/>
              <a:gd name="connsiteY295" fmla="*/ 1861 h 10000"/>
              <a:gd name="connsiteX0" fmla="*/ 5934 w 10000"/>
              <a:gd name="connsiteY0" fmla="*/ 1861 h 10000"/>
              <a:gd name="connsiteX1" fmla="*/ 5934 w 10000"/>
              <a:gd name="connsiteY1" fmla="*/ 1861 h 10000"/>
              <a:gd name="connsiteX2" fmla="*/ 5883 w 10000"/>
              <a:gd name="connsiteY2" fmla="*/ 1938 h 10000"/>
              <a:gd name="connsiteX3" fmla="*/ 5934 w 10000"/>
              <a:gd name="connsiteY3" fmla="*/ 2093 h 10000"/>
              <a:gd name="connsiteX4" fmla="*/ 5746 w 10000"/>
              <a:gd name="connsiteY4" fmla="*/ 2248 h 10000"/>
              <a:gd name="connsiteX5" fmla="*/ 5699 w 10000"/>
              <a:gd name="connsiteY5" fmla="*/ 2248 h 10000"/>
              <a:gd name="connsiteX6" fmla="*/ 5746 w 10000"/>
              <a:gd name="connsiteY6" fmla="*/ 2016 h 10000"/>
              <a:gd name="connsiteX7" fmla="*/ 6200 w 10000"/>
              <a:gd name="connsiteY7" fmla="*/ 1318 h 10000"/>
              <a:gd name="connsiteX8" fmla="*/ 6200 w 10000"/>
              <a:gd name="connsiteY8" fmla="*/ 853 h 10000"/>
              <a:gd name="connsiteX9" fmla="*/ 6019 w 10000"/>
              <a:gd name="connsiteY9" fmla="*/ 543 h 10000"/>
              <a:gd name="connsiteX10" fmla="*/ 5793 w 10000"/>
              <a:gd name="connsiteY10" fmla="*/ 543 h 10000"/>
              <a:gd name="connsiteX11" fmla="*/ 5793 w 10000"/>
              <a:gd name="connsiteY11" fmla="*/ 698 h 10000"/>
              <a:gd name="connsiteX12" fmla="*/ 5655 w 10000"/>
              <a:gd name="connsiteY12" fmla="*/ 698 h 10000"/>
              <a:gd name="connsiteX13" fmla="*/ 5746 w 10000"/>
              <a:gd name="connsiteY13" fmla="*/ 387 h 10000"/>
              <a:gd name="connsiteX14" fmla="*/ 5522 w 10000"/>
              <a:gd name="connsiteY14" fmla="*/ 310 h 10000"/>
              <a:gd name="connsiteX15" fmla="*/ 5655 w 10000"/>
              <a:gd name="connsiteY15" fmla="*/ 155 h 10000"/>
              <a:gd name="connsiteX16" fmla="*/ 5522 w 10000"/>
              <a:gd name="connsiteY16" fmla="*/ 0 h 10000"/>
              <a:gd name="connsiteX17" fmla="*/ 5295 w 10000"/>
              <a:gd name="connsiteY17" fmla="*/ 387 h 10000"/>
              <a:gd name="connsiteX18" fmla="*/ 5295 w 10000"/>
              <a:gd name="connsiteY18" fmla="*/ 698 h 10000"/>
              <a:gd name="connsiteX19" fmla="*/ 5158 w 10000"/>
              <a:gd name="connsiteY19" fmla="*/ 698 h 10000"/>
              <a:gd name="connsiteX20" fmla="*/ 4752 w 10000"/>
              <a:gd name="connsiteY20" fmla="*/ 853 h 10000"/>
              <a:gd name="connsiteX21" fmla="*/ 4389 w 10000"/>
              <a:gd name="connsiteY21" fmla="*/ 1240 h 10000"/>
              <a:gd name="connsiteX22" fmla="*/ 4254 w 10000"/>
              <a:gd name="connsiteY22" fmla="*/ 1551 h 10000"/>
              <a:gd name="connsiteX23" fmla="*/ 4299 w 10000"/>
              <a:gd name="connsiteY23" fmla="*/ 1938 h 10000"/>
              <a:gd name="connsiteX24" fmla="*/ 3801 w 10000"/>
              <a:gd name="connsiteY24" fmla="*/ 2093 h 10000"/>
              <a:gd name="connsiteX25" fmla="*/ 3847 w 10000"/>
              <a:gd name="connsiteY25" fmla="*/ 2559 h 10000"/>
              <a:gd name="connsiteX26" fmla="*/ 3984 w 10000"/>
              <a:gd name="connsiteY26" fmla="*/ 2791 h 10000"/>
              <a:gd name="connsiteX27" fmla="*/ 3893 w 10000"/>
              <a:gd name="connsiteY27" fmla="*/ 2868 h 10000"/>
              <a:gd name="connsiteX28" fmla="*/ 3757 w 10000"/>
              <a:gd name="connsiteY28" fmla="*/ 2559 h 10000"/>
              <a:gd name="connsiteX29" fmla="*/ 3622 w 10000"/>
              <a:gd name="connsiteY29" fmla="*/ 2480 h 10000"/>
              <a:gd name="connsiteX30" fmla="*/ 3575 w 10000"/>
              <a:gd name="connsiteY30" fmla="*/ 2559 h 10000"/>
              <a:gd name="connsiteX31" fmla="*/ 3484 w 10000"/>
              <a:gd name="connsiteY31" fmla="*/ 2403 h 10000"/>
              <a:gd name="connsiteX32" fmla="*/ 3394 w 10000"/>
              <a:gd name="connsiteY32" fmla="*/ 2248 h 10000"/>
              <a:gd name="connsiteX33" fmla="*/ 3394 w 10000"/>
              <a:gd name="connsiteY33" fmla="*/ 2325 h 10000"/>
              <a:gd name="connsiteX34" fmla="*/ 3442 w 10000"/>
              <a:gd name="connsiteY34" fmla="*/ 2559 h 10000"/>
              <a:gd name="connsiteX35" fmla="*/ 3303 w 10000"/>
              <a:gd name="connsiteY35" fmla="*/ 2946 h 10000"/>
              <a:gd name="connsiteX36" fmla="*/ 3394 w 10000"/>
              <a:gd name="connsiteY36" fmla="*/ 3256 h 10000"/>
              <a:gd name="connsiteX37" fmla="*/ 3346 w 10000"/>
              <a:gd name="connsiteY37" fmla="*/ 3566 h 10000"/>
              <a:gd name="connsiteX38" fmla="*/ 3346 w 10000"/>
              <a:gd name="connsiteY38" fmla="*/ 3799 h 10000"/>
              <a:gd name="connsiteX39" fmla="*/ 3484 w 10000"/>
              <a:gd name="connsiteY39" fmla="*/ 3799 h 10000"/>
              <a:gd name="connsiteX40" fmla="*/ 3394 w 10000"/>
              <a:gd name="connsiteY40" fmla="*/ 3876 h 10000"/>
              <a:gd name="connsiteX41" fmla="*/ 3442 w 10000"/>
              <a:gd name="connsiteY41" fmla="*/ 4263 h 10000"/>
              <a:gd name="connsiteX42" fmla="*/ 3168 w 10000"/>
              <a:gd name="connsiteY42" fmla="*/ 4652 h 10000"/>
              <a:gd name="connsiteX43" fmla="*/ 3121 w 10000"/>
              <a:gd name="connsiteY43" fmla="*/ 4574 h 10000"/>
              <a:gd name="connsiteX44" fmla="*/ 3303 w 10000"/>
              <a:gd name="connsiteY44" fmla="*/ 4186 h 10000"/>
              <a:gd name="connsiteX45" fmla="*/ 3346 w 10000"/>
              <a:gd name="connsiteY45" fmla="*/ 3954 h 10000"/>
              <a:gd name="connsiteX46" fmla="*/ 3253 w 10000"/>
              <a:gd name="connsiteY46" fmla="*/ 3799 h 10000"/>
              <a:gd name="connsiteX47" fmla="*/ 3253 w 10000"/>
              <a:gd name="connsiteY47" fmla="*/ 3023 h 10000"/>
              <a:gd name="connsiteX48" fmla="*/ 3213 w 10000"/>
              <a:gd name="connsiteY48" fmla="*/ 2868 h 10000"/>
              <a:gd name="connsiteX49" fmla="*/ 3253 w 10000"/>
              <a:gd name="connsiteY49" fmla="*/ 2403 h 10000"/>
              <a:gd name="connsiteX50" fmla="*/ 3168 w 10000"/>
              <a:gd name="connsiteY50" fmla="*/ 2325 h 10000"/>
              <a:gd name="connsiteX51" fmla="*/ 3213 w 10000"/>
              <a:gd name="connsiteY51" fmla="*/ 2248 h 10000"/>
              <a:gd name="connsiteX52" fmla="*/ 3168 w 10000"/>
              <a:gd name="connsiteY52" fmla="*/ 2093 h 10000"/>
              <a:gd name="connsiteX53" fmla="*/ 3074 w 10000"/>
              <a:gd name="connsiteY53" fmla="*/ 2170 h 10000"/>
              <a:gd name="connsiteX54" fmla="*/ 2850 w 10000"/>
              <a:gd name="connsiteY54" fmla="*/ 3178 h 10000"/>
              <a:gd name="connsiteX55" fmla="*/ 2850 w 10000"/>
              <a:gd name="connsiteY55" fmla="*/ 3566 h 10000"/>
              <a:gd name="connsiteX56" fmla="*/ 2985 w 10000"/>
              <a:gd name="connsiteY56" fmla="*/ 3876 h 10000"/>
              <a:gd name="connsiteX57" fmla="*/ 2985 w 10000"/>
              <a:gd name="connsiteY57" fmla="*/ 4031 h 10000"/>
              <a:gd name="connsiteX58" fmla="*/ 2850 w 10000"/>
              <a:gd name="connsiteY58" fmla="*/ 3876 h 10000"/>
              <a:gd name="connsiteX59" fmla="*/ 2310 w 10000"/>
              <a:gd name="connsiteY59" fmla="*/ 3256 h 10000"/>
              <a:gd name="connsiteX60" fmla="*/ 2262 w 10000"/>
              <a:gd name="connsiteY60" fmla="*/ 3411 h 10000"/>
              <a:gd name="connsiteX61" fmla="*/ 2444 w 10000"/>
              <a:gd name="connsiteY61" fmla="*/ 3799 h 10000"/>
              <a:gd name="connsiteX62" fmla="*/ 2352 w 10000"/>
              <a:gd name="connsiteY62" fmla="*/ 3876 h 10000"/>
              <a:gd name="connsiteX63" fmla="*/ 2310 w 10000"/>
              <a:gd name="connsiteY63" fmla="*/ 3799 h 10000"/>
              <a:gd name="connsiteX64" fmla="*/ 2038 w 10000"/>
              <a:gd name="connsiteY64" fmla="*/ 3954 h 10000"/>
              <a:gd name="connsiteX65" fmla="*/ 1992 w 10000"/>
              <a:gd name="connsiteY65" fmla="*/ 4109 h 10000"/>
              <a:gd name="connsiteX66" fmla="*/ 1947 w 10000"/>
              <a:gd name="connsiteY66" fmla="*/ 3954 h 10000"/>
              <a:gd name="connsiteX67" fmla="*/ 1947 w 10000"/>
              <a:gd name="connsiteY67" fmla="*/ 3799 h 10000"/>
              <a:gd name="connsiteX68" fmla="*/ 1492 w 10000"/>
              <a:gd name="connsiteY68" fmla="*/ 4263 h 10000"/>
              <a:gd name="connsiteX69" fmla="*/ 1492 w 10000"/>
              <a:gd name="connsiteY69" fmla="*/ 4418 h 10000"/>
              <a:gd name="connsiteX70" fmla="*/ 1405 w 10000"/>
              <a:gd name="connsiteY70" fmla="*/ 4496 h 10000"/>
              <a:gd name="connsiteX71" fmla="*/ 1266 w 10000"/>
              <a:gd name="connsiteY71" fmla="*/ 4341 h 10000"/>
              <a:gd name="connsiteX72" fmla="*/ 1405 w 10000"/>
              <a:gd name="connsiteY72" fmla="*/ 4186 h 10000"/>
              <a:gd name="connsiteX73" fmla="*/ 1358 w 10000"/>
              <a:gd name="connsiteY73" fmla="*/ 3954 h 10000"/>
              <a:gd name="connsiteX74" fmla="*/ 1178 w 10000"/>
              <a:gd name="connsiteY74" fmla="*/ 3876 h 10000"/>
              <a:gd name="connsiteX75" fmla="*/ 1224 w 10000"/>
              <a:gd name="connsiteY75" fmla="*/ 4031 h 10000"/>
              <a:gd name="connsiteX76" fmla="*/ 1224 w 10000"/>
              <a:gd name="connsiteY76" fmla="*/ 4418 h 10000"/>
              <a:gd name="connsiteX77" fmla="*/ 1266 w 10000"/>
              <a:gd name="connsiteY77" fmla="*/ 4574 h 10000"/>
              <a:gd name="connsiteX78" fmla="*/ 1224 w 10000"/>
              <a:gd name="connsiteY78" fmla="*/ 4729 h 10000"/>
              <a:gd name="connsiteX79" fmla="*/ 1085 w 10000"/>
              <a:gd name="connsiteY79" fmla="*/ 4652 h 10000"/>
              <a:gd name="connsiteX80" fmla="*/ 904 w 10000"/>
              <a:gd name="connsiteY80" fmla="*/ 4884 h 10000"/>
              <a:gd name="connsiteX81" fmla="*/ 994 w 10000"/>
              <a:gd name="connsiteY81" fmla="*/ 5194 h 10000"/>
              <a:gd name="connsiteX82" fmla="*/ 723 w 10000"/>
              <a:gd name="connsiteY82" fmla="*/ 5039 h 10000"/>
              <a:gd name="connsiteX83" fmla="*/ 679 w 10000"/>
              <a:gd name="connsiteY83" fmla="*/ 5116 h 10000"/>
              <a:gd name="connsiteX84" fmla="*/ 770 w 10000"/>
              <a:gd name="connsiteY84" fmla="*/ 5349 h 10000"/>
              <a:gd name="connsiteX85" fmla="*/ 679 w 10000"/>
              <a:gd name="connsiteY85" fmla="*/ 5349 h 10000"/>
              <a:gd name="connsiteX86" fmla="*/ 544 w 10000"/>
              <a:gd name="connsiteY86" fmla="*/ 5194 h 10000"/>
              <a:gd name="connsiteX87" fmla="*/ 544 w 10000"/>
              <a:gd name="connsiteY87" fmla="*/ 4729 h 10000"/>
              <a:gd name="connsiteX88" fmla="*/ 410 w 10000"/>
              <a:gd name="connsiteY88" fmla="*/ 4574 h 10000"/>
              <a:gd name="connsiteX89" fmla="*/ 362 w 10000"/>
              <a:gd name="connsiteY89" fmla="*/ 4418 h 10000"/>
              <a:gd name="connsiteX90" fmla="*/ 453 w 10000"/>
              <a:gd name="connsiteY90" fmla="*/ 4496 h 10000"/>
              <a:gd name="connsiteX91" fmla="*/ 813 w 10000"/>
              <a:gd name="connsiteY91" fmla="*/ 4729 h 10000"/>
              <a:gd name="connsiteX92" fmla="*/ 1039 w 10000"/>
              <a:gd name="connsiteY92" fmla="*/ 4496 h 10000"/>
              <a:gd name="connsiteX93" fmla="*/ 994 w 10000"/>
              <a:gd name="connsiteY93" fmla="*/ 4263 h 10000"/>
              <a:gd name="connsiteX94" fmla="*/ 723 w 10000"/>
              <a:gd name="connsiteY94" fmla="*/ 3799 h 10000"/>
              <a:gd name="connsiteX95" fmla="*/ 453 w 10000"/>
              <a:gd name="connsiteY95" fmla="*/ 3644 h 10000"/>
              <a:gd name="connsiteX96" fmla="*/ 453 w 10000"/>
              <a:gd name="connsiteY96" fmla="*/ 3566 h 10000"/>
              <a:gd name="connsiteX97" fmla="*/ 362 w 10000"/>
              <a:gd name="connsiteY97" fmla="*/ 3488 h 10000"/>
              <a:gd name="connsiteX98" fmla="*/ 269 w 10000"/>
              <a:gd name="connsiteY98" fmla="*/ 3566 h 10000"/>
              <a:gd name="connsiteX99" fmla="*/ 269 w 10000"/>
              <a:gd name="connsiteY99" fmla="*/ 3644 h 10000"/>
              <a:gd name="connsiteX100" fmla="*/ 227 w 10000"/>
              <a:gd name="connsiteY100" fmla="*/ 3644 h 10000"/>
              <a:gd name="connsiteX101" fmla="*/ 135 w 10000"/>
              <a:gd name="connsiteY101" fmla="*/ 3799 h 10000"/>
              <a:gd name="connsiteX102" fmla="*/ 135 w 10000"/>
              <a:gd name="connsiteY102" fmla="*/ 4031 h 10000"/>
              <a:gd name="connsiteX103" fmla="*/ 227 w 10000"/>
              <a:gd name="connsiteY103" fmla="*/ 4186 h 10000"/>
              <a:gd name="connsiteX104" fmla="*/ 180 w 10000"/>
              <a:gd name="connsiteY104" fmla="*/ 4418 h 10000"/>
              <a:gd name="connsiteX105" fmla="*/ 227 w 10000"/>
              <a:gd name="connsiteY105" fmla="*/ 4807 h 10000"/>
              <a:gd name="connsiteX106" fmla="*/ 180 w 10000"/>
              <a:gd name="connsiteY106" fmla="*/ 5039 h 10000"/>
              <a:gd name="connsiteX107" fmla="*/ 269 w 10000"/>
              <a:gd name="connsiteY107" fmla="*/ 5271 h 10000"/>
              <a:gd name="connsiteX108" fmla="*/ 227 w 10000"/>
              <a:gd name="connsiteY108" fmla="*/ 5426 h 10000"/>
              <a:gd name="connsiteX109" fmla="*/ 316 w 10000"/>
              <a:gd name="connsiteY109" fmla="*/ 5582 h 10000"/>
              <a:gd name="connsiteX110" fmla="*/ 316 w 10000"/>
              <a:gd name="connsiteY110" fmla="*/ 5659 h 10000"/>
              <a:gd name="connsiteX111" fmla="*/ 180 w 10000"/>
              <a:gd name="connsiteY111" fmla="*/ 6047 h 10000"/>
              <a:gd name="connsiteX112" fmla="*/ 42 w 10000"/>
              <a:gd name="connsiteY112" fmla="*/ 6202 h 10000"/>
              <a:gd name="connsiteX113" fmla="*/ 90 w 10000"/>
              <a:gd name="connsiteY113" fmla="*/ 6202 h 10000"/>
              <a:gd name="connsiteX114" fmla="*/ 180 w 10000"/>
              <a:gd name="connsiteY114" fmla="*/ 6356 h 10000"/>
              <a:gd name="connsiteX115" fmla="*/ 90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90 w 10000"/>
              <a:gd name="connsiteY122" fmla="*/ 7209 h 10000"/>
              <a:gd name="connsiteX123" fmla="*/ 227 w 10000"/>
              <a:gd name="connsiteY123" fmla="*/ 7287 h 10000"/>
              <a:gd name="connsiteX124" fmla="*/ 269 w 10000"/>
              <a:gd name="connsiteY124" fmla="*/ 7364 h 10000"/>
              <a:gd name="connsiteX125" fmla="*/ 269 w 10000"/>
              <a:gd name="connsiteY125" fmla="*/ 7520 h 10000"/>
              <a:gd name="connsiteX126" fmla="*/ 362 w 10000"/>
              <a:gd name="connsiteY126" fmla="*/ 7752 h 10000"/>
              <a:gd name="connsiteX127" fmla="*/ 410 w 10000"/>
              <a:gd name="connsiteY127" fmla="*/ 7752 h 10000"/>
              <a:gd name="connsiteX128" fmla="*/ 362 w 10000"/>
              <a:gd name="connsiteY128" fmla="*/ 7907 h 10000"/>
              <a:gd name="connsiteX129" fmla="*/ 316 w 10000"/>
              <a:gd name="connsiteY129" fmla="*/ 7830 h 10000"/>
              <a:gd name="connsiteX130" fmla="*/ 316 w 10000"/>
              <a:gd name="connsiteY130" fmla="*/ 7907 h 10000"/>
              <a:gd name="connsiteX131" fmla="*/ 362 w 10000"/>
              <a:gd name="connsiteY131" fmla="*/ 8062 h 10000"/>
              <a:gd name="connsiteX132" fmla="*/ 499 w 10000"/>
              <a:gd name="connsiteY132" fmla="*/ 8062 h 10000"/>
              <a:gd name="connsiteX133" fmla="*/ 544 w 10000"/>
              <a:gd name="connsiteY133" fmla="*/ 8140 h 10000"/>
              <a:gd name="connsiteX134" fmla="*/ 499 w 10000"/>
              <a:gd name="connsiteY134" fmla="*/ 8140 h 10000"/>
              <a:gd name="connsiteX135" fmla="*/ 544 w 10000"/>
              <a:gd name="connsiteY135" fmla="*/ 8217 h 10000"/>
              <a:gd name="connsiteX136" fmla="*/ 587 w 10000"/>
              <a:gd name="connsiteY136" fmla="*/ 8217 h 10000"/>
              <a:gd name="connsiteX137" fmla="*/ 633 w 10000"/>
              <a:gd name="connsiteY137" fmla="*/ 8372 h 10000"/>
              <a:gd name="connsiteX138" fmla="*/ 679 w 10000"/>
              <a:gd name="connsiteY138" fmla="*/ 8449 h 10000"/>
              <a:gd name="connsiteX139" fmla="*/ 723 w 10000"/>
              <a:gd name="connsiteY139" fmla="*/ 8372 h 10000"/>
              <a:gd name="connsiteX140" fmla="*/ 952 w 10000"/>
              <a:gd name="connsiteY140" fmla="*/ 8605 h 10000"/>
              <a:gd name="connsiteX141" fmla="*/ 904 w 10000"/>
              <a:gd name="connsiteY141" fmla="*/ 8915 h 10000"/>
              <a:gd name="connsiteX142" fmla="*/ 858 w 10000"/>
              <a:gd name="connsiteY142" fmla="*/ 8838 h 10000"/>
              <a:gd name="connsiteX143" fmla="*/ 813 w 10000"/>
              <a:gd name="connsiteY143" fmla="*/ 8915 h 10000"/>
              <a:gd name="connsiteX144" fmla="*/ 813 w 10000"/>
              <a:gd name="connsiteY144" fmla="*/ 9070 h 10000"/>
              <a:gd name="connsiteX145" fmla="*/ 858 w 10000"/>
              <a:gd name="connsiteY145" fmla="*/ 8993 h 10000"/>
              <a:gd name="connsiteX146" fmla="*/ 904 w 10000"/>
              <a:gd name="connsiteY146" fmla="*/ 9070 h 10000"/>
              <a:gd name="connsiteX147" fmla="*/ 770 w 10000"/>
              <a:gd name="connsiteY147" fmla="*/ 9147 h 10000"/>
              <a:gd name="connsiteX148" fmla="*/ 813 w 10000"/>
              <a:gd name="connsiteY148" fmla="*/ 9225 h 10000"/>
              <a:gd name="connsiteX149" fmla="*/ 723 w 10000"/>
              <a:gd name="connsiteY149" fmla="*/ 9380 h 10000"/>
              <a:gd name="connsiteX150" fmla="*/ 679 w 10000"/>
              <a:gd name="connsiteY150" fmla="*/ 9380 h 10000"/>
              <a:gd name="connsiteX151" fmla="*/ 723 w 10000"/>
              <a:gd name="connsiteY151" fmla="*/ 9380 h 10000"/>
              <a:gd name="connsiteX152" fmla="*/ 904 w 10000"/>
              <a:gd name="connsiteY152" fmla="*/ 9691 h 10000"/>
              <a:gd name="connsiteX153" fmla="*/ 1132 w 10000"/>
              <a:gd name="connsiteY153" fmla="*/ 9691 h 10000"/>
              <a:gd name="connsiteX154" fmla="*/ 1224 w 10000"/>
              <a:gd name="connsiteY154" fmla="*/ 9768 h 10000"/>
              <a:gd name="connsiteX155" fmla="*/ 1312 w 10000"/>
              <a:gd name="connsiteY155" fmla="*/ 9768 h 10000"/>
              <a:gd name="connsiteX156" fmla="*/ 1405 w 10000"/>
              <a:gd name="connsiteY156" fmla="*/ 9923 h 10000"/>
              <a:gd name="connsiteX157" fmla="*/ 1448 w 10000"/>
              <a:gd name="connsiteY157" fmla="*/ 10000 h 10000"/>
              <a:gd name="connsiteX158" fmla="*/ 1492 w 10000"/>
              <a:gd name="connsiteY158" fmla="*/ 10000 h 10000"/>
              <a:gd name="connsiteX159" fmla="*/ 1540 w 10000"/>
              <a:gd name="connsiteY159" fmla="*/ 9923 h 10000"/>
              <a:gd name="connsiteX160" fmla="*/ 1448 w 10000"/>
              <a:gd name="connsiteY160" fmla="*/ 9768 h 10000"/>
              <a:gd name="connsiteX161" fmla="*/ 1448 w 10000"/>
              <a:gd name="connsiteY161" fmla="*/ 9613 h 10000"/>
              <a:gd name="connsiteX162" fmla="*/ 1405 w 10000"/>
              <a:gd name="connsiteY162" fmla="*/ 9457 h 10000"/>
              <a:gd name="connsiteX163" fmla="*/ 1492 w 10000"/>
              <a:gd name="connsiteY163" fmla="*/ 9225 h 10000"/>
              <a:gd name="connsiteX164" fmla="*/ 1540 w 10000"/>
              <a:gd name="connsiteY164" fmla="*/ 9302 h 10000"/>
              <a:gd name="connsiteX165" fmla="*/ 1584 w 10000"/>
              <a:gd name="connsiteY165" fmla="*/ 9225 h 10000"/>
              <a:gd name="connsiteX166" fmla="*/ 1584 w 10000"/>
              <a:gd name="connsiteY166" fmla="*/ 9147 h 10000"/>
              <a:gd name="connsiteX167" fmla="*/ 1540 w 10000"/>
              <a:gd name="connsiteY167" fmla="*/ 9147 h 10000"/>
              <a:gd name="connsiteX168" fmla="*/ 1584 w 10000"/>
              <a:gd name="connsiteY168" fmla="*/ 9070 h 10000"/>
              <a:gd name="connsiteX169" fmla="*/ 1540 w 10000"/>
              <a:gd name="connsiteY169" fmla="*/ 8915 h 10000"/>
              <a:gd name="connsiteX170" fmla="*/ 1448 w 10000"/>
              <a:gd name="connsiteY170" fmla="*/ 8915 h 10000"/>
              <a:gd name="connsiteX171" fmla="*/ 1405 w 10000"/>
              <a:gd name="connsiteY171" fmla="*/ 8760 h 10000"/>
              <a:gd name="connsiteX172" fmla="*/ 1448 w 10000"/>
              <a:gd name="connsiteY172" fmla="*/ 8372 h 10000"/>
              <a:gd name="connsiteX173" fmla="*/ 1540 w 10000"/>
              <a:gd name="connsiteY173" fmla="*/ 8528 h 10000"/>
              <a:gd name="connsiteX174" fmla="*/ 1584 w 10000"/>
              <a:gd name="connsiteY174" fmla="*/ 8528 h 10000"/>
              <a:gd name="connsiteX175" fmla="*/ 1540 w 10000"/>
              <a:gd name="connsiteY175" fmla="*/ 8372 h 10000"/>
              <a:gd name="connsiteX176" fmla="*/ 1675 w 10000"/>
              <a:gd name="connsiteY176" fmla="*/ 8140 h 10000"/>
              <a:gd name="connsiteX177" fmla="*/ 1767 w 10000"/>
              <a:gd name="connsiteY177" fmla="*/ 8217 h 10000"/>
              <a:gd name="connsiteX178" fmla="*/ 1809 w 10000"/>
              <a:gd name="connsiteY178" fmla="*/ 8140 h 10000"/>
              <a:gd name="connsiteX179" fmla="*/ 1900 w 10000"/>
              <a:gd name="connsiteY179" fmla="*/ 8217 h 10000"/>
              <a:gd name="connsiteX180" fmla="*/ 2038 w 10000"/>
              <a:gd name="connsiteY180" fmla="*/ 8372 h 10000"/>
              <a:gd name="connsiteX181" fmla="*/ 2127 w 10000"/>
              <a:gd name="connsiteY181" fmla="*/ 8295 h 10000"/>
              <a:gd name="connsiteX182" fmla="*/ 2218 w 10000"/>
              <a:gd name="connsiteY182" fmla="*/ 8295 h 10000"/>
              <a:gd name="connsiteX183" fmla="*/ 2262 w 10000"/>
              <a:gd name="connsiteY183" fmla="*/ 8372 h 10000"/>
              <a:gd name="connsiteX184" fmla="*/ 2444 w 10000"/>
              <a:gd name="connsiteY184" fmla="*/ 8372 h 10000"/>
              <a:gd name="connsiteX185" fmla="*/ 2487 w 10000"/>
              <a:gd name="connsiteY185" fmla="*/ 8217 h 10000"/>
              <a:gd name="connsiteX186" fmla="*/ 2352 w 10000"/>
              <a:gd name="connsiteY186" fmla="*/ 8140 h 10000"/>
              <a:gd name="connsiteX187" fmla="*/ 2444 w 10000"/>
              <a:gd name="connsiteY187" fmla="*/ 8062 h 10000"/>
              <a:gd name="connsiteX188" fmla="*/ 2397 w 10000"/>
              <a:gd name="connsiteY188" fmla="*/ 7985 h 10000"/>
              <a:gd name="connsiteX189" fmla="*/ 2444 w 10000"/>
              <a:gd name="connsiteY189" fmla="*/ 7907 h 10000"/>
              <a:gd name="connsiteX190" fmla="*/ 2444 w 10000"/>
              <a:gd name="connsiteY190" fmla="*/ 7675 h 10000"/>
              <a:gd name="connsiteX191" fmla="*/ 2533 w 10000"/>
              <a:gd name="connsiteY191" fmla="*/ 7752 h 10000"/>
              <a:gd name="connsiteX192" fmla="*/ 2942 w 10000"/>
              <a:gd name="connsiteY192" fmla="*/ 7520 h 10000"/>
              <a:gd name="connsiteX193" fmla="*/ 2942 w 10000"/>
              <a:gd name="connsiteY193" fmla="*/ 7442 h 10000"/>
              <a:gd name="connsiteX194" fmla="*/ 2985 w 10000"/>
              <a:gd name="connsiteY194" fmla="*/ 7442 h 10000"/>
              <a:gd name="connsiteX195" fmla="*/ 3121 w 10000"/>
              <a:gd name="connsiteY195" fmla="*/ 7442 h 10000"/>
              <a:gd name="connsiteX196" fmla="*/ 3168 w 10000"/>
              <a:gd name="connsiteY196" fmla="*/ 7598 h 10000"/>
              <a:gd name="connsiteX197" fmla="*/ 3168 w 10000"/>
              <a:gd name="connsiteY197" fmla="*/ 7675 h 10000"/>
              <a:gd name="connsiteX198" fmla="*/ 3213 w 10000"/>
              <a:gd name="connsiteY198" fmla="*/ 7675 h 10000"/>
              <a:gd name="connsiteX199" fmla="*/ 3303 w 10000"/>
              <a:gd name="connsiteY199" fmla="*/ 7752 h 10000"/>
              <a:gd name="connsiteX200" fmla="*/ 3303 w 10000"/>
              <a:gd name="connsiteY200" fmla="*/ 7830 h 10000"/>
              <a:gd name="connsiteX201" fmla="*/ 3394 w 10000"/>
              <a:gd name="connsiteY201" fmla="*/ 7830 h 10000"/>
              <a:gd name="connsiteX202" fmla="*/ 3484 w 10000"/>
              <a:gd name="connsiteY202" fmla="*/ 7675 h 10000"/>
              <a:gd name="connsiteX203" fmla="*/ 3575 w 10000"/>
              <a:gd name="connsiteY203" fmla="*/ 7598 h 10000"/>
              <a:gd name="connsiteX204" fmla="*/ 3622 w 10000"/>
              <a:gd name="connsiteY204" fmla="*/ 7830 h 10000"/>
              <a:gd name="connsiteX205" fmla="*/ 3801 w 10000"/>
              <a:gd name="connsiteY205" fmla="*/ 8372 h 10000"/>
              <a:gd name="connsiteX206" fmla="*/ 3847 w 10000"/>
              <a:gd name="connsiteY206" fmla="*/ 8217 h 10000"/>
              <a:gd name="connsiteX207" fmla="*/ 3893 w 10000"/>
              <a:gd name="connsiteY207" fmla="*/ 8372 h 10000"/>
              <a:gd name="connsiteX208" fmla="*/ 4028 w 10000"/>
              <a:gd name="connsiteY208" fmla="*/ 8295 h 10000"/>
              <a:gd name="connsiteX209" fmla="*/ 4165 w 10000"/>
              <a:gd name="connsiteY209" fmla="*/ 8528 h 10000"/>
              <a:gd name="connsiteX210" fmla="*/ 4254 w 10000"/>
              <a:gd name="connsiteY210" fmla="*/ 8605 h 10000"/>
              <a:gd name="connsiteX211" fmla="*/ 4254 w 10000"/>
              <a:gd name="connsiteY211" fmla="*/ 8528 h 10000"/>
              <a:gd name="connsiteX212" fmla="*/ 4299 w 10000"/>
              <a:gd name="connsiteY212" fmla="*/ 8683 h 10000"/>
              <a:gd name="connsiteX213" fmla="*/ 4254 w 10000"/>
              <a:gd name="connsiteY213" fmla="*/ 8760 h 10000"/>
              <a:gd name="connsiteX214" fmla="*/ 4345 w 10000"/>
              <a:gd name="connsiteY214" fmla="*/ 8683 h 10000"/>
              <a:gd name="connsiteX215" fmla="*/ 4389 w 10000"/>
              <a:gd name="connsiteY215" fmla="*/ 8605 h 10000"/>
              <a:gd name="connsiteX216" fmla="*/ 4616 w 10000"/>
              <a:gd name="connsiteY216" fmla="*/ 8372 h 10000"/>
              <a:gd name="connsiteX217" fmla="*/ 4796 w 10000"/>
              <a:gd name="connsiteY217" fmla="*/ 8449 h 10000"/>
              <a:gd name="connsiteX218" fmla="*/ 4886 w 10000"/>
              <a:gd name="connsiteY218" fmla="*/ 8528 h 10000"/>
              <a:gd name="connsiteX219" fmla="*/ 5066 w 10000"/>
              <a:gd name="connsiteY219" fmla="*/ 8528 h 10000"/>
              <a:gd name="connsiteX220" fmla="*/ 5066 w 10000"/>
              <a:gd name="connsiteY220" fmla="*/ 8372 h 10000"/>
              <a:gd name="connsiteX221" fmla="*/ 5066 w 10000"/>
              <a:gd name="connsiteY221" fmla="*/ 8217 h 10000"/>
              <a:gd name="connsiteX222" fmla="*/ 5158 w 10000"/>
              <a:gd name="connsiteY222" fmla="*/ 8140 h 10000"/>
              <a:gd name="connsiteX223" fmla="*/ 5339 w 10000"/>
              <a:gd name="connsiteY223" fmla="*/ 8217 h 10000"/>
              <a:gd name="connsiteX224" fmla="*/ 5429 w 10000"/>
              <a:gd name="connsiteY224" fmla="*/ 8449 h 10000"/>
              <a:gd name="connsiteX225" fmla="*/ 5476 w 10000"/>
              <a:gd name="connsiteY225" fmla="*/ 8449 h 10000"/>
              <a:gd name="connsiteX226" fmla="*/ 5566 w 10000"/>
              <a:gd name="connsiteY226" fmla="*/ 8372 h 10000"/>
              <a:gd name="connsiteX227" fmla="*/ 5841 w 10000"/>
              <a:gd name="connsiteY227" fmla="*/ 8605 h 10000"/>
              <a:gd name="connsiteX228" fmla="*/ 5975 w 10000"/>
              <a:gd name="connsiteY228" fmla="*/ 8683 h 10000"/>
              <a:gd name="connsiteX229" fmla="*/ 6155 w 10000"/>
              <a:gd name="connsiteY229" fmla="*/ 8605 h 10000"/>
              <a:gd name="connsiteX230" fmla="*/ 6244 w 10000"/>
              <a:gd name="connsiteY230" fmla="*/ 8449 h 10000"/>
              <a:gd name="connsiteX231" fmla="*/ 6380 w 10000"/>
              <a:gd name="connsiteY231" fmla="*/ 8528 h 10000"/>
              <a:gd name="connsiteX232" fmla="*/ 6471 w 10000"/>
              <a:gd name="connsiteY232" fmla="*/ 8605 h 10000"/>
              <a:gd name="connsiteX233" fmla="*/ 8009 w 10000"/>
              <a:gd name="connsiteY233" fmla="*/ 7675 h 10000"/>
              <a:gd name="connsiteX234" fmla="*/ 7920 w 10000"/>
              <a:gd name="connsiteY234" fmla="*/ 7675 h 10000"/>
              <a:gd name="connsiteX235" fmla="*/ 7875 w 10000"/>
              <a:gd name="connsiteY235" fmla="*/ 7675 h 10000"/>
              <a:gd name="connsiteX236" fmla="*/ 7828 w 10000"/>
              <a:gd name="connsiteY236" fmla="*/ 7598 h 10000"/>
              <a:gd name="connsiteX237" fmla="*/ 7740 w 10000"/>
              <a:gd name="connsiteY237" fmla="*/ 7598 h 10000"/>
              <a:gd name="connsiteX238" fmla="*/ 7740 w 10000"/>
              <a:gd name="connsiteY238" fmla="*/ 7520 h 10000"/>
              <a:gd name="connsiteX239" fmla="*/ 7875 w 10000"/>
              <a:gd name="connsiteY239" fmla="*/ 7287 h 10000"/>
              <a:gd name="connsiteX240" fmla="*/ 8285 w 10000"/>
              <a:gd name="connsiteY240" fmla="*/ 6590 h 10000"/>
              <a:gd name="connsiteX241" fmla="*/ 8462 w 10000"/>
              <a:gd name="connsiteY241" fmla="*/ 6512 h 10000"/>
              <a:gd name="connsiteX242" fmla="*/ 8506 w 10000"/>
              <a:gd name="connsiteY242" fmla="*/ 6590 h 10000"/>
              <a:gd name="connsiteX243" fmla="*/ 8554 w 10000"/>
              <a:gd name="connsiteY243" fmla="*/ 6512 h 10000"/>
              <a:gd name="connsiteX244" fmla="*/ 8686 w 10000"/>
              <a:gd name="connsiteY244" fmla="*/ 6590 h 10000"/>
              <a:gd name="connsiteX245" fmla="*/ 8737 w 10000"/>
              <a:gd name="connsiteY245" fmla="*/ 6434 h 10000"/>
              <a:gd name="connsiteX246" fmla="*/ 8869 w 10000"/>
              <a:gd name="connsiteY246" fmla="*/ 6512 h 10000"/>
              <a:gd name="connsiteX247" fmla="*/ 8914 w 10000"/>
              <a:gd name="connsiteY247" fmla="*/ 6512 h 10000"/>
              <a:gd name="connsiteX248" fmla="*/ 8869 w 10000"/>
              <a:gd name="connsiteY248" fmla="*/ 6590 h 10000"/>
              <a:gd name="connsiteX249" fmla="*/ 8869 w 10000"/>
              <a:gd name="connsiteY249" fmla="*/ 6667 h 10000"/>
              <a:gd name="connsiteX250" fmla="*/ 9140 w 10000"/>
              <a:gd name="connsiteY250" fmla="*/ 6590 h 10000"/>
              <a:gd name="connsiteX251" fmla="*/ 9095 w 10000"/>
              <a:gd name="connsiteY251" fmla="*/ 6512 h 10000"/>
              <a:gd name="connsiteX252" fmla="*/ 9279 w 10000"/>
              <a:gd name="connsiteY252" fmla="*/ 5969 h 10000"/>
              <a:gd name="connsiteX253" fmla="*/ 9501 w 10000"/>
              <a:gd name="connsiteY253" fmla="*/ 5892 h 10000"/>
              <a:gd name="connsiteX254" fmla="*/ 9501 w 10000"/>
              <a:gd name="connsiteY254" fmla="*/ 6047 h 10000"/>
              <a:gd name="connsiteX255" fmla="*/ 9501 w 10000"/>
              <a:gd name="connsiteY255" fmla="*/ 6202 h 10000"/>
              <a:gd name="connsiteX256" fmla="*/ 9638 w 10000"/>
              <a:gd name="connsiteY256" fmla="*/ 6279 h 10000"/>
              <a:gd name="connsiteX257" fmla="*/ 9729 w 10000"/>
              <a:gd name="connsiteY257" fmla="*/ 6590 h 10000"/>
              <a:gd name="connsiteX258" fmla="*/ 9729 w 10000"/>
              <a:gd name="connsiteY258" fmla="*/ 6434 h 10000"/>
              <a:gd name="connsiteX259" fmla="*/ 9821 w 10000"/>
              <a:gd name="connsiteY259" fmla="*/ 6434 h 10000"/>
              <a:gd name="connsiteX260" fmla="*/ 9957 w 10000"/>
              <a:gd name="connsiteY260" fmla="*/ 6279 h 10000"/>
              <a:gd name="connsiteX261" fmla="*/ 9957 w 10000"/>
              <a:gd name="connsiteY261" fmla="*/ 6434 h 10000"/>
              <a:gd name="connsiteX262" fmla="*/ 10000 w 10000"/>
              <a:gd name="connsiteY262" fmla="*/ 6356 h 10000"/>
              <a:gd name="connsiteX263" fmla="*/ 9550 w 10000"/>
              <a:gd name="connsiteY263" fmla="*/ 3566 h 10000"/>
              <a:gd name="connsiteX264" fmla="*/ 9457 w 10000"/>
              <a:gd name="connsiteY264" fmla="*/ 3488 h 10000"/>
              <a:gd name="connsiteX265" fmla="*/ 9501 w 10000"/>
              <a:gd name="connsiteY265" fmla="*/ 3333 h 10000"/>
              <a:gd name="connsiteX266" fmla="*/ 9411 w 10000"/>
              <a:gd name="connsiteY266" fmla="*/ 3101 h 10000"/>
              <a:gd name="connsiteX267" fmla="*/ 9229 w 10000"/>
              <a:gd name="connsiteY267" fmla="*/ 3023 h 10000"/>
              <a:gd name="connsiteX268" fmla="*/ 8961 w 10000"/>
              <a:gd name="connsiteY268" fmla="*/ 3178 h 10000"/>
              <a:gd name="connsiteX269" fmla="*/ 8914 w 10000"/>
              <a:gd name="connsiteY269" fmla="*/ 2946 h 10000"/>
              <a:gd name="connsiteX270" fmla="*/ 8825 w 10000"/>
              <a:gd name="connsiteY270" fmla="*/ 2946 h 10000"/>
              <a:gd name="connsiteX271" fmla="*/ 8779 w 10000"/>
              <a:gd name="connsiteY271" fmla="*/ 2868 h 10000"/>
              <a:gd name="connsiteX272" fmla="*/ 8779 w 10000"/>
              <a:gd name="connsiteY272" fmla="*/ 2636 h 10000"/>
              <a:gd name="connsiteX273" fmla="*/ 8462 w 10000"/>
              <a:gd name="connsiteY273" fmla="*/ 2480 h 10000"/>
              <a:gd name="connsiteX274" fmla="*/ 8101 w 10000"/>
              <a:gd name="connsiteY274" fmla="*/ 2325 h 10000"/>
              <a:gd name="connsiteX275" fmla="*/ 8009 w 10000"/>
              <a:gd name="connsiteY275" fmla="*/ 2636 h 10000"/>
              <a:gd name="connsiteX276" fmla="*/ 8101 w 10000"/>
              <a:gd name="connsiteY276" fmla="*/ 2868 h 10000"/>
              <a:gd name="connsiteX277" fmla="*/ 7828 w 10000"/>
              <a:gd name="connsiteY277" fmla="*/ 2868 h 10000"/>
              <a:gd name="connsiteX278" fmla="*/ 7782 w 10000"/>
              <a:gd name="connsiteY278" fmla="*/ 2868 h 10000"/>
              <a:gd name="connsiteX279" fmla="*/ 7692 w 10000"/>
              <a:gd name="connsiteY279" fmla="*/ 2946 h 10000"/>
              <a:gd name="connsiteX280" fmla="*/ 7557 w 10000"/>
              <a:gd name="connsiteY280" fmla="*/ 2714 h 10000"/>
              <a:gd name="connsiteX281" fmla="*/ 7465 w 10000"/>
              <a:gd name="connsiteY281" fmla="*/ 3178 h 10000"/>
              <a:gd name="connsiteX282" fmla="*/ 7378 w 10000"/>
              <a:gd name="connsiteY282" fmla="*/ 3101 h 10000"/>
              <a:gd name="connsiteX283" fmla="*/ 7285 w 10000"/>
              <a:gd name="connsiteY283" fmla="*/ 2791 h 10000"/>
              <a:gd name="connsiteX284" fmla="*/ 7332 w 10000"/>
              <a:gd name="connsiteY284" fmla="*/ 2403 h 10000"/>
              <a:gd name="connsiteX285" fmla="*/ 7241 w 10000"/>
              <a:gd name="connsiteY285" fmla="*/ 2170 h 10000"/>
              <a:gd name="connsiteX286" fmla="*/ 6969 w 10000"/>
              <a:gd name="connsiteY286" fmla="*/ 2016 h 10000"/>
              <a:gd name="connsiteX287" fmla="*/ 6876 w 10000"/>
              <a:gd name="connsiteY287" fmla="*/ 2016 h 10000"/>
              <a:gd name="connsiteX288" fmla="*/ 6833 w 10000"/>
              <a:gd name="connsiteY288" fmla="*/ 2170 h 10000"/>
              <a:gd name="connsiteX289" fmla="*/ 6876 w 10000"/>
              <a:gd name="connsiteY289" fmla="*/ 2325 h 10000"/>
              <a:gd name="connsiteX290" fmla="*/ 6520 w 10000"/>
              <a:gd name="connsiteY290" fmla="*/ 2248 h 10000"/>
              <a:gd name="connsiteX291" fmla="*/ 6561 w 10000"/>
              <a:gd name="connsiteY291" fmla="*/ 2016 h 10000"/>
              <a:gd name="connsiteX292" fmla="*/ 6337 w 10000"/>
              <a:gd name="connsiteY292" fmla="*/ 1938 h 10000"/>
              <a:gd name="connsiteX293" fmla="*/ 6200 w 10000"/>
              <a:gd name="connsiteY293" fmla="*/ 2093 h 10000"/>
              <a:gd name="connsiteX294" fmla="*/ 5934 w 10000"/>
              <a:gd name="connsiteY294" fmla="*/ 1861 h 10000"/>
              <a:gd name="connsiteX0" fmla="*/ 5934 w 10000"/>
              <a:gd name="connsiteY0" fmla="*/ 1861 h 10000"/>
              <a:gd name="connsiteX1" fmla="*/ 5934 w 10000"/>
              <a:gd name="connsiteY1" fmla="*/ 1861 h 10000"/>
              <a:gd name="connsiteX2" fmla="*/ 5883 w 10000"/>
              <a:gd name="connsiteY2" fmla="*/ 1938 h 10000"/>
              <a:gd name="connsiteX3" fmla="*/ 5934 w 10000"/>
              <a:gd name="connsiteY3" fmla="*/ 2093 h 10000"/>
              <a:gd name="connsiteX4" fmla="*/ 5746 w 10000"/>
              <a:gd name="connsiteY4" fmla="*/ 2248 h 10000"/>
              <a:gd name="connsiteX5" fmla="*/ 5699 w 10000"/>
              <a:gd name="connsiteY5" fmla="*/ 2248 h 10000"/>
              <a:gd name="connsiteX6" fmla="*/ 5746 w 10000"/>
              <a:gd name="connsiteY6" fmla="*/ 2016 h 10000"/>
              <a:gd name="connsiteX7" fmla="*/ 6200 w 10000"/>
              <a:gd name="connsiteY7" fmla="*/ 1318 h 10000"/>
              <a:gd name="connsiteX8" fmla="*/ 6200 w 10000"/>
              <a:gd name="connsiteY8" fmla="*/ 853 h 10000"/>
              <a:gd name="connsiteX9" fmla="*/ 6019 w 10000"/>
              <a:gd name="connsiteY9" fmla="*/ 543 h 10000"/>
              <a:gd name="connsiteX10" fmla="*/ 5793 w 10000"/>
              <a:gd name="connsiteY10" fmla="*/ 543 h 10000"/>
              <a:gd name="connsiteX11" fmla="*/ 5793 w 10000"/>
              <a:gd name="connsiteY11" fmla="*/ 698 h 10000"/>
              <a:gd name="connsiteX12" fmla="*/ 5655 w 10000"/>
              <a:gd name="connsiteY12" fmla="*/ 698 h 10000"/>
              <a:gd name="connsiteX13" fmla="*/ 5746 w 10000"/>
              <a:gd name="connsiteY13" fmla="*/ 387 h 10000"/>
              <a:gd name="connsiteX14" fmla="*/ 5522 w 10000"/>
              <a:gd name="connsiteY14" fmla="*/ 310 h 10000"/>
              <a:gd name="connsiteX15" fmla="*/ 5655 w 10000"/>
              <a:gd name="connsiteY15" fmla="*/ 155 h 10000"/>
              <a:gd name="connsiteX16" fmla="*/ 5522 w 10000"/>
              <a:gd name="connsiteY16" fmla="*/ 0 h 10000"/>
              <a:gd name="connsiteX17" fmla="*/ 5295 w 10000"/>
              <a:gd name="connsiteY17" fmla="*/ 387 h 10000"/>
              <a:gd name="connsiteX18" fmla="*/ 5295 w 10000"/>
              <a:gd name="connsiteY18" fmla="*/ 698 h 10000"/>
              <a:gd name="connsiteX19" fmla="*/ 5158 w 10000"/>
              <a:gd name="connsiteY19" fmla="*/ 698 h 10000"/>
              <a:gd name="connsiteX20" fmla="*/ 4752 w 10000"/>
              <a:gd name="connsiteY20" fmla="*/ 853 h 10000"/>
              <a:gd name="connsiteX21" fmla="*/ 4389 w 10000"/>
              <a:gd name="connsiteY21" fmla="*/ 1240 h 10000"/>
              <a:gd name="connsiteX22" fmla="*/ 4254 w 10000"/>
              <a:gd name="connsiteY22" fmla="*/ 1551 h 10000"/>
              <a:gd name="connsiteX23" fmla="*/ 4299 w 10000"/>
              <a:gd name="connsiteY23" fmla="*/ 1938 h 10000"/>
              <a:gd name="connsiteX24" fmla="*/ 3801 w 10000"/>
              <a:gd name="connsiteY24" fmla="*/ 2093 h 10000"/>
              <a:gd name="connsiteX25" fmla="*/ 3847 w 10000"/>
              <a:gd name="connsiteY25" fmla="*/ 2559 h 10000"/>
              <a:gd name="connsiteX26" fmla="*/ 3984 w 10000"/>
              <a:gd name="connsiteY26" fmla="*/ 2791 h 10000"/>
              <a:gd name="connsiteX27" fmla="*/ 3893 w 10000"/>
              <a:gd name="connsiteY27" fmla="*/ 2868 h 10000"/>
              <a:gd name="connsiteX28" fmla="*/ 3757 w 10000"/>
              <a:gd name="connsiteY28" fmla="*/ 2559 h 10000"/>
              <a:gd name="connsiteX29" fmla="*/ 3622 w 10000"/>
              <a:gd name="connsiteY29" fmla="*/ 2480 h 10000"/>
              <a:gd name="connsiteX30" fmla="*/ 3575 w 10000"/>
              <a:gd name="connsiteY30" fmla="*/ 2559 h 10000"/>
              <a:gd name="connsiteX31" fmla="*/ 3484 w 10000"/>
              <a:gd name="connsiteY31" fmla="*/ 2403 h 10000"/>
              <a:gd name="connsiteX32" fmla="*/ 3394 w 10000"/>
              <a:gd name="connsiteY32" fmla="*/ 2248 h 10000"/>
              <a:gd name="connsiteX33" fmla="*/ 3394 w 10000"/>
              <a:gd name="connsiteY33" fmla="*/ 2325 h 10000"/>
              <a:gd name="connsiteX34" fmla="*/ 3442 w 10000"/>
              <a:gd name="connsiteY34" fmla="*/ 2559 h 10000"/>
              <a:gd name="connsiteX35" fmla="*/ 3303 w 10000"/>
              <a:gd name="connsiteY35" fmla="*/ 2946 h 10000"/>
              <a:gd name="connsiteX36" fmla="*/ 3394 w 10000"/>
              <a:gd name="connsiteY36" fmla="*/ 3256 h 10000"/>
              <a:gd name="connsiteX37" fmla="*/ 3346 w 10000"/>
              <a:gd name="connsiteY37" fmla="*/ 3566 h 10000"/>
              <a:gd name="connsiteX38" fmla="*/ 3346 w 10000"/>
              <a:gd name="connsiteY38" fmla="*/ 3799 h 10000"/>
              <a:gd name="connsiteX39" fmla="*/ 3484 w 10000"/>
              <a:gd name="connsiteY39" fmla="*/ 3799 h 10000"/>
              <a:gd name="connsiteX40" fmla="*/ 3394 w 10000"/>
              <a:gd name="connsiteY40" fmla="*/ 3876 h 10000"/>
              <a:gd name="connsiteX41" fmla="*/ 3442 w 10000"/>
              <a:gd name="connsiteY41" fmla="*/ 4263 h 10000"/>
              <a:gd name="connsiteX42" fmla="*/ 3168 w 10000"/>
              <a:gd name="connsiteY42" fmla="*/ 4652 h 10000"/>
              <a:gd name="connsiteX43" fmla="*/ 3121 w 10000"/>
              <a:gd name="connsiteY43" fmla="*/ 4574 h 10000"/>
              <a:gd name="connsiteX44" fmla="*/ 3303 w 10000"/>
              <a:gd name="connsiteY44" fmla="*/ 4186 h 10000"/>
              <a:gd name="connsiteX45" fmla="*/ 3346 w 10000"/>
              <a:gd name="connsiteY45" fmla="*/ 3954 h 10000"/>
              <a:gd name="connsiteX46" fmla="*/ 3253 w 10000"/>
              <a:gd name="connsiteY46" fmla="*/ 3799 h 10000"/>
              <a:gd name="connsiteX47" fmla="*/ 3253 w 10000"/>
              <a:gd name="connsiteY47" fmla="*/ 3023 h 10000"/>
              <a:gd name="connsiteX48" fmla="*/ 3213 w 10000"/>
              <a:gd name="connsiteY48" fmla="*/ 2868 h 10000"/>
              <a:gd name="connsiteX49" fmla="*/ 3253 w 10000"/>
              <a:gd name="connsiteY49" fmla="*/ 2403 h 10000"/>
              <a:gd name="connsiteX50" fmla="*/ 3168 w 10000"/>
              <a:gd name="connsiteY50" fmla="*/ 2325 h 10000"/>
              <a:gd name="connsiteX51" fmla="*/ 3213 w 10000"/>
              <a:gd name="connsiteY51" fmla="*/ 2248 h 10000"/>
              <a:gd name="connsiteX52" fmla="*/ 3168 w 10000"/>
              <a:gd name="connsiteY52" fmla="*/ 2093 h 10000"/>
              <a:gd name="connsiteX53" fmla="*/ 3074 w 10000"/>
              <a:gd name="connsiteY53" fmla="*/ 2170 h 10000"/>
              <a:gd name="connsiteX54" fmla="*/ 2850 w 10000"/>
              <a:gd name="connsiteY54" fmla="*/ 3178 h 10000"/>
              <a:gd name="connsiteX55" fmla="*/ 2850 w 10000"/>
              <a:gd name="connsiteY55" fmla="*/ 3566 h 10000"/>
              <a:gd name="connsiteX56" fmla="*/ 2985 w 10000"/>
              <a:gd name="connsiteY56" fmla="*/ 3876 h 10000"/>
              <a:gd name="connsiteX57" fmla="*/ 2985 w 10000"/>
              <a:gd name="connsiteY57" fmla="*/ 4031 h 10000"/>
              <a:gd name="connsiteX58" fmla="*/ 2850 w 10000"/>
              <a:gd name="connsiteY58" fmla="*/ 3876 h 10000"/>
              <a:gd name="connsiteX59" fmla="*/ 2310 w 10000"/>
              <a:gd name="connsiteY59" fmla="*/ 3256 h 10000"/>
              <a:gd name="connsiteX60" fmla="*/ 2262 w 10000"/>
              <a:gd name="connsiteY60" fmla="*/ 3411 h 10000"/>
              <a:gd name="connsiteX61" fmla="*/ 2444 w 10000"/>
              <a:gd name="connsiteY61" fmla="*/ 3799 h 10000"/>
              <a:gd name="connsiteX62" fmla="*/ 2352 w 10000"/>
              <a:gd name="connsiteY62" fmla="*/ 3876 h 10000"/>
              <a:gd name="connsiteX63" fmla="*/ 2310 w 10000"/>
              <a:gd name="connsiteY63" fmla="*/ 3799 h 10000"/>
              <a:gd name="connsiteX64" fmla="*/ 2038 w 10000"/>
              <a:gd name="connsiteY64" fmla="*/ 3954 h 10000"/>
              <a:gd name="connsiteX65" fmla="*/ 1992 w 10000"/>
              <a:gd name="connsiteY65" fmla="*/ 4109 h 10000"/>
              <a:gd name="connsiteX66" fmla="*/ 1947 w 10000"/>
              <a:gd name="connsiteY66" fmla="*/ 3954 h 10000"/>
              <a:gd name="connsiteX67" fmla="*/ 1947 w 10000"/>
              <a:gd name="connsiteY67" fmla="*/ 3799 h 10000"/>
              <a:gd name="connsiteX68" fmla="*/ 1492 w 10000"/>
              <a:gd name="connsiteY68" fmla="*/ 4263 h 10000"/>
              <a:gd name="connsiteX69" fmla="*/ 1492 w 10000"/>
              <a:gd name="connsiteY69" fmla="*/ 4418 h 10000"/>
              <a:gd name="connsiteX70" fmla="*/ 1405 w 10000"/>
              <a:gd name="connsiteY70" fmla="*/ 4496 h 10000"/>
              <a:gd name="connsiteX71" fmla="*/ 1266 w 10000"/>
              <a:gd name="connsiteY71" fmla="*/ 4341 h 10000"/>
              <a:gd name="connsiteX72" fmla="*/ 1405 w 10000"/>
              <a:gd name="connsiteY72" fmla="*/ 4186 h 10000"/>
              <a:gd name="connsiteX73" fmla="*/ 1358 w 10000"/>
              <a:gd name="connsiteY73" fmla="*/ 3954 h 10000"/>
              <a:gd name="connsiteX74" fmla="*/ 1178 w 10000"/>
              <a:gd name="connsiteY74" fmla="*/ 3876 h 10000"/>
              <a:gd name="connsiteX75" fmla="*/ 1224 w 10000"/>
              <a:gd name="connsiteY75" fmla="*/ 4031 h 10000"/>
              <a:gd name="connsiteX76" fmla="*/ 1224 w 10000"/>
              <a:gd name="connsiteY76" fmla="*/ 4418 h 10000"/>
              <a:gd name="connsiteX77" fmla="*/ 1266 w 10000"/>
              <a:gd name="connsiteY77" fmla="*/ 4574 h 10000"/>
              <a:gd name="connsiteX78" fmla="*/ 1224 w 10000"/>
              <a:gd name="connsiteY78" fmla="*/ 4729 h 10000"/>
              <a:gd name="connsiteX79" fmla="*/ 1085 w 10000"/>
              <a:gd name="connsiteY79" fmla="*/ 4652 h 10000"/>
              <a:gd name="connsiteX80" fmla="*/ 904 w 10000"/>
              <a:gd name="connsiteY80" fmla="*/ 4884 h 10000"/>
              <a:gd name="connsiteX81" fmla="*/ 994 w 10000"/>
              <a:gd name="connsiteY81" fmla="*/ 5194 h 10000"/>
              <a:gd name="connsiteX82" fmla="*/ 723 w 10000"/>
              <a:gd name="connsiteY82" fmla="*/ 5039 h 10000"/>
              <a:gd name="connsiteX83" fmla="*/ 679 w 10000"/>
              <a:gd name="connsiteY83" fmla="*/ 5116 h 10000"/>
              <a:gd name="connsiteX84" fmla="*/ 770 w 10000"/>
              <a:gd name="connsiteY84" fmla="*/ 5349 h 10000"/>
              <a:gd name="connsiteX85" fmla="*/ 679 w 10000"/>
              <a:gd name="connsiteY85" fmla="*/ 5349 h 10000"/>
              <a:gd name="connsiteX86" fmla="*/ 544 w 10000"/>
              <a:gd name="connsiteY86" fmla="*/ 5194 h 10000"/>
              <a:gd name="connsiteX87" fmla="*/ 544 w 10000"/>
              <a:gd name="connsiteY87" fmla="*/ 4729 h 10000"/>
              <a:gd name="connsiteX88" fmla="*/ 410 w 10000"/>
              <a:gd name="connsiteY88" fmla="*/ 4574 h 10000"/>
              <a:gd name="connsiteX89" fmla="*/ 362 w 10000"/>
              <a:gd name="connsiteY89" fmla="*/ 4418 h 10000"/>
              <a:gd name="connsiteX90" fmla="*/ 453 w 10000"/>
              <a:gd name="connsiteY90" fmla="*/ 4496 h 10000"/>
              <a:gd name="connsiteX91" fmla="*/ 813 w 10000"/>
              <a:gd name="connsiteY91" fmla="*/ 4729 h 10000"/>
              <a:gd name="connsiteX92" fmla="*/ 1039 w 10000"/>
              <a:gd name="connsiteY92" fmla="*/ 4496 h 10000"/>
              <a:gd name="connsiteX93" fmla="*/ 994 w 10000"/>
              <a:gd name="connsiteY93" fmla="*/ 4263 h 10000"/>
              <a:gd name="connsiteX94" fmla="*/ 723 w 10000"/>
              <a:gd name="connsiteY94" fmla="*/ 3799 h 10000"/>
              <a:gd name="connsiteX95" fmla="*/ 453 w 10000"/>
              <a:gd name="connsiteY95" fmla="*/ 3644 h 10000"/>
              <a:gd name="connsiteX96" fmla="*/ 453 w 10000"/>
              <a:gd name="connsiteY96" fmla="*/ 3566 h 10000"/>
              <a:gd name="connsiteX97" fmla="*/ 362 w 10000"/>
              <a:gd name="connsiteY97" fmla="*/ 3488 h 10000"/>
              <a:gd name="connsiteX98" fmla="*/ 269 w 10000"/>
              <a:gd name="connsiteY98" fmla="*/ 3566 h 10000"/>
              <a:gd name="connsiteX99" fmla="*/ 269 w 10000"/>
              <a:gd name="connsiteY99" fmla="*/ 3644 h 10000"/>
              <a:gd name="connsiteX100" fmla="*/ 227 w 10000"/>
              <a:gd name="connsiteY100" fmla="*/ 3644 h 10000"/>
              <a:gd name="connsiteX101" fmla="*/ 135 w 10000"/>
              <a:gd name="connsiteY101" fmla="*/ 3799 h 10000"/>
              <a:gd name="connsiteX102" fmla="*/ 135 w 10000"/>
              <a:gd name="connsiteY102" fmla="*/ 4031 h 10000"/>
              <a:gd name="connsiteX103" fmla="*/ 227 w 10000"/>
              <a:gd name="connsiteY103" fmla="*/ 4186 h 10000"/>
              <a:gd name="connsiteX104" fmla="*/ 180 w 10000"/>
              <a:gd name="connsiteY104" fmla="*/ 4418 h 10000"/>
              <a:gd name="connsiteX105" fmla="*/ 227 w 10000"/>
              <a:gd name="connsiteY105" fmla="*/ 4807 h 10000"/>
              <a:gd name="connsiteX106" fmla="*/ 180 w 10000"/>
              <a:gd name="connsiteY106" fmla="*/ 5039 h 10000"/>
              <a:gd name="connsiteX107" fmla="*/ 269 w 10000"/>
              <a:gd name="connsiteY107" fmla="*/ 5271 h 10000"/>
              <a:gd name="connsiteX108" fmla="*/ 227 w 10000"/>
              <a:gd name="connsiteY108" fmla="*/ 5426 h 10000"/>
              <a:gd name="connsiteX109" fmla="*/ 316 w 10000"/>
              <a:gd name="connsiteY109" fmla="*/ 5582 h 10000"/>
              <a:gd name="connsiteX110" fmla="*/ 316 w 10000"/>
              <a:gd name="connsiteY110" fmla="*/ 5659 h 10000"/>
              <a:gd name="connsiteX111" fmla="*/ 180 w 10000"/>
              <a:gd name="connsiteY111" fmla="*/ 6047 h 10000"/>
              <a:gd name="connsiteX112" fmla="*/ 42 w 10000"/>
              <a:gd name="connsiteY112" fmla="*/ 6202 h 10000"/>
              <a:gd name="connsiteX113" fmla="*/ 90 w 10000"/>
              <a:gd name="connsiteY113" fmla="*/ 6202 h 10000"/>
              <a:gd name="connsiteX114" fmla="*/ 180 w 10000"/>
              <a:gd name="connsiteY114" fmla="*/ 6356 h 10000"/>
              <a:gd name="connsiteX115" fmla="*/ 90 w 10000"/>
              <a:gd name="connsiteY115" fmla="*/ 6512 h 10000"/>
              <a:gd name="connsiteX116" fmla="*/ 42 w 10000"/>
              <a:gd name="connsiteY116" fmla="*/ 6590 h 10000"/>
              <a:gd name="connsiteX117" fmla="*/ 0 w 10000"/>
              <a:gd name="connsiteY117" fmla="*/ 6590 h 10000"/>
              <a:gd name="connsiteX118" fmla="*/ 42 w 10000"/>
              <a:gd name="connsiteY118" fmla="*/ 6822 h 10000"/>
              <a:gd name="connsiteX119" fmla="*/ 42 w 10000"/>
              <a:gd name="connsiteY119" fmla="*/ 6900 h 10000"/>
              <a:gd name="connsiteX120" fmla="*/ 42 w 10000"/>
              <a:gd name="connsiteY120" fmla="*/ 6977 h 10000"/>
              <a:gd name="connsiteX121" fmla="*/ 42 w 10000"/>
              <a:gd name="connsiteY121" fmla="*/ 7054 h 10000"/>
              <a:gd name="connsiteX122" fmla="*/ 90 w 10000"/>
              <a:gd name="connsiteY122" fmla="*/ 7209 h 10000"/>
              <a:gd name="connsiteX123" fmla="*/ 227 w 10000"/>
              <a:gd name="connsiteY123" fmla="*/ 7287 h 10000"/>
              <a:gd name="connsiteX124" fmla="*/ 269 w 10000"/>
              <a:gd name="connsiteY124" fmla="*/ 7364 h 10000"/>
              <a:gd name="connsiteX125" fmla="*/ 269 w 10000"/>
              <a:gd name="connsiteY125" fmla="*/ 7520 h 10000"/>
              <a:gd name="connsiteX126" fmla="*/ 362 w 10000"/>
              <a:gd name="connsiteY126" fmla="*/ 7752 h 10000"/>
              <a:gd name="connsiteX127" fmla="*/ 410 w 10000"/>
              <a:gd name="connsiteY127" fmla="*/ 7752 h 10000"/>
              <a:gd name="connsiteX128" fmla="*/ 362 w 10000"/>
              <a:gd name="connsiteY128" fmla="*/ 7907 h 10000"/>
              <a:gd name="connsiteX129" fmla="*/ 316 w 10000"/>
              <a:gd name="connsiteY129" fmla="*/ 7830 h 10000"/>
              <a:gd name="connsiteX130" fmla="*/ 316 w 10000"/>
              <a:gd name="connsiteY130" fmla="*/ 7907 h 10000"/>
              <a:gd name="connsiteX131" fmla="*/ 362 w 10000"/>
              <a:gd name="connsiteY131" fmla="*/ 8062 h 10000"/>
              <a:gd name="connsiteX132" fmla="*/ 499 w 10000"/>
              <a:gd name="connsiteY132" fmla="*/ 8062 h 10000"/>
              <a:gd name="connsiteX133" fmla="*/ 544 w 10000"/>
              <a:gd name="connsiteY133" fmla="*/ 8140 h 10000"/>
              <a:gd name="connsiteX134" fmla="*/ 499 w 10000"/>
              <a:gd name="connsiteY134" fmla="*/ 8140 h 10000"/>
              <a:gd name="connsiteX135" fmla="*/ 544 w 10000"/>
              <a:gd name="connsiteY135" fmla="*/ 8217 h 10000"/>
              <a:gd name="connsiteX136" fmla="*/ 587 w 10000"/>
              <a:gd name="connsiteY136" fmla="*/ 8217 h 10000"/>
              <a:gd name="connsiteX137" fmla="*/ 633 w 10000"/>
              <a:gd name="connsiteY137" fmla="*/ 8372 h 10000"/>
              <a:gd name="connsiteX138" fmla="*/ 679 w 10000"/>
              <a:gd name="connsiteY138" fmla="*/ 8449 h 10000"/>
              <a:gd name="connsiteX139" fmla="*/ 723 w 10000"/>
              <a:gd name="connsiteY139" fmla="*/ 8372 h 10000"/>
              <a:gd name="connsiteX140" fmla="*/ 952 w 10000"/>
              <a:gd name="connsiteY140" fmla="*/ 8605 h 10000"/>
              <a:gd name="connsiteX141" fmla="*/ 904 w 10000"/>
              <a:gd name="connsiteY141" fmla="*/ 8915 h 10000"/>
              <a:gd name="connsiteX142" fmla="*/ 858 w 10000"/>
              <a:gd name="connsiteY142" fmla="*/ 8838 h 10000"/>
              <a:gd name="connsiteX143" fmla="*/ 813 w 10000"/>
              <a:gd name="connsiteY143" fmla="*/ 8915 h 10000"/>
              <a:gd name="connsiteX144" fmla="*/ 813 w 10000"/>
              <a:gd name="connsiteY144" fmla="*/ 9070 h 10000"/>
              <a:gd name="connsiteX145" fmla="*/ 858 w 10000"/>
              <a:gd name="connsiteY145" fmla="*/ 8993 h 10000"/>
              <a:gd name="connsiteX146" fmla="*/ 904 w 10000"/>
              <a:gd name="connsiteY146" fmla="*/ 9070 h 10000"/>
              <a:gd name="connsiteX147" fmla="*/ 770 w 10000"/>
              <a:gd name="connsiteY147" fmla="*/ 9147 h 10000"/>
              <a:gd name="connsiteX148" fmla="*/ 813 w 10000"/>
              <a:gd name="connsiteY148" fmla="*/ 9225 h 10000"/>
              <a:gd name="connsiteX149" fmla="*/ 723 w 10000"/>
              <a:gd name="connsiteY149" fmla="*/ 9380 h 10000"/>
              <a:gd name="connsiteX150" fmla="*/ 679 w 10000"/>
              <a:gd name="connsiteY150" fmla="*/ 9380 h 10000"/>
              <a:gd name="connsiteX151" fmla="*/ 723 w 10000"/>
              <a:gd name="connsiteY151" fmla="*/ 9380 h 10000"/>
              <a:gd name="connsiteX152" fmla="*/ 904 w 10000"/>
              <a:gd name="connsiteY152" fmla="*/ 9691 h 10000"/>
              <a:gd name="connsiteX153" fmla="*/ 1132 w 10000"/>
              <a:gd name="connsiteY153" fmla="*/ 9691 h 10000"/>
              <a:gd name="connsiteX154" fmla="*/ 1224 w 10000"/>
              <a:gd name="connsiteY154" fmla="*/ 9768 h 10000"/>
              <a:gd name="connsiteX155" fmla="*/ 1312 w 10000"/>
              <a:gd name="connsiteY155" fmla="*/ 9768 h 10000"/>
              <a:gd name="connsiteX156" fmla="*/ 1405 w 10000"/>
              <a:gd name="connsiteY156" fmla="*/ 9923 h 10000"/>
              <a:gd name="connsiteX157" fmla="*/ 1448 w 10000"/>
              <a:gd name="connsiteY157" fmla="*/ 10000 h 10000"/>
              <a:gd name="connsiteX158" fmla="*/ 1492 w 10000"/>
              <a:gd name="connsiteY158" fmla="*/ 10000 h 10000"/>
              <a:gd name="connsiteX159" fmla="*/ 1540 w 10000"/>
              <a:gd name="connsiteY159" fmla="*/ 9923 h 10000"/>
              <a:gd name="connsiteX160" fmla="*/ 1448 w 10000"/>
              <a:gd name="connsiteY160" fmla="*/ 9768 h 10000"/>
              <a:gd name="connsiteX161" fmla="*/ 1448 w 10000"/>
              <a:gd name="connsiteY161" fmla="*/ 9613 h 10000"/>
              <a:gd name="connsiteX162" fmla="*/ 1405 w 10000"/>
              <a:gd name="connsiteY162" fmla="*/ 9457 h 10000"/>
              <a:gd name="connsiteX163" fmla="*/ 1492 w 10000"/>
              <a:gd name="connsiteY163" fmla="*/ 9225 h 10000"/>
              <a:gd name="connsiteX164" fmla="*/ 1540 w 10000"/>
              <a:gd name="connsiteY164" fmla="*/ 9302 h 10000"/>
              <a:gd name="connsiteX165" fmla="*/ 1584 w 10000"/>
              <a:gd name="connsiteY165" fmla="*/ 9225 h 10000"/>
              <a:gd name="connsiteX166" fmla="*/ 1584 w 10000"/>
              <a:gd name="connsiteY166" fmla="*/ 9147 h 10000"/>
              <a:gd name="connsiteX167" fmla="*/ 1540 w 10000"/>
              <a:gd name="connsiteY167" fmla="*/ 9147 h 10000"/>
              <a:gd name="connsiteX168" fmla="*/ 1584 w 10000"/>
              <a:gd name="connsiteY168" fmla="*/ 9070 h 10000"/>
              <a:gd name="connsiteX169" fmla="*/ 1540 w 10000"/>
              <a:gd name="connsiteY169" fmla="*/ 8915 h 10000"/>
              <a:gd name="connsiteX170" fmla="*/ 1448 w 10000"/>
              <a:gd name="connsiteY170" fmla="*/ 8915 h 10000"/>
              <a:gd name="connsiteX171" fmla="*/ 1405 w 10000"/>
              <a:gd name="connsiteY171" fmla="*/ 8760 h 10000"/>
              <a:gd name="connsiteX172" fmla="*/ 1448 w 10000"/>
              <a:gd name="connsiteY172" fmla="*/ 8372 h 10000"/>
              <a:gd name="connsiteX173" fmla="*/ 1540 w 10000"/>
              <a:gd name="connsiteY173" fmla="*/ 8528 h 10000"/>
              <a:gd name="connsiteX174" fmla="*/ 1584 w 10000"/>
              <a:gd name="connsiteY174" fmla="*/ 8528 h 10000"/>
              <a:gd name="connsiteX175" fmla="*/ 1540 w 10000"/>
              <a:gd name="connsiteY175" fmla="*/ 8372 h 10000"/>
              <a:gd name="connsiteX176" fmla="*/ 1675 w 10000"/>
              <a:gd name="connsiteY176" fmla="*/ 8140 h 10000"/>
              <a:gd name="connsiteX177" fmla="*/ 1767 w 10000"/>
              <a:gd name="connsiteY177" fmla="*/ 8217 h 10000"/>
              <a:gd name="connsiteX178" fmla="*/ 1809 w 10000"/>
              <a:gd name="connsiteY178" fmla="*/ 8140 h 10000"/>
              <a:gd name="connsiteX179" fmla="*/ 1900 w 10000"/>
              <a:gd name="connsiteY179" fmla="*/ 8217 h 10000"/>
              <a:gd name="connsiteX180" fmla="*/ 2038 w 10000"/>
              <a:gd name="connsiteY180" fmla="*/ 8372 h 10000"/>
              <a:gd name="connsiteX181" fmla="*/ 2127 w 10000"/>
              <a:gd name="connsiteY181" fmla="*/ 8295 h 10000"/>
              <a:gd name="connsiteX182" fmla="*/ 2218 w 10000"/>
              <a:gd name="connsiteY182" fmla="*/ 8295 h 10000"/>
              <a:gd name="connsiteX183" fmla="*/ 2262 w 10000"/>
              <a:gd name="connsiteY183" fmla="*/ 8372 h 10000"/>
              <a:gd name="connsiteX184" fmla="*/ 2444 w 10000"/>
              <a:gd name="connsiteY184" fmla="*/ 8372 h 10000"/>
              <a:gd name="connsiteX185" fmla="*/ 2487 w 10000"/>
              <a:gd name="connsiteY185" fmla="*/ 8217 h 10000"/>
              <a:gd name="connsiteX186" fmla="*/ 2352 w 10000"/>
              <a:gd name="connsiteY186" fmla="*/ 8140 h 10000"/>
              <a:gd name="connsiteX187" fmla="*/ 2444 w 10000"/>
              <a:gd name="connsiteY187" fmla="*/ 8062 h 10000"/>
              <a:gd name="connsiteX188" fmla="*/ 2397 w 10000"/>
              <a:gd name="connsiteY188" fmla="*/ 7985 h 10000"/>
              <a:gd name="connsiteX189" fmla="*/ 2444 w 10000"/>
              <a:gd name="connsiteY189" fmla="*/ 7907 h 10000"/>
              <a:gd name="connsiteX190" fmla="*/ 2444 w 10000"/>
              <a:gd name="connsiteY190" fmla="*/ 7675 h 10000"/>
              <a:gd name="connsiteX191" fmla="*/ 2533 w 10000"/>
              <a:gd name="connsiteY191" fmla="*/ 7752 h 10000"/>
              <a:gd name="connsiteX192" fmla="*/ 2942 w 10000"/>
              <a:gd name="connsiteY192" fmla="*/ 7520 h 10000"/>
              <a:gd name="connsiteX193" fmla="*/ 2942 w 10000"/>
              <a:gd name="connsiteY193" fmla="*/ 7442 h 10000"/>
              <a:gd name="connsiteX194" fmla="*/ 2985 w 10000"/>
              <a:gd name="connsiteY194" fmla="*/ 7442 h 10000"/>
              <a:gd name="connsiteX195" fmla="*/ 3121 w 10000"/>
              <a:gd name="connsiteY195" fmla="*/ 7442 h 10000"/>
              <a:gd name="connsiteX196" fmla="*/ 3168 w 10000"/>
              <a:gd name="connsiteY196" fmla="*/ 7598 h 10000"/>
              <a:gd name="connsiteX197" fmla="*/ 3168 w 10000"/>
              <a:gd name="connsiteY197" fmla="*/ 7675 h 10000"/>
              <a:gd name="connsiteX198" fmla="*/ 3213 w 10000"/>
              <a:gd name="connsiteY198" fmla="*/ 7675 h 10000"/>
              <a:gd name="connsiteX199" fmla="*/ 3303 w 10000"/>
              <a:gd name="connsiteY199" fmla="*/ 7752 h 10000"/>
              <a:gd name="connsiteX200" fmla="*/ 3303 w 10000"/>
              <a:gd name="connsiteY200" fmla="*/ 7830 h 10000"/>
              <a:gd name="connsiteX201" fmla="*/ 3394 w 10000"/>
              <a:gd name="connsiteY201" fmla="*/ 7830 h 10000"/>
              <a:gd name="connsiteX202" fmla="*/ 3484 w 10000"/>
              <a:gd name="connsiteY202" fmla="*/ 7675 h 10000"/>
              <a:gd name="connsiteX203" fmla="*/ 3575 w 10000"/>
              <a:gd name="connsiteY203" fmla="*/ 7598 h 10000"/>
              <a:gd name="connsiteX204" fmla="*/ 3622 w 10000"/>
              <a:gd name="connsiteY204" fmla="*/ 7830 h 10000"/>
              <a:gd name="connsiteX205" fmla="*/ 3801 w 10000"/>
              <a:gd name="connsiteY205" fmla="*/ 8372 h 10000"/>
              <a:gd name="connsiteX206" fmla="*/ 3847 w 10000"/>
              <a:gd name="connsiteY206" fmla="*/ 8217 h 10000"/>
              <a:gd name="connsiteX207" fmla="*/ 3893 w 10000"/>
              <a:gd name="connsiteY207" fmla="*/ 8372 h 10000"/>
              <a:gd name="connsiteX208" fmla="*/ 4028 w 10000"/>
              <a:gd name="connsiteY208" fmla="*/ 8295 h 10000"/>
              <a:gd name="connsiteX209" fmla="*/ 4165 w 10000"/>
              <a:gd name="connsiteY209" fmla="*/ 8528 h 10000"/>
              <a:gd name="connsiteX210" fmla="*/ 4254 w 10000"/>
              <a:gd name="connsiteY210" fmla="*/ 8605 h 10000"/>
              <a:gd name="connsiteX211" fmla="*/ 4254 w 10000"/>
              <a:gd name="connsiteY211" fmla="*/ 8528 h 10000"/>
              <a:gd name="connsiteX212" fmla="*/ 4299 w 10000"/>
              <a:gd name="connsiteY212" fmla="*/ 8683 h 10000"/>
              <a:gd name="connsiteX213" fmla="*/ 4254 w 10000"/>
              <a:gd name="connsiteY213" fmla="*/ 8760 h 10000"/>
              <a:gd name="connsiteX214" fmla="*/ 4345 w 10000"/>
              <a:gd name="connsiteY214" fmla="*/ 8683 h 10000"/>
              <a:gd name="connsiteX215" fmla="*/ 4389 w 10000"/>
              <a:gd name="connsiteY215" fmla="*/ 8605 h 10000"/>
              <a:gd name="connsiteX216" fmla="*/ 4616 w 10000"/>
              <a:gd name="connsiteY216" fmla="*/ 8372 h 10000"/>
              <a:gd name="connsiteX217" fmla="*/ 4796 w 10000"/>
              <a:gd name="connsiteY217" fmla="*/ 8449 h 10000"/>
              <a:gd name="connsiteX218" fmla="*/ 4886 w 10000"/>
              <a:gd name="connsiteY218" fmla="*/ 8528 h 10000"/>
              <a:gd name="connsiteX219" fmla="*/ 5066 w 10000"/>
              <a:gd name="connsiteY219" fmla="*/ 8528 h 10000"/>
              <a:gd name="connsiteX220" fmla="*/ 5066 w 10000"/>
              <a:gd name="connsiteY220" fmla="*/ 8372 h 10000"/>
              <a:gd name="connsiteX221" fmla="*/ 5066 w 10000"/>
              <a:gd name="connsiteY221" fmla="*/ 8217 h 10000"/>
              <a:gd name="connsiteX222" fmla="*/ 5158 w 10000"/>
              <a:gd name="connsiteY222" fmla="*/ 8140 h 10000"/>
              <a:gd name="connsiteX223" fmla="*/ 5339 w 10000"/>
              <a:gd name="connsiteY223" fmla="*/ 8217 h 10000"/>
              <a:gd name="connsiteX224" fmla="*/ 5429 w 10000"/>
              <a:gd name="connsiteY224" fmla="*/ 8449 h 10000"/>
              <a:gd name="connsiteX225" fmla="*/ 5476 w 10000"/>
              <a:gd name="connsiteY225" fmla="*/ 8449 h 10000"/>
              <a:gd name="connsiteX226" fmla="*/ 5566 w 10000"/>
              <a:gd name="connsiteY226" fmla="*/ 8372 h 10000"/>
              <a:gd name="connsiteX227" fmla="*/ 5841 w 10000"/>
              <a:gd name="connsiteY227" fmla="*/ 8605 h 10000"/>
              <a:gd name="connsiteX228" fmla="*/ 5975 w 10000"/>
              <a:gd name="connsiteY228" fmla="*/ 8683 h 10000"/>
              <a:gd name="connsiteX229" fmla="*/ 6155 w 10000"/>
              <a:gd name="connsiteY229" fmla="*/ 8605 h 10000"/>
              <a:gd name="connsiteX230" fmla="*/ 6244 w 10000"/>
              <a:gd name="connsiteY230" fmla="*/ 8449 h 10000"/>
              <a:gd name="connsiteX231" fmla="*/ 6380 w 10000"/>
              <a:gd name="connsiteY231" fmla="*/ 8528 h 10000"/>
              <a:gd name="connsiteX232" fmla="*/ 6471 w 10000"/>
              <a:gd name="connsiteY232" fmla="*/ 8605 h 10000"/>
              <a:gd name="connsiteX233" fmla="*/ 8009 w 10000"/>
              <a:gd name="connsiteY233" fmla="*/ 7675 h 10000"/>
              <a:gd name="connsiteX234" fmla="*/ 7920 w 10000"/>
              <a:gd name="connsiteY234" fmla="*/ 7675 h 10000"/>
              <a:gd name="connsiteX235" fmla="*/ 7875 w 10000"/>
              <a:gd name="connsiteY235" fmla="*/ 7675 h 10000"/>
              <a:gd name="connsiteX236" fmla="*/ 7828 w 10000"/>
              <a:gd name="connsiteY236" fmla="*/ 7598 h 10000"/>
              <a:gd name="connsiteX237" fmla="*/ 7740 w 10000"/>
              <a:gd name="connsiteY237" fmla="*/ 7598 h 10000"/>
              <a:gd name="connsiteX238" fmla="*/ 7740 w 10000"/>
              <a:gd name="connsiteY238" fmla="*/ 7520 h 10000"/>
              <a:gd name="connsiteX239" fmla="*/ 7875 w 10000"/>
              <a:gd name="connsiteY239" fmla="*/ 7287 h 10000"/>
              <a:gd name="connsiteX240" fmla="*/ 8285 w 10000"/>
              <a:gd name="connsiteY240" fmla="*/ 6590 h 10000"/>
              <a:gd name="connsiteX241" fmla="*/ 8462 w 10000"/>
              <a:gd name="connsiteY241" fmla="*/ 6512 h 10000"/>
              <a:gd name="connsiteX242" fmla="*/ 8506 w 10000"/>
              <a:gd name="connsiteY242" fmla="*/ 6590 h 10000"/>
              <a:gd name="connsiteX243" fmla="*/ 8554 w 10000"/>
              <a:gd name="connsiteY243" fmla="*/ 6512 h 10000"/>
              <a:gd name="connsiteX244" fmla="*/ 8686 w 10000"/>
              <a:gd name="connsiteY244" fmla="*/ 6590 h 10000"/>
              <a:gd name="connsiteX245" fmla="*/ 8737 w 10000"/>
              <a:gd name="connsiteY245" fmla="*/ 6434 h 10000"/>
              <a:gd name="connsiteX246" fmla="*/ 8869 w 10000"/>
              <a:gd name="connsiteY246" fmla="*/ 6512 h 10000"/>
              <a:gd name="connsiteX247" fmla="*/ 8914 w 10000"/>
              <a:gd name="connsiteY247" fmla="*/ 6512 h 10000"/>
              <a:gd name="connsiteX248" fmla="*/ 8869 w 10000"/>
              <a:gd name="connsiteY248" fmla="*/ 6590 h 10000"/>
              <a:gd name="connsiteX249" fmla="*/ 8869 w 10000"/>
              <a:gd name="connsiteY249" fmla="*/ 6667 h 10000"/>
              <a:gd name="connsiteX250" fmla="*/ 9140 w 10000"/>
              <a:gd name="connsiteY250" fmla="*/ 6590 h 10000"/>
              <a:gd name="connsiteX251" fmla="*/ 9095 w 10000"/>
              <a:gd name="connsiteY251" fmla="*/ 6512 h 10000"/>
              <a:gd name="connsiteX252" fmla="*/ 9279 w 10000"/>
              <a:gd name="connsiteY252" fmla="*/ 5969 h 10000"/>
              <a:gd name="connsiteX253" fmla="*/ 9501 w 10000"/>
              <a:gd name="connsiteY253" fmla="*/ 5892 h 10000"/>
              <a:gd name="connsiteX254" fmla="*/ 9501 w 10000"/>
              <a:gd name="connsiteY254" fmla="*/ 6047 h 10000"/>
              <a:gd name="connsiteX255" fmla="*/ 9501 w 10000"/>
              <a:gd name="connsiteY255" fmla="*/ 6202 h 10000"/>
              <a:gd name="connsiteX256" fmla="*/ 9729 w 10000"/>
              <a:gd name="connsiteY256" fmla="*/ 6590 h 10000"/>
              <a:gd name="connsiteX257" fmla="*/ 9729 w 10000"/>
              <a:gd name="connsiteY257" fmla="*/ 6434 h 10000"/>
              <a:gd name="connsiteX258" fmla="*/ 9821 w 10000"/>
              <a:gd name="connsiteY258" fmla="*/ 6434 h 10000"/>
              <a:gd name="connsiteX259" fmla="*/ 9957 w 10000"/>
              <a:gd name="connsiteY259" fmla="*/ 6279 h 10000"/>
              <a:gd name="connsiteX260" fmla="*/ 9957 w 10000"/>
              <a:gd name="connsiteY260" fmla="*/ 6434 h 10000"/>
              <a:gd name="connsiteX261" fmla="*/ 10000 w 10000"/>
              <a:gd name="connsiteY261" fmla="*/ 6356 h 10000"/>
              <a:gd name="connsiteX262" fmla="*/ 9550 w 10000"/>
              <a:gd name="connsiteY262" fmla="*/ 3566 h 10000"/>
              <a:gd name="connsiteX263" fmla="*/ 9457 w 10000"/>
              <a:gd name="connsiteY263" fmla="*/ 3488 h 10000"/>
              <a:gd name="connsiteX264" fmla="*/ 9501 w 10000"/>
              <a:gd name="connsiteY264" fmla="*/ 3333 h 10000"/>
              <a:gd name="connsiteX265" fmla="*/ 9411 w 10000"/>
              <a:gd name="connsiteY265" fmla="*/ 3101 h 10000"/>
              <a:gd name="connsiteX266" fmla="*/ 9229 w 10000"/>
              <a:gd name="connsiteY266" fmla="*/ 3023 h 10000"/>
              <a:gd name="connsiteX267" fmla="*/ 8961 w 10000"/>
              <a:gd name="connsiteY267" fmla="*/ 3178 h 10000"/>
              <a:gd name="connsiteX268" fmla="*/ 8914 w 10000"/>
              <a:gd name="connsiteY268" fmla="*/ 2946 h 10000"/>
              <a:gd name="connsiteX269" fmla="*/ 8825 w 10000"/>
              <a:gd name="connsiteY269" fmla="*/ 2946 h 10000"/>
              <a:gd name="connsiteX270" fmla="*/ 8779 w 10000"/>
              <a:gd name="connsiteY270" fmla="*/ 2868 h 10000"/>
              <a:gd name="connsiteX271" fmla="*/ 8779 w 10000"/>
              <a:gd name="connsiteY271" fmla="*/ 2636 h 10000"/>
              <a:gd name="connsiteX272" fmla="*/ 8462 w 10000"/>
              <a:gd name="connsiteY272" fmla="*/ 2480 h 10000"/>
              <a:gd name="connsiteX273" fmla="*/ 8101 w 10000"/>
              <a:gd name="connsiteY273" fmla="*/ 2325 h 10000"/>
              <a:gd name="connsiteX274" fmla="*/ 8009 w 10000"/>
              <a:gd name="connsiteY274" fmla="*/ 2636 h 10000"/>
              <a:gd name="connsiteX275" fmla="*/ 8101 w 10000"/>
              <a:gd name="connsiteY275" fmla="*/ 2868 h 10000"/>
              <a:gd name="connsiteX276" fmla="*/ 7828 w 10000"/>
              <a:gd name="connsiteY276" fmla="*/ 2868 h 10000"/>
              <a:gd name="connsiteX277" fmla="*/ 7782 w 10000"/>
              <a:gd name="connsiteY277" fmla="*/ 2868 h 10000"/>
              <a:gd name="connsiteX278" fmla="*/ 7692 w 10000"/>
              <a:gd name="connsiteY278" fmla="*/ 2946 h 10000"/>
              <a:gd name="connsiteX279" fmla="*/ 7557 w 10000"/>
              <a:gd name="connsiteY279" fmla="*/ 2714 h 10000"/>
              <a:gd name="connsiteX280" fmla="*/ 7465 w 10000"/>
              <a:gd name="connsiteY280" fmla="*/ 3178 h 10000"/>
              <a:gd name="connsiteX281" fmla="*/ 7378 w 10000"/>
              <a:gd name="connsiteY281" fmla="*/ 3101 h 10000"/>
              <a:gd name="connsiteX282" fmla="*/ 7285 w 10000"/>
              <a:gd name="connsiteY282" fmla="*/ 2791 h 10000"/>
              <a:gd name="connsiteX283" fmla="*/ 7332 w 10000"/>
              <a:gd name="connsiteY283" fmla="*/ 2403 h 10000"/>
              <a:gd name="connsiteX284" fmla="*/ 7241 w 10000"/>
              <a:gd name="connsiteY284" fmla="*/ 2170 h 10000"/>
              <a:gd name="connsiteX285" fmla="*/ 6969 w 10000"/>
              <a:gd name="connsiteY285" fmla="*/ 2016 h 10000"/>
              <a:gd name="connsiteX286" fmla="*/ 6876 w 10000"/>
              <a:gd name="connsiteY286" fmla="*/ 2016 h 10000"/>
              <a:gd name="connsiteX287" fmla="*/ 6833 w 10000"/>
              <a:gd name="connsiteY287" fmla="*/ 2170 h 10000"/>
              <a:gd name="connsiteX288" fmla="*/ 6876 w 10000"/>
              <a:gd name="connsiteY288" fmla="*/ 2325 h 10000"/>
              <a:gd name="connsiteX289" fmla="*/ 6520 w 10000"/>
              <a:gd name="connsiteY289" fmla="*/ 2248 h 10000"/>
              <a:gd name="connsiteX290" fmla="*/ 6561 w 10000"/>
              <a:gd name="connsiteY290" fmla="*/ 2016 h 10000"/>
              <a:gd name="connsiteX291" fmla="*/ 6337 w 10000"/>
              <a:gd name="connsiteY291" fmla="*/ 1938 h 10000"/>
              <a:gd name="connsiteX292" fmla="*/ 6200 w 10000"/>
              <a:gd name="connsiteY292" fmla="*/ 2093 h 10000"/>
              <a:gd name="connsiteX293" fmla="*/ 5934 w 10000"/>
              <a:gd name="connsiteY293" fmla="*/ 1861 h 10000"/>
              <a:gd name="connsiteX0" fmla="*/ 5934 w 9957"/>
              <a:gd name="connsiteY0" fmla="*/ 1861 h 10000"/>
              <a:gd name="connsiteX1" fmla="*/ 5934 w 9957"/>
              <a:gd name="connsiteY1" fmla="*/ 1861 h 10000"/>
              <a:gd name="connsiteX2" fmla="*/ 5883 w 9957"/>
              <a:gd name="connsiteY2" fmla="*/ 1938 h 10000"/>
              <a:gd name="connsiteX3" fmla="*/ 5934 w 9957"/>
              <a:gd name="connsiteY3" fmla="*/ 2093 h 10000"/>
              <a:gd name="connsiteX4" fmla="*/ 5746 w 9957"/>
              <a:gd name="connsiteY4" fmla="*/ 2248 h 10000"/>
              <a:gd name="connsiteX5" fmla="*/ 5699 w 9957"/>
              <a:gd name="connsiteY5" fmla="*/ 2248 h 10000"/>
              <a:gd name="connsiteX6" fmla="*/ 5746 w 9957"/>
              <a:gd name="connsiteY6" fmla="*/ 2016 h 10000"/>
              <a:gd name="connsiteX7" fmla="*/ 6200 w 9957"/>
              <a:gd name="connsiteY7" fmla="*/ 1318 h 10000"/>
              <a:gd name="connsiteX8" fmla="*/ 6200 w 9957"/>
              <a:gd name="connsiteY8" fmla="*/ 853 h 10000"/>
              <a:gd name="connsiteX9" fmla="*/ 6019 w 9957"/>
              <a:gd name="connsiteY9" fmla="*/ 543 h 10000"/>
              <a:gd name="connsiteX10" fmla="*/ 5793 w 9957"/>
              <a:gd name="connsiteY10" fmla="*/ 543 h 10000"/>
              <a:gd name="connsiteX11" fmla="*/ 5793 w 9957"/>
              <a:gd name="connsiteY11" fmla="*/ 698 h 10000"/>
              <a:gd name="connsiteX12" fmla="*/ 5655 w 9957"/>
              <a:gd name="connsiteY12" fmla="*/ 698 h 10000"/>
              <a:gd name="connsiteX13" fmla="*/ 5746 w 9957"/>
              <a:gd name="connsiteY13" fmla="*/ 387 h 10000"/>
              <a:gd name="connsiteX14" fmla="*/ 5522 w 9957"/>
              <a:gd name="connsiteY14" fmla="*/ 310 h 10000"/>
              <a:gd name="connsiteX15" fmla="*/ 5655 w 9957"/>
              <a:gd name="connsiteY15" fmla="*/ 155 h 10000"/>
              <a:gd name="connsiteX16" fmla="*/ 5522 w 9957"/>
              <a:gd name="connsiteY16" fmla="*/ 0 h 10000"/>
              <a:gd name="connsiteX17" fmla="*/ 5295 w 9957"/>
              <a:gd name="connsiteY17" fmla="*/ 387 h 10000"/>
              <a:gd name="connsiteX18" fmla="*/ 5295 w 9957"/>
              <a:gd name="connsiteY18" fmla="*/ 698 h 10000"/>
              <a:gd name="connsiteX19" fmla="*/ 5158 w 9957"/>
              <a:gd name="connsiteY19" fmla="*/ 698 h 10000"/>
              <a:gd name="connsiteX20" fmla="*/ 4752 w 9957"/>
              <a:gd name="connsiteY20" fmla="*/ 853 h 10000"/>
              <a:gd name="connsiteX21" fmla="*/ 4389 w 9957"/>
              <a:gd name="connsiteY21" fmla="*/ 1240 h 10000"/>
              <a:gd name="connsiteX22" fmla="*/ 4254 w 9957"/>
              <a:gd name="connsiteY22" fmla="*/ 1551 h 10000"/>
              <a:gd name="connsiteX23" fmla="*/ 4299 w 9957"/>
              <a:gd name="connsiteY23" fmla="*/ 1938 h 10000"/>
              <a:gd name="connsiteX24" fmla="*/ 3801 w 9957"/>
              <a:gd name="connsiteY24" fmla="*/ 2093 h 10000"/>
              <a:gd name="connsiteX25" fmla="*/ 3847 w 9957"/>
              <a:gd name="connsiteY25" fmla="*/ 2559 h 10000"/>
              <a:gd name="connsiteX26" fmla="*/ 3984 w 9957"/>
              <a:gd name="connsiteY26" fmla="*/ 2791 h 10000"/>
              <a:gd name="connsiteX27" fmla="*/ 3893 w 9957"/>
              <a:gd name="connsiteY27" fmla="*/ 2868 h 10000"/>
              <a:gd name="connsiteX28" fmla="*/ 3757 w 9957"/>
              <a:gd name="connsiteY28" fmla="*/ 2559 h 10000"/>
              <a:gd name="connsiteX29" fmla="*/ 3622 w 9957"/>
              <a:gd name="connsiteY29" fmla="*/ 2480 h 10000"/>
              <a:gd name="connsiteX30" fmla="*/ 3575 w 9957"/>
              <a:gd name="connsiteY30" fmla="*/ 2559 h 10000"/>
              <a:gd name="connsiteX31" fmla="*/ 3484 w 9957"/>
              <a:gd name="connsiteY31" fmla="*/ 2403 h 10000"/>
              <a:gd name="connsiteX32" fmla="*/ 3394 w 9957"/>
              <a:gd name="connsiteY32" fmla="*/ 2248 h 10000"/>
              <a:gd name="connsiteX33" fmla="*/ 3394 w 9957"/>
              <a:gd name="connsiteY33" fmla="*/ 2325 h 10000"/>
              <a:gd name="connsiteX34" fmla="*/ 3442 w 9957"/>
              <a:gd name="connsiteY34" fmla="*/ 2559 h 10000"/>
              <a:gd name="connsiteX35" fmla="*/ 3303 w 9957"/>
              <a:gd name="connsiteY35" fmla="*/ 2946 h 10000"/>
              <a:gd name="connsiteX36" fmla="*/ 3394 w 9957"/>
              <a:gd name="connsiteY36" fmla="*/ 3256 h 10000"/>
              <a:gd name="connsiteX37" fmla="*/ 3346 w 9957"/>
              <a:gd name="connsiteY37" fmla="*/ 3566 h 10000"/>
              <a:gd name="connsiteX38" fmla="*/ 3346 w 9957"/>
              <a:gd name="connsiteY38" fmla="*/ 3799 h 10000"/>
              <a:gd name="connsiteX39" fmla="*/ 3484 w 9957"/>
              <a:gd name="connsiteY39" fmla="*/ 3799 h 10000"/>
              <a:gd name="connsiteX40" fmla="*/ 3394 w 9957"/>
              <a:gd name="connsiteY40" fmla="*/ 3876 h 10000"/>
              <a:gd name="connsiteX41" fmla="*/ 3442 w 9957"/>
              <a:gd name="connsiteY41" fmla="*/ 4263 h 10000"/>
              <a:gd name="connsiteX42" fmla="*/ 3168 w 9957"/>
              <a:gd name="connsiteY42" fmla="*/ 4652 h 10000"/>
              <a:gd name="connsiteX43" fmla="*/ 3121 w 9957"/>
              <a:gd name="connsiteY43" fmla="*/ 4574 h 10000"/>
              <a:gd name="connsiteX44" fmla="*/ 3303 w 9957"/>
              <a:gd name="connsiteY44" fmla="*/ 4186 h 10000"/>
              <a:gd name="connsiteX45" fmla="*/ 3346 w 9957"/>
              <a:gd name="connsiteY45" fmla="*/ 3954 h 10000"/>
              <a:gd name="connsiteX46" fmla="*/ 3253 w 9957"/>
              <a:gd name="connsiteY46" fmla="*/ 3799 h 10000"/>
              <a:gd name="connsiteX47" fmla="*/ 3253 w 9957"/>
              <a:gd name="connsiteY47" fmla="*/ 3023 h 10000"/>
              <a:gd name="connsiteX48" fmla="*/ 3213 w 9957"/>
              <a:gd name="connsiteY48" fmla="*/ 2868 h 10000"/>
              <a:gd name="connsiteX49" fmla="*/ 3253 w 9957"/>
              <a:gd name="connsiteY49" fmla="*/ 2403 h 10000"/>
              <a:gd name="connsiteX50" fmla="*/ 3168 w 9957"/>
              <a:gd name="connsiteY50" fmla="*/ 2325 h 10000"/>
              <a:gd name="connsiteX51" fmla="*/ 3213 w 9957"/>
              <a:gd name="connsiteY51" fmla="*/ 2248 h 10000"/>
              <a:gd name="connsiteX52" fmla="*/ 3168 w 9957"/>
              <a:gd name="connsiteY52" fmla="*/ 2093 h 10000"/>
              <a:gd name="connsiteX53" fmla="*/ 3074 w 9957"/>
              <a:gd name="connsiteY53" fmla="*/ 2170 h 10000"/>
              <a:gd name="connsiteX54" fmla="*/ 2850 w 9957"/>
              <a:gd name="connsiteY54" fmla="*/ 3178 h 10000"/>
              <a:gd name="connsiteX55" fmla="*/ 2850 w 9957"/>
              <a:gd name="connsiteY55" fmla="*/ 3566 h 10000"/>
              <a:gd name="connsiteX56" fmla="*/ 2985 w 9957"/>
              <a:gd name="connsiteY56" fmla="*/ 3876 h 10000"/>
              <a:gd name="connsiteX57" fmla="*/ 2985 w 9957"/>
              <a:gd name="connsiteY57" fmla="*/ 4031 h 10000"/>
              <a:gd name="connsiteX58" fmla="*/ 2850 w 9957"/>
              <a:gd name="connsiteY58" fmla="*/ 3876 h 10000"/>
              <a:gd name="connsiteX59" fmla="*/ 2310 w 9957"/>
              <a:gd name="connsiteY59" fmla="*/ 3256 h 10000"/>
              <a:gd name="connsiteX60" fmla="*/ 2262 w 9957"/>
              <a:gd name="connsiteY60" fmla="*/ 3411 h 10000"/>
              <a:gd name="connsiteX61" fmla="*/ 2444 w 9957"/>
              <a:gd name="connsiteY61" fmla="*/ 3799 h 10000"/>
              <a:gd name="connsiteX62" fmla="*/ 2352 w 9957"/>
              <a:gd name="connsiteY62" fmla="*/ 3876 h 10000"/>
              <a:gd name="connsiteX63" fmla="*/ 2310 w 9957"/>
              <a:gd name="connsiteY63" fmla="*/ 3799 h 10000"/>
              <a:gd name="connsiteX64" fmla="*/ 2038 w 9957"/>
              <a:gd name="connsiteY64" fmla="*/ 3954 h 10000"/>
              <a:gd name="connsiteX65" fmla="*/ 1992 w 9957"/>
              <a:gd name="connsiteY65" fmla="*/ 4109 h 10000"/>
              <a:gd name="connsiteX66" fmla="*/ 1947 w 9957"/>
              <a:gd name="connsiteY66" fmla="*/ 3954 h 10000"/>
              <a:gd name="connsiteX67" fmla="*/ 1947 w 9957"/>
              <a:gd name="connsiteY67" fmla="*/ 3799 h 10000"/>
              <a:gd name="connsiteX68" fmla="*/ 1492 w 9957"/>
              <a:gd name="connsiteY68" fmla="*/ 4263 h 10000"/>
              <a:gd name="connsiteX69" fmla="*/ 1492 w 9957"/>
              <a:gd name="connsiteY69" fmla="*/ 4418 h 10000"/>
              <a:gd name="connsiteX70" fmla="*/ 1405 w 9957"/>
              <a:gd name="connsiteY70" fmla="*/ 4496 h 10000"/>
              <a:gd name="connsiteX71" fmla="*/ 1266 w 9957"/>
              <a:gd name="connsiteY71" fmla="*/ 4341 h 10000"/>
              <a:gd name="connsiteX72" fmla="*/ 1405 w 9957"/>
              <a:gd name="connsiteY72" fmla="*/ 4186 h 10000"/>
              <a:gd name="connsiteX73" fmla="*/ 1358 w 9957"/>
              <a:gd name="connsiteY73" fmla="*/ 3954 h 10000"/>
              <a:gd name="connsiteX74" fmla="*/ 1178 w 9957"/>
              <a:gd name="connsiteY74" fmla="*/ 3876 h 10000"/>
              <a:gd name="connsiteX75" fmla="*/ 1224 w 9957"/>
              <a:gd name="connsiteY75" fmla="*/ 4031 h 10000"/>
              <a:gd name="connsiteX76" fmla="*/ 1224 w 9957"/>
              <a:gd name="connsiteY76" fmla="*/ 4418 h 10000"/>
              <a:gd name="connsiteX77" fmla="*/ 1266 w 9957"/>
              <a:gd name="connsiteY77" fmla="*/ 4574 h 10000"/>
              <a:gd name="connsiteX78" fmla="*/ 1224 w 9957"/>
              <a:gd name="connsiteY78" fmla="*/ 4729 h 10000"/>
              <a:gd name="connsiteX79" fmla="*/ 1085 w 9957"/>
              <a:gd name="connsiteY79" fmla="*/ 4652 h 10000"/>
              <a:gd name="connsiteX80" fmla="*/ 904 w 9957"/>
              <a:gd name="connsiteY80" fmla="*/ 4884 h 10000"/>
              <a:gd name="connsiteX81" fmla="*/ 994 w 9957"/>
              <a:gd name="connsiteY81" fmla="*/ 5194 h 10000"/>
              <a:gd name="connsiteX82" fmla="*/ 723 w 9957"/>
              <a:gd name="connsiteY82" fmla="*/ 5039 h 10000"/>
              <a:gd name="connsiteX83" fmla="*/ 679 w 9957"/>
              <a:gd name="connsiteY83" fmla="*/ 5116 h 10000"/>
              <a:gd name="connsiteX84" fmla="*/ 770 w 9957"/>
              <a:gd name="connsiteY84" fmla="*/ 5349 h 10000"/>
              <a:gd name="connsiteX85" fmla="*/ 679 w 9957"/>
              <a:gd name="connsiteY85" fmla="*/ 5349 h 10000"/>
              <a:gd name="connsiteX86" fmla="*/ 544 w 9957"/>
              <a:gd name="connsiteY86" fmla="*/ 5194 h 10000"/>
              <a:gd name="connsiteX87" fmla="*/ 544 w 9957"/>
              <a:gd name="connsiteY87" fmla="*/ 4729 h 10000"/>
              <a:gd name="connsiteX88" fmla="*/ 410 w 9957"/>
              <a:gd name="connsiteY88" fmla="*/ 4574 h 10000"/>
              <a:gd name="connsiteX89" fmla="*/ 362 w 9957"/>
              <a:gd name="connsiteY89" fmla="*/ 4418 h 10000"/>
              <a:gd name="connsiteX90" fmla="*/ 453 w 9957"/>
              <a:gd name="connsiteY90" fmla="*/ 4496 h 10000"/>
              <a:gd name="connsiteX91" fmla="*/ 813 w 9957"/>
              <a:gd name="connsiteY91" fmla="*/ 4729 h 10000"/>
              <a:gd name="connsiteX92" fmla="*/ 1039 w 9957"/>
              <a:gd name="connsiteY92" fmla="*/ 4496 h 10000"/>
              <a:gd name="connsiteX93" fmla="*/ 994 w 9957"/>
              <a:gd name="connsiteY93" fmla="*/ 4263 h 10000"/>
              <a:gd name="connsiteX94" fmla="*/ 723 w 9957"/>
              <a:gd name="connsiteY94" fmla="*/ 3799 h 10000"/>
              <a:gd name="connsiteX95" fmla="*/ 453 w 9957"/>
              <a:gd name="connsiteY95" fmla="*/ 3644 h 10000"/>
              <a:gd name="connsiteX96" fmla="*/ 453 w 9957"/>
              <a:gd name="connsiteY96" fmla="*/ 3566 h 10000"/>
              <a:gd name="connsiteX97" fmla="*/ 362 w 9957"/>
              <a:gd name="connsiteY97" fmla="*/ 3488 h 10000"/>
              <a:gd name="connsiteX98" fmla="*/ 269 w 9957"/>
              <a:gd name="connsiteY98" fmla="*/ 3566 h 10000"/>
              <a:gd name="connsiteX99" fmla="*/ 269 w 9957"/>
              <a:gd name="connsiteY99" fmla="*/ 3644 h 10000"/>
              <a:gd name="connsiteX100" fmla="*/ 227 w 9957"/>
              <a:gd name="connsiteY100" fmla="*/ 3644 h 10000"/>
              <a:gd name="connsiteX101" fmla="*/ 135 w 9957"/>
              <a:gd name="connsiteY101" fmla="*/ 3799 h 10000"/>
              <a:gd name="connsiteX102" fmla="*/ 135 w 9957"/>
              <a:gd name="connsiteY102" fmla="*/ 4031 h 10000"/>
              <a:gd name="connsiteX103" fmla="*/ 227 w 9957"/>
              <a:gd name="connsiteY103" fmla="*/ 4186 h 10000"/>
              <a:gd name="connsiteX104" fmla="*/ 180 w 9957"/>
              <a:gd name="connsiteY104" fmla="*/ 4418 h 10000"/>
              <a:gd name="connsiteX105" fmla="*/ 227 w 9957"/>
              <a:gd name="connsiteY105" fmla="*/ 4807 h 10000"/>
              <a:gd name="connsiteX106" fmla="*/ 180 w 9957"/>
              <a:gd name="connsiteY106" fmla="*/ 5039 h 10000"/>
              <a:gd name="connsiteX107" fmla="*/ 269 w 9957"/>
              <a:gd name="connsiteY107" fmla="*/ 5271 h 10000"/>
              <a:gd name="connsiteX108" fmla="*/ 227 w 9957"/>
              <a:gd name="connsiteY108" fmla="*/ 5426 h 10000"/>
              <a:gd name="connsiteX109" fmla="*/ 316 w 9957"/>
              <a:gd name="connsiteY109" fmla="*/ 5582 h 10000"/>
              <a:gd name="connsiteX110" fmla="*/ 316 w 9957"/>
              <a:gd name="connsiteY110" fmla="*/ 5659 h 10000"/>
              <a:gd name="connsiteX111" fmla="*/ 180 w 9957"/>
              <a:gd name="connsiteY111" fmla="*/ 6047 h 10000"/>
              <a:gd name="connsiteX112" fmla="*/ 42 w 9957"/>
              <a:gd name="connsiteY112" fmla="*/ 6202 h 10000"/>
              <a:gd name="connsiteX113" fmla="*/ 90 w 9957"/>
              <a:gd name="connsiteY113" fmla="*/ 6202 h 10000"/>
              <a:gd name="connsiteX114" fmla="*/ 180 w 9957"/>
              <a:gd name="connsiteY114" fmla="*/ 6356 h 10000"/>
              <a:gd name="connsiteX115" fmla="*/ 90 w 9957"/>
              <a:gd name="connsiteY115" fmla="*/ 6512 h 10000"/>
              <a:gd name="connsiteX116" fmla="*/ 42 w 9957"/>
              <a:gd name="connsiteY116" fmla="*/ 6590 h 10000"/>
              <a:gd name="connsiteX117" fmla="*/ 0 w 9957"/>
              <a:gd name="connsiteY117" fmla="*/ 6590 h 10000"/>
              <a:gd name="connsiteX118" fmla="*/ 42 w 9957"/>
              <a:gd name="connsiteY118" fmla="*/ 6822 h 10000"/>
              <a:gd name="connsiteX119" fmla="*/ 42 w 9957"/>
              <a:gd name="connsiteY119" fmla="*/ 6900 h 10000"/>
              <a:gd name="connsiteX120" fmla="*/ 42 w 9957"/>
              <a:gd name="connsiteY120" fmla="*/ 6977 h 10000"/>
              <a:gd name="connsiteX121" fmla="*/ 42 w 9957"/>
              <a:gd name="connsiteY121" fmla="*/ 7054 h 10000"/>
              <a:gd name="connsiteX122" fmla="*/ 90 w 9957"/>
              <a:gd name="connsiteY122" fmla="*/ 7209 h 10000"/>
              <a:gd name="connsiteX123" fmla="*/ 227 w 9957"/>
              <a:gd name="connsiteY123" fmla="*/ 7287 h 10000"/>
              <a:gd name="connsiteX124" fmla="*/ 269 w 9957"/>
              <a:gd name="connsiteY124" fmla="*/ 7364 h 10000"/>
              <a:gd name="connsiteX125" fmla="*/ 269 w 9957"/>
              <a:gd name="connsiteY125" fmla="*/ 7520 h 10000"/>
              <a:gd name="connsiteX126" fmla="*/ 362 w 9957"/>
              <a:gd name="connsiteY126" fmla="*/ 7752 h 10000"/>
              <a:gd name="connsiteX127" fmla="*/ 410 w 9957"/>
              <a:gd name="connsiteY127" fmla="*/ 7752 h 10000"/>
              <a:gd name="connsiteX128" fmla="*/ 362 w 9957"/>
              <a:gd name="connsiteY128" fmla="*/ 7907 h 10000"/>
              <a:gd name="connsiteX129" fmla="*/ 316 w 9957"/>
              <a:gd name="connsiteY129" fmla="*/ 7830 h 10000"/>
              <a:gd name="connsiteX130" fmla="*/ 316 w 9957"/>
              <a:gd name="connsiteY130" fmla="*/ 7907 h 10000"/>
              <a:gd name="connsiteX131" fmla="*/ 362 w 9957"/>
              <a:gd name="connsiteY131" fmla="*/ 8062 h 10000"/>
              <a:gd name="connsiteX132" fmla="*/ 499 w 9957"/>
              <a:gd name="connsiteY132" fmla="*/ 8062 h 10000"/>
              <a:gd name="connsiteX133" fmla="*/ 544 w 9957"/>
              <a:gd name="connsiteY133" fmla="*/ 8140 h 10000"/>
              <a:gd name="connsiteX134" fmla="*/ 499 w 9957"/>
              <a:gd name="connsiteY134" fmla="*/ 8140 h 10000"/>
              <a:gd name="connsiteX135" fmla="*/ 544 w 9957"/>
              <a:gd name="connsiteY135" fmla="*/ 8217 h 10000"/>
              <a:gd name="connsiteX136" fmla="*/ 587 w 9957"/>
              <a:gd name="connsiteY136" fmla="*/ 8217 h 10000"/>
              <a:gd name="connsiteX137" fmla="*/ 633 w 9957"/>
              <a:gd name="connsiteY137" fmla="*/ 8372 h 10000"/>
              <a:gd name="connsiteX138" fmla="*/ 679 w 9957"/>
              <a:gd name="connsiteY138" fmla="*/ 8449 h 10000"/>
              <a:gd name="connsiteX139" fmla="*/ 723 w 9957"/>
              <a:gd name="connsiteY139" fmla="*/ 8372 h 10000"/>
              <a:gd name="connsiteX140" fmla="*/ 952 w 9957"/>
              <a:gd name="connsiteY140" fmla="*/ 8605 h 10000"/>
              <a:gd name="connsiteX141" fmla="*/ 904 w 9957"/>
              <a:gd name="connsiteY141" fmla="*/ 8915 h 10000"/>
              <a:gd name="connsiteX142" fmla="*/ 858 w 9957"/>
              <a:gd name="connsiteY142" fmla="*/ 8838 h 10000"/>
              <a:gd name="connsiteX143" fmla="*/ 813 w 9957"/>
              <a:gd name="connsiteY143" fmla="*/ 8915 h 10000"/>
              <a:gd name="connsiteX144" fmla="*/ 813 w 9957"/>
              <a:gd name="connsiteY144" fmla="*/ 9070 h 10000"/>
              <a:gd name="connsiteX145" fmla="*/ 858 w 9957"/>
              <a:gd name="connsiteY145" fmla="*/ 8993 h 10000"/>
              <a:gd name="connsiteX146" fmla="*/ 904 w 9957"/>
              <a:gd name="connsiteY146" fmla="*/ 9070 h 10000"/>
              <a:gd name="connsiteX147" fmla="*/ 770 w 9957"/>
              <a:gd name="connsiteY147" fmla="*/ 9147 h 10000"/>
              <a:gd name="connsiteX148" fmla="*/ 813 w 9957"/>
              <a:gd name="connsiteY148" fmla="*/ 9225 h 10000"/>
              <a:gd name="connsiteX149" fmla="*/ 723 w 9957"/>
              <a:gd name="connsiteY149" fmla="*/ 9380 h 10000"/>
              <a:gd name="connsiteX150" fmla="*/ 679 w 9957"/>
              <a:gd name="connsiteY150" fmla="*/ 9380 h 10000"/>
              <a:gd name="connsiteX151" fmla="*/ 723 w 9957"/>
              <a:gd name="connsiteY151" fmla="*/ 9380 h 10000"/>
              <a:gd name="connsiteX152" fmla="*/ 904 w 9957"/>
              <a:gd name="connsiteY152" fmla="*/ 9691 h 10000"/>
              <a:gd name="connsiteX153" fmla="*/ 1132 w 9957"/>
              <a:gd name="connsiteY153" fmla="*/ 9691 h 10000"/>
              <a:gd name="connsiteX154" fmla="*/ 1224 w 9957"/>
              <a:gd name="connsiteY154" fmla="*/ 9768 h 10000"/>
              <a:gd name="connsiteX155" fmla="*/ 1312 w 9957"/>
              <a:gd name="connsiteY155" fmla="*/ 9768 h 10000"/>
              <a:gd name="connsiteX156" fmla="*/ 1405 w 9957"/>
              <a:gd name="connsiteY156" fmla="*/ 9923 h 10000"/>
              <a:gd name="connsiteX157" fmla="*/ 1448 w 9957"/>
              <a:gd name="connsiteY157" fmla="*/ 10000 h 10000"/>
              <a:gd name="connsiteX158" fmla="*/ 1492 w 9957"/>
              <a:gd name="connsiteY158" fmla="*/ 10000 h 10000"/>
              <a:gd name="connsiteX159" fmla="*/ 1540 w 9957"/>
              <a:gd name="connsiteY159" fmla="*/ 9923 h 10000"/>
              <a:gd name="connsiteX160" fmla="*/ 1448 w 9957"/>
              <a:gd name="connsiteY160" fmla="*/ 9768 h 10000"/>
              <a:gd name="connsiteX161" fmla="*/ 1448 w 9957"/>
              <a:gd name="connsiteY161" fmla="*/ 9613 h 10000"/>
              <a:gd name="connsiteX162" fmla="*/ 1405 w 9957"/>
              <a:gd name="connsiteY162" fmla="*/ 9457 h 10000"/>
              <a:gd name="connsiteX163" fmla="*/ 1492 w 9957"/>
              <a:gd name="connsiteY163" fmla="*/ 9225 h 10000"/>
              <a:gd name="connsiteX164" fmla="*/ 1540 w 9957"/>
              <a:gd name="connsiteY164" fmla="*/ 9302 h 10000"/>
              <a:gd name="connsiteX165" fmla="*/ 1584 w 9957"/>
              <a:gd name="connsiteY165" fmla="*/ 9225 h 10000"/>
              <a:gd name="connsiteX166" fmla="*/ 1584 w 9957"/>
              <a:gd name="connsiteY166" fmla="*/ 9147 h 10000"/>
              <a:gd name="connsiteX167" fmla="*/ 1540 w 9957"/>
              <a:gd name="connsiteY167" fmla="*/ 9147 h 10000"/>
              <a:gd name="connsiteX168" fmla="*/ 1584 w 9957"/>
              <a:gd name="connsiteY168" fmla="*/ 9070 h 10000"/>
              <a:gd name="connsiteX169" fmla="*/ 1540 w 9957"/>
              <a:gd name="connsiteY169" fmla="*/ 8915 h 10000"/>
              <a:gd name="connsiteX170" fmla="*/ 1448 w 9957"/>
              <a:gd name="connsiteY170" fmla="*/ 8915 h 10000"/>
              <a:gd name="connsiteX171" fmla="*/ 1405 w 9957"/>
              <a:gd name="connsiteY171" fmla="*/ 8760 h 10000"/>
              <a:gd name="connsiteX172" fmla="*/ 1448 w 9957"/>
              <a:gd name="connsiteY172" fmla="*/ 8372 h 10000"/>
              <a:gd name="connsiteX173" fmla="*/ 1540 w 9957"/>
              <a:gd name="connsiteY173" fmla="*/ 8528 h 10000"/>
              <a:gd name="connsiteX174" fmla="*/ 1584 w 9957"/>
              <a:gd name="connsiteY174" fmla="*/ 8528 h 10000"/>
              <a:gd name="connsiteX175" fmla="*/ 1540 w 9957"/>
              <a:gd name="connsiteY175" fmla="*/ 8372 h 10000"/>
              <a:gd name="connsiteX176" fmla="*/ 1675 w 9957"/>
              <a:gd name="connsiteY176" fmla="*/ 8140 h 10000"/>
              <a:gd name="connsiteX177" fmla="*/ 1767 w 9957"/>
              <a:gd name="connsiteY177" fmla="*/ 8217 h 10000"/>
              <a:gd name="connsiteX178" fmla="*/ 1809 w 9957"/>
              <a:gd name="connsiteY178" fmla="*/ 8140 h 10000"/>
              <a:gd name="connsiteX179" fmla="*/ 1900 w 9957"/>
              <a:gd name="connsiteY179" fmla="*/ 8217 h 10000"/>
              <a:gd name="connsiteX180" fmla="*/ 2038 w 9957"/>
              <a:gd name="connsiteY180" fmla="*/ 8372 h 10000"/>
              <a:gd name="connsiteX181" fmla="*/ 2127 w 9957"/>
              <a:gd name="connsiteY181" fmla="*/ 8295 h 10000"/>
              <a:gd name="connsiteX182" fmla="*/ 2218 w 9957"/>
              <a:gd name="connsiteY182" fmla="*/ 8295 h 10000"/>
              <a:gd name="connsiteX183" fmla="*/ 2262 w 9957"/>
              <a:gd name="connsiteY183" fmla="*/ 8372 h 10000"/>
              <a:gd name="connsiteX184" fmla="*/ 2444 w 9957"/>
              <a:gd name="connsiteY184" fmla="*/ 8372 h 10000"/>
              <a:gd name="connsiteX185" fmla="*/ 2487 w 9957"/>
              <a:gd name="connsiteY185" fmla="*/ 8217 h 10000"/>
              <a:gd name="connsiteX186" fmla="*/ 2352 w 9957"/>
              <a:gd name="connsiteY186" fmla="*/ 8140 h 10000"/>
              <a:gd name="connsiteX187" fmla="*/ 2444 w 9957"/>
              <a:gd name="connsiteY187" fmla="*/ 8062 h 10000"/>
              <a:gd name="connsiteX188" fmla="*/ 2397 w 9957"/>
              <a:gd name="connsiteY188" fmla="*/ 7985 h 10000"/>
              <a:gd name="connsiteX189" fmla="*/ 2444 w 9957"/>
              <a:gd name="connsiteY189" fmla="*/ 7907 h 10000"/>
              <a:gd name="connsiteX190" fmla="*/ 2444 w 9957"/>
              <a:gd name="connsiteY190" fmla="*/ 7675 h 10000"/>
              <a:gd name="connsiteX191" fmla="*/ 2533 w 9957"/>
              <a:gd name="connsiteY191" fmla="*/ 7752 h 10000"/>
              <a:gd name="connsiteX192" fmla="*/ 2942 w 9957"/>
              <a:gd name="connsiteY192" fmla="*/ 7520 h 10000"/>
              <a:gd name="connsiteX193" fmla="*/ 2942 w 9957"/>
              <a:gd name="connsiteY193" fmla="*/ 7442 h 10000"/>
              <a:gd name="connsiteX194" fmla="*/ 2985 w 9957"/>
              <a:gd name="connsiteY194" fmla="*/ 7442 h 10000"/>
              <a:gd name="connsiteX195" fmla="*/ 3121 w 9957"/>
              <a:gd name="connsiteY195" fmla="*/ 7442 h 10000"/>
              <a:gd name="connsiteX196" fmla="*/ 3168 w 9957"/>
              <a:gd name="connsiteY196" fmla="*/ 7598 h 10000"/>
              <a:gd name="connsiteX197" fmla="*/ 3168 w 9957"/>
              <a:gd name="connsiteY197" fmla="*/ 7675 h 10000"/>
              <a:gd name="connsiteX198" fmla="*/ 3213 w 9957"/>
              <a:gd name="connsiteY198" fmla="*/ 7675 h 10000"/>
              <a:gd name="connsiteX199" fmla="*/ 3303 w 9957"/>
              <a:gd name="connsiteY199" fmla="*/ 7752 h 10000"/>
              <a:gd name="connsiteX200" fmla="*/ 3303 w 9957"/>
              <a:gd name="connsiteY200" fmla="*/ 7830 h 10000"/>
              <a:gd name="connsiteX201" fmla="*/ 3394 w 9957"/>
              <a:gd name="connsiteY201" fmla="*/ 7830 h 10000"/>
              <a:gd name="connsiteX202" fmla="*/ 3484 w 9957"/>
              <a:gd name="connsiteY202" fmla="*/ 7675 h 10000"/>
              <a:gd name="connsiteX203" fmla="*/ 3575 w 9957"/>
              <a:gd name="connsiteY203" fmla="*/ 7598 h 10000"/>
              <a:gd name="connsiteX204" fmla="*/ 3622 w 9957"/>
              <a:gd name="connsiteY204" fmla="*/ 7830 h 10000"/>
              <a:gd name="connsiteX205" fmla="*/ 3801 w 9957"/>
              <a:gd name="connsiteY205" fmla="*/ 8372 h 10000"/>
              <a:gd name="connsiteX206" fmla="*/ 3847 w 9957"/>
              <a:gd name="connsiteY206" fmla="*/ 8217 h 10000"/>
              <a:gd name="connsiteX207" fmla="*/ 3893 w 9957"/>
              <a:gd name="connsiteY207" fmla="*/ 8372 h 10000"/>
              <a:gd name="connsiteX208" fmla="*/ 4028 w 9957"/>
              <a:gd name="connsiteY208" fmla="*/ 8295 h 10000"/>
              <a:gd name="connsiteX209" fmla="*/ 4165 w 9957"/>
              <a:gd name="connsiteY209" fmla="*/ 8528 h 10000"/>
              <a:gd name="connsiteX210" fmla="*/ 4254 w 9957"/>
              <a:gd name="connsiteY210" fmla="*/ 8605 h 10000"/>
              <a:gd name="connsiteX211" fmla="*/ 4254 w 9957"/>
              <a:gd name="connsiteY211" fmla="*/ 8528 h 10000"/>
              <a:gd name="connsiteX212" fmla="*/ 4299 w 9957"/>
              <a:gd name="connsiteY212" fmla="*/ 8683 h 10000"/>
              <a:gd name="connsiteX213" fmla="*/ 4254 w 9957"/>
              <a:gd name="connsiteY213" fmla="*/ 8760 h 10000"/>
              <a:gd name="connsiteX214" fmla="*/ 4345 w 9957"/>
              <a:gd name="connsiteY214" fmla="*/ 8683 h 10000"/>
              <a:gd name="connsiteX215" fmla="*/ 4389 w 9957"/>
              <a:gd name="connsiteY215" fmla="*/ 8605 h 10000"/>
              <a:gd name="connsiteX216" fmla="*/ 4616 w 9957"/>
              <a:gd name="connsiteY216" fmla="*/ 8372 h 10000"/>
              <a:gd name="connsiteX217" fmla="*/ 4796 w 9957"/>
              <a:gd name="connsiteY217" fmla="*/ 8449 h 10000"/>
              <a:gd name="connsiteX218" fmla="*/ 4886 w 9957"/>
              <a:gd name="connsiteY218" fmla="*/ 8528 h 10000"/>
              <a:gd name="connsiteX219" fmla="*/ 5066 w 9957"/>
              <a:gd name="connsiteY219" fmla="*/ 8528 h 10000"/>
              <a:gd name="connsiteX220" fmla="*/ 5066 w 9957"/>
              <a:gd name="connsiteY220" fmla="*/ 8372 h 10000"/>
              <a:gd name="connsiteX221" fmla="*/ 5066 w 9957"/>
              <a:gd name="connsiteY221" fmla="*/ 8217 h 10000"/>
              <a:gd name="connsiteX222" fmla="*/ 5158 w 9957"/>
              <a:gd name="connsiteY222" fmla="*/ 8140 h 10000"/>
              <a:gd name="connsiteX223" fmla="*/ 5339 w 9957"/>
              <a:gd name="connsiteY223" fmla="*/ 8217 h 10000"/>
              <a:gd name="connsiteX224" fmla="*/ 5429 w 9957"/>
              <a:gd name="connsiteY224" fmla="*/ 8449 h 10000"/>
              <a:gd name="connsiteX225" fmla="*/ 5476 w 9957"/>
              <a:gd name="connsiteY225" fmla="*/ 8449 h 10000"/>
              <a:gd name="connsiteX226" fmla="*/ 5566 w 9957"/>
              <a:gd name="connsiteY226" fmla="*/ 8372 h 10000"/>
              <a:gd name="connsiteX227" fmla="*/ 5841 w 9957"/>
              <a:gd name="connsiteY227" fmla="*/ 8605 h 10000"/>
              <a:gd name="connsiteX228" fmla="*/ 5975 w 9957"/>
              <a:gd name="connsiteY228" fmla="*/ 8683 h 10000"/>
              <a:gd name="connsiteX229" fmla="*/ 6155 w 9957"/>
              <a:gd name="connsiteY229" fmla="*/ 8605 h 10000"/>
              <a:gd name="connsiteX230" fmla="*/ 6244 w 9957"/>
              <a:gd name="connsiteY230" fmla="*/ 8449 h 10000"/>
              <a:gd name="connsiteX231" fmla="*/ 6380 w 9957"/>
              <a:gd name="connsiteY231" fmla="*/ 8528 h 10000"/>
              <a:gd name="connsiteX232" fmla="*/ 6471 w 9957"/>
              <a:gd name="connsiteY232" fmla="*/ 8605 h 10000"/>
              <a:gd name="connsiteX233" fmla="*/ 8009 w 9957"/>
              <a:gd name="connsiteY233" fmla="*/ 7675 h 10000"/>
              <a:gd name="connsiteX234" fmla="*/ 7920 w 9957"/>
              <a:gd name="connsiteY234" fmla="*/ 7675 h 10000"/>
              <a:gd name="connsiteX235" fmla="*/ 7875 w 9957"/>
              <a:gd name="connsiteY235" fmla="*/ 7675 h 10000"/>
              <a:gd name="connsiteX236" fmla="*/ 7828 w 9957"/>
              <a:gd name="connsiteY236" fmla="*/ 7598 h 10000"/>
              <a:gd name="connsiteX237" fmla="*/ 7740 w 9957"/>
              <a:gd name="connsiteY237" fmla="*/ 7598 h 10000"/>
              <a:gd name="connsiteX238" fmla="*/ 7740 w 9957"/>
              <a:gd name="connsiteY238" fmla="*/ 7520 h 10000"/>
              <a:gd name="connsiteX239" fmla="*/ 7875 w 9957"/>
              <a:gd name="connsiteY239" fmla="*/ 7287 h 10000"/>
              <a:gd name="connsiteX240" fmla="*/ 8285 w 9957"/>
              <a:gd name="connsiteY240" fmla="*/ 6590 h 10000"/>
              <a:gd name="connsiteX241" fmla="*/ 8462 w 9957"/>
              <a:gd name="connsiteY241" fmla="*/ 6512 h 10000"/>
              <a:gd name="connsiteX242" fmla="*/ 8506 w 9957"/>
              <a:gd name="connsiteY242" fmla="*/ 6590 h 10000"/>
              <a:gd name="connsiteX243" fmla="*/ 8554 w 9957"/>
              <a:gd name="connsiteY243" fmla="*/ 6512 h 10000"/>
              <a:gd name="connsiteX244" fmla="*/ 8686 w 9957"/>
              <a:gd name="connsiteY244" fmla="*/ 6590 h 10000"/>
              <a:gd name="connsiteX245" fmla="*/ 8737 w 9957"/>
              <a:gd name="connsiteY245" fmla="*/ 6434 h 10000"/>
              <a:gd name="connsiteX246" fmla="*/ 8869 w 9957"/>
              <a:gd name="connsiteY246" fmla="*/ 6512 h 10000"/>
              <a:gd name="connsiteX247" fmla="*/ 8914 w 9957"/>
              <a:gd name="connsiteY247" fmla="*/ 6512 h 10000"/>
              <a:gd name="connsiteX248" fmla="*/ 8869 w 9957"/>
              <a:gd name="connsiteY248" fmla="*/ 6590 h 10000"/>
              <a:gd name="connsiteX249" fmla="*/ 8869 w 9957"/>
              <a:gd name="connsiteY249" fmla="*/ 6667 h 10000"/>
              <a:gd name="connsiteX250" fmla="*/ 9140 w 9957"/>
              <a:gd name="connsiteY250" fmla="*/ 6590 h 10000"/>
              <a:gd name="connsiteX251" fmla="*/ 9095 w 9957"/>
              <a:gd name="connsiteY251" fmla="*/ 6512 h 10000"/>
              <a:gd name="connsiteX252" fmla="*/ 9279 w 9957"/>
              <a:gd name="connsiteY252" fmla="*/ 5969 h 10000"/>
              <a:gd name="connsiteX253" fmla="*/ 9501 w 9957"/>
              <a:gd name="connsiteY253" fmla="*/ 5892 h 10000"/>
              <a:gd name="connsiteX254" fmla="*/ 9501 w 9957"/>
              <a:gd name="connsiteY254" fmla="*/ 6047 h 10000"/>
              <a:gd name="connsiteX255" fmla="*/ 9501 w 9957"/>
              <a:gd name="connsiteY255" fmla="*/ 6202 h 10000"/>
              <a:gd name="connsiteX256" fmla="*/ 9729 w 9957"/>
              <a:gd name="connsiteY256" fmla="*/ 6590 h 10000"/>
              <a:gd name="connsiteX257" fmla="*/ 9729 w 9957"/>
              <a:gd name="connsiteY257" fmla="*/ 6434 h 10000"/>
              <a:gd name="connsiteX258" fmla="*/ 9821 w 9957"/>
              <a:gd name="connsiteY258" fmla="*/ 6434 h 10000"/>
              <a:gd name="connsiteX259" fmla="*/ 9957 w 9957"/>
              <a:gd name="connsiteY259" fmla="*/ 6279 h 10000"/>
              <a:gd name="connsiteX260" fmla="*/ 9957 w 9957"/>
              <a:gd name="connsiteY260" fmla="*/ 6434 h 10000"/>
              <a:gd name="connsiteX261" fmla="*/ 9550 w 9957"/>
              <a:gd name="connsiteY261" fmla="*/ 3566 h 10000"/>
              <a:gd name="connsiteX262" fmla="*/ 9457 w 9957"/>
              <a:gd name="connsiteY262" fmla="*/ 3488 h 10000"/>
              <a:gd name="connsiteX263" fmla="*/ 9501 w 9957"/>
              <a:gd name="connsiteY263" fmla="*/ 3333 h 10000"/>
              <a:gd name="connsiteX264" fmla="*/ 9411 w 9957"/>
              <a:gd name="connsiteY264" fmla="*/ 3101 h 10000"/>
              <a:gd name="connsiteX265" fmla="*/ 9229 w 9957"/>
              <a:gd name="connsiteY265" fmla="*/ 3023 h 10000"/>
              <a:gd name="connsiteX266" fmla="*/ 8961 w 9957"/>
              <a:gd name="connsiteY266" fmla="*/ 3178 h 10000"/>
              <a:gd name="connsiteX267" fmla="*/ 8914 w 9957"/>
              <a:gd name="connsiteY267" fmla="*/ 2946 h 10000"/>
              <a:gd name="connsiteX268" fmla="*/ 8825 w 9957"/>
              <a:gd name="connsiteY268" fmla="*/ 2946 h 10000"/>
              <a:gd name="connsiteX269" fmla="*/ 8779 w 9957"/>
              <a:gd name="connsiteY269" fmla="*/ 2868 h 10000"/>
              <a:gd name="connsiteX270" fmla="*/ 8779 w 9957"/>
              <a:gd name="connsiteY270" fmla="*/ 2636 h 10000"/>
              <a:gd name="connsiteX271" fmla="*/ 8462 w 9957"/>
              <a:gd name="connsiteY271" fmla="*/ 2480 h 10000"/>
              <a:gd name="connsiteX272" fmla="*/ 8101 w 9957"/>
              <a:gd name="connsiteY272" fmla="*/ 2325 h 10000"/>
              <a:gd name="connsiteX273" fmla="*/ 8009 w 9957"/>
              <a:gd name="connsiteY273" fmla="*/ 2636 h 10000"/>
              <a:gd name="connsiteX274" fmla="*/ 8101 w 9957"/>
              <a:gd name="connsiteY274" fmla="*/ 2868 h 10000"/>
              <a:gd name="connsiteX275" fmla="*/ 7828 w 9957"/>
              <a:gd name="connsiteY275" fmla="*/ 2868 h 10000"/>
              <a:gd name="connsiteX276" fmla="*/ 7782 w 9957"/>
              <a:gd name="connsiteY276" fmla="*/ 2868 h 10000"/>
              <a:gd name="connsiteX277" fmla="*/ 7692 w 9957"/>
              <a:gd name="connsiteY277" fmla="*/ 2946 h 10000"/>
              <a:gd name="connsiteX278" fmla="*/ 7557 w 9957"/>
              <a:gd name="connsiteY278" fmla="*/ 2714 h 10000"/>
              <a:gd name="connsiteX279" fmla="*/ 7465 w 9957"/>
              <a:gd name="connsiteY279" fmla="*/ 3178 h 10000"/>
              <a:gd name="connsiteX280" fmla="*/ 7378 w 9957"/>
              <a:gd name="connsiteY280" fmla="*/ 3101 h 10000"/>
              <a:gd name="connsiteX281" fmla="*/ 7285 w 9957"/>
              <a:gd name="connsiteY281" fmla="*/ 2791 h 10000"/>
              <a:gd name="connsiteX282" fmla="*/ 7332 w 9957"/>
              <a:gd name="connsiteY282" fmla="*/ 2403 h 10000"/>
              <a:gd name="connsiteX283" fmla="*/ 7241 w 9957"/>
              <a:gd name="connsiteY283" fmla="*/ 2170 h 10000"/>
              <a:gd name="connsiteX284" fmla="*/ 6969 w 9957"/>
              <a:gd name="connsiteY284" fmla="*/ 2016 h 10000"/>
              <a:gd name="connsiteX285" fmla="*/ 6876 w 9957"/>
              <a:gd name="connsiteY285" fmla="*/ 2016 h 10000"/>
              <a:gd name="connsiteX286" fmla="*/ 6833 w 9957"/>
              <a:gd name="connsiteY286" fmla="*/ 2170 h 10000"/>
              <a:gd name="connsiteX287" fmla="*/ 6876 w 9957"/>
              <a:gd name="connsiteY287" fmla="*/ 2325 h 10000"/>
              <a:gd name="connsiteX288" fmla="*/ 6520 w 9957"/>
              <a:gd name="connsiteY288" fmla="*/ 2248 h 10000"/>
              <a:gd name="connsiteX289" fmla="*/ 6561 w 9957"/>
              <a:gd name="connsiteY289" fmla="*/ 2016 h 10000"/>
              <a:gd name="connsiteX290" fmla="*/ 6337 w 9957"/>
              <a:gd name="connsiteY290" fmla="*/ 1938 h 10000"/>
              <a:gd name="connsiteX291" fmla="*/ 6200 w 9957"/>
              <a:gd name="connsiteY291" fmla="*/ 2093 h 10000"/>
              <a:gd name="connsiteX292" fmla="*/ 5934 w 9957"/>
              <a:gd name="connsiteY292" fmla="*/ 1861 h 10000"/>
              <a:gd name="connsiteX0" fmla="*/ 5960 w 10008"/>
              <a:gd name="connsiteY0" fmla="*/ 1861 h 10000"/>
              <a:gd name="connsiteX1" fmla="*/ 5960 w 10008"/>
              <a:gd name="connsiteY1" fmla="*/ 1861 h 10000"/>
              <a:gd name="connsiteX2" fmla="*/ 5908 w 10008"/>
              <a:gd name="connsiteY2" fmla="*/ 1938 h 10000"/>
              <a:gd name="connsiteX3" fmla="*/ 5960 w 10008"/>
              <a:gd name="connsiteY3" fmla="*/ 2093 h 10000"/>
              <a:gd name="connsiteX4" fmla="*/ 5771 w 10008"/>
              <a:gd name="connsiteY4" fmla="*/ 2248 h 10000"/>
              <a:gd name="connsiteX5" fmla="*/ 5724 w 10008"/>
              <a:gd name="connsiteY5" fmla="*/ 2248 h 10000"/>
              <a:gd name="connsiteX6" fmla="*/ 5771 w 10008"/>
              <a:gd name="connsiteY6" fmla="*/ 2016 h 10000"/>
              <a:gd name="connsiteX7" fmla="*/ 6227 w 10008"/>
              <a:gd name="connsiteY7" fmla="*/ 1318 h 10000"/>
              <a:gd name="connsiteX8" fmla="*/ 6227 w 10008"/>
              <a:gd name="connsiteY8" fmla="*/ 853 h 10000"/>
              <a:gd name="connsiteX9" fmla="*/ 6045 w 10008"/>
              <a:gd name="connsiteY9" fmla="*/ 543 h 10000"/>
              <a:gd name="connsiteX10" fmla="*/ 5818 w 10008"/>
              <a:gd name="connsiteY10" fmla="*/ 543 h 10000"/>
              <a:gd name="connsiteX11" fmla="*/ 5818 w 10008"/>
              <a:gd name="connsiteY11" fmla="*/ 698 h 10000"/>
              <a:gd name="connsiteX12" fmla="*/ 5679 w 10008"/>
              <a:gd name="connsiteY12" fmla="*/ 698 h 10000"/>
              <a:gd name="connsiteX13" fmla="*/ 5771 w 10008"/>
              <a:gd name="connsiteY13" fmla="*/ 387 h 10000"/>
              <a:gd name="connsiteX14" fmla="*/ 5546 w 10008"/>
              <a:gd name="connsiteY14" fmla="*/ 310 h 10000"/>
              <a:gd name="connsiteX15" fmla="*/ 5679 w 10008"/>
              <a:gd name="connsiteY15" fmla="*/ 155 h 10000"/>
              <a:gd name="connsiteX16" fmla="*/ 5546 w 10008"/>
              <a:gd name="connsiteY16" fmla="*/ 0 h 10000"/>
              <a:gd name="connsiteX17" fmla="*/ 5318 w 10008"/>
              <a:gd name="connsiteY17" fmla="*/ 387 h 10000"/>
              <a:gd name="connsiteX18" fmla="*/ 5318 w 10008"/>
              <a:gd name="connsiteY18" fmla="*/ 698 h 10000"/>
              <a:gd name="connsiteX19" fmla="*/ 5180 w 10008"/>
              <a:gd name="connsiteY19" fmla="*/ 698 h 10000"/>
              <a:gd name="connsiteX20" fmla="*/ 4773 w 10008"/>
              <a:gd name="connsiteY20" fmla="*/ 853 h 10000"/>
              <a:gd name="connsiteX21" fmla="*/ 4408 w 10008"/>
              <a:gd name="connsiteY21" fmla="*/ 1240 h 10000"/>
              <a:gd name="connsiteX22" fmla="*/ 4272 w 10008"/>
              <a:gd name="connsiteY22" fmla="*/ 1551 h 10000"/>
              <a:gd name="connsiteX23" fmla="*/ 4318 w 10008"/>
              <a:gd name="connsiteY23" fmla="*/ 1938 h 10000"/>
              <a:gd name="connsiteX24" fmla="*/ 3817 w 10008"/>
              <a:gd name="connsiteY24" fmla="*/ 2093 h 10000"/>
              <a:gd name="connsiteX25" fmla="*/ 3864 w 10008"/>
              <a:gd name="connsiteY25" fmla="*/ 2559 h 10000"/>
              <a:gd name="connsiteX26" fmla="*/ 4001 w 10008"/>
              <a:gd name="connsiteY26" fmla="*/ 2791 h 10000"/>
              <a:gd name="connsiteX27" fmla="*/ 3910 w 10008"/>
              <a:gd name="connsiteY27" fmla="*/ 2868 h 10000"/>
              <a:gd name="connsiteX28" fmla="*/ 3773 w 10008"/>
              <a:gd name="connsiteY28" fmla="*/ 2559 h 10000"/>
              <a:gd name="connsiteX29" fmla="*/ 3638 w 10008"/>
              <a:gd name="connsiteY29" fmla="*/ 2480 h 10000"/>
              <a:gd name="connsiteX30" fmla="*/ 3590 w 10008"/>
              <a:gd name="connsiteY30" fmla="*/ 2559 h 10000"/>
              <a:gd name="connsiteX31" fmla="*/ 3499 w 10008"/>
              <a:gd name="connsiteY31" fmla="*/ 2403 h 10000"/>
              <a:gd name="connsiteX32" fmla="*/ 3409 w 10008"/>
              <a:gd name="connsiteY32" fmla="*/ 2248 h 10000"/>
              <a:gd name="connsiteX33" fmla="*/ 3409 w 10008"/>
              <a:gd name="connsiteY33" fmla="*/ 2325 h 10000"/>
              <a:gd name="connsiteX34" fmla="*/ 3457 w 10008"/>
              <a:gd name="connsiteY34" fmla="*/ 2559 h 10000"/>
              <a:gd name="connsiteX35" fmla="*/ 3317 w 10008"/>
              <a:gd name="connsiteY35" fmla="*/ 2946 h 10000"/>
              <a:gd name="connsiteX36" fmla="*/ 3409 w 10008"/>
              <a:gd name="connsiteY36" fmla="*/ 3256 h 10000"/>
              <a:gd name="connsiteX37" fmla="*/ 3360 w 10008"/>
              <a:gd name="connsiteY37" fmla="*/ 3566 h 10000"/>
              <a:gd name="connsiteX38" fmla="*/ 3360 w 10008"/>
              <a:gd name="connsiteY38" fmla="*/ 3799 h 10000"/>
              <a:gd name="connsiteX39" fmla="*/ 3499 w 10008"/>
              <a:gd name="connsiteY39" fmla="*/ 3799 h 10000"/>
              <a:gd name="connsiteX40" fmla="*/ 3409 w 10008"/>
              <a:gd name="connsiteY40" fmla="*/ 3876 h 10000"/>
              <a:gd name="connsiteX41" fmla="*/ 3457 w 10008"/>
              <a:gd name="connsiteY41" fmla="*/ 4263 h 10000"/>
              <a:gd name="connsiteX42" fmla="*/ 3182 w 10008"/>
              <a:gd name="connsiteY42" fmla="*/ 4652 h 10000"/>
              <a:gd name="connsiteX43" fmla="*/ 3134 w 10008"/>
              <a:gd name="connsiteY43" fmla="*/ 4574 h 10000"/>
              <a:gd name="connsiteX44" fmla="*/ 3317 w 10008"/>
              <a:gd name="connsiteY44" fmla="*/ 4186 h 10000"/>
              <a:gd name="connsiteX45" fmla="*/ 3360 w 10008"/>
              <a:gd name="connsiteY45" fmla="*/ 3954 h 10000"/>
              <a:gd name="connsiteX46" fmla="*/ 3267 w 10008"/>
              <a:gd name="connsiteY46" fmla="*/ 3799 h 10000"/>
              <a:gd name="connsiteX47" fmla="*/ 3267 w 10008"/>
              <a:gd name="connsiteY47" fmla="*/ 3023 h 10000"/>
              <a:gd name="connsiteX48" fmla="*/ 3227 w 10008"/>
              <a:gd name="connsiteY48" fmla="*/ 2868 h 10000"/>
              <a:gd name="connsiteX49" fmla="*/ 3267 w 10008"/>
              <a:gd name="connsiteY49" fmla="*/ 2403 h 10000"/>
              <a:gd name="connsiteX50" fmla="*/ 3182 w 10008"/>
              <a:gd name="connsiteY50" fmla="*/ 2325 h 10000"/>
              <a:gd name="connsiteX51" fmla="*/ 3227 w 10008"/>
              <a:gd name="connsiteY51" fmla="*/ 2248 h 10000"/>
              <a:gd name="connsiteX52" fmla="*/ 3182 w 10008"/>
              <a:gd name="connsiteY52" fmla="*/ 2093 h 10000"/>
              <a:gd name="connsiteX53" fmla="*/ 3087 w 10008"/>
              <a:gd name="connsiteY53" fmla="*/ 2170 h 10000"/>
              <a:gd name="connsiteX54" fmla="*/ 2862 w 10008"/>
              <a:gd name="connsiteY54" fmla="*/ 3178 h 10000"/>
              <a:gd name="connsiteX55" fmla="*/ 2862 w 10008"/>
              <a:gd name="connsiteY55" fmla="*/ 3566 h 10000"/>
              <a:gd name="connsiteX56" fmla="*/ 2998 w 10008"/>
              <a:gd name="connsiteY56" fmla="*/ 3876 h 10000"/>
              <a:gd name="connsiteX57" fmla="*/ 2998 w 10008"/>
              <a:gd name="connsiteY57" fmla="*/ 4031 h 10000"/>
              <a:gd name="connsiteX58" fmla="*/ 2862 w 10008"/>
              <a:gd name="connsiteY58" fmla="*/ 3876 h 10000"/>
              <a:gd name="connsiteX59" fmla="*/ 2320 w 10008"/>
              <a:gd name="connsiteY59" fmla="*/ 3256 h 10000"/>
              <a:gd name="connsiteX60" fmla="*/ 2272 w 10008"/>
              <a:gd name="connsiteY60" fmla="*/ 3411 h 10000"/>
              <a:gd name="connsiteX61" fmla="*/ 2455 w 10008"/>
              <a:gd name="connsiteY61" fmla="*/ 3799 h 10000"/>
              <a:gd name="connsiteX62" fmla="*/ 2362 w 10008"/>
              <a:gd name="connsiteY62" fmla="*/ 3876 h 10000"/>
              <a:gd name="connsiteX63" fmla="*/ 2320 w 10008"/>
              <a:gd name="connsiteY63" fmla="*/ 3799 h 10000"/>
              <a:gd name="connsiteX64" fmla="*/ 2047 w 10008"/>
              <a:gd name="connsiteY64" fmla="*/ 3954 h 10000"/>
              <a:gd name="connsiteX65" fmla="*/ 2001 w 10008"/>
              <a:gd name="connsiteY65" fmla="*/ 4109 h 10000"/>
              <a:gd name="connsiteX66" fmla="*/ 1955 w 10008"/>
              <a:gd name="connsiteY66" fmla="*/ 3954 h 10000"/>
              <a:gd name="connsiteX67" fmla="*/ 1955 w 10008"/>
              <a:gd name="connsiteY67" fmla="*/ 3799 h 10000"/>
              <a:gd name="connsiteX68" fmla="*/ 1498 w 10008"/>
              <a:gd name="connsiteY68" fmla="*/ 4263 h 10000"/>
              <a:gd name="connsiteX69" fmla="*/ 1498 w 10008"/>
              <a:gd name="connsiteY69" fmla="*/ 4418 h 10000"/>
              <a:gd name="connsiteX70" fmla="*/ 1411 w 10008"/>
              <a:gd name="connsiteY70" fmla="*/ 4496 h 10000"/>
              <a:gd name="connsiteX71" fmla="*/ 1271 w 10008"/>
              <a:gd name="connsiteY71" fmla="*/ 4341 h 10000"/>
              <a:gd name="connsiteX72" fmla="*/ 1411 w 10008"/>
              <a:gd name="connsiteY72" fmla="*/ 4186 h 10000"/>
              <a:gd name="connsiteX73" fmla="*/ 1364 w 10008"/>
              <a:gd name="connsiteY73" fmla="*/ 3954 h 10000"/>
              <a:gd name="connsiteX74" fmla="*/ 1183 w 10008"/>
              <a:gd name="connsiteY74" fmla="*/ 3876 h 10000"/>
              <a:gd name="connsiteX75" fmla="*/ 1229 w 10008"/>
              <a:gd name="connsiteY75" fmla="*/ 4031 h 10000"/>
              <a:gd name="connsiteX76" fmla="*/ 1229 w 10008"/>
              <a:gd name="connsiteY76" fmla="*/ 4418 h 10000"/>
              <a:gd name="connsiteX77" fmla="*/ 1271 w 10008"/>
              <a:gd name="connsiteY77" fmla="*/ 4574 h 10000"/>
              <a:gd name="connsiteX78" fmla="*/ 1229 w 10008"/>
              <a:gd name="connsiteY78" fmla="*/ 4729 h 10000"/>
              <a:gd name="connsiteX79" fmla="*/ 1090 w 10008"/>
              <a:gd name="connsiteY79" fmla="*/ 4652 h 10000"/>
              <a:gd name="connsiteX80" fmla="*/ 908 w 10008"/>
              <a:gd name="connsiteY80" fmla="*/ 4884 h 10000"/>
              <a:gd name="connsiteX81" fmla="*/ 998 w 10008"/>
              <a:gd name="connsiteY81" fmla="*/ 5194 h 10000"/>
              <a:gd name="connsiteX82" fmla="*/ 726 w 10008"/>
              <a:gd name="connsiteY82" fmla="*/ 5039 h 10000"/>
              <a:gd name="connsiteX83" fmla="*/ 682 w 10008"/>
              <a:gd name="connsiteY83" fmla="*/ 5116 h 10000"/>
              <a:gd name="connsiteX84" fmla="*/ 773 w 10008"/>
              <a:gd name="connsiteY84" fmla="*/ 5349 h 10000"/>
              <a:gd name="connsiteX85" fmla="*/ 682 w 10008"/>
              <a:gd name="connsiteY85" fmla="*/ 5349 h 10000"/>
              <a:gd name="connsiteX86" fmla="*/ 546 w 10008"/>
              <a:gd name="connsiteY86" fmla="*/ 5194 h 10000"/>
              <a:gd name="connsiteX87" fmla="*/ 546 w 10008"/>
              <a:gd name="connsiteY87" fmla="*/ 4729 h 10000"/>
              <a:gd name="connsiteX88" fmla="*/ 412 w 10008"/>
              <a:gd name="connsiteY88" fmla="*/ 4574 h 10000"/>
              <a:gd name="connsiteX89" fmla="*/ 364 w 10008"/>
              <a:gd name="connsiteY89" fmla="*/ 4418 h 10000"/>
              <a:gd name="connsiteX90" fmla="*/ 455 w 10008"/>
              <a:gd name="connsiteY90" fmla="*/ 4496 h 10000"/>
              <a:gd name="connsiteX91" fmla="*/ 817 w 10008"/>
              <a:gd name="connsiteY91" fmla="*/ 4729 h 10000"/>
              <a:gd name="connsiteX92" fmla="*/ 1043 w 10008"/>
              <a:gd name="connsiteY92" fmla="*/ 4496 h 10000"/>
              <a:gd name="connsiteX93" fmla="*/ 998 w 10008"/>
              <a:gd name="connsiteY93" fmla="*/ 4263 h 10000"/>
              <a:gd name="connsiteX94" fmla="*/ 726 w 10008"/>
              <a:gd name="connsiteY94" fmla="*/ 3799 h 10000"/>
              <a:gd name="connsiteX95" fmla="*/ 455 w 10008"/>
              <a:gd name="connsiteY95" fmla="*/ 3644 h 10000"/>
              <a:gd name="connsiteX96" fmla="*/ 455 w 10008"/>
              <a:gd name="connsiteY96" fmla="*/ 3566 h 10000"/>
              <a:gd name="connsiteX97" fmla="*/ 364 w 10008"/>
              <a:gd name="connsiteY97" fmla="*/ 3488 h 10000"/>
              <a:gd name="connsiteX98" fmla="*/ 270 w 10008"/>
              <a:gd name="connsiteY98" fmla="*/ 3566 h 10000"/>
              <a:gd name="connsiteX99" fmla="*/ 270 w 10008"/>
              <a:gd name="connsiteY99" fmla="*/ 3644 h 10000"/>
              <a:gd name="connsiteX100" fmla="*/ 228 w 10008"/>
              <a:gd name="connsiteY100" fmla="*/ 3644 h 10000"/>
              <a:gd name="connsiteX101" fmla="*/ 136 w 10008"/>
              <a:gd name="connsiteY101" fmla="*/ 3799 h 10000"/>
              <a:gd name="connsiteX102" fmla="*/ 136 w 10008"/>
              <a:gd name="connsiteY102" fmla="*/ 4031 h 10000"/>
              <a:gd name="connsiteX103" fmla="*/ 228 w 10008"/>
              <a:gd name="connsiteY103" fmla="*/ 4186 h 10000"/>
              <a:gd name="connsiteX104" fmla="*/ 181 w 10008"/>
              <a:gd name="connsiteY104" fmla="*/ 4418 h 10000"/>
              <a:gd name="connsiteX105" fmla="*/ 228 w 10008"/>
              <a:gd name="connsiteY105" fmla="*/ 4807 h 10000"/>
              <a:gd name="connsiteX106" fmla="*/ 181 w 10008"/>
              <a:gd name="connsiteY106" fmla="*/ 5039 h 10000"/>
              <a:gd name="connsiteX107" fmla="*/ 270 w 10008"/>
              <a:gd name="connsiteY107" fmla="*/ 5271 h 10000"/>
              <a:gd name="connsiteX108" fmla="*/ 228 w 10008"/>
              <a:gd name="connsiteY108" fmla="*/ 5426 h 10000"/>
              <a:gd name="connsiteX109" fmla="*/ 317 w 10008"/>
              <a:gd name="connsiteY109" fmla="*/ 5582 h 10000"/>
              <a:gd name="connsiteX110" fmla="*/ 317 w 10008"/>
              <a:gd name="connsiteY110" fmla="*/ 5659 h 10000"/>
              <a:gd name="connsiteX111" fmla="*/ 181 w 10008"/>
              <a:gd name="connsiteY111" fmla="*/ 6047 h 10000"/>
              <a:gd name="connsiteX112" fmla="*/ 42 w 10008"/>
              <a:gd name="connsiteY112" fmla="*/ 6202 h 10000"/>
              <a:gd name="connsiteX113" fmla="*/ 90 w 10008"/>
              <a:gd name="connsiteY113" fmla="*/ 6202 h 10000"/>
              <a:gd name="connsiteX114" fmla="*/ 181 w 10008"/>
              <a:gd name="connsiteY114" fmla="*/ 6356 h 10000"/>
              <a:gd name="connsiteX115" fmla="*/ 90 w 10008"/>
              <a:gd name="connsiteY115" fmla="*/ 6512 h 10000"/>
              <a:gd name="connsiteX116" fmla="*/ 42 w 10008"/>
              <a:gd name="connsiteY116" fmla="*/ 6590 h 10000"/>
              <a:gd name="connsiteX117" fmla="*/ 0 w 10008"/>
              <a:gd name="connsiteY117" fmla="*/ 6590 h 10000"/>
              <a:gd name="connsiteX118" fmla="*/ 42 w 10008"/>
              <a:gd name="connsiteY118" fmla="*/ 6822 h 10000"/>
              <a:gd name="connsiteX119" fmla="*/ 42 w 10008"/>
              <a:gd name="connsiteY119" fmla="*/ 6900 h 10000"/>
              <a:gd name="connsiteX120" fmla="*/ 42 w 10008"/>
              <a:gd name="connsiteY120" fmla="*/ 6977 h 10000"/>
              <a:gd name="connsiteX121" fmla="*/ 42 w 10008"/>
              <a:gd name="connsiteY121" fmla="*/ 7054 h 10000"/>
              <a:gd name="connsiteX122" fmla="*/ 90 w 10008"/>
              <a:gd name="connsiteY122" fmla="*/ 7209 h 10000"/>
              <a:gd name="connsiteX123" fmla="*/ 228 w 10008"/>
              <a:gd name="connsiteY123" fmla="*/ 7287 h 10000"/>
              <a:gd name="connsiteX124" fmla="*/ 270 w 10008"/>
              <a:gd name="connsiteY124" fmla="*/ 7364 h 10000"/>
              <a:gd name="connsiteX125" fmla="*/ 270 w 10008"/>
              <a:gd name="connsiteY125" fmla="*/ 7520 h 10000"/>
              <a:gd name="connsiteX126" fmla="*/ 364 w 10008"/>
              <a:gd name="connsiteY126" fmla="*/ 7752 h 10000"/>
              <a:gd name="connsiteX127" fmla="*/ 412 w 10008"/>
              <a:gd name="connsiteY127" fmla="*/ 7752 h 10000"/>
              <a:gd name="connsiteX128" fmla="*/ 364 w 10008"/>
              <a:gd name="connsiteY128" fmla="*/ 7907 h 10000"/>
              <a:gd name="connsiteX129" fmla="*/ 317 w 10008"/>
              <a:gd name="connsiteY129" fmla="*/ 7830 h 10000"/>
              <a:gd name="connsiteX130" fmla="*/ 317 w 10008"/>
              <a:gd name="connsiteY130" fmla="*/ 7907 h 10000"/>
              <a:gd name="connsiteX131" fmla="*/ 364 w 10008"/>
              <a:gd name="connsiteY131" fmla="*/ 8062 h 10000"/>
              <a:gd name="connsiteX132" fmla="*/ 501 w 10008"/>
              <a:gd name="connsiteY132" fmla="*/ 8062 h 10000"/>
              <a:gd name="connsiteX133" fmla="*/ 546 w 10008"/>
              <a:gd name="connsiteY133" fmla="*/ 8140 h 10000"/>
              <a:gd name="connsiteX134" fmla="*/ 501 w 10008"/>
              <a:gd name="connsiteY134" fmla="*/ 8140 h 10000"/>
              <a:gd name="connsiteX135" fmla="*/ 546 w 10008"/>
              <a:gd name="connsiteY135" fmla="*/ 8217 h 10000"/>
              <a:gd name="connsiteX136" fmla="*/ 590 w 10008"/>
              <a:gd name="connsiteY136" fmla="*/ 8217 h 10000"/>
              <a:gd name="connsiteX137" fmla="*/ 636 w 10008"/>
              <a:gd name="connsiteY137" fmla="*/ 8372 h 10000"/>
              <a:gd name="connsiteX138" fmla="*/ 682 w 10008"/>
              <a:gd name="connsiteY138" fmla="*/ 8449 h 10000"/>
              <a:gd name="connsiteX139" fmla="*/ 726 w 10008"/>
              <a:gd name="connsiteY139" fmla="*/ 8372 h 10000"/>
              <a:gd name="connsiteX140" fmla="*/ 956 w 10008"/>
              <a:gd name="connsiteY140" fmla="*/ 8605 h 10000"/>
              <a:gd name="connsiteX141" fmla="*/ 908 w 10008"/>
              <a:gd name="connsiteY141" fmla="*/ 8915 h 10000"/>
              <a:gd name="connsiteX142" fmla="*/ 862 w 10008"/>
              <a:gd name="connsiteY142" fmla="*/ 8838 h 10000"/>
              <a:gd name="connsiteX143" fmla="*/ 817 w 10008"/>
              <a:gd name="connsiteY143" fmla="*/ 8915 h 10000"/>
              <a:gd name="connsiteX144" fmla="*/ 817 w 10008"/>
              <a:gd name="connsiteY144" fmla="*/ 9070 h 10000"/>
              <a:gd name="connsiteX145" fmla="*/ 862 w 10008"/>
              <a:gd name="connsiteY145" fmla="*/ 8993 h 10000"/>
              <a:gd name="connsiteX146" fmla="*/ 908 w 10008"/>
              <a:gd name="connsiteY146" fmla="*/ 9070 h 10000"/>
              <a:gd name="connsiteX147" fmla="*/ 773 w 10008"/>
              <a:gd name="connsiteY147" fmla="*/ 9147 h 10000"/>
              <a:gd name="connsiteX148" fmla="*/ 817 w 10008"/>
              <a:gd name="connsiteY148" fmla="*/ 9225 h 10000"/>
              <a:gd name="connsiteX149" fmla="*/ 726 w 10008"/>
              <a:gd name="connsiteY149" fmla="*/ 9380 h 10000"/>
              <a:gd name="connsiteX150" fmla="*/ 682 w 10008"/>
              <a:gd name="connsiteY150" fmla="*/ 9380 h 10000"/>
              <a:gd name="connsiteX151" fmla="*/ 726 w 10008"/>
              <a:gd name="connsiteY151" fmla="*/ 9380 h 10000"/>
              <a:gd name="connsiteX152" fmla="*/ 908 w 10008"/>
              <a:gd name="connsiteY152" fmla="*/ 9691 h 10000"/>
              <a:gd name="connsiteX153" fmla="*/ 1137 w 10008"/>
              <a:gd name="connsiteY153" fmla="*/ 9691 h 10000"/>
              <a:gd name="connsiteX154" fmla="*/ 1229 w 10008"/>
              <a:gd name="connsiteY154" fmla="*/ 9768 h 10000"/>
              <a:gd name="connsiteX155" fmla="*/ 1318 w 10008"/>
              <a:gd name="connsiteY155" fmla="*/ 9768 h 10000"/>
              <a:gd name="connsiteX156" fmla="*/ 1411 w 10008"/>
              <a:gd name="connsiteY156" fmla="*/ 9923 h 10000"/>
              <a:gd name="connsiteX157" fmla="*/ 1454 w 10008"/>
              <a:gd name="connsiteY157" fmla="*/ 10000 h 10000"/>
              <a:gd name="connsiteX158" fmla="*/ 1498 w 10008"/>
              <a:gd name="connsiteY158" fmla="*/ 10000 h 10000"/>
              <a:gd name="connsiteX159" fmla="*/ 1547 w 10008"/>
              <a:gd name="connsiteY159" fmla="*/ 9923 h 10000"/>
              <a:gd name="connsiteX160" fmla="*/ 1454 w 10008"/>
              <a:gd name="connsiteY160" fmla="*/ 9768 h 10000"/>
              <a:gd name="connsiteX161" fmla="*/ 1454 w 10008"/>
              <a:gd name="connsiteY161" fmla="*/ 9613 h 10000"/>
              <a:gd name="connsiteX162" fmla="*/ 1411 w 10008"/>
              <a:gd name="connsiteY162" fmla="*/ 9457 h 10000"/>
              <a:gd name="connsiteX163" fmla="*/ 1498 w 10008"/>
              <a:gd name="connsiteY163" fmla="*/ 9225 h 10000"/>
              <a:gd name="connsiteX164" fmla="*/ 1547 w 10008"/>
              <a:gd name="connsiteY164" fmla="*/ 9302 h 10000"/>
              <a:gd name="connsiteX165" fmla="*/ 1591 w 10008"/>
              <a:gd name="connsiteY165" fmla="*/ 9225 h 10000"/>
              <a:gd name="connsiteX166" fmla="*/ 1591 w 10008"/>
              <a:gd name="connsiteY166" fmla="*/ 9147 h 10000"/>
              <a:gd name="connsiteX167" fmla="*/ 1547 w 10008"/>
              <a:gd name="connsiteY167" fmla="*/ 9147 h 10000"/>
              <a:gd name="connsiteX168" fmla="*/ 1591 w 10008"/>
              <a:gd name="connsiteY168" fmla="*/ 9070 h 10000"/>
              <a:gd name="connsiteX169" fmla="*/ 1547 w 10008"/>
              <a:gd name="connsiteY169" fmla="*/ 8915 h 10000"/>
              <a:gd name="connsiteX170" fmla="*/ 1454 w 10008"/>
              <a:gd name="connsiteY170" fmla="*/ 8915 h 10000"/>
              <a:gd name="connsiteX171" fmla="*/ 1411 w 10008"/>
              <a:gd name="connsiteY171" fmla="*/ 8760 h 10000"/>
              <a:gd name="connsiteX172" fmla="*/ 1454 w 10008"/>
              <a:gd name="connsiteY172" fmla="*/ 8372 h 10000"/>
              <a:gd name="connsiteX173" fmla="*/ 1547 w 10008"/>
              <a:gd name="connsiteY173" fmla="*/ 8528 h 10000"/>
              <a:gd name="connsiteX174" fmla="*/ 1591 w 10008"/>
              <a:gd name="connsiteY174" fmla="*/ 8528 h 10000"/>
              <a:gd name="connsiteX175" fmla="*/ 1547 w 10008"/>
              <a:gd name="connsiteY175" fmla="*/ 8372 h 10000"/>
              <a:gd name="connsiteX176" fmla="*/ 1682 w 10008"/>
              <a:gd name="connsiteY176" fmla="*/ 8140 h 10000"/>
              <a:gd name="connsiteX177" fmla="*/ 1775 w 10008"/>
              <a:gd name="connsiteY177" fmla="*/ 8217 h 10000"/>
              <a:gd name="connsiteX178" fmla="*/ 1817 w 10008"/>
              <a:gd name="connsiteY178" fmla="*/ 8140 h 10000"/>
              <a:gd name="connsiteX179" fmla="*/ 1908 w 10008"/>
              <a:gd name="connsiteY179" fmla="*/ 8217 h 10000"/>
              <a:gd name="connsiteX180" fmla="*/ 2047 w 10008"/>
              <a:gd name="connsiteY180" fmla="*/ 8372 h 10000"/>
              <a:gd name="connsiteX181" fmla="*/ 2136 w 10008"/>
              <a:gd name="connsiteY181" fmla="*/ 8295 h 10000"/>
              <a:gd name="connsiteX182" fmla="*/ 2228 w 10008"/>
              <a:gd name="connsiteY182" fmla="*/ 8295 h 10000"/>
              <a:gd name="connsiteX183" fmla="*/ 2272 w 10008"/>
              <a:gd name="connsiteY183" fmla="*/ 8372 h 10000"/>
              <a:gd name="connsiteX184" fmla="*/ 2455 w 10008"/>
              <a:gd name="connsiteY184" fmla="*/ 8372 h 10000"/>
              <a:gd name="connsiteX185" fmla="*/ 2498 w 10008"/>
              <a:gd name="connsiteY185" fmla="*/ 8217 h 10000"/>
              <a:gd name="connsiteX186" fmla="*/ 2362 w 10008"/>
              <a:gd name="connsiteY186" fmla="*/ 8140 h 10000"/>
              <a:gd name="connsiteX187" fmla="*/ 2455 w 10008"/>
              <a:gd name="connsiteY187" fmla="*/ 8062 h 10000"/>
              <a:gd name="connsiteX188" fmla="*/ 2407 w 10008"/>
              <a:gd name="connsiteY188" fmla="*/ 7985 h 10000"/>
              <a:gd name="connsiteX189" fmla="*/ 2455 w 10008"/>
              <a:gd name="connsiteY189" fmla="*/ 7907 h 10000"/>
              <a:gd name="connsiteX190" fmla="*/ 2455 w 10008"/>
              <a:gd name="connsiteY190" fmla="*/ 7675 h 10000"/>
              <a:gd name="connsiteX191" fmla="*/ 2544 w 10008"/>
              <a:gd name="connsiteY191" fmla="*/ 7752 h 10000"/>
              <a:gd name="connsiteX192" fmla="*/ 2955 w 10008"/>
              <a:gd name="connsiteY192" fmla="*/ 7520 h 10000"/>
              <a:gd name="connsiteX193" fmla="*/ 2955 w 10008"/>
              <a:gd name="connsiteY193" fmla="*/ 7442 h 10000"/>
              <a:gd name="connsiteX194" fmla="*/ 2998 w 10008"/>
              <a:gd name="connsiteY194" fmla="*/ 7442 h 10000"/>
              <a:gd name="connsiteX195" fmla="*/ 3134 w 10008"/>
              <a:gd name="connsiteY195" fmla="*/ 7442 h 10000"/>
              <a:gd name="connsiteX196" fmla="*/ 3182 w 10008"/>
              <a:gd name="connsiteY196" fmla="*/ 7598 h 10000"/>
              <a:gd name="connsiteX197" fmla="*/ 3182 w 10008"/>
              <a:gd name="connsiteY197" fmla="*/ 7675 h 10000"/>
              <a:gd name="connsiteX198" fmla="*/ 3227 w 10008"/>
              <a:gd name="connsiteY198" fmla="*/ 7675 h 10000"/>
              <a:gd name="connsiteX199" fmla="*/ 3317 w 10008"/>
              <a:gd name="connsiteY199" fmla="*/ 7752 h 10000"/>
              <a:gd name="connsiteX200" fmla="*/ 3317 w 10008"/>
              <a:gd name="connsiteY200" fmla="*/ 7830 h 10000"/>
              <a:gd name="connsiteX201" fmla="*/ 3409 w 10008"/>
              <a:gd name="connsiteY201" fmla="*/ 7830 h 10000"/>
              <a:gd name="connsiteX202" fmla="*/ 3499 w 10008"/>
              <a:gd name="connsiteY202" fmla="*/ 7675 h 10000"/>
              <a:gd name="connsiteX203" fmla="*/ 3590 w 10008"/>
              <a:gd name="connsiteY203" fmla="*/ 7598 h 10000"/>
              <a:gd name="connsiteX204" fmla="*/ 3638 w 10008"/>
              <a:gd name="connsiteY204" fmla="*/ 7830 h 10000"/>
              <a:gd name="connsiteX205" fmla="*/ 3817 w 10008"/>
              <a:gd name="connsiteY205" fmla="*/ 8372 h 10000"/>
              <a:gd name="connsiteX206" fmla="*/ 3864 w 10008"/>
              <a:gd name="connsiteY206" fmla="*/ 8217 h 10000"/>
              <a:gd name="connsiteX207" fmla="*/ 3910 w 10008"/>
              <a:gd name="connsiteY207" fmla="*/ 8372 h 10000"/>
              <a:gd name="connsiteX208" fmla="*/ 4045 w 10008"/>
              <a:gd name="connsiteY208" fmla="*/ 8295 h 10000"/>
              <a:gd name="connsiteX209" fmla="*/ 4183 w 10008"/>
              <a:gd name="connsiteY209" fmla="*/ 8528 h 10000"/>
              <a:gd name="connsiteX210" fmla="*/ 4272 w 10008"/>
              <a:gd name="connsiteY210" fmla="*/ 8605 h 10000"/>
              <a:gd name="connsiteX211" fmla="*/ 4272 w 10008"/>
              <a:gd name="connsiteY211" fmla="*/ 8528 h 10000"/>
              <a:gd name="connsiteX212" fmla="*/ 4318 w 10008"/>
              <a:gd name="connsiteY212" fmla="*/ 8683 h 10000"/>
              <a:gd name="connsiteX213" fmla="*/ 4272 w 10008"/>
              <a:gd name="connsiteY213" fmla="*/ 8760 h 10000"/>
              <a:gd name="connsiteX214" fmla="*/ 4364 w 10008"/>
              <a:gd name="connsiteY214" fmla="*/ 8683 h 10000"/>
              <a:gd name="connsiteX215" fmla="*/ 4408 w 10008"/>
              <a:gd name="connsiteY215" fmla="*/ 8605 h 10000"/>
              <a:gd name="connsiteX216" fmla="*/ 4636 w 10008"/>
              <a:gd name="connsiteY216" fmla="*/ 8372 h 10000"/>
              <a:gd name="connsiteX217" fmla="*/ 4817 w 10008"/>
              <a:gd name="connsiteY217" fmla="*/ 8449 h 10000"/>
              <a:gd name="connsiteX218" fmla="*/ 4907 w 10008"/>
              <a:gd name="connsiteY218" fmla="*/ 8528 h 10000"/>
              <a:gd name="connsiteX219" fmla="*/ 5088 w 10008"/>
              <a:gd name="connsiteY219" fmla="*/ 8528 h 10000"/>
              <a:gd name="connsiteX220" fmla="*/ 5088 w 10008"/>
              <a:gd name="connsiteY220" fmla="*/ 8372 h 10000"/>
              <a:gd name="connsiteX221" fmla="*/ 5088 w 10008"/>
              <a:gd name="connsiteY221" fmla="*/ 8217 h 10000"/>
              <a:gd name="connsiteX222" fmla="*/ 5180 w 10008"/>
              <a:gd name="connsiteY222" fmla="*/ 8140 h 10000"/>
              <a:gd name="connsiteX223" fmla="*/ 5362 w 10008"/>
              <a:gd name="connsiteY223" fmla="*/ 8217 h 10000"/>
              <a:gd name="connsiteX224" fmla="*/ 5452 w 10008"/>
              <a:gd name="connsiteY224" fmla="*/ 8449 h 10000"/>
              <a:gd name="connsiteX225" fmla="*/ 5500 w 10008"/>
              <a:gd name="connsiteY225" fmla="*/ 8449 h 10000"/>
              <a:gd name="connsiteX226" fmla="*/ 5590 w 10008"/>
              <a:gd name="connsiteY226" fmla="*/ 8372 h 10000"/>
              <a:gd name="connsiteX227" fmla="*/ 5866 w 10008"/>
              <a:gd name="connsiteY227" fmla="*/ 8605 h 10000"/>
              <a:gd name="connsiteX228" fmla="*/ 6001 w 10008"/>
              <a:gd name="connsiteY228" fmla="*/ 8683 h 10000"/>
              <a:gd name="connsiteX229" fmla="*/ 6182 w 10008"/>
              <a:gd name="connsiteY229" fmla="*/ 8605 h 10000"/>
              <a:gd name="connsiteX230" fmla="*/ 6271 w 10008"/>
              <a:gd name="connsiteY230" fmla="*/ 8449 h 10000"/>
              <a:gd name="connsiteX231" fmla="*/ 6408 w 10008"/>
              <a:gd name="connsiteY231" fmla="*/ 8528 h 10000"/>
              <a:gd name="connsiteX232" fmla="*/ 6499 w 10008"/>
              <a:gd name="connsiteY232" fmla="*/ 8605 h 10000"/>
              <a:gd name="connsiteX233" fmla="*/ 8044 w 10008"/>
              <a:gd name="connsiteY233" fmla="*/ 7675 h 10000"/>
              <a:gd name="connsiteX234" fmla="*/ 7954 w 10008"/>
              <a:gd name="connsiteY234" fmla="*/ 7675 h 10000"/>
              <a:gd name="connsiteX235" fmla="*/ 7909 w 10008"/>
              <a:gd name="connsiteY235" fmla="*/ 7675 h 10000"/>
              <a:gd name="connsiteX236" fmla="*/ 7862 w 10008"/>
              <a:gd name="connsiteY236" fmla="*/ 7598 h 10000"/>
              <a:gd name="connsiteX237" fmla="*/ 7773 w 10008"/>
              <a:gd name="connsiteY237" fmla="*/ 7598 h 10000"/>
              <a:gd name="connsiteX238" fmla="*/ 7773 w 10008"/>
              <a:gd name="connsiteY238" fmla="*/ 7520 h 10000"/>
              <a:gd name="connsiteX239" fmla="*/ 7909 w 10008"/>
              <a:gd name="connsiteY239" fmla="*/ 7287 h 10000"/>
              <a:gd name="connsiteX240" fmla="*/ 8321 w 10008"/>
              <a:gd name="connsiteY240" fmla="*/ 6590 h 10000"/>
              <a:gd name="connsiteX241" fmla="*/ 8499 w 10008"/>
              <a:gd name="connsiteY241" fmla="*/ 6512 h 10000"/>
              <a:gd name="connsiteX242" fmla="*/ 8543 w 10008"/>
              <a:gd name="connsiteY242" fmla="*/ 6590 h 10000"/>
              <a:gd name="connsiteX243" fmla="*/ 8591 w 10008"/>
              <a:gd name="connsiteY243" fmla="*/ 6512 h 10000"/>
              <a:gd name="connsiteX244" fmla="*/ 8724 w 10008"/>
              <a:gd name="connsiteY244" fmla="*/ 6590 h 10000"/>
              <a:gd name="connsiteX245" fmla="*/ 8775 w 10008"/>
              <a:gd name="connsiteY245" fmla="*/ 6434 h 10000"/>
              <a:gd name="connsiteX246" fmla="*/ 8907 w 10008"/>
              <a:gd name="connsiteY246" fmla="*/ 6512 h 10000"/>
              <a:gd name="connsiteX247" fmla="*/ 8952 w 10008"/>
              <a:gd name="connsiteY247" fmla="*/ 6512 h 10000"/>
              <a:gd name="connsiteX248" fmla="*/ 8907 w 10008"/>
              <a:gd name="connsiteY248" fmla="*/ 6590 h 10000"/>
              <a:gd name="connsiteX249" fmla="*/ 8907 w 10008"/>
              <a:gd name="connsiteY249" fmla="*/ 6667 h 10000"/>
              <a:gd name="connsiteX250" fmla="*/ 9179 w 10008"/>
              <a:gd name="connsiteY250" fmla="*/ 6590 h 10000"/>
              <a:gd name="connsiteX251" fmla="*/ 9134 w 10008"/>
              <a:gd name="connsiteY251" fmla="*/ 6512 h 10000"/>
              <a:gd name="connsiteX252" fmla="*/ 9319 w 10008"/>
              <a:gd name="connsiteY252" fmla="*/ 5969 h 10000"/>
              <a:gd name="connsiteX253" fmla="*/ 9542 w 10008"/>
              <a:gd name="connsiteY253" fmla="*/ 5892 h 10000"/>
              <a:gd name="connsiteX254" fmla="*/ 9542 w 10008"/>
              <a:gd name="connsiteY254" fmla="*/ 6047 h 10000"/>
              <a:gd name="connsiteX255" fmla="*/ 9542 w 10008"/>
              <a:gd name="connsiteY255" fmla="*/ 6202 h 10000"/>
              <a:gd name="connsiteX256" fmla="*/ 9771 w 10008"/>
              <a:gd name="connsiteY256" fmla="*/ 6590 h 10000"/>
              <a:gd name="connsiteX257" fmla="*/ 9771 w 10008"/>
              <a:gd name="connsiteY257" fmla="*/ 6434 h 10000"/>
              <a:gd name="connsiteX258" fmla="*/ 9863 w 10008"/>
              <a:gd name="connsiteY258" fmla="*/ 6434 h 10000"/>
              <a:gd name="connsiteX259" fmla="*/ 10000 w 10008"/>
              <a:gd name="connsiteY259" fmla="*/ 6434 h 10000"/>
              <a:gd name="connsiteX260" fmla="*/ 9591 w 10008"/>
              <a:gd name="connsiteY260" fmla="*/ 3566 h 10000"/>
              <a:gd name="connsiteX261" fmla="*/ 9498 w 10008"/>
              <a:gd name="connsiteY261" fmla="*/ 3488 h 10000"/>
              <a:gd name="connsiteX262" fmla="*/ 9542 w 10008"/>
              <a:gd name="connsiteY262" fmla="*/ 3333 h 10000"/>
              <a:gd name="connsiteX263" fmla="*/ 9452 w 10008"/>
              <a:gd name="connsiteY263" fmla="*/ 3101 h 10000"/>
              <a:gd name="connsiteX264" fmla="*/ 9269 w 10008"/>
              <a:gd name="connsiteY264" fmla="*/ 3023 h 10000"/>
              <a:gd name="connsiteX265" fmla="*/ 9000 w 10008"/>
              <a:gd name="connsiteY265" fmla="*/ 3178 h 10000"/>
              <a:gd name="connsiteX266" fmla="*/ 8952 w 10008"/>
              <a:gd name="connsiteY266" fmla="*/ 2946 h 10000"/>
              <a:gd name="connsiteX267" fmla="*/ 8863 w 10008"/>
              <a:gd name="connsiteY267" fmla="*/ 2946 h 10000"/>
              <a:gd name="connsiteX268" fmla="*/ 8817 w 10008"/>
              <a:gd name="connsiteY268" fmla="*/ 2868 h 10000"/>
              <a:gd name="connsiteX269" fmla="*/ 8817 w 10008"/>
              <a:gd name="connsiteY269" fmla="*/ 2636 h 10000"/>
              <a:gd name="connsiteX270" fmla="*/ 8499 w 10008"/>
              <a:gd name="connsiteY270" fmla="*/ 2480 h 10000"/>
              <a:gd name="connsiteX271" fmla="*/ 8136 w 10008"/>
              <a:gd name="connsiteY271" fmla="*/ 2325 h 10000"/>
              <a:gd name="connsiteX272" fmla="*/ 8044 w 10008"/>
              <a:gd name="connsiteY272" fmla="*/ 2636 h 10000"/>
              <a:gd name="connsiteX273" fmla="*/ 8136 w 10008"/>
              <a:gd name="connsiteY273" fmla="*/ 2868 h 10000"/>
              <a:gd name="connsiteX274" fmla="*/ 7862 w 10008"/>
              <a:gd name="connsiteY274" fmla="*/ 2868 h 10000"/>
              <a:gd name="connsiteX275" fmla="*/ 7816 w 10008"/>
              <a:gd name="connsiteY275" fmla="*/ 2868 h 10000"/>
              <a:gd name="connsiteX276" fmla="*/ 7725 w 10008"/>
              <a:gd name="connsiteY276" fmla="*/ 2946 h 10000"/>
              <a:gd name="connsiteX277" fmla="*/ 7590 w 10008"/>
              <a:gd name="connsiteY277" fmla="*/ 2714 h 10000"/>
              <a:gd name="connsiteX278" fmla="*/ 7497 w 10008"/>
              <a:gd name="connsiteY278" fmla="*/ 3178 h 10000"/>
              <a:gd name="connsiteX279" fmla="*/ 7410 w 10008"/>
              <a:gd name="connsiteY279" fmla="*/ 3101 h 10000"/>
              <a:gd name="connsiteX280" fmla="*/ 7316 w 10008"/>
              <a:gd name="connsiteY280" fmla="*/ 2791 h 10000"/>
              <a:gd name="connsiteX281" fmla="*/ 7364 w 10008"/>
              <a:gd name="connsiteY281" fmla="*/ 2403 h 10000"/>
              <a:gd name="connsiteX282" fmla="*/ 7272 w 10008"/>
              <a:gd name="connsiteY282" fmla="*/ 2170 h 10000"/>
              <a:gd name="connsiteX283" fmla="*/ 6999 w 10008"/>
              <a:gd name="connsiteY283" fmla="*/ 2016 h 10000"/>
              <a:gd name="connsiteX284" fmla="*/ 6906 w 10008"/>
              <a:gd name="connsiteY284" fmla="*/ 2016 h 10000"/>
              <a:gd name="connsiteX285" fmla="*/ 6863 w 10008"/>
              <a:gd name="connsiteY285" fmla="*/ 2170 h 10000"/>
              <a:gd name="connsiteX286" fmla="*/ 6906 w 10008"/>
              <a:gd name="connsiteY286" fmla="*/ 2325 h 10000"/>
              <a:gd name="connsiteX287" fmla="*/ 6548 w 10008"/>
              <a:gd name="connsiteY287" fmla="*/ 2248 h 10000"/>
              <a:gd name="connsiteX288" fmla="*/ 6589 w 10008"/>
              <a:gd name="connsiteY288" fmla="*/ 2016 h 10000"/>
              <a:gd name="connsiteX289" fmla="*/ 6364 w 10008"/>
              <a:gd name="connsiteY289" fmla="*/ 1938 h 10000"/>
              <a:gd name="connsiteX290" fmla="*/ 6227 w 10008"/>
              <a:gd name="connsiteY290" fmla="*/ 2093 h 10000"/>
              <a:gd name="connsiteX291" fmla="*/ 5960 w 10008"/>
              <a:gd name="connsiteY291" fmla="*/ 1861 h 10000"/>
              <a:gd name="connsiteX0" fmla="*/ 5960 w 9863"/>
              <a:gd name="connsiteY0" fmla="*/ 1861 h 10000"/>
              <a:gd name="connsiteX1" fmla="*/ 5960 w 9863"/>
              <a:gd name="connsiteY1" fmla="*/ 1861 h 10000"/>
              <a:gd name="connsiteX2" fmla="*/ 5908 w 9863"/>
              <a:gd name="connsiteY2" fmla="*/ 1938 h 10000"/>
              <a:gd name="connsiteX3" fmla="*/ 5960 w 9863"/>
              <a:gd name="connsiteY3" fmla="*/ 2093 h 10000"/>
              <a:gd name="connsiteX4" fmla="*/ 5771 w 9863"/>
              <a:gd name="connsiteY4" fmla="*/ 2248 h 10000"/>
              <a:gd name="connsiteX5" fmla="*/ 5724 w 9863"/>
              <a:gd name="connsiteY5" fmla="*/ 2248 h 10000"/>
              <a:gd name="connsiteX6" fmla="*/ 5771 w 9863"/>
              <a:gd name="connsiteY6" fmla="*/ 2016 h 10000"/>
              <a:gd name="connsiteX7" fmla="*/ 6227 w 9863"/>
              <a:gd name="connsiteY7" fmla="*/ 1318 h 10000"/>
              <a:gd name="connsiteX8" fmla="*/ 6227 w 9863"/>
              <a:gd name="connsiteY8" fmla="*/ 853 h 10000"/>
              <a:gd name="connsiteX9" fmla="*/ 6045 w 9863"/>
              <a:gd name="connsiteY9" fmla="*/ 543 h 10000"/>
              <a:gd name="connsiteX10" fmla="*/ 5818 w 9863"/>
              <a:gd name="connsiteY10" fmla="*/ 543 h 10000"/>
              <a:gd name="connsiteX11" fmla="*/ 5818 w 9863"/>
              <a:gd name="connsiteY11" fmla="*/ 698 h 10000"/>
              <a:gd name="connsiteX12" fmla="*/ 5679 w 9863"/>
              <a:gd name="connsiteY12" fmla="*/ 698 h 10000"/>
              <a:gd name="connsiteX13" fmla="*/ 5771 w 9863"/>
              <a:gd name="connsiteY13" fmla="*/ 387 h 10000"/>
              <a:gd name="connsiteX14" fmla="*/ 5546 w 9863"/>
              <a:gd name="connsiteY14" fmla="*/ 310 h 10000"/>
              <a:gd name="connsiteX15" fmla="*/ 5679 w 9863"/>
              <a:gd name="connsiteY15" fmla="*/ 155 h 10000"/>
              <a:gd name="connsiteX16" fmla="*/ 5546 w 9863"/>
              <a:gd name="connsiteY16" fmla="*/ 0 h 10000"/>
              <a:gd name="connsiteX17" fmla="*/ 5318 w 9863"/>
              <a:gd name="connsiteY17" fmla="*/ 387 h 10000"/>
              <a:gd name="connsiteX18" fmla="*/ 5318 w 9863"/>
              <a:gd name="connsiteY18" fmla="*/ 698 h 10000"/>
              <a:gd name="connsiteX19" fmla="*/ 5180 w 9863"/>
              <a:gd name="connsiteY19" fmla="*/ 698 h 10000"/>
              <a:gd name="connsiteX20" fmla="*/ 4773 w 9863"/>
              <a:gd name="connsiteY20" fmla="*/ 853 h 10000"/>
              <a:gd name="connsiteX21" fmla="*/ 4408 w 9863"/>
              <a:gd name="connsiteY21" fmla="*/ 1240 h 10000"/>
              <a:gd name="connsiteX22" fmla="*/ 4272 w 9863"/>
              <a:gd name="connsiteY22" fmla="*/ 1551 h 10000"/>
              <a:gd name="connsiteX23" fmla="*/ 4318 w 9863"/>
              <a:gd name="connsiteY23" fmla="*/ 1938 h 10000"/>
              <a:gd name="connsiteX24" fmla="*/ 3817 w 9863"/>
              <a:gd name="connsiteY24" fmla="*/ 2093 h 10000"/>
              <a:gd name="connsiteX25" fmla="*/ 3864 w 9863"/>
              <a:gd name="connsiteY25" fmla="*/ 2559 h 10000"/>
              <a:gd name="connsiteX26" fmla="*/ 4001 w 9863"/>
              <a:gd name="connsiteY26" fmla="*/ 2791 h 10000"/>
              <a:gd name="connsiteX27" fmla="*/ 3910 w 9863"/>
              <a:gd name="connsiteY27" fmla="*/ 2868 h 10000"/>
              <a:gd name="connsiteX28" fmla="*/ 3773 w 9863"/>
              <a:gd name="connsiteY28" fmla="*/ 2559 h 10000"/>
              <a:gd name="connsiteX29" fmla="*/ 3638 w 9863"/>
              <a:gd name="connsiteY29" fmla="*/ 2480 h 10000"/>
              <a:gd name="connsiteX30" fmla="*/ 3590 w 9863"/>
              <a:gd name="connsiteY30" fmla="*/ 2559 h 10000"/>
              <a:gd name="connsiteX31" fmla="*/ 3499 w 9863"/>
              <a:gd name="connsiteY31" fmla="*/ 2403 h 10000"/>
              <a:gd name="connsiteX32" fmla="*/ 3409 w 9863"/>
              <a:gd name="connsiteY32" fmla="*/ 2248 h 10000"/>
              <a:gd name="connsiteX33" fmla="*/ 3409 w 9863"/>
              <a:gd name="connsiteY33" fmla="*/ 2325 h 10000"/>
              <a:gd name="connsiteX34" fmla="*/ 3457 w 9863"/>
              <a:gd name="connsiteY34" fmla="*/ 2559 h 10000"/>
              <a:gd name="connsiteX35" fmla="*/ 3317 w 9863"/>
              <a:gd name="connsiteY35" fmla="*/ 2946 h 10000"/>
              <a:gd name="connsiteX36" fmla="*/ 3409 w 9863"/>
              <a:gd name="connsiteY36" fmla="*/ 3256 h 10000"/>
              <a:gd name="connsiteX37" fmla="*/ 3360 w 9863"/>
              <a:gd name="connsiteY37" fmla="*/ 3566 h 10000"/>
              <a:gd name="connsiteX38" fmla="*/ 3360 w 9863"/>
              <a:gd name="connsiteY38" fmla="*/ 3799 h 10000"/>
              <a:gd name="connsiteX39" fmla="*/ 3499 w 9863"/>
              <a:gd name="connsiteY39" fmla="*/ 3799 h 10000"/>
              <a:gd name="connsiteX40" fmla="*/ 3409 w 9863"/>
              <a:gd name="connsiteY40" fmla="*/ 3876 h 10000"/>
              <a:gd name="connsiteX41" fmla="*/ 3457 w 9863"/>
              <a:gd name="connsiteY41" fmla="*/ 4263 h 10000"/>
              <a:gd name="connsiteX42" fmla="*/ 3182 w 9863"/>
              <a:gd name="connsiteY42" fmla="*/ 4652 h 10000"/>
              <a:gd name="connsiteX43" fmla="*/ 3134 w 9863"/>
              <a:gd name="connsiteY43" fmla="*/ 4574 h 10000"/>
              <a:gd name="connsiteX44" fmla="*/ 3317 w 9863"/>
              <a:gd name="connsiteY44" fmla="*/ 4186 h 10000"/>
              <a:gd name="connsiteX45" fmla="*/ 3360 w 9863"/>
              <a:gd name="connsiteY45" fmla="*/ 3954 h 10000"/>
              <a:gd name="connsiteX46" fmla="*/ 3267 w 9863"/>
              <a:gd name="connsiteY46" fmla="*/ 3799 h 10000"/>
              <a:gd name="connsiteX47" fmla="*/ 3267 w 9863"/>
              <a:gd name="connsiteY47" fmla="*/ 3023 h 10000"/>
              <a:gd name="connsiteX48" fmla="*/ 3227 w 9863"/>
              <a:gd name="connsiteY48" fmla="*/ 2868 h 10000"/>
              <a:gd name="connsiteX49" fmla="*/ 3267 w 9863"/>
              <a:gd name="connsiteY49" fmla="*/ 2403 h 10000"/>
              <a:gd name="connsiteX50" fmla="*/ 3182 w 9863"/>
              <a:gd name="connsiteY50" fmla="*/ 2325 h 10000"/>
              <a:gd name="connsiteX51" fmla="*/ 3227 w 9863"/>
              <a:gd name="connsiteY51" fmla="*/ 2248 h 10000"/>
              <a:gd name="connsiteX52" fmla="*/ 3182 w 9863"/>
              <a:gd name="connsiteY52" fmla="*/ 2093 h 10000"/>
              <a:gd name="connsiteX53" fmla="*/ 3087 w 9863"/>
              <a:gd name="connsiteY53" fmla="*/ 2170 h 10000"/>
              <a:gd name="connsiteX54" fmla="*/ 2862 w 9863"/>
              <a:gd name="connsiteY54" fmla="*/ 3178 h 10000"/>
              <a:gd name="connsiteX55" fmla="*/ 2862 w 9863"/>
              <a:gd name="connsiteY55" fmla="*/ 3566 h 10000"/>
              <a:gd name="connsiteX56" fmla="*/ 2998 w 9863"/>
              <a:gd name="connsiteY56" fmla="*/ 3876 h 10000"/>
              <a:gd name="connsiteX57" fmla="*/ 2998 w 9863"/>
              <a:gd name="connsiteY57" fmla="*/ 4031 h 10000"/>
              <a:gd name="connsiteX58" fmla="*/ 2862 w 9863"/>
              <a:gd name="connsiteY58" fmla="*/ 3876 h 10000"/>
              <a:gd name="connsiteX59" fmla="*/ 2320 w 9863"/>
              <a:gd name="connsiteY59" fmla="*/ 3256 h 10000"/>
              <a:gd name="connsiteX60" fmla="*/ 2272 w 9863"/>
              <a:gd name="connsiteY60" fmla="*/ 3411 h 10000"/>
              <a:gd name="connsiteX61" fmla="*/ 2455 w 9863"/>
              <a:gd name="connsiteY61" fmla="*/ 3799 h 10000"/>
              <a:gd name="connsiteX62" fmla="*/ 2362 w 9863"/>
              <a:gd name="connsiteY62" fmla="*/ 3876 h 10000"/>
              <a:gd name="connsiteX63" fmla="*/ 2320 w 9863"/>
              <a:gd name="connsiteY63" fmla="*/ 3799 h 10000"/>
              <a:gd name="connsiteX64" fmla="*/ 2047 w 9863"/>
              <a:gd name="connsiteY64" fmla="*/ 3954 h 10000"/>
              <a:gd name="connsiteX65" fmla="*/ 2001 w 9863"/>
              <a:gd name="connsiteY65" fmla="*/ 4109 h 10000"/>
              <a:gd name="connsiteX66" fmla="*/ 1955 w 9863"/>
              <a:gd name="connsiteY66" fmla="*/ 3954 h 10000"/>
              <a:gd name="connsiteX67" fmla="*/ 1955 w 9863"/>
              <a:gd name="connsiteY67" fmla="*/ 3799 h 10000"/>
              <a:gd name="connsiteX68" fmla="*/ 1498 w 9863"/>
              <a:gd name="connsiteY68" fmla="*/ 4263 h 10000"/>
              <a:gd name="connsiteX69" fmla="*/ 1498 w 9863"/>
              <a:gd name="connsiteY69" fmla="*/ 4418 h 10000"/>
              <a:gd name="connsiteX70" fmla="*/ 1411 w 9863"/>
              <a:gd name="connsiteY70" fmla="*/ 4496 h 10000"/>
              <a:gd name="connsiteX71" fmla="*/ 1271 w 9863"/>
              <a:gd name="connsiteY71" fmla="*/ 4341 h 10000"/>
              <a:gd name="connsiteX72" fmla="*/ 1411 w 9863"/>
              <a:gd name="connsiteY72" fmla="*/ 4186 h 10000"/>
              <a:gd name="connsiteX73" fmla="*/ 1364 w 9863"/>
              <a:gd name="connsiteY73" fmla="*/ 3954 h 10000"/>
              <a:gd name="connsiteX74" fmla="*/ 1183 w 9863"/>
              <a:gd name="connsiteY74" fmla="*/ 3876 h 10000"/>
              <a:gd name="connsiteX75" fmla="*/ 1229 w 9863"/>
              <a:gd name="connsiteY75" fmla="*/ 4031 h 10000"/>
              <a:gd name="connsiteX76" fmla="*/ 1229 w 9863"/>
              <a:gd name="connsiteY76" fmla="*/ 4418 h 10000"/>
              <a:gd name="connsiteX77" fmla="*/ 1271 w 9863"/>
              <a:gd name="connsiteY77" fmla="*/ 4574 h 10000"/>
              <a:gd name="connsiteX78" fmla="*/ 1229 w 9863"/>
              <a:gd name="connsiteY78" fmla="*/ 4729 h 10000"/>
              <a:gd name="connsiteX79" fmla="*/ 1090 w 9863"/>
              <a:gd name="connsiteY79" fmla="*/ 4652 h 10000"/>
              <a:gd name="connsiteX80" fmla="*/ 908 w 9863"/>
              <a:gd name="connsiteY80" fmla="*/ 4884 h 10000"/>
              <a:gd name="connsiteX81" fmla="*/ 998 w 9863"/>
              <a:gd name="connsiteY81" fmla="*/ 5194 h 10000"/>
              <a:gd name="connsiteX82" fmla="*/ 726 w 9863"/>
              <a:gd name="connsiteY82" fmla="*/ 5039 h 10000"/>
              <a:gd name="connsiteX83" fmla="*/ 682 w 9863"/>
              <a:gd name="connsiteY83" fmla="*/ 5116 h 10000"/>
              <a:gd name="connsiteX84" fmla="*/ 773 w 9863"/>
              <a:gd name="connsiteY84" fmla="*/ 5349 h 10000"/>
              <a:gd name="connsiteX85" fmla="*/ 682 w 9863"/>
              <a:gd name="connsiteY85" fmla="*/ 5349 h 10000"/>
              <a:gd name="connsiteX86" fmla="*/ 546 w 9863"/>
              <a:gd name="connsiteY86" fmla="*/ 5194 h 10000"/>
              <a:gd name="connsiteX87" fmla="*/ 546 w 9863"/>
              <a:gd name="connsiteY87" fmla="*/ 4729 h 10000"/>
              <a:gd name="connsiteX88" fmla="*/ 412 w 9863"/>
              <a:gd name="connsiteY88" fmla="*/ 4574 h 10000"/>
              <a:gd name="connsiteX89" fmla="*/ 364 w 9863"/>
              <a:gd name="connsiteY89" fmla="*/ 4418 h 10000"/>
              <a:gd name="connsiteX90" fmla="*/ 455 w 9863"/>
              <a:gd name="connsiteY90" fmla="*/ 4496 h 10000"/>
              <a:gd name="connsiteX91" fmla="*/ 817 w 9863"/>
              <a:gd name="connsiteY91" fmla="*/ 4729 h 10000"/>
              <a:gd name="connsiteX92" fmla="*/ 1043 w 9863"/>
              <a:gd name="connsiteY92" fmla="*/ 4496 h 10000"/>
              <a:gd name="connsiteX93" fmla="*/ 998 w 9863"/>
              <a:gd name="connsiteY93" fmla="*/ 4263 h 10000"/>
              <a:gd name="connsiteX94" fmla="*/ 726 w 9863"/>
              <a:gd name="connsiteY94" fmla="*/ 3799 h 10000"/>
              <a:gd name="connsiteX95" fmla="*/ 455 w 9863"/>
              <a:gd name="connsiteY95" fmla="*/ 3644 h 10000"/>
              <a:gd name="connsiteX96" fmla="*/ 455 w 9863"/>
              <a:gd name="connsiteY96" fmla="*/ 3566 h 10000"/>
              <a:gd name="connsiteX97" fmla="*/ 364 w 9863"/>
              <a:gd name="connsiteY97" fmla="*/ 3488 h 10000"/>
              <a:gd name="connsiteX98" fmla="*/ 270 w 9863"/>
              <a:gd name="connsiteY98" fmla="*/ 3566 h 10000"/>
              <a:gd name="connsiteX99" fmla="*/ 270 w 9863"/>
              <a:gd name="connsiteY99" fmla="*/ 3644 h 10000"/>
              <a:gd name="connsiteX100" fmla="*/ 228 w 9863"/>
              <a:gd name="connsiteY100" fmla="*/ 3644 h 10000"/>
              <a:gd name="connsiteX101" fmla="*/ 136 w 9863"/>
              <a:gd name="connsiteY101" fmla="*/ 3799 h 10000"/>
              <a:gd name="connsiteX102" fmla="*/ 136 w 9863"/>
              <a:gd name="connsiteY102" fmla="*/ 4031 h 10000"/>
              <a:gd name="connsiteX103" fmla="*/ 228 w 9863"/>
              <a:gd name="connsiteY103" fmla="*/ 4186 h 10000"/>
              <a:gd name="connsiteX104" fmla="*/ 181 w 9863"/>
              <a:gd name="connsiteY104" fmla="*/ 4418 h 10000"/>
              <a:gd name="connsiteX105" fmla="*/ 228 w 9863"/>
              <a:gd name="connsiteY105" fmla="*/ 4807 h 10000"/>
              <a:gd name="connsiteX106" fmla="*/ 181 w 9863"/>
              <a:gd name="connsiteY106" fmla="*/ 5039 h 10000"/>
              <a:gd name="connsiteX107" fmla="*/ 270 w 9863"/>
              <a:gd name="connsiteY107" fmla="*/ 5271 h 10000"/>
              <a:gd name="connsiteX108" fmla="*/ 228 w 9863"/>
              <a:gd name="connsiteY108" fmla="*/ 5426 h 10000"/>
              <a:gd name="connsiteX109" fmla="*/ 317 w 9863"/>
              <a:gd name="connsiteY109" fmla="*/ 5582 h 10000"/>
              <a:gd name="connsiteX110" fmla="*/ 317 w 9863"/>
              <a:gd name="connsiteY110" fmla="*/ 5659 h 10000"/>
              <a:gd name="connsiteX111" fmla="*/ 181 w 9863"/>
              <a:gd name="connsiteY111" fmla="*/ 6047 h 10000"/>
              <a:gd name="connsiteX112" fmla="*/ 42 w 9863"/>
              <a:gd name="connsiteY112" fmla="*/ 6202 h 10000"/>
              <a:gd name="connsiteX113" fmla="*/ 90 w 9863"/>
              <a:gd name="connsiteY113" fmla="*/ 6202 h 10000"/>
              <a:gd name="connsiteX114" fmla="*/ 181 w 9863"/>
              <a:gd name="connsiteY114" fmla="*/ 6356 h 10000"/>
              <a:gd name="connsiteX115" fmla="*/ 90 w 9863"/>
              <a:gd name="connsiteY115" fmla="*/ 6512 h 10000"/>
              <a:gd name="connsiteX116" fmla="*/ 42 w 9863"/>
              <a:gd name="connsiteY116" fmla="*/ 6590 h 10000"/>
              <a:gd name="connsiteX117" fmla="*/ 0 w 9863"/>
              <a:gd name="connsiteY117" fmla="*/ 6590 h 10000"/>
              <a:gd name="connsiteX118" fmla="*/ 42 w 9863"/>
              <a:gd name="connsiteY118" fmla="*/ 6822 h 10000"/>
              <a:gd name="connsiteX119" fmla="*/ 42 w 9863"/>
              <a:gd name="connsiteY119" fmla="*/ 6900 h 10000"/>
              <a:gd name="connsiteX120" fmla="*/ 42 w 9863"/>
              <a:gd name="connsiteY120" fmla="*/ 6977 h 10000"/>
              <a:gd name="connsiteX121" fmla="*/ 42 w 9863"/>
              <a:gd name="connsiteY121" fmla="*/ 7054 h 10000"/>
              <a:gd name="connsiteX122" fmla="*/ 90 w 9863"/>
              <a:gd name="connsiteY122" fmla="*/ 7209 h 10000"/>
              <a:gd name="connsiteX123" fmla="*/ 228 w 9863"/>
              <a:gd name="connsiteY123" fmla="*/ 7287 h 10000"/>
              <a:gd name="connsiteX124" fmla="*/ 270 w 9863"/>
              <a:gd name="connsiteY124" fmla="*/ 7364 h 10000"/>
              <a:gd name="connsiteX125" fmla="*/ 270 w 9863"/>
              <a:gd name="connsiteY125" fmla="*/ 7520 h 10000"/>
              <a:gd name="connsiteX126" fmla="*/ 364 w 9863"/>
              <a:gd name="connsiteY126" fmla="*/ 7752 h 10000"/>
              <a:gd name="connsiteX127" fmla="*/ 412 w 9863"/>
              <a:gd name="connsiteY127" fmla="*/ 7752 h 10000"/>
              <a:gd name="connsiteX128" fmla="*/ 364 w 9863"/>
              <a:gd name="connsiteY128" fmla="*/ 7907 h 10000"/>
              <a:gd name="connsiteX129" fmla="*/ 317 w 9863"/>
              <a:gd name="connsiteY129" fmla="*/ 7830 h 10000"/>
              <a:gd name="connsiteX130" fmla="*/ 317 w 9863"/>
              <a:gd name="connsiteY130" fmla="*/ 7907 h 10000"/>
              <a:gd name="connsiteX131" fmla="*/ 364 w 9863"/>
              <a:gd name="connsiteY131" fmla="*/ 8062 h 10000"/>
              <a:gd name="connsiteX132" fmla="*/ 501 w 9863"/>
              <a:gd name="connsiteY132" fmla="*/ 8062 h 10000"/>
              <a:gd name="connsiteX133" fmla="*/ 546 w 9863"/>
              <a:gd name="connsiteY133" fmla="*/ 8140 h 10000"/>
              <a:gd name="connsiteX134" fmla="*/ 501 w 9863"/>
              <a:gd name="connsiteY134" fmla="*/ 8140 h 10000"/>
              <a:gd name="connsiteX135" fmla="*/ 546 w 9863"/>
              <a:gd name="connsiteY135" fmla="*/ 8217 h 10000"/>
              <a:gd name="connsiteX136" fmla="*/ 590 w 9863"/>
              <a:gd name="connsiteY136" fmla="*/ 8217 h 10000"/>
              <a:gd name="connsiteX137" fmla="*/ 636 w 9863"/>
              <a:gd name="connsiteY137" fmla="*/ 8372 h 10000"/>
              <a:gd name="connsiteX138" fmla="*/ 682 w 9863"/>
              <a:gd name="connsiteY138" fmla="*/ 8449 h 10000"/>
              <a:gd name="connsiteX139" fmla="*/ 726 w 9863"/>
              <a:gd name="connsiteY139" fmla="*/ 8372 h 10000"/>
              <a:gd name="connsiteX140" fmla="*/ 956 w 9863"/>
              <a:gd name="connsiteY140" fmla="*/ 8605 h 10000"/>
              <a:gd name="connsiteX141" fmla="*/ 908 w 9863"/>
              <a:gd name="connsiteY141" fmla="*/ 8915 h 10000"/>
              <a:gd name="connsiteX142" fmla="*/ 862 w 9863"/>
              <a:gd name="connsiteY142" fmla="*/ 8838 h 10000"/>
              <a:gd name="connsiteX143" fmla="*/ 817 w 9863"/>
              <a:gd name="connsiteY143" fmla="*/ 8915 h 10000"/>
              <a:gd name="connsiteX144" fmla="*/ 817 w 9863"/>
              <a:gd name="connsiteY144" fmla="*/ 9070 h 10000"/>
              <a:gd name="connsiteX145" fmla="*/ 862 w 9863"/>
              <a:gd name="connsiteY145" fmla="*/ 8993 h 10000"/>
              <a:gd name="connsiteX146" fmla="*/ 908 w 9863"/>
              <a:gd name="connsiteY146" fmla="*/ 9070 h 10000"/>
              <a:gd name="connsiteX147" fmla="*/ 773 w 9863"/>
              <a:gd name="connsiteY147" fmla="*/ 9147 h 10000"/>
              <a:gd name="connsiteX148" fmla="*/ 817 w 9863"/>
              <a:gd name="connsiteY148" fmla="*/ 9225 h 10000"/>
              <a:gd name="connsiteX149" fmla="*/ 726 w 9863"/>
              <a:gd name="connsiteY149" fmla="*/ 9380 h 10000"/>
              <a:gd name="connsiteX150" fmla="*/ 682 w 9863"/>
              <a:gd name="connsiteY150" fmla="*/ 9380 h 10000"/>
              <a:gd name="connsiteX151" fmla="*/ 726 w 9863"/>
              <a:gd name="connsiteY151" fmla="*/ 9380 h 10000"/>
              <a:gd name="connsiteX152" fmla="*/ 908 w 9863"/>
              <a:gd name="connsiteY152" fmla="*/ 9691 h 10000"/>
              <a:gd name="connsiteX153" fmla="*/ 1137 w 9863"/>
              <a:gd name="connsiteY153" fmla="*/ 9691 h 10000"/>
              <a:gd name="connsiteX154" fmla="*/ 1229 w 9863"/>
              <a:gd name="connsiteY154" fmla="*/ 9768 h 10000"/>
              <a:gd name="connsiteX155" fmla="*/ 1318 w 9863"/>
              <a:gd name="connsiteY155" fmla="*/ 9768 h 10000"/>
              <a:gd name="connsiteX156" fmla="*/ 1411 w 9863"/>
              <a:gd name="connsiteY156" fmla="*/ 9923 h 10000"/>
              <a:gd name="connsiteX157" fmla="*/ 1454 w 9863"/>
              <a:gd name="connsiteY157" fmla="*/ 10000 h 10000"/>
              <a:gd name="connsiteX158" fmla="*/ 1498 w 9863"/>
              <a:gd name="connsiteY158" fmla="*/ 10000 h 10000"/>
              <a:gd name="connsiteX159" fmla="*/ 1547 w 9863"/>
              <a:gd name="connsiteY159" fmla="*/ 9923 h 10000"/>
              <a:gd name="connsiteX160" fmla="*/ 1454 w 9863"/>
              <a:gd name="connsiteY160" fmla="*/ 9768 h 10000"/>
              <a:gd name="connsiteX161" fmla="*/ 1454 w 9863"/>
              <a:gd name="connsiteY161" fmla="*/ 9613 h 10000"/>
              <a:gd name="connsiteX162" fmla="*/ 1411 w 9863"/>
              <a:gd name="connsiteY162" fmla="*/ 9457 h 10000"/>
              <a:gd name="connsiteX163" fmla="*/ 1498 w 9863"/>
              <a:gd name="connsiteY163" fmla="*/ 9225 h 10000"/>
              <a:gd name="connsiteX164" fmla="*/ 1547 w 9863"/>
              <a:gd name="connsiteY164" fmla="*/ 9302 h 10000"/>
              <a:gd name="connsiteX165" fmla="*/ 1591 w 9863"/>
              <a:gd name="connsiteY165" fmla="*/ 9225 h 10000"/>
              <a:gd name="connsiteX166" fmla="*/ 1591 w 9863"/>
              <a:gd name="connsiteY166" fmla="*/ 9147 h 10000"/>
              <a:gd name="connsiteX167" fmla="*/ 1547 w 9863"/>
              <a:gd name="connsiteY167" fmla="*/ 9147 h 10000"/>
              <a:gd name="connsiteX168" fmla="*/ 1591 w 9863"/>
              <a:gd name="connsiteY168" fmla="*/ 9070 h 10000"/>
              <a:gd name="connsiteX169" fmla="*/ 1547 w 9863"/>
              <a:gd name="connsiteY169" fmla="*/ 8915 h 10000"/>
              <a:gd name="connsiteX170" fmla="*/ 1454 w 9863"/>
              <a:gd name="connsiteY170" fmla="*/ 8915 h 10000"/>
              <a:gd name="connsiteX171" fmla="*/ 1411 w 9863"/>
              <a:gd name="connsiteY171" fmla="*/ 8760 h 10000"/>
              <a:gd name="connsiteX172" fmla="*/ 1454 w 9863"/>
              <a:gd name="connsiteY172" fmla="*/ 8372 h 10000"/>
              <a:gd name="connsiteX173" fmla="*/ 1547 w 9863"/>
              <a:gd name="connsiteY173" fmla="*/ 8528 h 10000"/>
              <a:gd name="connsiteX174" fmla="*/ 1591 w 9863"/>
              <a:gd name="connsiteY174" fmla="*/ 8528 h 10000"/>
              <a:gd name="connsiteX175" fmla="*/ 1547 w 9863"/>
              <a:gd name="connsiteY175" fmla="*/ 8372 h 10000"/>
              <a:gd name="connsiteX176" fmla="*/ 1682 w 9863"/>
              <a:gd name="connsiteY176" fmla="*/ 8140 h 10000"/>
              <a:gd name="connsiteX177" fmla="*/ 1775 w 9863"/>
              <a:gd name="connsiteY177" fmla="*/ 8217 h 10000"/>
              <a:gd name="connsiteX178" fmla="*/ 1817 w 9863"/>
              <a:gd name="connsiteY178" fmla="*/ 8140 h 10000"/>
              <a:gd name="connsiteX179" fmla="*/ 1908 w 9863"/>
              <a:gd name="connsiteY179" fmla="*/ 8217 h 10000"/>
              <a:gd name="connsiteX180" fmla="*/ 2047 w 9863"/>
              <a:gd name="connsiteY180" fmla="*/ 8372 h 10000"/>
              <a:gd name="connsiteX181" fmla="*/ 2136 w 9863"/>
              <a:gd name="connsiteY181" fmla="*/ 8295 h 10000"/>
              <a:gd name="connsiteX182" fmla="*/ 2228 w 9863"/>
              <a:gd name="connsiteY182" fmla="*/ 8295 h 10000"/>
              <a:gd name="connsiteX183" fmla="*/ 2272 w 9863"/>
              <a:gd name="connsiteY183" fmla="*/ 8372 h 10000"/>
              <a:gd name="connsiteX184" fmla="*/ 2455 w 9863"/>
              <a:gd name="connsiteY184" fmla="*/ 8372 h 10000"/>
              <a:gd name="connsiteX185" fmla="*/ 2498 w 9863"/>
              <a:gd name="connsiteY185" fmla="*/ 8217 h 10000"/>
              <a:gd name="connsiteX186" fmla="*/ 2362 w 9863"/>
              <a:gd name="connsiteY186" fmla="*/ 8140 h 10000"/>
              <a:gd name="connsiteX187" fmla="*/ 2455 w 9863"/>
              <a:gd name="connsiteY187" fmla="*/ 8062 h 10000"/>
              <a:gd name="connsiteX188" fmla="*/ 2407 w 9863"/>
              <a:gd name="connsiteY188" fmla="*/ 7985 h 10000"/>
              <a:gd name="connsiteX189" fmla="*/ 2455 w 9863"/>
              <a:gd name="connsiteY189" fmla="*/ 7907 h 10000"/>
              <a:gd name="connsiteX190" fmla="*/ 2455 w 9863"/>
              <a:gd name="connsiteY190" fmla="*/ 7675 h 10000"/>
              <a:gd name="connsiteX191" fmla="*/ 2544 w 9863"/>
              <a:gd name="connsiteY191" fmla="*/ 7752 h 10000"/>
              <a:gd name="connsiteX192" fmla="*/ 2955 w 9863"/>
              <a:gd name="connsiteY192" fmla="*/ 7520 h 10000"/>
              <a:gd name="connsiteX193" fmla="*/ 2955 w 9863"/>
              <a:gd name="connsiteY193" fmla="*/ 7442 h 10000"/>
              <a:gd name="connsiteX194" fmla="*/ 2998 w 9863"/>
              <a:gd name="connsiteY194" fmla="*/ 7442 h 10000"/>
              <a:gd name="connsiteX195" fmla="*/ 3134 w 9863"/>
              <a:gd name="connsiteY195" fmla="*/ 7442 h 10000"/>
              <a:gd name="connsiteX196" fmla="*/ 3182 w 9863"/>
              <a:gd name="connsiteY196" fmla="*/ 7598 h 10000"/>
              <a:gd name="connsiteX197" fmla="*/ 3182 w 9863"/>
              <a:gd name="connsiteY197" fmla="*/ 7675 h 10000"/>
              <a:gd name="connsiteX198" fmla="*/ 3227 w 9863"/>
              <a:gd name="connsiteY198" fmla="*/ 7675 h 10000"/>
              <a:gd name="connsiteX199" fmla="*/ 3317 w 9863"/>
              <a:gd name="connsiteY199" fmla="*/ 7752 h 10000"/>
              <a:gd name="connsiteX200" fmla="*/ 3317 w 9863"/>
              <a:gd name="connsiteY200" fmla="*/ 7830 h 10000"/>
              <a:gd name="connsiteX201" fmla="*/ 3409 w 9863"/>
              <a:gd name="connsiteY201" fmla="*/ 7830 h 10000"/>
              <a:gd name="connsiteX202" fmla="*/ 3499 w 9863"/>
              <a:gd name="connsiteY202" fmla="*/ 7675 h 10000"/>
              <a:gd name="connsiteX203" fmla="*/ 3590 w 9863"/>
              <a:gd name="connsiteY203" fmla="*/ 7598 h 10000"/>
              <a:gd name="connsiteX204" fmla="*/ 3638 w 9863"/>
              <a:gd name="connsiteY204" fmla="*/ 7830 h 10000"/>
              <a:gd name="connsiteX205" fmla="*/ 3817 w 9863"/>
              <a:gd name="connsiteY205" fmla="*/ 8372 h 10000"/>
              <a:gd name="connsiteX206" fmla="*/ 3864 w 9863"/>
              <a:gd name="connsiteY206" fmla="*/ 8217 h 10000"/>
              <a:gd name="connsiteX207" fmla="*/ 3910 w 9863"/>
              <a:gd name="connsiteY207" fmla="*/ 8372 h 10000"/>
              <a:gd name="connsiteX208" fmla="*/ 4045 w 9863"/>
              <a:gd name="connsiteY208" fmla="*/ 8295 h 10000"/>
              <a:gd name="connsiteX209" fmla="*/ 4183 w 9863"/>
              <a:gd name="connsiteY209" fmla="*/ 8528 h 10000"/>
              <a:gd name="connsiteX210" fmla="*/ 4272 w 9863"/>
              <a:gd name="connsiteY210" fmla="*/ 8605 h 10000"/>
              <a:gd name="connsiteX211" fmla="*/ 4272 w 9863"/>
              <a:gd name="connsiteY211" fmla="*/ 8528 h 10000"/>
              <a:gd name="connsiteX212" fmla="*/ 4318 w 9863"/>
              <a:gd name="connsiteY212" fmla="*/ 8683 h 10000"/>
              <a:gd name="connsiteX213" fmla="*/ 4272 w 9863"/>
              <a:gd name="connsiteY213" fmla="*/ 8760 h 10000"/>
              <a:gd name="connsiteX214" fmla="*/ 4364 w 9863"/>
              <a:gd name="connsiteY214" fmla="*/ 8683 h 10000"/>
              <a:gd name="connsiteX215" fmla="*/ 4408 w 9863"/>
              <a:gd name="connsiteY215" fmla="*/ 8605 h 10000"/>
              <a:gd name="connsiteX216" fmla="*/ 4636 w 9863"/>
              <a:gd name="connsiteY216" fmla="*/ 8372 h 10000"/>
              <a:gd name="connsiteX217" fmla="*/ 4817 w 9863"/>
              <a:gd name="connsiteY217" fmla="*/ 8449 h 10000"/>
              <a:gd name="connsiteX218" fmla="*/ 4907 w 9863"/>
              <a:gd name="connsiteY218" fmla="*/ 8528 h 10000"/>
              <a:gd name="connsiteX219" fmla="*/ 5088 w 9863"/>
              <a:gd name="connsiteY219" fmla="*/ 8528 h 10000"/>
              <a:gd name="connsiteX220" fmla="*/ 5088 w 9863"/>
              <a:gd name="connsiteY220" fmla="*/ 8372 h 10000"/>
              <a:gd name="connsiteX221" fmla="*/ 5088 w 9863"/>
              <a:gd name="connsiteY221" fmla="*/ 8217 h 10000"/>
              <a:gd name="connsiteX222" fmla="*/ 5180 w 9863"/>
              <a:gd name="connsiteY222" fmla="*/ 8140 h 10000"/>
              <a:gd name="connsiteX223" fmla="*/ 5362 w 9863"/>
              <a:gd name="connsiteY223" fmla="*/ 8217 h 10000"/>
              <a:gd name="connsiteX224" fmla="*/ 5452 w 9863"/>
              <a:gd name="connsiteY224" fmla="*/ 8449 h 10000"/>
              <a:gd name="connsiteX225" fmla="*/ 5500 w 9863"/>
              <a:gd name="connsiteY225" fmla="*/ 8449 h 10000"/>
              <a:gd name="connsiteX226" fmla="*/ 5590 w 9863"/>
              <a:gd name="connsiteY226" fmla="*/ 8372 h 10000"/>
              <a:gd name="connsiteX227" fmla="*/ 5866 w 9863"/>
              <a:gd name="connsiteY227" fmla="*/ 8605 h 10000"/>
              <a:gd name="connsiteX228" fmla="*/ 6001 w 9863"/>
              <a:gd name="connsiteY228" fmla="*/ 8683 h 10000"/>
              <a:gd name="connsiteX229" fmla="*/ 6182 w 9863"/>
              <a:gd name="connsiteY229" fmla="*/ 8605 h 10000"/>
              <a:gd name="connsiteX230" fmla="*/ 6271 w 9863"/>
              <a:gd name="connsiteY230" fmla="*/ 8449 h 10000"/>
              <a:gd name="connsiteX231" fmla="*/ 6408 w 9863"/>
              <a:gd name="connsiteY231" fmla="*/ 8528 h 10000"/>
              <a:gd name="connsiteX232" fmla="*/ 6499 w 9863"/>
              <a:gd name="connsiteY232" fmla="*/ 8605 h 10000"/>
              <a:gd name="connsiteX233" fmla="*/ 8044 w 9863"/>
              <a:gd name="connsiteY233" fmla="*/ 7675 h 10000"/>
              <a:gd name="connsiteX234" fmla="*/ 7954 w 9863"/>
              <a:gd name="connsiteY234" fmla="*/ 7675 h 10000"/>
              <a:gd name="connsiteX235" fmla="*/ 7909 w 9863"/>
              <a:gd name="connsiteY235" fmla="*/ 7675 h 10000"/>
              <a:gd name="connsiteX236" fmla="*/ 7862 w 9863"/>
              <a:gd name="connsiteY236" fmla="*/ 7598 h 10000"/>
              <a:gd name="connsiteX237" fmla="*/ 7773 w 9863"/>
              <a:gd name="connsiteY237" fmla="*/ 7598 h 10000"/>
              <a:gd name="connsiteX238" fmla="*/ 7773 w 9863"/>
              <a:gd name="connsiteY238" fmla="*/ 7520 h 10000"/>
              <a:gd name="connsiteX239" fmla="*/ 7909 w 9863"/>
              <a:gd name="connsiteY239" fmla="*/ 7287 h 10000"/>
              <a:gd name="connsiteX240" fmla="*/ 8321 w 9863"/>
              <a:gd name="connsiteY240" fmla="*/ 6590 h 10000"/>
              <a:gd name="connsiteX241" fmla="*/ 8499 w 9863"/>
              <a:gd name="connsiteY241" fmla="*/ 6512 h 10000"/>
              <a:gd name="connsiteX242" fmla="*/ 8543 w 9863"/>
              <a:gd name="connsiteY242" fmla="*/ 6590 h 10000"/>
              <a:gd name="connsiteX243" fmla="*/ 8591 w 9863"/>
              <a:gd name="connsiteY243" fmla="*/ 6512 h 10000"/>
              <a:gd name="connsiteX244" fmla="*/ 8724 w 9863"/>
              <a:gd name="connsiteY244" fmla="*/ 6590 h 10000"/>
              <a:gd name="connsiteX245" fmla="*/ 8775 w 9863"/>
              <a:gd name="connsiteY245" fmla="*/ 6434 h 10000"/>
              <a:gd name="connsiteX246" fmla="*/ 8907 w 9863"/>
              <a:gd name="connsiteY246" fmla="*/ 6512 h 10000"/>
              <a:gd name="connsiteX247" fmla="*/ 8952 w 9863"/>
              <a:gd name="connsiteY247" fmla="*/ 6512 h 10000"/>
              <a:gd name="connsiteX248" fmla="*/ 8907 w 9863"/>
              <a:gd name="connsiteY248" fmla="*/ 6590 h 10000"/>
              <a:gd name="connsiteX249" fmla="*/ 8907 w 9863"/>
              <a:gd name="connsiteY249" fmla="*/ 6667 h 10000"/>
              <a:gd name="connsiteX250" fmla="*/ 9179 w 9863"/>
              <a:gd name="connsiteY250" fmla="*/ 6590 h 10000"/>
              <a:gd name="connsiteX251" fmla="*/ 9134 w 9863"/>
              <a:gd name="connsiteY251" fmla="*/ 6512 h 10000"/>
              <a:gd name="connsiteX252" fmla="*/ 9319 w 9863"/>
              <a:gd name="connsiteY252" fmla="*/ 5969 h 10000"/>
              <a:gd name="connsiteX253" fmla="*/ 9542 w 9863"/>
              <a:gd name="connsiteY253" fmla="*/ 5892 h 10000"/>
              <a:gd name="connsiteX254" fmla="*/ 9542 w 9863"/>
              <a:gd name="connsiteY254" fmla="*/ 6047 h 10000"/>
              <a:gd name="connsiteX255" fmla="*/ 9542 w 9863"/>
              <a:gd name="connsiteY255" fmla="*/ 6202 h 10000"/>
              <a:gd name="connsiteX256" fmla="*/ 9771 w 9863"/>
              <a:gd name="connsiteY256" fmla="*/ 6590 h 10000"/>
              <a:gd name="connsiteX257" fmla="*/ 9771 w 9863"/>
              <a:gd name="connsiteY257" fmla="*/ 6434 h 10000"/>
              <a:gd name="connsiteX258" fmla="*/ 9863 w 9863"/>
              <a:gd name="connsiteY258" fmla="*/ 6434 h 10000"/>
              <a:gd name="connsiteX259" fmla="*/ 9591 w 9863"/>
              <a:gd name="connsiteY259" fmla="*/ 3566 h 10000"/>
              <a:gd name="connsiteX260" fmla="*/ 9498 w 9863"/>
              <a:gd name="connsiteY260" fmla="*/ 3488 h 10000"/>
              <a:gd name="connsiteX261" fmla="*/ 9542 w 9863"/>
              <a:gd name="connsiteY261" fmla="*/ 3333 h 10000"/>
              <a:gd name="connsiteX262" fmla="*/ 9452 w 9863"/>
              <a:gd name="connsiteY262" fmla="*/ 3101 h 10000"/>
              <a:gd name="connsiteX263" fmla="*/ 9269 w 9863"/>
              <a:gd name="connsiteY263" fmla="*/ 3023 h 10000"/>
              <a:gd name="connsiteX264" fmla="*/ 9000 w 9863"/>
              <a:gd name="connsiteY264" fmla="*/ 3178 h 10000"/>
              <a:gd name="connsiteX265" fmla="*/ 8952 w 9863"/>
              <a:gd name="connsiteY265" fmla="*/ 2946 h 10000"/>
              <a:gd name="connsiteX266" fmla="*/ 8863 w 9863"/>
              <a:gd name="connsiteY266" fmla="*/ 2946 h 10000"/>
              <a:gd name="connsiteX267" fmla="*/ 8817 w 9863"/>
              <a:gd name="connsiteY267" fmla="*/ 2868 h 10000"/>
              <a:gd name="connsiteX268" fmla="*/ 8817 w 9863"/>
              <a:gd name="connsiteY268" fmla="*/ 2636 h 10000"/>
              <a:gd name="connsiteX269" fmla="*/ 8499 w 9863"/>
              <a:gd name="connsiteY269" fmla="*/ 2480 h 10000"/>
              <a:gd name="connsiteX270" fmla="*/ 8136 w 9863"/>
              <a:gd name="connsiteY270" fmla="*/ 2325 h 10000"/>
              <a:gd name="connsiteX271" fmla="*/ 8044 w 9863"/>
              <a:gd name="connsiteY271" fmla="*/ 2636 h 10000"/>
              <a:gd name="connsiteX272" fmla="*/ 8136 w 9863"/>
              <a:gd name="connsiteY272" fmla="*/ 2868 h 10000"/>
              <a:gd name="connsiteX273" fmla="*/ 7862 w 9863"/>
              <a:gd name="connsiteY273" fmla="*/ 2868 h 10000"/>
              <a:gd name="connsiteX274" fmla="*/ 7816 w 9863"/>
              <a:gd name="connsiteY274" fmla="*/ 2868 h 10000"/>
              <a:gd name="connsiteX275" fmla="*/ 7725 w 9863"/>
              <a:gd name="connsiteY275" fmla="*/ 2946 h 10000"/>
              <a:gd name="connsiteX276" fmla="*/ 7590 w 9863"/>
              <a:gd name="connsiteY276" fmla="*/ 2714 h 10000"/>
              <a:gd name="connsiteX277" fmla="*/ 7497 w 9863"/>
              <a:gd name="connsiteY277" fmla="*/ 3178 h 10000"/>
              <a:gd name="connsiteX278" fmla="*/ 7410 w 9863"/>
              <a:gd name="connsiteY278" fmla="*/ 3101 h 10000"/>
              <a:gd name="connsiteX279" fmla="*/ 7316 w 9863"/>
              <a:gd name="connsiteY279" fmla="*/ 2791 h 10000"/>
              <a:gd name="connsiteX280" fmla="*/ 7364 w 9863"/>
              <a:gd name="connsiteY280" fmla="*/ 2403 h 10000"/>
              <a:gd name="connsiteX281" fmla="*/ 7272 w 9863"/>
              <a:gd name="connsiteY281" fmla="*/ 2170 h 10000"/>
              <a:gd name="connsiteX282" fmla="*/ 6999 w 9863"/>
              <a:gd name="connsiteY282" fmla="*/ 2016 h 10000"/>
              <a:gd name="connsiteX283" fmla="*/ 6906 w 9863"/>
              <a:gd name="connsiteY283" fmla="*/ 2016 h 10000"/>
              <a:gd name="connsiteX284" fmla="*/ 6863 w 9863"/>
              <a:gd name="connsiteY284" fmla="*/ 2170 h 10000"/>
              <a:gd name="connsiteX285" fmla="*/ 6906 w 9863"/>
              <a:gd name="connsiteY285" fmla="*/ 2325 h 10000"/>
              <a:gd name="connsiteX286" fmla="*/ 6548 w 9863"/>
              <a:gd name="connsiteY286" fmla="*/ 2248 h 10000"/>
              <a:gd name="connsiteX287" fmla="*/ 6589 w 9863"/>
              <a:gd name="connsiteY287" fmla="*/ 2016 h 10000"/>
              <a:gd name="connsiteX288" fmla="*/ 6364 w 9863"/>
              <a:gd name="connsiteY288" fmla="*/ 1938 h 10000"/>
              <a:gd name="connsiteX289" fmla="*/ 6227 w 9863"/>
              <a:gd name="connsiteY289" fmla="*/ 2093 h 10000"/>
              <a:gd name="connsiteX290" fmla="*/ 5960 w 9863"/>
              <a:gd name="connsiteY290" fmla="*/ 1861 h 10000"/>
              <a:gd name="connsiteX0" fmla="*/ 6043 w 9907"/>
              <a:gd name="connsiteY0" fmla="*/ 1861 h 10000"/>
              <a:gd name="connsiteX1" fmla="*/ 6043 w 9907"/>
              <a:gd name="connsiteY1" fmla="*/ 1861 h 10000"/>
              <a:gd name="connsiteX2" fmla="*/ 5990 w 9907"/>
              <a:gd name="connsiteY2" fmla="*/ 1938 h 10000"/>
              <a:gd name="connsiteX3" fmla="*/ 6043 w 9907"/>
              <a:gd name="connsiteY3" fmla="*/ 2093 h 10000"/>
              <a:gd name="connsiteX4" fmla="*/ 5851 w 9907"/>
              <a:gd name="connsiteY4" fmla="*/ 2248 h 10000"/>
              <a:gd name="connsiteX5" fmla="*/ 5804 w 9907"/>
              <a:gd name="connsiteY5" fmla="*/ 2248 h 10000"/>
              <a:gd name="connsiteX6" fmla="*/ 5851 w 9907"/>
              <a:gd name="connsiteY6" fmla="*/ 2016 h 10000"/>
              <a:gd name="connsiteX7" fmla="*/ 6313 w 9907"/>
              <a:gd name="connsiteY7" fmla="*/ 1318 h 10000"/>
              <a:gd name="connsiteX8" fmla="*/ 6313 w 9907"/>
              <a:gd name="connsiteY8" fmla="*/ 853 h 10000"/>
              <a:gd name="connsiteX9" fmla="*/ 6129 w 9907"/>
              <a:gd name="connsiteY9" fmla="*/ 543 h 10000"/>
              <a:gd name="connsiteX10" fmla="*/ 5899 w 9907"/>
              <a:gd name="connsiteY10" fmla="*/ 543 h 10000"/>
              <a:gd name="connsiteX11" fmla="*/ 5899 w 9907"/>
              <a:gd name="connsiteY11" fmla="*/ 698 h 10000"/>
              <a:gd name="connsiteX12" fmla="*/ 5758 w 9907"/>
              <a:gd name="connsiteY12" fmla="*/ 698 h 10000"/>
              <a:gd name="connsiteX13" fmla="*/ 5851 w 9907"/>
              <a:gd name="connsiteY13" fmla="*/ 387 h 10000"/>
              <a:gd name="connsiteX14" fmla="*/ 5623 w 9907"/>
              <a:gd name="connsiteY14" fmla="*/ 310 h 10000"/>
              <a:gd name="connsiteX15" fmla="*/ 5758 w 9907"/>
              <a:gd name="connsiteY15" fmla="*/ 155 h 10000"/>
              <a:gd name="connsiteX16" fmla="*/ 5623 w 9907"/>
              <a:gd name="connsiteY16" fmla="*/ 0 h 10000"/>
              <a:gd name="connsiteX17" fmla="*/ 5392 w 9907"/>
              <a:gd name="connsiteY17" fmla="*/ 387 h 10000"/>
              <a:gd name="connsiteX18" fmla="*/ 5392 w 9907"/>
              <a:gd name="connsiteY18" fmla="*/ 698 h 10000"/>
              <a:gd name="connsiteX19" fmla="*/ 5252 w 9907"/>
              <a:gd name="connsiteY19" fmla="*/ 698 h 10000"/>
              <a:gd name="connsiteX20" fmla="*/ 4839 w 9907"/>
              <a:gd name="connsiteY20" fmla="*/ 853 h 10000"/>
              <a:gd name="connsiteX21" fmla="*/ 4469 w 9907"/>
              <a:gd name="connsiteY21" fmla="*/ 1240 h 10000"/>
              <a:gd name="connsiteX22" fmla="*/ 4331 w 9907"/>
              <a:gd name="connsiteY22" fmla="*/ 1551 h 10000"/>
              <a:gd name="connsiteX23" fmla="*/ 4378 w 9907"/>
              <a:gd name="connsiteY23" fmla="*/ 1938 h 10000"/>
              <a:gd name="connsiteX24" fmla="*/ 3870 w 9907"/>
              <a:gd name="connsiteY24" fmla="*/ 2093 h 10000"/>
              <a:gd name="connsiteX25" fmla="*/ 3918 w 9907"/>
              <a:gd name="connsiteY25" fmla="*/ 2559 h 10000"/>
              <a:gd name="connsiteX26" fmla="*/ 4057 w 9907"/>
              <a:gd name="connsiteY26" fmla="*/ 2791 h 10000"/>
              <a:gd name="connsiteX27" fmla="*/ 3964 w 9907"/>
              <a:gd name="connsiteY27" fmla="*/ 2868 h 10000"/>
              <a:gd name="connsiteX28" fmla="*/ 3825 w 9907"/>
              <a:gd name="connsiteY28" fmla="*/ 2559 h 10000"/>
              <a:gd name="connsiteX29" fmla="*/ 3689 w 9907"/>
              <a:gd name="connsiteY29" fmla="*/ 2480 h 10000"/>
              <a:gd name="connsiteX30" fmla="*/ 3640 w 9907"/>
              <a:gd name="connsiteY30" fmla="*/ 2559 h 10000"/>
              <a:gd name="connsiteX31" fmla="*/ 3548 w 9907"/>
              <a:gd name="connsiteY31" fmla="*/ 2403 h 10000"/>
              <a:gd name="connsiteX32" fmla="*/ 3456 w 9907"/>
              <a:gd name="connsiteY32" fmla="*/ 2248 h 10000"/>
              <a:gd name="connsiteX33" fmla="*/ 3456 w 9907"/>
              <a:gd name="connsiteY33" fmla="*/ 2325 h 10000"/>
              <a:gd name="connsiteX34" fmla="*/ 3505 w 9907"/>
              <a:gd name="connsiteY34" fmla="*/ 2559 h 10000"/>
              <a:gd name="connsiteX35" fmla="*/ 3363 w 9907"/>
              <a:gd name="connsiteY35" fmla="*/ 2946 h 10000"/>
              <a:gd name="connsiteX36" fmla="*/ 3456 w 9907"/>
              <a:gd name="connsiteY36" fmla="*/ 3256 h 10000"/>
              <a:gd name="connsiteX37" fmla="*/ 3407 w 9907"/>
              <a:gd name="connsiteY37" fmla="*/ 3566 h 10000"/>
              <a:gd name="connsiteX38" fmla="*/ 3407 w 9907"/>
              <a:gd name="connsiteY38" fmla="*/ 3799 h 10000"/>
              <a:gd name="connsiteX39" fmla="*/ 3548 w 9907"/>
              <a:gd name="connsiteY39" fmla="*/ 3799 h 10000"/>
              <a:gd name="connsiteX40" fmla="*/ 3456 w 9907"/>
              <a:gd name="connsiteY40" fmla="*/ 3876 h 10000"/>
              <a:gd name="connsiteX41" fmla="*/ 3505 w 9907"/>
              <a:gd name="connsiteY41" fmla="*/ 4263 h 10000"/>
              <a:gd name="connsiteX42" fmla="*/ 3226 w 9907"/>
              <a:gd name="connsiteY42" fmla="*/ 4652 h 10000"/>
              <a:gd name="connsiteX43" fmla="*/ 3178 w 9907"/>
              <a:gd name="connsiteY43" fmla="*/ 4574 h 10000"/>
              <a:gd name="connsiteX44" fmla="*/ 3363 w 9907"/>
              <a:gd name="connsiteY44" fmla="*/ 4186 h 10000"/>
              <a:gd name="connsiteX45" fmla="*/ 3407 w 9907"/>
              <a:gd name="connsiteY45" fmla="*/ 3954 h 10000"/>
              <a:gd name="connsiteX46" fmla="*/ 3312 w 9907"/>
              <a:gd name="connsiteY46" fmla="*/ 3799 h 10000"/>
              <a:gd name="connsiteX47" fmla="*/ 3312 w 9907"/>
              <a:gd name="connsiteY47" fmla="*/ 3023 h 10000"/>
              <a:gd name="connsiteX48" fmla="*/ 3272 w 9907"/>
              <a:gd name="connsiteY48" fmla="*/ 2868 h 10000"/>
              <a:gd name="connsiteX49" fmla="*/ 3312 w 9907"/>
              <a:gd name="connsiteY49" fmla="*/ 2403 h 10000"/>
              <a:gd name="connsiteX50" fmla="*/ 3226 w 9907"/>
              <a:gd name="connsiteY50" fmla="*/ 2325 h 10000"/>
              <a:gd name="connsiteX51" fmla="*/ 3272 w 9907"/>
              <a:gd name="connsiteY51" fmla="*/ 2248 h 10000"/>
              <a:gd name="connsiteX52" fmla="*/ 3226 w 9907"/>
              <a:gd name="connsiteY52" fmla="*/ 2093 h 10000"/>
              <a:gd name="connsiteX53" fmla="*/ 3130 w 9907"/>
              <a:gd name="connsiteY53" fmla="*/ 2170 h 10000"/>
              <a:gd name="connsiteX54" fmla="*/ 2902 w 9907"/>
              <a:gd name="connsiteY54" fmla="*/ 3178 h 10000"/>
              <a:gd name="connsiteX55" fmla="*/ 2902 w 9907"/>
              <a:gd name="connsiteY55" fmla="*/ 3566 h 10000"/>
              <a:gd name="connsiteX56" fmla="*/ 3040 w 9907"/>
              <a:gd name="connsiteY56" fmla="*/ 3876 h 10000"/>
              <a:gd name="connsiteX57" fmla="*/ 3040 w 9907"/>
              <a:gd name="connsiteY57" fmla="*/ 4031 h 10000"/>
              <a:gd name="connsiteX58" fmla="*/ 2902 w 9907"/>
              <a:gd name="connsiteY58" fmla="*/ 3876 h 10000"/>
              <a:gd name="connsiteX59" fmla="*/ 2352 w 9907"/>
              <a:gd name="connsiteY59" fmla="*/ 3256 h 10000"/>
              <a:gd name="connsiteX60" fmla="*/ 2304 w 9907"/>
              <a:gd name="connsiteY60" fmla="*/ 3411 h 10000"/>
              <a:gd name="connsiteX61" fmla="*/ 2489 w 9907"/>
              <a:gd name="connsiteY61" fmla="*/ 3799 h 10000"/>
              <a:gd name="connsiteX62" fmla="*/ 2395 w 9907"/>
              <a:gd name="connsiteY62" fmla="*/ 3876 h 10000"/>
              <a:gd name="connsiteX63" fmla="*/ 2352 w 9907"/>
              <a:gd name="connsiteY63" fmla="*/ 3799 h 10000"/>
              <a:gd name="connsiteX64" fmla="*/ 2075 w 9907"/>
              <a:gd name="connsiteY64" fmla="*/ 3954 h 10000"/>
              <a:gd name="connsiteX65" fmla="*/ 2029 w 9907"/>
              <a:gd name="connsiteY65" fmla="*/ 4109 h 10000"/>
              <a:gd name="connsiteX66" fmla="*/ 1982 w 9907"/>
              <a:gd name="connsiteY66" fmla="*/ 3954 h 10000"/>
              <a:gd name="connsiteX67" fmla="*/ 1982 w 9907"/>
              <a:gd name="connsiteY67" fmla="*/ 3799 h 10000"/>
              <a:gd name="connsiteX68" fmla="*/ 1519 w 9907"/>
              <a:gd name="connsiteY68" fmla="*/ 4263 h 10000"/>
              <a:gd name="connsiteX69" fmla="*/ 1519 w 9907"/>
              <a:gd name="connsiteY69" fmla="*/ 4418 h 10000"/>
              <a:gd name="connsiteX70" fmla="*/ 1431 w 9907"/>
              <a:gd name="connsiteY70" fmla="*/ 4496 h 10000"/>
              <a:gd name="connsiteX71" fmla="*/ 1289 w 9907"/>
              <a:gd name="connsiteY71" fmla="*/ 4341 h 10000"/>
              <a:gd name="connsiteX72" fmla="*/ 1431 w 9907"/>
              <a:gd name="connsiteY72" fmla="*/ 4186 h 10000"/>
              <a:gd name="connsiteX73" fmla="*/ 1383 w 9907"/>
              <a:gd name="connsiteY73" fmla="*/ 3954 h 10000"/>
              <a:gd name="connsiteX74" fmla="*/ 1199 w 9907"/>
              <a:gd name="connsiteY74" fmla="*/ 3876 h 10000"/>
              <a:gd name="connsiteX75" fmla="*/ 1246 w 9907"/>
              <a:gd name="connsiteY75" fmla="*/ 4031 h 10000"/>
              <a:gd name="connsiteX76" fmla="*/ 1246 w 9907"/>
              <a:gd name="connsiteY76" fmla="*/ 4418 h 10000"/>
              <a:gd name="connsiteX77" fmla="*/ 1289 w 9907"/>
              <a:gd name="connsiteY77" fmla="*/ 4574 h 10000"/>
              <a:gd name="connsiteX78" fmla="*/ 1246 w 9907"/>
              <a:gd name="connsiteY78" fmla="*/ 4729 h 10000"/>
              <a:gd name="connsiteX79" fmla="*/ 1105 w 9907"/>
              <a:gd name="connsiteY79" fmla="*/ 4652 h 10000"/>
              <a:gd name="connsiteX80" fmla="*/ 921 w 9907"/>
              <a:gd name="connsiteY80" fmla="*/ 4884 h 10000"/>
              <a:gd name="connsiteX81" fmla="*/ 1012 w 9907"/>
              <a:gd name="connsiteY81" fmla="*/ 5194 h 10000"/>
              <a:gd name="connsiteX82" fmla="*/ 736 w 9907"/>
              <a:gd name="connsiteY82" fmla="*/ 5039 h 10000"/>
              <a:gd name="connsiteX83" fmla="*/ 691 w 9907"/>
              <a:gd name="connsiteY83" fmla="*/ 5116 h 10000"/>
              <a:gd name="connsiteX84" fmla="*/ 784 w 9907"/>
              <a:gd name="connsiteY84" fmla="*/ 5349 h 10000"/>
              <a:gd name="connsiteX85" fmla="*/ 691 w 9907"/>
              <a:gd name="connsiteY85" fmla="*/ 5349 h 10000"/>
              <a:gd name="connsiteX86" fmla="*/ 554 w 9907"/>
              <a:gd name="connsiteY86" fmla="*/ 5194 h 10000"/>
              <a:gd name="connsiteX87" fmla="*/ 554 w 9907"/>
              <a:gd name="connsiteY87" fmla="*/ 4729 h 10000"/>
              <a:gd name="connsiteX88" fmla="*/ 418 w 9907"/>
              <a:gd name="connsiteY88" fmla="*/ 4574 h 10000"/>
              <a:gd name="connsiteX89" fmla="*/ 369 w 9907"/>
              <a:gd name="connsiteY89" fmla="*/ 4418 h 10000"/>
              <a:gd name="connsiteX90" fmla="*/ 461 w 9907"/>
              <a:gd name="connsiteY90" fmla="*/ 4496 h 10000"/>
              <a:gd name="connsiteX91" fmla="*/ 828 w 9907"/>
              <a:gd name="connsiteY91" fmla="*/ 4729 h 10000"/>
              <a:gd name="connsiteX92" fmla="*/ 1057 w 9907"/>
              <a:gd name="connsiteY92" fmla="*/ 4496 h 10000"/>
              <a:gd name="connsiteX93" fmla="*/ 1012 w 9907"/>
              <a:gd name="connsiteY93" fmla="*/ 4263 h 10000"/>
              <a:gd name="connsiteX94" fmla="*/ 736 w 9907"/>
              <a:gd name="connsiteY94" fmla="*/ 3799 h 10000"/>
              <a:gd name="connsiteX95" fmla="*/ 461 w 9907"/>
              <a:gd name="connsiteY95" fmla="*/ 3644 h 10000"/>
              <a:gd name="connsiteX96" fmla="*/ 461 w 9907"/>
              <a:gd name="connsiteY96" fmla="*/ 3566 h 10000"/>
              <a:gd name="connsiteX97" fmla="*/ 369 w 9907"/>
              <a:gd name="connsiteY97" fmla="*/ 3488 h 10000"/>
              <a:gd name="connsiteX98" fmla="*/ 274 w 9907"/>
              <a:gd name="connsiteY98" fmla="*/ 3566 h 10000"/>
              <a:gd name="connsiteX99" fmla="*/ 274 w 9907"/>
              <a:gd name="connsiteY99" fmla="*/ 3644 h 10000"/>
              <a:gd name="connsiteX100" fmla="*/ 231 w 9907"/>
              <a:gd name="connsiteY100" fmla="*/ 3644 h 10000"/>
              <a:gd name="connsiteX101" fmla="*/ 138 w 9907"/>
              <a:gd name="connsiteY101" fmla="*/ 3799 h 10000"/>
              <a:gd name="connsiteX102" fmla="*/ 138 w 9907"/>
              <a:gd name="connsiteY102" fmla="*/ 4031 h 10000"/>
              <a:gd name="connsiteX103" fmla="*/ 231 w 9907"/>
              <a:gd name="connsiteY103" fmla="*/ 4186 h 10000"/>
              <a:gd name="connsiteX104" fmla="*/ 184 w 9907"/>
              <a:gd name="connsiteY104" fmla="*/ 4418 h 10000"/>
              <a:gd name="connsiteX105" fmla="*/ 231 w 9907"/>
              <a:gd name="connsiteY105" fmla="*/ 4807 h 10000"/>
              <a:gd name="connsiteX106" fmla="*/ 184 w 9907"/>
              <a:gd name="connsiteY106" fmla="*/ 5039 h 10000"/>
              <a:gd name="connsiteX107" fmla="*/ 274 w 9907"/>
              <a:gd name="connsiteY107" fmla="*/ 5271 h 10000"/>
              <a:gd name="connsiteX108" fmla="*/ 231 w 9907"/>
              <a:gd name="connsiteY108" fmla="*/ 5426 h 10000"/>
              <a:gd name="connsiteX109" fmla="*/ 321 w 9907"/>
              <a:gd name="connsiteY109" fmla="*/ 5582 h 10000"/>
              <a:gd name="connsiteX110" fmla="*/ 321 w 9907"/>
              <a:gd name="connsiteY110" fmla="*/ 5659 h 10000"/>
              <a:gd name="connsiteX111" fmla="*/ 184 w 9907"/>
              <a:gd name="connsiteY111" fmla="*/ 6047 h 10000"/>
              <a:gd name="connsiteX112" fmla="*/ 43 w 9907"/>
              <a:gd name="connsiteY112" fmla="*/ 6202 h 10000"/>
              <a:gd name="connsiteX113" fmla="*/ 91 w 9907"/>
              <a:gd name="connsiteY113" fmla="*/ 6202 h 10000"/>
              <a:gd name="connsiteX114" fmla="*/ 184 w 9907"/>
              <a:gd name="connsiteY114" fmla="*/ 6356 h 10000"/>
              <a:gd name="connsiteX115" fmla="*/ 91 w 9907"/>
              <a:gd name="connsiteY115" fmla="*/ 6512 h 10000"/>
              <a:gd name="connsiteX116" fmla="*/ 43 w 9907"/>
              <a:gd name="connsiteY116" fmla="*/ 6590 h 10000"/>
              <a:gd name="connsiteX117" fmla="*/ 0 w 9907"/>
              <a:gd name="connsiteY117" fmla="*/ 6590 h 10000"/>
              <a:gd name="connsiteX118" fmla="*/ 43 w 9907"/>
              <a:gd name="connsiteY118" fmla="*/ 6822 h 10000"/>
              <a:gd name="connsiteX119" fmla="*/ 43 w 9907"/>
              <a:gd name="connsiteY119" fmla="*/ 6900 h 10000"/>
              <a:gd name="connsiteX120" fmla="*/ 43 w 9907"/>
              <a:gd name="connsiteY120" fmla="*/ 6977 h 10000"/>
              <a:gd name="connsiteX121" fmla="*/ 43 w 9907"/>
              <a:gd name="connsiteY121" fmla="*/ 7054 h 10000"/>
              <a:gd name="connsiteX122" fmla="*/ 91 w 9907"/>
              <a:gd name="connsiteY122" fmla="*/ 7209 h 10000"/>
              <a:gd name="connsiteX123" fmla="*/ 231 w 9907"/>
              <a:gd name="connsiteY123" fmla="*/ 7287 h 10000"/>
              <a:gd name="connsiteX124" fmla="*/ 274 w 9907"/>
              <a:gd name="connsiteY124" fmla="*/ 7364 h 10000"/>
              <a:gd name="connsiteX125" fmla="*/ 274 w 9907"/>
              <a:gd name="connsiteY125" fmla="*/ 7520 h 10000"/>
              <a:gd name="connsiteX126" fmla="*/ 369 w 9907"/>
              <a:gd name="connsiteY126" fmla="*/ 7752 h 10000"/>
              <a:gd name="connsiteX127" fmla="*/ 418 w 9907"/>
              <a:gd name="connsiteY127" fmla="*/ 7752 h 10000"/>
              <a:gd name="connsiteX128" fmla="*/ 369 w 9907"/>
              <a:gd name="connsiteY128" fmla="*/ 7907 h 10000"/>
              <a:gd name="connsiteX129" fmla="*/ 321 w 9907"/>
              <a:gd name="connsiteY129" fmla="*/ 7830 h 10000"/>
              <a:gd name="connsiteX130" fmla="*/ 321 w 9907"/>
              <a:gd name="connsiteY130" fmla="*/ 7907 h 10000"/>
              <a:gd name="connsiteX131" fmla="*/ 369 w 9907"/>
              <a:gd name="connsiteY131" fmla="*/ 8062 h 10000"/>
              <a:gd name="connsiteX132" fmla="*/ 508 w 9907"/>
              <a:gd name="connsiteY132" fmla="*/ 8062 h 10000"/>
              <a:gd name="connsiteX133" fmla="*/ 554 w 9907"/>
              <a:gd name="connsiteY133" fmla="*/ 8140 h 10000"/>
              <a:gd name="connsiteX134" fmla="*/ 508 w 9907"/>
              <a:gd name="connsiteY134" fmla="*/ 8140 h 10000"/>
              <a:gd name="connsiteX135" fmla="*/ 554 w 9907"/>
              <a:gd name="connsiteY135" fmla="*/ 8217 h 10000"/>
              <a:gd name="connsiteX136" fmla="*/ 598 w 9907"/>
              <a:gd name="connsiteY136" fmla="*/ 8217 h 10000"/>
              <a:gd name="connsiteX137" fmla="*/ 645 w 9907"/>
              <a:gd name="connsiteY137" fmla="*/ 8372 h 10000"/>
              <a:gd name="connsiteX138" fmla="*/ 691 w 9907"/>
              <a:gd name="connsiteY138" fmla="*/ 8449 h 10000"/>
              <a:gd name="connsiteX139" fmla="*/ 736 w 9907"/>
              <a:gd name="connsiteY139" fmla="*/ 8372 h 10000"/>
              <a:gd name="connsiteX140" fmla="*/ 969 w 9907"/>
              <a:gd name="connsiteY140" fmla="*/ 8605 h 10000"/>
              <a:gd name="connsiteX141" fmla="*/ 921 w 9907"/>
              <a:gd name="connsiteY141" fmla="*/ 8915 h 10000"/>
              <a:gd name="connsiteX142" fmla="*/ 874 w 9907"/>
              <a:gd name="connsiteY142" fmla="*/ 8838 h 10000"/>
              <a:gd name="connsiteX143" fmla="*/ 828 w 9907"/>
              <a:gd name="connsiteY143" fmla="*/ 8915 h 10000"/>
              <a:gd name="connsiteX144" fmla="*/ 828 w 9907"/>
              <a:gd name="connsiteY144" fmla="*/ 9070 h 10000"/>
              <a:gd name="connsiteX145" fmla="*/ 874 w 9907"/>
              <a:gd name="connsiteY145" fmla="*/ 8993 h 10000"/>
              <a:gd name="connsiteX146" fmla="*/ 921 w 9907"/>
              <a:gd name="connsiteY146" fmla="*/ 9070 h 10000"/>
              <a:gd name="connsiteX147" fmla="*/ 784 w 9907"/>
              <a:gd name="connsiteY147" fmla="*/ 9147 h 10000"/>
              <a:gd name="connsiteX148" fmla="*/ 828 w 9907"/>
              <a:gd name="connsiteY148" fmla="*/ 9225 h 10000"/>
              <a:gd name="connsiteX149" fmla="*/ 736 w 9907"/>
              <a:gd name="connsiteY149" fmla="*/ 9380 h 10000"/>
              <a:gd name="connsiteX150" fmla="*/ 691 w 9907"/>
              <a:gd name="connsiteY150" fmla="*/ 9380 h 10000"/>
              <a:gd name="connsiteX151" fmla="*/ 736 w 9907"/>
              <a:gd name="connsiteY151" fmla="*/ 9380 h 10000"/>
              <a:gd name="connsiteX152" fmla="*/ 921 w 9907"/>
              <a:gd name="connsiteY152" fmla="*/ 9691 h 10000"/>
              <a:gd name="connsiteX153" fmla="*/ 1153 w 9907"/>
              <a:gd name="connsiteY153" fmla="*/ 9691 h 10000"/>
              <a:gd name="connsiteX154" fmla="*/ 1246 w 9907"/>
              <a:gd name="connsiteY154" fmla="*/ 9768 h 10000"/>
              <a:gd name="connsiteX155" fmla="*/ 1336 w 9907"/>
              <a:gd name="connsiteY155" fmla="*/ 9768 h 10000"/>
              <a:gd name="connsiteX156" fmla="*/ 1431 w 9907"/>
              <a:gd name="connsiteY156" fmla="*/ 9923 h 10000"/>
              <a:gd name="connsiteX157" fmla="*/ 1474 w 9907"/>
              <a:gd name="connsiteY157" fmla="*/ 10000 h 10000"/>
              <a:gd name="connsiteX158" fmla="*/ 1519 w 9907"/>
              <a:gd name="connsiteY158" fmla="*/ 10000 h 10000"/>
              <a:gd name="connsiteX159" fmla="*/ 1568 w 9907"/>
              <a:gd name="connsiteY159" fmla="*/ 9923 h 10000"/>
              <a:gd name="connsiteX160" fmla="*/ 1474 w 9907"/>
              <a:gd name="connsiteY160" fmla="*/ 9768 h 10000"/>
              <a:gd name="connsiteX161" fmla="*/ 1474 w 9907"/>
              <a:gd name="connsiteY161" fmla="*/ 9613 h 10000"/>
              <a:gd name="connsiteX162" fmla="*/ 1431 w 9907"/>
              <a:gd name="connsiteY162" fmla="*/ 9457 h 10000"/>
              <a:gd name="connsiteX163" fmla="*/ 1519 w 9907"/>
              <a:gd name="connsiteY163" fmla="*/ 9225 h 10000"/>
              <a:gd name="connsiteX164" fmla="*/ 1568 w 9907"/>
              <a:gd name="connsiteY164" fmla="*/ 9302 h 10000"/>
              <a:gd name="connsiteX165" fmla="*/ 1613 w 9907"/>
              <a:gd name="connsiteY165" fmla="*/ 9225 h 10000"/>
              <a:gd name="connsiteX166" fmla="*/ 1613 w 9907"/>
              <a:gd name="connsiteY166" fmla="*/ 9147 h 10000"/>
              <a:gd name="connsiteX167" fmla="*/ 1568 w 9907"/>
              <a:gd name="connsiteY167" fmla="*/ 9147 h 10000"/>
              <a:gd name="connsiteX168" fmla="*/ 1613 w 9907"/>
              <a:gd name="connsiteY168" fmla="*/ 9070 h 10000"/>
              <a:gd name="connsiteX169" fmla="*/ 1568 w 9907"/>
              <a:gd name="connsiteY169" fmla="*/ 8915 h 10000"/>
              <a:gd name="connsiteX170" fmla="*/ 1474 w 9907"/>
              <a:gd name="connsiteY170" fmla="*/ 8915 h 10000"/>
              <a:gd name="connsiteX171" fmla="*/ 1431 w 9907"/>
              <a:gd name="connsiteY171" fmla="*/ 8760 h 10000"/>
              <a:gd name="connsiteX172" fmla="*/ 1474 w 9907"/>
              <a:gd name="connsiteY172" fmla="*/ 8372 h 10000"/>
              <a:gd name="connsiteX173" fmla="*/ 1568 w 9907"/>
              <a:gd name="connsiteY173" fmla="*/ 8528 h 10000"/>
              <a:gd name="connsiteX174" fmla="*/ 1613 w 9907"/>
              <a:gd name="connsiteY174" fmla="*/ 8528 h 10000"/>
              <a:gd name="connsiteX175" fmla="*/ 1568 w 9907"/>
              <a:gd name="connsiteY175" fmla="*/ 8372 h 10000"/>
              <a:gd name="connsiteX176" fmla="*/ 1705 w 9907"/>
              <a:gd name="connsiteY176" fmla="*/ 8140 h 10000"/>
              <a:gd name="connsiteX177" fmla="*/ 1800 w 9907"/>
              <a:gd name="connsiteY177" fmla="*/ 8217 h 10000"/>
              <a:gd name="connsiteX178" fmla="*/ 1842 w 9907"/>
              <a:gd name="connsiteY178" fmla="*/ 8140 h 10000"/>
              <a:gd name="connsiteX179" fmla="*/ 1935 w 9907"/>
              <a:gd name="connsiteY179" fmla="*/ 8217 h 10000"/>
              <a:gd name="connsiteX180" fmla="*/ 2075 w 9907"/>
              <a:gd name="connsiteY180" fmla="*/ 8372 h 10000"/>
              <a:gd name="connsiteX181" fmla="*/ 2166 w 9907"/>
              <a:gd name="connsiteY181" fmla="*/ 8295 h 10000"/>
              <a:gd name="connsiteX182" fmla="*/ 2259 w 9907"/>
              <a:gd name="connsiteY182" fmla="*/ 8295 h 10000"/>
              <a:gd name="connsiteX183" fmla="*/ 2304 w 9907"/>
              <a:gd name="connsiteY183" fmla="*/ 8372 h 10000"/>
              <a:gd name="connsiteX184" fmla="*/ 2489 w 9907"/>
              <a:gd name="connsiteY184" fmla="*/ 8372 h 10000"/>
              <a:gd name="connsiteX185" fmla="*/ 2533 w 9907"/>
              <a:gd name="connsiteY185" fmla="*/ 8217 h 10000"/>
              <a:gd name="connsiteX186" fmla="*/ 2395 w 9907"/>
              <a:gd name="connsiteY186" fmla="*/ 8140 h 10000"/>
              <a:gd name="connsiteX187" fmla="*/ 2489 w 9907"/>
              <a:gd name="connsiteY187" fmla="*/ 8062 h 10000"/>
              <a:gd name="connsiteX188" fmla="*/ 2440 w 9907"/>
              <a:gd name="connsiteY188" fmla="*/ 7985 h 10000"/>
              <a:gd name="connsiteX189" fmla="*/ 2489 w 9907"/>
              <a:gd name="connsiteY189" fmla="*/ 7907 h 10000"/>
              <a:gd name="connsiteX190" fmla="*/ 2489 w 9907"/>
              <a:gd name="connsiteY190" fmla="*/ 7675 h 10000"/>
              <a:gd name="connsiteX191" fmla="*/ 2579 w 9907"/>
              <a:gd name="connsiteY191" fmla="*/ 7752 h 10000"/>
              <a:gd name="connsiteX192" fmla="*/ 2996 w 9907"/>
              <a:gd name="connsiteY192" fmla="*/ 7520 h 10000"/>
              <a:gd name="connsiteX193" fmla="*/ 2996 w 9907"/>
              <a:gd name="connsiteY193" fmla="*/ 7442 h 10000"/>
              <a:gd name="connsiteX194" fmla="*/ 3040 w 9907"/>
              <a:gd name="connsiteY194" fmla="*/ 7442 h 10000"/>
              <a:gd name="connsiteX195" fmla="*/ 3178 w 9907"/>
              <a:gd name="connsiteY195" fmla="*/ 7442 h 10000"/>
              <a:gd name="connsiteX196" fmla="*/ 3226 w 9907"/>
              <a:gd name="connsiteY196" fmla="*/ 7598 h 10000"/>
              <a:gd name="connsiteX197" fmla="*/ 3226 w 9907"/>
              <a:gd name="connsiteY197" fmla="*/ 7675 h 10000"/>
              <a:gd name="connsiteX198" fmla="*/ 3272 w 9907"/>
              <a:gd name="connsiteY198" fmla="*/ 7675 h 10000"/>
              <a:gd name="connsiteX199" fmla="*/ 3363 w 9907"/>
              <a:gd name="connsiteY199" fmla="*/ 7752 h 10000"/>
              <a:gd name="connsiteX200" fmla="*/ 3363 w 9907"/>
              <a:gd name="connsiteY200" fmla="*/ 7830 h 10000"/>
              <a:gd name="connsiteX201" fmla="*/ 3456 w 9907"/>
              <a:gd name="connsiteY201" fmla="*/ 7830 h 10000"/>
              <a:gd name="connsiteX202" fmla="*/ 3548 w 9907"/>
              <a:gd name="connsiteY202" fmla="*/ 7675 h 10000"/>
              <a:gd name="connsiteX203" fmla="*/ 3640 w 9907"/>
              <a:gd name="connsiteY203" fmla="*/ 7598 h 10000"/>
              <a:gd name="connsiteX204" fmla="*/ 3689 w 9907"/>
              <a:gd name="connsiteY204" fmla="*/ 7830 h 10000"/>
              <a:gd name="connsiteX205" fmla="*/ 3870 w 9907"/>
              <a:gd name="connsiteY205" fmla="*/ 8372 h 10000"/>
              <a:gd name="connsiteX206" fmla="*/ 3918 w 9907"/>
              <a:gd name="connsiteY206" fmla="*/ 8217 h 10000"/>
              <a:gd name="connsiteX207" fmla="*/ 3964 w 9907"/>
              <a:gd name="connsiteY207" fmla="*/ 8372 h 10000"/>
              <a:gd name="connsiteX208" fmla="*/ 4101 w 9907"/>
              <a:gd name="connsiteY208" fmla="*/ 8295 h 10000"/>
              <a:gd name="connsiteX209" fmla="*/ 4241 w 9907"/>
              <a:gd name="connsiteY209" fmla="*/ 8528 h 10000"/>
              <a:gd name="connsiteX210" fmla="*/ 4331 w 9907"/>
              <a:gd name="connsiteY210" fmla="*/ 8605 h 10000"/>
              <a:gd name="connsiteX211" fmla="*/ 4331 w 9907"/>
              <a:gd name="connsiteY211" fmla="*/ 8528 h 10000"/>
              <a:gd name="connsiteX212" fmla="*/ 4378 w 9907"/>
              <a:gd name="connsiteY212" fmla="*/ 8683 h 10000"/>
              <a:gd name="connsiteX213" fmla="*/ 4331 w 9907"/>
              <a:gd name="connsiteY213" fmla="*/ 8760 h 10000"/>
              <a:gd name="connsiteX214" fmla="*/ 4425 w 9907"/>
              <a:gd name="connsiteY214" fmla="*/ 8683 h 10000"/>
              <a:gd name="connsiteX215" fmla="*/ 4469 w 9907"/>
              <a:gd name="connsiteY215" fmla="*/ 8605 h 10000"/>
              <a:gd name="connsiteX216" fmla="*/ 4700 w 9907"/>
              <a:gd name="connsiteY216" fmla="*/ 8372 h 10000"/>
              <a:gd name="connsiteX217" fmla="*/ 4884 w 9907"/>
              <a:gd name="connsiteY217" fmla="*/ 8449 h 10000"/>
              <a:gd name="connsiteX218" fmla="*/ 4975 w 9907"/>
              <a:gd name="connsiteY218" fmla="*/ 8528 h 10000"/>
              <a:gd name="connsiteX219" fmla="*/ 5159 w 9907"/>
              <a:gd name="connsiteY219" fmla="*/ 8528 h 10000"/>
              <a:gd name="connsiteX220" fmla="*/ 5159 w 9907"/>
              <a:gd name="connsiteY220" fmla="*/ 8372 h 10000"/>
              <a:gd name="connsiteX221" fmla="*/ 5159 w 9907"/>
              <a:gd name="connsiteY221" fmla="*/ 8217 h 10000"/>
              <a:gd name="connsiteX222" fmla="*/ 5252 w 9907"/>
              <a:gd name="connsiteY222" fmla="*/ 8140 h 10000"/>
              <a:gd name="connsiteX223" fmla="*/ 5436 w 9907"/>
              <a:gd name="connsiteY223" fmla="*/ 8217 h 10000"/>
              <a:gd name="connsiteX224" fmla="*/ 5528 w 9907"/>
              <a:gd name="connsiteY224" fmla="*/ 8449 h 10000"/>
              <a:gd name="connsiteX225" fmla="*/ 5576 w 9907"/>
              <a:gd name="connsiteY225" fmla="*/ 8449 h 10000"/>
              <a:gd name="connsiteX226" fmla="*/ 5668 w 9907"/>
              <a:gd name="connsiteY226" fmla="*/ 8372 h 10000"/>
              <a:gd name="connsiteX227" fmla="*/ 5947 w 9907"/>
              <a:gd name="connsiteY227" fmla="*/ 8605 h 10000"/>
              <a:gd name="connsiteX228" fmla="*/ 6084 w 9907"/>
              <a:gd name="connsiteY228" fmla="*/ 8683 h 10000"/>
              <a:gd name="connsiteX229" fmla="*/ 6268 w 9907"/>
              <a:gd name="connsiteY229" fmla="*/ 8605 h 10000"/>
              <a:gd name="connsiteX230" fmla="*/ 6358 w 9907"/>
              <a:gd name="connsiteY230" fmla="*/ 8449 h 10000"/>
              <a:gd name="connsiteX231" fmla="*/ 6497 w 9907"/>
              <a:gd name="connsiteY231" fmla="*/ 8528 h 10000"/>
              <a:gd name="connsiteX232" fmla="*/ 6589 w 9907"/>
              <a:gd name="connsiteY232" fmla="*/ 8605 h 10000"/>
              <a:gd name="connsiteX233" fmla="*/ 8156 w 9907"/>
              <a:gd name="connsiteY233" fmla="*/ 7675 h 10000"/>
              <a:gd name="connsiteX234" fmla="*/ 8064 w 9907"/>
              <a:gd name="connsiteY234" fmla="*/ 7675 h 10000"/>
              <a:gd name="connsiteX235" fmla="*/ 8019 w 9907"/>
              <a:gd name="connsiteY235" fmla="*/ 7675 h 10000"/>
              <a:gd name="connsiteX236" fmla="*/ 7971 w 9907"/>
              <a:gd name="connsiteY236" fmla="*/ 7598 h 10000"/>
              <a:gd name="connsiteX237" fmla="*/ 7881 w 9907"/>
              <a:gd name="connsiteY237" fmla="*/ 7598 h 10000"/>
              <a:gd name="connsiteX238" fmla="*/ 7881 w 9907"/>
              <a:gd name="connsiteY238" fmla="*/ 7520 h 10000"/>
              <a:gd name="connsiteX239" fmla="*/ 8019 w 9907"/>
              <a:gd name="connsiteY239" fmla="*/ 7287 h 10000"/>
              <a:gd name="connsiteX240" fmla="*/ 8437 w 9907"/>
              <a:gd name="connsiteY240" fmla="*/ 6590 h 10000"/>
              <a:gd name="connsiteX241" fmla="*/ 8617 w 9907"/>
              <a:gd name="connsiteY241" fmla="*/ 6512 h 10000"/>
              <a:gd name="connsiteX242" fmla="*/ 8662 w 9907"/>
              <a:gd name="connsiteY242" fmla="*/ 6590 h 10000"/>
              <a:gd name="connsiteX243" fmla="*/ 8710 w 9907"/>
              <a:gd name="connsiteY243" fmla="*/ 6512 h 10000"/>
              <a:gd name="connsiteX244" fmla="*/ 8845 w 9907"/>
              <a:gd name="connsiteY244" fmla="*/ 6590 h 10000"/>
              <a:gd name="connsiteX245" fmla="*/ 8897 w 9907"/>
              <a:gd name="connsiteY245" fmla="*/ 6434 h 10000"/>
              <a:gd name="connsiteX246" fmla="*/ 9031 w 9907"/>
              <a:gd name="connsiteY246" fmla="*/ 6512 h 10000"/>
              <a:gd name="connsiteX247" fmla="*/ 9076 w 9907"/>
              <a:gd name="connsiteY247" fmla="*/ 6512 h 10000"/>
              <a:gd name="connsiteX248" fmla="*/ 9031 w 9907"/>
              <a:gd name="connsiteY248" fmla="*/ 6590 h 10000"/>
              <a:gd name="connsiteX249" fmla="*/ 9031 w 9907"/>
              <a:gd name="connsiteY249" fmla="*/ 6667 h 10000"/>
              <a:gd name="connsiteX250" fmla="*/ 9306 w 9907"/>
              <a:gd name="connsiteY250" fmla="*/ 6590 h 10000"/>
              <a:gd name="connsiteX251" fmla="*/ 9261 w 9907"/>
              <a:gd name="connsiteY251" fmla="*/ 6512 h 10000"/>
              <a:gd name="connsiteX252" fmla="*/ 9448 w 9907"/>
              <a:gd name="connsiteY252" fmla="*/ 5969 h 10000"/>
              <a:gd name="connsiteX253" fmla="*/ 9675 w 9907"/>
              <a:gd name="connsiteY253" fmla="*/ 5892 h 10000"/>
              <a:gd name="connsiteX254" fmla="*/ 9675 w 9907"/>
              <a:gd name="connsiteY254" fmla="*/ 6047 h 10000"/>
              <a:gd name="connsiteX255" fmla="*/ 9675 w 9907"/>
              <a:gd name="connsiteY255" fmla="*/ 6202 h 10000"/>
              <a:gd name="connsiteX256" fmla="*/ 9907 w 9907"/>
              <a:gd name="connsiteY256" fmla="*/ 6590 h 10000"/>
              <a:gd name="connsiteX257" fmla="*/ 9907 w 9907"/>
              <a:gd name="connsiteY257" fmla="*/ 6434 h 10000"/>
              <a:gd name="connsiteX258" fmla="*/ 9724 w 9907"/>
              <a:gd name="connsiteY258" fmla="*/ 3566 h 10000"/>
              <a:gd name="connsiteX259" fmla="*/ 9630 w 9907"/>
              <a:gd name="connsiteY259" fmla="*/ 3488 h 10000"/>
              <a:gd name="connsiteX260" fmla="*/ 9675 w 9907"/>
              <a:gd name="connsiteY260" fmla="*/ 3333 h 10000"/>
              <a:gd name="connsiteX261" fmla="*/ 9583 w 9907"/>
              <a:gd name="connsiteY261" fmla="*/ 3101 h 10000"/>
              <a:gd name="connsiteX262" fmla="*/ 9398 w 9907"/>
              <a:gd name="connsiteY262" fmla="*/ 3023 h 10000"/>
              <a:gd name="connsiteX263" fmla="*/ 9125 w 9907"/>
              <a:gd name="connsiteY263" fmla="*/ 3178 h 10000"/>
              <a:gd name="connsiteX264" fmla="*/ 9076 w 9907"/>
              <a:gd name="connsiteY264" fmla="*/ 2946 h 10000"/>
              <a:gd name="connsiteX265" fmla="*/ 8986 w 9907"/>
              <a:gd name="connsiteY265" fmla="*/ 2946 h 10000"/>
              <a:gd name="connsiteX266" fmla="*/ 8939 w 9907"/>
              <a:gd name="connsiteY266" fmla="*/ 2868 h 10000"/>
              <a:gd name="connsiteX267" fmla="*/ 8939 w 9907"/>
              <a:gd name="connsiteY267" fmla="*/ 2636 h 10000"/>
              <a:gd name="connsiteX268" fmla="*/ 8617 w 9907"/>
              <a:gd name="connsiteY268" fmla="*/ 2480 h 10000"/>
              <a:gd name="connsiteX269" fmla="*/ 8249 w 9907"/>
              <a:gd name="connsiteY269" fmla="*/ 2325 h 10000"/>
              <a:gd name="connsiteX270" fmla="*/ 8156 w 9907"/>
              <a:gd name="connsiteY270" fmla="*/ 2636 h 10000"/>
              <a:gd name="connsiteX271" fmla="*/ 8249 w 9907"/>
              <a:gd name="connsiteY271" fmla="*/ 2868 h 10000"/>
              <a:gd name="connsiteX272" fmla="*/ 7971 w 9907"/>
              <a:gd name="connsiteY272" fmla="*/ 2868 h 10000"/>
              <a:gd name="connsiteX273" fmla="*/ 7925 w 9907"/>
              <a:gd name="connsiteY273" fmla="*/ 2868 h 10000"/>
              <a:gd name="connsiteX274" fmla="*/ 7832 w 9907"/>
              <a:gd name="connsiteY274" fmla="*/ 2946 h 10000"/>
              <a:gd name="connsiteX275" fmla="*/ 7695 w 9907"/>
              <a:gd name="connsiteY275" fmla="*/ 2714 h 10000"/>
              <a:gd name="connsiteX276" fmla="*/ 7601 w 9907"/>
              <a:gd name="connsiteY276" fmla="*/ 3178 h 10000"/>
              <a:gd name="connsiteX277" fmla="*/ 7513 w 9907"/>
              <a:gd name="connsiteY277" fmla="*/ 3101 h 10000"/>
              <a:gd name="connsiteX278" fmla="*/ 7418 w 9907"/>
              <a:gd name="connsiteY278" fmla="*/ 2791 h 10000"/>
              <a:gd name="connsiteX279" fmla="*/ 7466 w 9907"/>
              <a:gd name="connsiteY279" fmla="*/ 2403 h 10000"/>
              <a:gd name="connsiteX280" fmla="*/ 7373 w 9907"/>
              <a:gd name="connsiteY280" fmla="*/ 2170 h 10000"/>
              <a:gd name="connsiteX281" fmla="*/ 7096 w 9907"/>
              <a:gd name="connsiteY281" fmla="*/ 2016 h 10000"/>
              <a:gd name="connsiteX282" fmla="*/ 7002 w 9907"/>
              <a:gd name="connsiteY282" fmla="*/ 2016 h 10000"/>
              <a:gd name="connsiteX283" fmla="*/ 6958 w 9907"/>
              <a:gd name="connsiteY283" fmla="*/ 2170 h 10000"/>
              <a:gd name="connsiteX284" fmla="*/ 7002 w 9907"/>
              <a:gd name="connsiteY284" fmla="*/ 2325 h 10000"/>
              <a:gd name="connsiteX285" fmla="*/ 6639 w 9907"/>
              <a:gd name="connsiteY285" fmla="*/ 2248 h 10000"/>
              <a:gd name="connsiteX286" fmla="*/ 6681 w 9907"/>
              <a:gd name="connsiteY286" fmla="*/ 2016 h 10000"/>
              <a:gd name="connsiteX287" fmla="*/ 6452 w 9907"/>
              <a:gd name="connsiteY287" fmla="*/ 1938 h 10000"/>
              <a:gd name="connsiteX288" fmla="*/ 6313 w 9907"/>
              <a:gd name="connsiteY288" fmla="*/ 2093 h 10000"/>
              <a:gd name="connsiteX289" fmla="*/ 6043 w 9907"/>
              <a:gd name="connsiteY289" fmla="*/ 1861 h 10000"/>
              <a:gd name="connsiteX0" fmla="*/ 6100 w 10000"/>
              <a:gd name="connsiteY0" fmla="*/ 1861 h 10000"/>
              <a:gd name="connsiteX1" fmla="*/ 6100 w 10000"/>
              <a:gd name="connsiteY1" fmla="*/ 1861 h 10000"/>
              <a:gd name="connsiteX2" fmla="*/ 6046 w 10000"/>
              <a:gd name="connsiteY2" fmla="*/ 1938 h 10000"/>
              <a:gd name="connsiteX3" fmla="*/ 6100 w 10000"/>
              <a:gd name="connsiteY3" fmla="*/ 2093 h 10000"/>
              <a:gd name="connsiteX4" fmla="*/ 5906 w 10000"/>
              <a:gd name="connsiteY4" fmla="*/ 2248 h 10000"/>
              <a:gd name="connsiteX5" fmla="*/ 5858 w 10000"/>
              <a:gd name="connsiteY5" fmla="*/ 2248 h 10000"/>
              <a:gd name="connsiteX6" fmla="*/ 5906 w 10000"/>
              <a:gd name="connsiteY6" fmla="*/ 2016 h 10000"/>
              <a:gd name="connsiteX7" fmla="*/ 6372 w 10000"/>
              <a:gd name="connsiteY7" fmla="*/ 1318 h 10000"/>
              <a:gd name="connsiteX8" fmla="*/ 6372 w 10000"/>
              <a:gd name="connsiteY8" fmla="*/ 853 h 10000"/>
              <a:gd name="connsiteX9" fmla="*/ 6187 w 10000"/>
              <a:gd name="connsiteY9" fmla="*/ 543 h 10000"/>
              <a:gd name="connsiteX10" fmla="*/ 5954 w 10000"/>
              <a:gd name="connsiteY10" fmla="*/ 543 h 10000"/>
              <a:gd name="connsiteX11" fmla="*/ 5954 w 10000"/>
              <a:gd name="connsiteY11" fmla="*/ 698 h 10000"/>
              <a:gd name="connsiteX12" fmla="*/ 5812 w 10000"/>
              <a:gd name="connsiteY12" fmla="*/ 698 h 10000"/>
              <a:gd name="connsiteX13" fmla="*/ 5906 w 10000"/>
              <a:gd name="connsiteY13" fmla="*/ 387 h 10000"/>
              <a:gd name="connsiteX14" fmla="*/ 5676 w 10000"/>
              <a:gd name="connsiteY14" fmla="*/ 310 h 10000"/>
              <a:gd name="connsiteX15" fmla="*/ 5812 w 10000"/>
              <a:gd name="connsiteY15" fmla="*/ 155 h 10000"/>
              <a:gd name="connsiteX16" fmla="*/ 5676 w 10000"/>
              <a:gd name="connsiteY16" fmla="*/ 0 h 10000"/>
              <a:gd name="connsiteX17" fmla="*/ 5443 w 10000"/>
              <a:gd name="connsiteY17" fmla="*/ 387 h 10000"/>
              <a:gd name="connsiteX18" fmla="*/ 5443 w 10000"/>
              <a:gd name="connsiteY18" fmla="*/ 698 h 10000"/>
              <a:gd name="connsiteX19" fmla="*/ 5301 w 10000"/>
              <a:gd name="connsiteY19" fmla="*/ 698 h 10000"/>
              <a:gd name="connsiteX20" fmla="*/ 4884 w 10000"/>
              <a:gd name="connsiteY20" fmla="*/ 853 h 10000"/>
              <a:gd name="connsiteX21" fmla="*/ 4511 w 10000"/>
              <a:gd name="connsiteY21" fmla="*/ 1240 h 10000"/>
              <a:gd name="connsiteX22" fmla="*/ 4372 w 10000"/>
              <a:gd name="connsiteY22" fmla="*/ 1551 h 10000"/>
              <a:gd name="connsiteX23" fmla="*/ 4419 w 10000"/>
              <a:gd name="connsiteY23" fmla="*/ 1938 h 10000"/>
              <a:gd name="connsiteX24" fmla="*/ 3906 w 10000"/>
              <a:gd name="connsiteY24" fmla="*/ 2093 h 10000"/>
              <a:gd name="connsiteX25" fmla="*/ 3955 w 10000"/>
              <a:gd name="connsiteY25" fmla="*/ 2559 h 10000"/>
              <a:gd name="connsiteX26" fmla="*/ 4095 w 10000"/>
              <a:gd name="connsiteY26" fmla="*/ 2791 h 10000"/>
              <a:gd name="connsiteX27" fmla="*/ 4001 w 10000"/>
              <a:gd name="connsiteY27" fmla="*/ 2868 h 10000"/>
              <a:gd name="connsiteX28" fmla="*/ 3861 w 10000"/>
              <a:gd name="connsiteY28" fmla="*/ 2559 h 10000"/>
              <a:gd name="connsiteX29" fmla="*/ 3724 w 10000"/>
              <a:gd name="connsiteY29" fmla="*/ 2480 h 10000"/>
              <a:gd name="connsiteX30" fmla="*/ 3674 w 10000"/>
              <a:gd name="connsiteY30" fmla="*/ 2559 h 10000"/>
              <a:gd name="connsiteX31" fmla="*/ 3581 w 10000"/>
              <a:gd name="connsiteY31" fmla="*/ 2403 h 10000"/>
              <a:gd name="connsiteX32" fmla="*/ 3488 w 10000"/>
              <a:gd name="connsiteY32" fmla="*/ 2248 h 10000"/>
              <a:gd name="connsiteX33" fmla="*/ 3488 w 10000"/>
              <a:gd name="connsiteY33" fmla="*/ 2325 h 10000"/>
              <a:gd name="connsiteX34" fmla="*/ 3538 w 10000"/>
              <a:gd name="connsiteY34" fmla="*/ 2559 h 10000"/>
              <a:gd name="connsiteX35" fmla="*/ 3395 w 10000"/>
              <a:gd name="connsiteY35" fmla="*/ 2946 h 10000"/>
              <a:gd name="connsiteX36" fmla="*/ 3488 w 10000"/>
              <a:gd name="connsiteY36" fmla="*/ 3256 h 10000"/>
              <a:gd name="connsiteX37" fmla="*/ 3439 w 10000"/>
              <a:gd name="connsiteY37" fmla="*/ 3566 h 10000"/>
              <a:gd name="connsiteX38" fmla="*/ 3439 w 10000"/>
              <a:gd name="connsiteY38" fmla="*/ 3799 h 10000"/>
              <a:gd name="connsiteX39" fmla="*/ 3581 w 10000"/>
              <a:gd name="connsiteY39" fmla="*/ 3799 h 10000"/>
              <a:gd name="connsiteX40" fmla="*/ 3488 w 10000"/>
              <a:gd name="connsiteY40" fmla="*/ 3876 h 10000"/>
              <a:gd name="connsiteX41" fmla="*/ 3538 w 10000"/>
              <a:gd name="connsiteY41" fmla="*/ 4263 h 10000"/>
              <a:gd name="connsiteX42" fmla="*/ 3256 w 10000"/>
              <a:gd name="connsiteY42" fmla="*/ 4652 h 10000"/>
              <a:gd name="connsiteX43" fmla="*/ 3208 w 10000"/>
              <a:gd name="connsiteY43" fmla="*/ 4574 h 10000"/>
              <a:gd name="connsiteX44" fmla="*/ 3395 w 10000"/>
              <a:gd name="connsiteY44" fmla="*/ 4186 h 10000"/>
              <a:gd name="connsiteX45" fmla="*/ 3439 w 10000"/>
              <a:gd name="connsiteY45" fmla="*/ 3954 h 10000"/>
              <a:gd name="connsiteX46" fmla="*/ 3343 w 10000"/>
              <a:gd name="connsiteY46" fmla="*/ 3799 h 10000"/>
              <a:gd name="connsiteX47" fmla="*/ 3343 w 10000"/>
              <a:gd name="connsiteY47" fmla="*/ 3023 h 10000"/>
              <a:gd name="connsiteX48" fmla="*/ 3303 w 10000"/>
              <a:gd name="connsiteY48" fmla="*/ 2868 h 10000"/>
              <a:gd name="connsiteX49" fmla="*/ 3343 w 10000"/>
              <a:gd name="connsiteY49" fmla="*/ 2403 h 10000"/>
              <a:gd name="connsiteX50" fmla="*/ 3256 w 10000"/>
              <a:gd name="connsiteY50" fmla="*/ 2325 h 10000"/>
              <a:gd name="connsiteX51" fmla="*/ 3303 w 10000"/>
              <a:gd name="connsiteY51" fmla="*/ 2248 h 10000"/>
              <a:gd name="connsiteX52" fmla="*/ 3256 w 10000"/>
              <a:gd name="connsiteY52" fmla="*/ 2093 h 10000"/>
              <a:gd name="connsiteX53" fmla="*/ 3159 w 10000"/>
              <a:gd name="connsiteY53" fmla="*/ 2170 h 10000"/>
              <a:gd name="connsiteX54" fmla="*/ 2929 w 10000"/>
              <a:gd name="connsiteY54" fmla="*/ 3178 h 10000"/>
              <a:gd name="connsiteX55" fmla="*/ 2929 w 10000"/>
              <a:gd name="connsiteY55" fmla="*/ 3566 h 10000"/>
              <a:gd name="connsiteX56" fmla="*/ 3069 w 10000"/>
              <a:gd name="connsiteY56" fmla="*/ 3876 h 10000"/>
              <a:gd name="connsiteX57" fmla="*/ 3069 w 10000"/>
              <a:gd name="connsiteY57" fmla="*/ 4031 h 10000"/>
              <a:gd name="connsiteX58" fmla="*/ 2929 w 10000"/>
              <a:gd name="connsiteY58" fmla="*/ 3876 h 10000"/>
              <a:gd name="connsiteX59" fmla="*/ 2374 w 10000"/>
              <a:gd name="connsiteY59" fmla="*/ 3256 h 10000"/>
              <a:gd name="connsiteX60" fmla="*/ 2326 w 10000"/>
              <a:gd name="connsiteY60" fmla="*/ 3411 h 10000"/>
              <a:gd name="connsiteX61" fmla="*/ 2512 w 10000"/>
              <a:gd name="connsiteY61" fmla="*/ 3799 h 10000"/>
              <a:gd name="connsiteX62" fmla="*/ 2417 w 10000"/>
              <a:gd name="connsiteY62" fmla="*/ 3876 h 10000"/>
              <a:gd name="connsiteX63" fmla="*/ 2374 w 10000"/>
              <a:gd name="connsiteY63" fmla="*/ 3799 h 10000"/>
              <a:gd name="connsiteX64" fmla="*/ 2094 w 10000"/>
              <a:gd name="connsiteY64" fmla="*/ 3954 h 10000"/>
              <a:gd name="connsiteX65" fmla="*/ 2048 w 10000"/>
              <a:gd name="connsiteY65" fmla="*/ 4109 h 10000"/>
              <a:gd name="connsiteX66" fmla="*/ 2001 w 10000"/>
              <a:gd name="connsiteY66" fmla="*/ 3954 h 10000"/>
              <a:gd name="connsiteX67" fmla="*/ 2001 w 10000"/>
              <a:gd name="connsiteY67" fmla="*/ 3799 h 10000"/>
              <a:gd name="connsiteX68" fmla="*/ 1533 w 10000"/>
              <a:gd name="connsiteY68" fmla="*/ 4263 h 10000"/>
              <a:gd name="connsiteX69" fmla="*/ 1533 w 10000"/>
              <a:gd name="connsiteY69" fmla="*/ 4418 h 10000"/>
              <a:gd name="connsiteX70" fmla="*/ 1444 w 10000"/>
              <a:gd name="connsiteY70" fmla="*/ 4496 h 10000"/>
              <a:gd name="connsiteX71" fmla="*/ 1301 w 10000"/>
              <a:gd name="connsiteY71" fmla="*/ 4341 h 10000"/>
              <a:gd name="connsiteX72" fmla="*/ 1444 w 10000"/>
              <a:gd name="connsiteY72" fmla="*/ 4186 h 10000"/>
              <a:gd name="connsiteX73" fmla="*/ 1396 w 10000"/>
              <a:gd name="connsiteY73" fmla="*/ 3954 h 10000"/>
              <a:gd name="connsiteX74" fmla="*/ 1210 w 10000"/>
              <a:gd name="connsiteY74" fmla="*/ 3876 h 10000"/>
              <a:gd name="connsiteX75" fmla="*/ 1258 w 10000"/>
              <a:gd name="connsiteY75" fmla="*/ 4031 h 10000"/>
              <a:gd name="connsiteX76" fmla="*/ 1258 w 10000"/>
              <a:gd name="connsiteY76" fmla="*/ 4418 h 10000"/>
              <a:gd name="connsiteX77" fmla="*/ 1301 w 10000"/>
              <a:gd name="connsiteY77" fmla="*/ 4574 h 10000"/>
              <a:gd name="connsiteX78" fmla="*/ 1258 w 10000"/>
              <a:gd name="connsiteY78" fmla="*/ 4729 h 10000"/>
              <a:gd name="connsiteX79" fmla="*/ 1115 w 10000"/>
              <a:gd name="connsiteY79" fmla="*/ 4652 h 10000"/>
              <a:gd name="connsiteX80" fmla="*/ 930 w 10000"/>
              <a:gd name="connsiteY80" fmla="*/ 4884 h 10000"/>
              <a:gd name="connsiteX81" fmla="*/ 1021 w 10000"/>
              <a:gd name="connsiteY81" fmla="*/ 5194 h 10000"/>
              <a:gd name="connsiteX82" fmla="*/ 743 w 10000"/>
              <a:gd name="connsiteY82" fmla="*/ 5039 h 10000"/>
              <a:gd name="connsiteX83" fmla="*/ 697 w 10000"/>
              <a:gd name="connsiteY83" fmla="*/ 5116 h 10000"/>
              <a:gd name="connsiteX84" fmla="*/ 791 w 10000"/>
              <a:gd name="connsiteY84" fmla="*/ 5349 h 10000"/>
              <a:gd name="connsiteX85" fmla="*/ 697 w 10000"/>
              <a:gd name="connsiteY85" fmla="*/ 5349 h 10000"/>
              <a:gd name="connsiteX86" fmla="*/ 559 w 10000"/>
              <a:gd name="connsiteY86" fmla="*/ 5194 h 10000"/>
              <a:gd name="connsiteX87" fmla="*/ 559 w 10000"/>
              <a:gd name="connsiteY87" fmla="*/ 4729 h 10000"/>
              <a:gd name="connsiteX88" fmla="*/ 422 w 10000"/>
              <a:gd name="connsiteY88" fmla="*/ 4574 h 10000"/>
              <a:gd name="connsiteX89" fmla="*/ 372 w 10000"/>
              <a:gd name="connsiteY89" fmla="*/ 4418 h 10000"/>
              <a:gd name="connsiteX90" fmla="*/ 465 w 10000"/>
              <a:gd name="connsiteY90" fmla="*/ 4496 h 10000"/>
              <a:gd name="connsiteX91" fmla="*/ 836 w 10000"/>
              <a:gd name="connsiteY91" fmla="*/ 4729 h 10000"/>
              <a:gd name="connsiteX92" fmla="*/ 1067 w 10000"/>
              <a:gd name="connsiteY92" fmla="*/ 4496 h 10000"/>
              <a:gd name="connsiteX93" fmla="*/ 1021 w 10000"/>
              <a:gd name="connsiteY93" fmla="*/ 4263 h 10000"/>
              <a:gd name="connsiteX94" fmla="*/ 743 w 10000"/>
              <a:gd name="connsiteY94" fmla="*/ 3799 h 10000"/>
              <a:gd name="connsiteX95" fmla="*/ 465 w 10000"/>
              <a:gd name="connsiteY95" fmla="*/ 3644 h 10000"/>
              <a:gd name="connsiteX96" fmla="*/ 465 w 10000"/>
              <a:gd name="connsiteY96" fmla="*/ 3566 h 10000"/>
              <a:gd name="connsiteX97" fmla="*/ 372 w 10000"/>
              <a:gd name="connsiteY97" fmla="*/ 3488 h 10000"/>
              <a:gd name="connsiteX98" fmla="*/ 277 w 10000"/>
              <a:gd name="connsiteY98" fmla="*/ 3566 h 10000"/>
              <a:gd name="connsiteX99" fmla="*/ 277 w 10000"/>
              <a:gd name="connsiteY99" fmla="*/ 3644 h 10000"/>
              <a:gd name="connsiteX100" fmla="*/ 233 w 10000"/>
              <a:gd name="connsiteY100" fmla="*/ 3644 h 10000"/>
              <a:gd name="connsiteX101" fmla="*/ 139 w 10000"/>
              <a:gd name="connsiteY101" fmla="*/ 3799 h 10000"/>
              <a:gd name="connsiteX102" fmla="*/ 139 w 10000"/>
              <a:gd name="connsiteY102" fmla="*/ 4031 h 10000"/>
              <a:gd name="connsiteX103" fmla="*/ 233 w 10000"/>
              <a:gd name="connsiteY103" fmla="*/ 4186 h 10000"/>
              <a:gd name="connsiteX104" fmla="*/ 186 w 10000"/>
              <a:gd name="connsiteY104" fmla="*/ 4418 h 10000"/>
              <a:gd name="connsiteX105" fmla="*/ 233 w 10000"/>
              <a:gd name="connsiteY105" fmla="*/ 4807 h 10000"/>
              <a:gd name="connsiteX106" fmla="*/ 186 w 10000"/>
              <a:gd name="connsiteY106" fmla="*/ 5039 h 10000"/>
              <a:gd name="connsiteX107" fmla="*/ 277 w 10000"/>
              <a:gd name="connsiteY107" fmla="*/ 5271 h 10000"/>
              <a:gd name="connsiteX108" fmla="*/ 233 w 10000"/>
              <a:gd name="connsiteY108" fmla="*/ 5426 h 10000"/>
              <a:gd name="connsiteX109" fmla="*/ 324 w 10000"/>
              <a:gd name="connsiteY109" fmla="*/ 5582 h 10000"/>
              <a:gd name="connsiteX110" fmla="*/ 324 w 10000"/>
              <a:gd name="connsiteY110" fmla="*/ 5659 h 10000"/>
              <a:gd name="connsiteX111" fmla="*/ 186 w 10000"/>
              <a:gd name="connsiteY111" fmla="*/ 6047 h 10000"/>
              <a:gd name="connsiteX112" fmla="*/ 43 w 10000"/>
              <a:gd name="connsiteY112" fmla="*/ 6202 h 10000"/>
              <a:gd name="connsiteX113" fmla="*/ 92 w 10000"/>
              <a:gd name="connsiteY113" fmla="*/ 6202 h 10000"/>
              <a:gd name="connsiteX114" fmla="*/ 186 w 10000"/>
              <a:gd name="connsiteY114" fmla="*/ 6356 h 10000"/>
              <a:gd name="connsiteX115" fmla="*/ 92 w 10000"/>
              <a:gd name="connsiteY115" fmla="*/ 6512 h 10000"/>
              <a:gd name="connsiteX116" fmla="*/ 43 w 10000"/>
              <a:gd name="connsiteY116" fmla="*/ 6590 h 10000"/>
              <a:gd name="connsiteX117" fmla="*/ 0 w 10000"/>
              <a:gd name="connsiteY117" fmla="*/ 6590 h 10000"/>
              <a:gd name="connsiteX118" fmla="*/ 43 w 10000"/>
              <a:gd name="connsiteY118" fmla="*/ 6822 h 10000"/>
              <a:gd name="connsiteX119" fmla="*/ 43 w 10000"/>
              <a:gd name="connsiteY119" fmla="*/ 6900 h 10000"/>
              <a:gd name="connsiteX120" fmla="*/ 43 w 10000"/>
              <a:gd name="connsiteY120" fmla="*/ 6977 h 10000"/>
              <a:gd name="connsiteX121" fmla="*/ 43 w 10000"/>
              <a:gd name="connsiteY121" fmla="*/ 7054 h 10000"/>
              <a:gd name="connsiteX122" fmla="*/ 92 w 10000"/>
              <a:gd name="connsiteY122" fmla="*/ 7209 h 10000"/>
              <a:gd name="connsiteX123" fmla="*/ 233 w 10000"/>
              <a:gd name="connsiteY123" fmla="*/ 7287 h 10000"/>
              <a:gd name="connsiteX124" fmla="*/ 277 w 10000"/>
              <a:gd name="connsiteY124" fmla="*/ 7364 h 10000"/>
              <a:gd name="connsiteX125" fmla="*/ 277 w 10000"/>
              <a:gd name="connsiteY125" fmla="*/ 7520 h 10000"/>
              <a:gd name="connsiteX126" fmla="*/ 372 w 10000"/>
              <a:gd name="connsiteY126" fmla="*/ 7752 h 10000"/>
              <a:gd name="connsiteX127" fmla="*/ 422 w 10000"/>
              <a:gd name="connsiteY127" fmla="*/ 7752 h 10000"/>
              <a:gd name="connsiteX128" fmla="*/ 372 w 10000"/>
              <a:gd name="connsiteY128" fmla="*/ 7907 h 10000"/>
              <a:gd name="connsiteX129" fmla="*/ 324 w 10000"/>
              <a:gd name="connsiteY129" fmla="*/ 7830 h 10000"/>
              <a:gd name="connsiteX130" fmla="*/ 324 w 10000"/>
              <a:gd name="connsiteY130" fmla="*/ 7907 h 10000"/>
              <a:gd name="connsiteX131" fmla="*/ 372 w 10000"/>
              <a:gd name="connsiteY131" fmla="*/ 8062 h 10000"/>
              <a:gd name="connsiteX132" fmla="*/ 513 w 10000"/>
              <a:gd name="connsiteY132" fmla="*/ 8062 h 10000"/>
              <a:gd name="connsiteX133" fmla="*/ 559 w 10000"/>
              <a:gd name="connsiteY133" fmla="*/ 8140 h 10000"/>
              <a:gd name="connsiteX134" fmla="*/ 513 w 10000"/>
              <a:gd name="connsiteY134" fmla="*/ 8140 h 10000"/>
              <a:gd name="connsiteX135" fmla="*/ 559 w 10000"/>
              <a:gd name="connsiteY135" fmla="*/ 8217 h 10000"/>
              <a:gd name="connsiteX136" fmla="*/ 604 w 10000"/>
              <a:gd name="connsiteY136" fmla="*/ 8217 h 10000"/>
              <a:gd name="connsiteX137" fmla="*/ 651 w 10000"/>
              <a:gd name="connsiteY137" fmla="*/ 8372 h 10000"/>
              <a:gd name="connsiteX138" fmla="*/ 697 w 10000"/>
              <a:gd name="connsiteY138" fmla="*/ 8449 h 10000"/>
              <a:gd name="connsiteX139" fmla="*/ 743 w 10000"/>
              <a:gd name="connsiteY139" fmla="*/ 8372 h 10000"/>
              <a:gd name="connsiteX140" fmla="*/ 978 w 10000"/>
              <a:gd name="connsiteY140" fmla="*/ 8605 h 10000"/>
              <a:gd name="connsiteX141" fmla="*/ 930 w 10000"/>
              <a:gd name="connsiteY141" fmla="*/ 8915 h 10000"/>
              <a:gd name="connsiteX142" fmla="*/ 882 w 10000"/>
              <a:gd name="connsiteY142" fmla="*/ 8838 h 10000"/>
              <a:gd name="connsiteX143" fmla="*/ 836 w 10000"/>
              <a:gd name="connsiteY143" fmla="*/ 8915 h 10000"/>
              <a:gd name="connsiteX144" fmla="*/ 836 w 10000"/>
              <a:gd name="connsiteY144" fmla="*/ 9070 h 10000"/>
              <a:gd name="connsiteX145" fmla="*/ 882 w 10000"/>
              <a:gd name="connsiteY145" fmla="*/ 8993 h 10000"/>
              <a:gd name="connsiteX146" fmla="*/ 930 w 10000"/>
              <a:gd name="connsiteY146" fmla="*/ 9070 h 10000"/>
              <a:gd name="connsiteX147" fmla="*/ 791 w 10000"/>
              <a:gd name="connsiteY147" fmla="*/ 9147 h 10000"/>
              <a:gd name="connsiteX148" fmla="*/ 836 w 10000"/>
              <a:gd name="connsiteY148" fmla="*/ 9225 h 10000"/>
              <a:gd name="connsiteX149" fmla="*/ 743 w 10000"/>
              <a:gd name="connsiteY149" fmla="*/ 9380 h 10000"/>
              <a:gd name="connsiteX150" fmla="*/ 697 w 10000"/>
              <a:gd name="connsiteY150" fmla="*/ 9380 h 10000"/>
              <a:gd name="connsiteX151" fmla="*/ 743 w 10000"/>
              <a:gd name="connsiteY151" fmla="*/ 9380 h 10000"/>
              <a:gd name="connsiteX152" fmla="*/ 930 w 10000"/>
              <a:gd name="connsiteY152" fmla="*/ 9691 h 10000"/>
              <a:gd name="connsiteX153" fmla="*/ 1164 w 10000"/>
              <a:gd name="connsiteY153" fmla="*/ 9691 h 10000"/>
              <a:gd name="connsiteX154" fmla="*/ 1258 w 10000"/>
              <a:gd name="connsiteY154" fmla="*/ 9768 h 10000"/>
              <a:gd name="connsiteX155" fmla="*/ 1349 w 10000"/>
              <a:gd name="connsiteY155" fmla="*/ 9768 h 10000"/>
              <a:gd name="connsiteX156" fmla="*/ 1444 w 10000"/>
              <a:gd name="connsiteY156" fmla="*/ 9923 h 10000"/>
              <a:gd name="connsiteX157" fmla="*/ 1488 w 10000"/>
              <a:gd name="connsiteY157" fmla="*/ 10000 h 10000"/>
              <a:gd name="connsiteX158" fmla="*/ 1533 w 10000"/>
              <a:gd name="connsiteY158" fmla="*/ 10000 h 10000"/>
              <a:gd name="connsiteX159" fmla="*/ 1583 w 10000"/>
              <a:gd name="connsiteY159" fmla="*/ 9923 h 10000"/>
              <a:gd name="connsiteX160" fmla="*/ 1488 w 10000"/>
              <a:gd name="connsiteY160" fmla="*/ 9768 h 10000"/>
              <a:gd name="connsiteX161" fmla="*/ 1488 w 10000"/>
              <a:gd name="connsiteY161" fmla="*/ 9613 h 10000"/>
              <a:gd name="connsiteX162" fmla="*/ 1444 w 10000"/>
              <a:gd name="connsiteY162" fmla="*/ 9457 h 10000"/>
              <a:gd name="connsiteX163" fmla="*/ 1533 w 10000"/>
              <a:gd name="connsiteY163" fmla="*/ 9225 h 10000"/>
              <a:gd name="connsiteX164" fmla="*/ 1583 w 10000"/>
              <a:gd name="connsiteY164" fmla="*/ 9302 h 10000"/>
              <a:gd name="connsiteX165" fmla="*/ 1628 w 10000"/>
              <a:gd name="connsiteY165" fmla="*/ 9225 h 10000"/>
              <a:gd name="connsiteX166" fmla="*/ 1628 w 10000"/>
              <a:gd name="connsiteY166" fmla="*/ 9147 h 10000"/>
              <a:gd name="connsiteX167" fmla="*/ 1583 w 10000"/>
              <a:gd name="connsiteY167" fmla="*/ 9147 h 10000"/>
              <a:gd name="connsiteX168" fmla="*/ 1628 w 10000"/>
              <a:gd name="connsiteY168" fmla="*/ 9070 h 10000"/>
              <a:gd name="connsiteX169" fmla="*/ 1583 w 10000"/>
              <a:gd name="connsiteY169" fmla="*/ 8915 h 10000"/>
              <a:gd name="connsiteX170" fmla="*/ 1488 w 10000"/>
              <a:gd name="connsiteY170" fmla="*/ 8915 h 10000"/>
              <a:gd name="connsiteX171" fmla="*/ 1444 w 10000"/>
              <a:gd name="connsiteY171" fmla="*/ 8760 h 10000"/>
              <a:gd name="connsiteX172" fmla="*/ 1488 w 10000"/>
              <a:gd name="connsiteY172" fmla="*/ 8372 h 10000"/>
              <a:gd name="connsiteX173" fmla="*/ 1583 w 10000"/>
              <a:gd name="connsiteY173" fmla="*/ 8528 h 10000"/>
              <a:gd name="connsiteX174" fmla="*/ 1628 w 10000"/>
              <a:gd name="connsiteY174" fmla="*/ 8528 h 10000"/>
              <a:gd name="connsiteX175" fmla="*/ 1583 w 10000"/>
              <a:gd name="connsiteY175" fmla="*/ 8372 h 10000"/>
              <a:gd name="connsiteX176" fmla="*/ 1721 w 10000"/>
              <a:gd name="connsiteY176" fmla="*/ 8140 h 10000"/>
              <a:gd name="connsiteX177" fmla="*/ 1817 w 10000"/>
              <a:gd name="connsiteY177" fmla="*/ 8217 h 10000"/>
              <a:gd name="connsiteX178" fmla="*/ 1859 w 10000"/>
              <a:gd name="connsiteY178" fmla="*/ 8140 h 10000"/>
              <a:gd name="connsiteX179" fmla="*/ 1953 w 10000"/>
              <a:gd name="connsiteY179" fmla="*/ 8217 h 10000"/>
              <a:gd name="connsiteX180" fmla="*/ 2094 w 10000"/>
              <a:gd name="connsiteY180" fmla="*/ 8372 h 10000"/>
              <a:gd name="connsiteX181" fmla="*/ 2186 w 10000"/>
              <a:gd name="connsiteY181" fmla="*/ 8295 h 10000"/>
              <a:gd name="connsiteX182" fmla="*/ 2280 w 10000"/>
              <a:gd name="connsiteY182" fmla="*/ 8295 h 10000"/>
              <a:gd name="connsiteX183" fmla="*/ 2326 w 10000"/>
              <a:gd name="connsiteY183" fmla="*/ 8372 h 10000"/>
              <a:gd name="connsiteX184" fmla="*/ 2512 w 10000"/>
              <a:gd name="connsiteY184" fmla="*/ 8372 h 10000"/>
              <a:gd name="connsiteX185" fmla="*/ 2557 w 10000"/>
              <a:gd name="connsiteY185" fmla="*/ 8217 h 10000"/>
              <a:gd name="connsiteX186" fmla="*/ 2417 w 10000"/>
              <a:gd name="connsiteY186" fmla="*/ 8140 h 10000"/>
              <a:gd name="connsiteX187" fmla="*/ 2512 w 10000"/>
              <a:gd name="connsiteY187" fmla="*/ 8062 h 10000"/>
              <a:gd name="connsiteX188" fmla="*/ 2463 w 10000"/>
              <a:gd name="connsiteY188" fmla="*/ 7985 h 10000"/>
              <a:gd name="connsiteX189" fmla="*/ 2512 w 10000"/>
              <a:gd name="connsiteY189" fmla="*/ 7907 h 10000"/>
              <a:gd name="connsiteX190" fmla="*/ 2512 w 10000"/>
              <a:gd name="connsiteY190" fmla="*/ 7675 h 10000"/>
              <a:gd name="connsiteX191" fmla="*/ 2603 w 10000"/>
              <a:gd name="connsiteY191" fmla="*/ 7752 h 10000"/>
              <a:gd name="connsiteX192" fmla="*/ 3024 w 10000"/>
              <a:gd name="connsiteY192" fmla="*/ 7520 h 10000"/>
              <a:gd name="connsiteX193" fmla="*/ 3024 w 10000"/>
              <a:gd name="connsiteY193" fmla="*/ 7442 h 10000"/>
              <a:gd name="connsiteX194" fmla="*/ 3069 w 10000"/>
              <a:gd name="connsiteY194" fmla="*/ 7442 h 10000"/>
              <a:gd name="connsiteX195" fmla="*/ 3208 w 10000"/>
              <a:gd name="connsiteY195" fmla="*/ 7442 h 10000"/>
              <a:gd name="connsiteX196" fmla="*/ 3256 w 10000"/>
              <a:gd name="connsiteY196" fmla="*/ 7598 h 10000"/>
              <a:gd name="connsiteX197" fmla="*/ 3256 w 10000"/>
              <a:gd name="connsiteY197" fmla="*/ 7675 h 10000"/>
              <a:gd name="connsiteX198" fmla="*/ 3303 w 10000"/>
              <a:gd name="connsiteY198" fmla="*/ 7675 h 10000"/>
              <a:gd name="connsiteX199" fmla="*/ 3395 w 10000"/>
              <a:gd name="connsiteY199" fmla="*/ 7752 h 10000"/>
              <a:gd name="connsiteX200" fmla="*/ 3395 w 10000"/>
              <a:gd name="connsiteY200" fmla="*/ 7830 h 10000"/>
              <a:gd name="connsiteX201" fmla="*/ 3488 w 10000"/>
              <a:gd name="connsiteY201" fmla="*/ 7830 h 10000"/>
              <a:gd name="connsiteX202" fmla="*/ 3581 w 10000"/>
              <a:gd name="connsiteY202" fmla="*/ 7675 h 10000"/>
              <a:gd name="connsiteX203" fmla="*/ 3674 w 10000"/>
              <a:gd name="connsiteY203" fmla="*/ 7598 h 10000"/>
              <a:gd name="connsiteX204" fmla="*/ 3724 w 10000"/>
              <a:gd name="connsiteY204" fmla="*/ 7830 h 10000"/>
              <a:gd name="connsiteX205" fmla="*/ 3906 w 10000"/>
              <a:gd name="connsiteY205" fmla="*/ 8372 h 10000"/>
              <a:gd name="connsiteX206" fmla="*/ 3955 w 10000"/>
              <a:gd name="connsiteY206" fmla="*/ 8217 h 10000"/>
              <a:gd name="connsiteX207" fmla="*/ 4001 w 10000"/>
              <a:gd name="connsiteY207" fmla="*/ 8372 h 10000"/>
              <a:gd name="connsiteX208" fmla="*/ 4139 w 10000"/>
              <a:gd name="connsiteY208" fmla="*/ 8295 h 10000"/>
              <a:gd name="connsiteX209" fmla="*/ 4281 w 10000"/>
              <a:gd name="connsiteY209" fmla="*/ 8528 h 10000"/>
              <a:gd name="connsiteX210" fmla="*/ 4372 w 10000"/>
              <a:gd name="connsiteY210" fmla="*/ 8605 h 10000"/>
              <a:gd name="connsiteX211" fmla="*/ 4372 w 10000"/>
              <a:gd name="connsiteY211" fmla="*/ 8528 h 10000"/>
              <a:gd name="connsiteX212" fmla="*/ 4419 w 10000"/>
              <a:gd name="connsiteY212" fmla="*/ 8683 h 10000"/>
              <a:gd name="connsiteX213" fmla="*/ 4372 w 10000"/>
              <a:gd name="connsiteY213" fmla="*/ 8760 h 10000"/>
              <a:gd name="connsiteX214" fmla="*/ 4467 w 10000"/>
              <a:gd name="connsiteY214" fmla="*/ 8683 h 10000"/>
              <a:gd name="connsiteX215" fmla="*/ 4511 w 10000"/>
              <a:gd name="connsiteY215" fmla="*/ 8605 h 10000"/>
              <a:gd name="connsiteX216" fmla="*/ 4744 w 10000"/>
              <a:gd name="connsiteY216" fmla="*/ 8372 h 10000"/>
              <a:gd name="connsiteX217" fmla="*/ 4930 w 10000"/>
              <a:gd name="connsiteY217" fmla="*/ 8449 h 10000"/>
              <a:gd name="connsiteX218" fmla="*/ 5022 w 10000"/>
              <a:gd name="connsiteY218" fmla="*/ 8528 h 10000"/>
              <a:gd name="connsiteX219" fmla="*/ 5207 w 10000"/>
              <a:gd name="connsiteY219" fmla="*/ 8528 h 10000"/>
              <a:gd name="connsiteX220" fmla="*/ 5207 w 10000"/>
              <a:gd name="connsiteY220" fmla="*/ 8372 h 10000"/>
              <a:gd name="connsiteX221" fmla="*/ 5207 w 10000"/>
              <a:gd name="connsiteY221" fmla="*/ 8217 h 10000"/>
              <a:gd name="connsiteX222" fmla="*/ 5301 w 10000"/>
              <a:gd name="connsiteY222" fmla="*/ 8140 h 10000"/>
              <a:gd name="connsiteX223" fmla="*/ 5487 w 10000"/>
              <a:gd name="connsiteY223" fmla="*/ 8217 h 10000"/>
              <a:gd name="connsiteX224" fmla="*/ 5580 w 10000"/>
              <a:gd name="connsiteY224" fmla="*/ 8449 h 10000"/>
              <a:gd name="connsiteX225" fmla="*/ 5628 w 10000"/>
              <a:gd name="connsiteY225" fmla="*/ 8449 h 10000"/>
              <a:gd name="connsiteX226" fmla="*/ 5721 w 10000"/>
              <a:gd name="connsiteY226" fmla="*/ 8372 h 10000"/>
              <a:gd name="connsiteX227" fmla="*/ 6003 w 10000"/>
              <a:gd name="connsiteY227" fmla="*/ 8605 h 10000"/>
              <a:gd name="connsiteX228" fmla="*/ 6141 w 10000"/>
              <a:gd name="connsiteY228" fmla="*/ 8683 h 10000"/>
              <a:gd name="connsiteX229" fmla="*/ 6327 w 10000"/>
              <a:gd name="connsiteY229" fmla="*/ 8605 h 10000"/>
              <a:gd name="connsiteX230" fmla="*/ 6418 w 10000"/>
              <a:gd name="connsiteY230" fmla="*/ 8449 h 10000"/>
              <a:gd name="connsiteX231" fmla="*/ 6558 w 10000"/>
              <a:gd name="connsiteY231" fmla="*/ 8528 h 10000"/>
              <a:gd name="connsiteX232" fmla="*/ 6651 w 10000"/>
              <a:gd name="connsiteY232" fmla="*/ 8605 h 10000"/>
              <a:gd name="connsiteX233" fmla="*/ 8233 w 10000"/>
              <a:gd name="connsiteY233" fmla="*/ 7675 h 10000"/>
              <a:gd name="connsiteX234" fmla="*/ 8140 w 10000"/>
              <a:gd name="connsiteY234" fmla="*/ 7675 h 10000"/>
              <a:gd name="connsiteX235" fmla="*/ 8094 w 10000"/>
              <a:gd name="connsiteY235" fmla="*/ 7675 h 10000"/>
              <a:gd name="connsiteX236" fmla="*/ 8046 w 10000"/>
              <a:gd name="connsiteY236" fmla="*/ 7598 h 10000"/>
              <a:gd name="connsiteX237" fmla="*/ 7955 w 10000"/>
              <a:gd name="connsiteY237" fmla="*/ 7598 h 10000"/>
              <a:gd name="connsiteX238" fmla="*/ 7955 w 10000"/>
              <a:gd name="connsiteY238" fmla="*/ 7520 h 10000"/>
              <a:gd name="connsiteX239" fmla="*/ 8094 w 10000"/>
              <a:gd name="connsiteY239" fmla="*/ 7287 h 10000"/>
              <a:gd name="connsiteX240" fmla="*/ 8516 w 10000"/>
              <a:gd name="connsiteY240" fmla="*/ 6590 h 10000"/>
              <a:gd name="connsiteX241" fmla="*/ 8698 w 10000"/>
              <a:gd name="connsiteY241" fmla="*/ 6512 h 10000"/>
              <a:gd name="connsiteX242" fmla="*/ 8743 w 10000"/>
              <a:gd name="connsiteY242" fmla="*/ 6590 h 10000"/>
              <a:gd name="connsiteX243" fmla="*/ 8792 w 10000"/>
              <a:gd name="connsiteY243" fmla="*/ 6512 h 10000"/>
              <a:gd name="connsiteX244" fmla="*/ 8928 w 10000"/>
              <a:gd name="connsiteY244" fmla="*/ 6590 h 10000"/>
              <a:gd name="connsiteX245" fmla="*/ 8981 w 10000"/>
              <a:gd name="connsiteY245" fmla="*/ 6434 h 10000"/>
              <a:gd name="connsiteX246" fmla="*/ 9116 w 10000"/>
              <a:gd name="connsiteY246" fmla="*/ 6512 h 10000"/>
              <a:gd name="connsiteX247" fmla="*/ 9161 w 10000"/>
              <a:gd name="connsiteY247" fmla="*/ 6512 h 10000"/>
              <a:gd name="connsiteX248" fmla="*/ 9116 w 10000"/>
              <a:gd name="connsiteY248" fmla="*/ 6590 h 10000"/>
              <a:gd name="connsiteX249" fmla="*/ 9116 w 10000"/>
              <a:gd name="connsiteY249" fmla="*/ 6667 h 10000"/>
              <a:gd name="connsiteX250" fmla="*/ 9393 w 10000"/>
              <a:gd name="connsiteY250" fmla="*/ 6590 h 10000"/>
              <a:gd name="connsiteX251" fmla="*/ 9348 w 10000"/>
              <a:gd name="connsiteY251" fmla="*/ 6512 h 10000"/>
              <a:gd name="connsiteX252" fmla="*/ 9537 w 10000"/>
              <a:gd name="connsiteY252" fmla="*/ 5969 h 10000"/>
              <a:gd name="connsiteX253" fmla="*/ 9766 w 10000"/>
              <a:gd name="connsiteY253" fmla="*/ 5892 h 10000"/>
              <a:gd name="connsiteX254" fmla="*/ 9766 w 10000"/>
              <a:gd name="connsiteY254" fmla="*/ 6047 h 10000"/>
              <a:gd name="connsiteX255" fmla="*/ 9766 w 10000"/>
              <a:gd name="connsiteY255" fmla="*/ 6202 h 10000"/>
              <a:gd name="connsiteX256" fmla="*/ 10000 w 10000"/>
              <a:gd name="connsiteY256" fmla="*/ 6590 h 10000"/>
              <a:gd name="connsiteX257" fmla="*/ 9815 w 10000"/>
              <a:gd name="connsiteY257" fmla="*/ 3566 h 10000"/>
              <a:gd name="connsiteX258" fmla="*/ 9720 w 10000"/>
              <a:gd name="connsiteY258" fmla="*/ 3488 h 10000"/>
              <a:gd name="connsiteX259" fmla="*/ 9766 w 10000"/>
              <a:gd name="connsiteY259" fmla="*/ 3333 h 10000"/>
              <a:gd name="connsiteX260" fmla="*/ 9673 w 10000"/>
              <a:gd name="connsiteY260" fmla="*/ 3101 h 10000"/>
              <a:gd name="connsiteX261" fmla="*/ 9486 w 10000"/>
              <a:gd name="connsiteY261" fmla="*/ 3023 h 10000"/>
              <a:gd name="connsiteX262" fmla="*/ 9211 w 10000"/>
              <a:gd name="connsiteY262" fmla="*/ 3178 h 10000"/>
              <a:gd name="connsiteX263" fmla="*/ 9161 w 10000"/>
              <a:gd name="connsiteY263" fmla="*/ 2946 h 10000"/>
              <a:gd name="connsiteX264" fmla="*/ 9070 w 10000"/>
              <a:gd name="connsiteY264" fmla="*/ 2946 h 10000"/>
              <a:gd name="connsiteX265" fmla="*/ 9023 w 10000"/>
              <a:gd name="connsiteY265" fmla="*/ 2868 h 10000"/>
              <a:gd name="connsiteX266" fmla="*/ 9023 w 10000"/>
              <a:gd name="connsiteY266" fmla="*/ 2636 h 10000"/>
              <a:gd name="connsiteX267" fmla="*/ 8698 w 10000"/>
              <a:gd name="connsiteY267" fmla="*/ 2480 h 10000"/>
              <a:gd name="connsiteX268" fmla="*/ 8326 w 10000"/>
              <a:gd name="connsiteY268" fmla="*/ 2325 h 10000"/>
              <a:gd name="connsiteX269" fmla="*/ 8233 w 10000"/>
              <a:gd name="connsiteY269" fmla="*/ 2636 h 10000"/>
              <a:gd name="connsiteX270" fmla="*/ 8326 w 10000"/>
              <a:gd name="connsiteY270" fmla="*/ 2868 h 10000"/>
              <a:gd name="connsiteX271" fmla="*/ 8046 w 10000"/>
              <a:gd name="connsiteY271" fmla="*/ 2868 h 10000"/>
              <a:gd name="connsiteX272" fmla="*/ 7999 w 10000"/>
              <a:gd name="connsiteY272" fmla="*/ 2868 h 10000"/>
              <a:gd name="connsiteX273" fmla="*/ 7906 w 10000"/>
              <a:gd name="connsiteY273" fmla="*/ 2946 h 10000"/>
              <a:gd name="connsiteX274" fmla="*/ 7767 w 10000"/>
              <a:gd name="connsiteY274" fmla="*/ 2714 h 10000"/>
              <a:gd name="connsiteX275" fmla="*/ 7672 w 10000"/>
              <a:gd name="connsiteY275" fmla="*/ 3178 h 10000"/>
              <a:gd name="connsiteX276" fmla="*/ 7584 w 10000"/>
              <a:gd name="connsiteY276" fmla="*/ 3101 h 10000"/>
              <a:gd name="connsiteX277" fmla="*/ 7488 w 10000"/>
              <a:gd name="connsiteY277" fmla="*/ 2791 h 10000"/>
              <a:gd name="connsiteX278" fmla="*/ 7536 w 10000"/>
              <a:gd name="connsiteY278" fmla="*/ 2403 h 10000"/>
              <a:gd name="connsiteX279" fmla="*/ 7442 w 10000"/>
              <a:gd name="connsiteY279" fmla="*/ 2170 h 10000"/>
              <a:gd name="connsiteX280" fmla="*/ 7163 w 10000"/>
              <a:gd name="connsiteY280" fmla="*/ 2016 h 10000"/>
              <a:gd name="connsiteX281" fmla="*/ 7068 w 10000"/>
              <a:gd name="connsiteY281" fmla="*/ 2016 h 10000"/>
              <a:gd name="connsiteX282" fmla="*/ 7023 w 10000"/>
              <a:gd name="connsiteY282" fmla="*/ 2170 h 10000"/>
              <a:gd name="connsiteX283" fmla="*/ 7068 w 10000"/>
              <a:gd name="connsiteY283" fmla="*/ 2325 h 10000"/>
              <a:gd name="connsiteX284" fmla="*/ 6701 w 10000"/>
              <a:gd name="connsiteY284" fmla="*/ 2248 h 10000"/>
              <a:gd name="connsiteX285" fmla="*/ 6744 w 10000"/>
              <a:gd name="connsiteY285" fmla="*/ 2016 h 10000"/>
              <a:gd name="connsiteX286" fmla="*/ 6513 w 10000"/>
              <a:gd name="connsiteY286" fmla="*/ 1938 h 10000"/>
              <a:gd name="connsiteX287" fmla="*/ 6372 w 10000"/>
              <a:gd name="connsiteY287" fmla="*/ 2093 h 10000"/>
              <a:gd name="connsiteX288" fmla="*/ 6100 w 10000"/>
              <a:gd name="connsiteY288" fmla="*/ 1861 h 10000"/>
              <a:gd name="connsiteX0" fmla="*/ 6100 w 9815"/>
              <a:gd name="connsiteY0" fmla="*/ 1861 h 10000"/>
              <a:gd name="connsiteX1" fmla="*/ 6100 w 9815"/>
              <a:gd name="connsiteY1" fmla="*/ 1861 h 10000"/>
              <a:gd name="connsiteX2" fmla="*/ 6046 w 9815"/>
              <a:gd name="connsiteY2" fmla="*/ 1938 h 10000"/>
              <a:gd name="connsiteX3" fmla="*/ 6100 w 9815"/>
              <a:gd name="connsiteY3" fmla="*/ 2093 h 10000"/>
              <a:gd name="connsiteX4" fmla="*/ 5906 w 9815"/>
              <a:gd name="connsiteY4" fmla="*/ 2248 h 10000"/>
              <a:gd name="connsiteX5" fmla="*/ 5858 w 9815"/>
              <a:gd name="connsiteY5" fmla="*/ 2248 h 10000"/>
              <a:gd name="connsiteX6" fmla="*/ 5906 w 9815"/>
              <a:gd name="connsiteY6" fmla="*/ 2016 h 10000"/>
              <a:gd name="connsiteX7" fmla="*/ 6372 w 9815"/>
              <a:gd name="connsiteY7" fmla="*/ 1318 h 10000"/>
              <a:gd name="connsiteX8" fmla="*/ 6372 w 9815"/>
              <a:gd name="connsiteY8" fmla="*/ 853 h 10000"/>
              <a:gd name="connsiteX9" fmla="*/ 6187 w 9815"/>
              <a:gd name="connsiteY9" fmla="*/ 543 h 10000"/>
              <a:gd name="connsiteX10" fmla="*/ 5954 w 9815"/>
              <a:gd name="connsiteY10" fmla="*/ 543 h 10000"/>
              <a:gd name="connsiteX11" fmla="*/ 5954 w 9815"/>
              <a:gd name="connsiteY11" fmla="*/ 698 h 10000"/>
              <a:gd name="connsiteX12" fmla="*/ 5812 w 9815"/>
              <a:gd name="connsiteY12" fmla="*/ 698 h 10000"/>
              <a:gd name="connsiteX13" fmla="*/ 5906 w 9815"/>
              <a:gd name="connsiteY13" fmla="*/ 387 h 10000"/>
              <a:gd name="connsiteX14" fmla="*/ 5676 w 9815"/>
              <a:gd name="connsiteY14" fmla="*/ 310 h 10000"/>
              <a:gd name="connsiteX15" fmla="*/ 5812 w 9815"/>
              <a:gd name="connsiteY15" fmla="*/ 155 h 10000"/>
              <a:gd name="connsiteX16" fmla="*/ 5676 w 9815"/>
              <a:gd name="connsiteY16" fmla="*/ 0 h 10000"/>
              <a:gd name="connsiteX17" fmla="*/ 5443 w 9815"/>
              <a:gd name="connsiteY17" fmla="*/ 387 h 10000"/>
              <a:gd name="connsiteX18" fmla="*/ 5443 w 9815"/>
              <a:gd name="connsiteY18" fmla="*/ 698 h 10000"/>
              <a:gd name="connsiteX19" fmla="*/ 5301 w 9815"/>
              <a:gd name="connsiteY19" fmla="*/ 698 h 10000"/>
              <a:gd name="connsiteX20" fmla="*/ 4884 w 9815"/>
              <a:gd name="connsiteY20" fmla="*/ 853 h 10000"/>
              <a:gd name="connsiteX21" fmla="*/ 4511 w 9815"/>
              <a:gd name="connsiteY21" fmla="*/ 1240 h 10000"/>
              <a:gd name="connsiteX22" fmla="*/ 4372 w 9815"/>
              <a:gd name="connsiteY22" fmla="*/ 1551 h 10000"/>
              <a:gd name="connsiteX23" fmla="*/ 4419 w 9815"/>
              <a:gd name="connsiteY23" fmla="*/ 1938 h 10000"/>
              <a:gd name="connsiteX24" fmla="*/ 3906 w 9815"/>
              <a:gd name="connsiteY24" fmla="*/ 2093 h 10000"/>
              <a:gd name="connsiteX25" fmla="*/ 3955 w 9815"/>
              <a:gd name="connsiteY25" fmla="*/ 2559 h 10000"/>
              <a:gd name="connsiteX26" fmla="*/ 4095 w 9815"/>
              <a:gd name="connsiteY26" fmla="*/ 2791 h 10000"/>
              <a:gd name="connsiteX27" fmla="*/ 4001 w 9815"/>
              <a:gd name="connsiteY27" fmla="*/ 2868 h 10000"/>
              <a:gd name="connsiteX28" fmla="*/ 3861 w 9815"/>
              <a:gd name="connsiteY28" fmla="*/ 2559 h 10000"/>
              <a:gd name="connsiteX29" fmla="*/ 3724 w 9815"/>
              <a:gd name="connsiteY29" fmla="*/ 2480 h 10000"/>
              <a:gd name="connsiteX30" fmla="*/ 3674 w 9815"/>
              <a:gd name="connsiteY30" fmla="*/ 2559 h 10000"/>
              <a:gd name="connsiteX31" fmla="*/ 3581 w 9815"/>
              <a:gd name="connsiteY31" fmla="*/ 2403 h 10000"/>
              <a:gd name="connsiteX32" fmla="*/ 3488 w 9815"/>
              <a:gd name="connsiteY32" fmla="*/ 2248 h 10000"/>
              <a:gd name="connsiteX33" fmla="*/ 3488 w 9815"/>
              <a:gd name="connsiteY33" fmla="*/ 2325 h 10000"/>
              <a:gd name="connsiteX34" fmla="*/ 3538 w 9815"/>
              <a:gd name="connsiteY34" fmla="*/ 2559 h 10000"/>
              <a:gd name="connsiteX35" fmla="*/ 3395 w 9815"/>
              <a:gd name="connsiteY35" fmla="*/ 2946 h 10000"/>
              <a:gd name="connsiteX36" fmla="*/ 3488 w 9815"/>
              <a:gd name="connsiteY36" fmla="*/ 3256 h 10000"/>
              <a:gd name="connsiteX37" fmla="*/ 3439 w 9815"/>
              <a:gd name="connsiteY37" fmla="*/ 3566 h 10000"/>
              <a:gd name="connsiteX38" fmla="*/ 3439 w 9815"/>
              <a:gd name="connsiteY38" fmla="*/ 3799 h 10000"/>
              <a:gd name="connsiteX39" fmla="*/ 3581 w 9815"/>
              <a:gd name="connsiteY39" fmla="*/ 3799 h 10000"/>
              <a:gd name="connsiteX40" fmla="*/ 3488 w 9815"/>
              <a:gd name="connsiteY40" fmla="*/ 3876 h 10000"/>
              <a:gd name="connsiteX41" fmla="*/ 3538 w 9815"/>
              <a:gd name="connsiteY41" fmla="*/ 4263 h 10000"/>
              <a:gd name="connsiteX42" fmla="*/ 3256 w 9815"/>
              <a:gd name="connsiteY42" fmla="*/ 4652 h 10000"/>
              <a:gd name="connsiteX43" fmla="*/ 3208 w 9815"/>
              <a:gd name="connsiteY43" fmla="*/ 4574 h 10000"/>
              <a:gd name="connsiteX44" fmla="*/ 3395 w 9815"/>
              <a:gd name="connsiteY44" fmla="*/ 4186 h 10000"/>
              <a:gd name="connsiteX45" fmla="*/ 3439 w 9815"/>
              <a:gd name="connsiteY45" fmla="*/ 3954 h 10000"/>
              <a:gd name="connsiteX46" fmla="*/ 3343 w 9815"/>
              <a:gd name="connsiteY46" fmla="*/ 3799 h 10000"/>
              <a:gd name="connsiteX47" fmla="*/ 3343 w 9815"/>
              <a:gd name="connsiteY47" fmla="*/ 3023 h 10000"/>
              <a:gd name="connsiteX48" fmla="*/ 3303 w 9815"/>
              <a:gd name="connsiteY48" fmla="*/ 2868 h 10000"/>
              <a:gd name="connsiteX49" fmla="*/ 3343 w 9815"/>
              <a:gd name="connsiteY49" fmla="*/ 2403 h 10000"/>
              <a:gd name="connsiteX50" fmla="*/ 3256 w 9815"/>
              <a:gd name="connsiteY50" fmla="*/ 2325 h 10000"/>
              <a:gd name="connsiteX51" fmla="*/ 3303 w 9815"/>
              <a:gd name="connsiteY51" fmla="*/ 2248 h 10000"/>
              <a:gd name="connsiteX52" fmla="*/ 3256 w 9815"/>
              <a:gd name="connsiteY52" fmla="*/ 2093 h 10000"/>
              <a:gd name="connsiteX53" fmla="*/ 3159 w 9815"/>
              <a:gd name="connsiteY53" fmla="*/ 2170 h 10000"/>
              <a:gd name="connsiteX54" fmla="*/ 2929 w 9815"/>
              <a:gd name="connsiteY54" fmla="*/ 3178 h 10000"/>
              <a:gd name="connsiteX55" fmla="*/ 2929 w 9815"/>
              <a:gd name="connsiteY55" fmla="*/ 3566 h 10000"/>
              <a:gd name="connsiteX56" fmla="*/ 3069 w 9815"/>
              <a:gd name="connsiteY56" fmla="*/ 3876 h 10000"/>
              <a:gd name="connsiteX57" fmla="*/ 3069 w 9815"/>
              <a:gd name="connsiteY57" fmla="*/ 4031 h 10000"/>
              <a:gd name="connsiteX58" fmla="*/ 2929 w 9815"/>
              <a:gd name="connsiteY58" fmla="*/ 3876 h 10000"/>
              <a:gd name="connsiteX59" fmla="*/ 2374 w 9815"/>
              <a:gd name="connsiteY59" fmla="*/ 3256 h 10000"/>
              <a:gd name="connsiteX60" fmla="*/ 2326 w 9815"/>
              <a:gd name="connsiteY60" fmla="*/ 3411 h 10000"/>
              <a:gd name="connsiteX61" fmla="*/ 2512 w 9815"/>
              <a:gd name="connsiteY61" fmla="*/ 3799 h 10000"/>
              <a:gd name="connsiteX62" fmla="*/ 2417 w 9815"/>
              <a:gd name="connsiteY62" fmla="*/ 3876 h 10000"/>
              <a:gd name="connsiteX63" fmla="*/ 2374 w 9815"/>
              <a:gd name="connsiteY63" fmla="*/ 3799 h 10000"/>
              <a:gd name="connsiteX64" fmla="*/ 2094 w 9815"/>
              <a:gd name="connsiteY64" fmla="*/ 3954 h 10000"/>
              <a:gd name="connsiteX65" fmla="*/ 2048 w 9815"/>
              <a:gd name="connsiteY65" fmla="*/ 4109 h 10000"/>
              <a:gd name="connsiteX66" fmla="*/ 2001 w 9815"/>
              <a:gd name="connsiteY66" fmla="*/ 3954 h 10000"/>
              <a:gd name="connsiteX67" fmla="*/ 2001 w 9815"/>
              <a:gd name="connsiteY67" fmla="*/ 3799 h 10000"/>
              <a:gd name="connsiteX68" fmla="*/ 1533 w 9815"/>
              <a:gd name="connsiteY68" fmla="*/ 4263 h 10000"/>
              <a:gd name="connsiteX69" fmla="*/ 1533 w 9815"/>
              <a:gd name="connsiteY69" fmla="*/ 4418 h 10000"/>
              <a:gd name="connsiteX70" fmla="*/ 1444 w 9815"/>
              <a:gd name="connsiteY70" fmla="*/ 4496 h 10000"/>
              <a:gd name="connsiteX71" fmla="*/ 1301 w 9815"/>
              <a:gd name="connsiteY71" fmla="*/ 4341 h 10000"/>
              <a:gd name="connsiteX72" fmla="*/ 1444 w 9815"/>
              <a:gd name="connsiteY72" fmla="*/ 4186 h 10000"/>
              <a:gd name="connsiteX73" fmla="*/ 1396 w 9815"/>
              <a:gd name="connsiteY73" fmla="*/ 3954 h 10000"/>
              <a:gd name="connsiteX74" fmla="*/ 1210 w 9815"/>
              <a:gd name="connsiteY74" fmla="*/ 3876 h 10000"/>
              <a:gd name="connsiteX75" fmla="*/ 1258 w 9815"/>
              <a:gd name="connsiteY75" fmla="*/ 4031 h 10000"/>
              <a:gd name="connsiteX76" fmla="*/ 1258 w 9815"/>
              <a:gd name="connsiteY76" fmla="*/ 4418 h 10000"/>
              <a:gd name="connsiteX77" fmla="*/ 1301 w 9815"/>
              <a:gd name="connsiteY77" fmla="*/ 4574 h 10000"/>
              <a:gd name="connsiteX78" fmla="*/ 1258 w 9815"/>
              <a:gd name="connsiteY78" fmla="*/ 4729 h 10000"/>
              <a:gd name="connsiteX79" fmla="*/ 1115 w 9815"/>
              <a:gd name="connsiteY79" fmla="*/ 4652 h 10000"/>
              <a:gd name="connsiteX80" fmla="*/ 930 w 9815"/>
              <a:gd name="connsiteY80" fmla="*/ 4884 h 10000"/>
              <a:gd name="connsiteX81" fmla="*/ 1021 w 9815"/>
              <a:gd name="connsiteY81" fmla="*/ 5194 h 10000"/>
              <a:gd name="connsiteX82" fmla="*/ 743 w 9815"/>
              <a:gd name="connsiteY82" fmla="*/ 5039 h 10000"/>
              <a:gd name="connsiteX83" fmla="*/ 697 w 9815"/>
              <a:gd name="connsiteY83" fmla="*/ 5116 h 10000"/>
              <a:gd name="connsiteX84" fmla="*/ 791 w 9815"/>
              <a:gd name="connsiteY84" fmla="*/ 5349 h 10000"/>
              <a:gd name="connsiteX85" fmla="*/ 697 w 9815"/>
              <a:gd name="connsiteY85" fmla="*/ 5349 h 10000"/>
              <a:gd name="connsiteX86" fmla="*/ 559 w 9815"/>
              <a:gd name="connsiteY86" fmla="*/ 5194 h 10000"/>
              <a:gd name="connsiteX87" fmla="*/ 559 w 9815"/>
              <a:gd name="connsiteY87" fmla="*/ 4729 h 10000"/>
              <a:gd name="connsiteX88" fmla="*/ 422 w 9815"/>
              <a:gd name="connsiteY88" fmla="*/ 4574 h 10000"/>
              <a:gd name="connsiteX89" fmla="*/ 372 w 9815"/>
              <a:gd name="connsiteY89" fmla="*/ 4418 h 10000"/>
              <a:gd name="connsiteX90" fmla="*/ 465 w 9815"/>
              <a:gd name="connsiteY90" fmla="*/ 4496 h 10000"/>
              <a:gd name="connsiteX91" fmla="*/ 836 w 9815"/>
              <a:gd name="connsiteY91" fmla="*/ 4729 h 10000"/>
              <a:gd name="connsiteX92" fmla="*/ 1067 w 9815"/>
              <a:gd name="connsiteY92" fmla="*/ 4496 h 10000"/>
              <a:gd name="connsiteX93" fmla="*/ 1021 w 9815"/>
              <a:gd name="connsiteY93" fmla="*/ 4263 h 10000"/>
              <a:gd name="connsiteX94" fmla="*/ 743 w 9815"/>
              <a:gd name="connsiteY94" fmla="*/ 3799 h 10000"/>
              <a:gd name="connsiteX95" fmla="*/ 465 w 9815"/>
              <a:gd name="connsiteY95" fmla="*/ 3644 h 10000"/>
              <a:gd name="connsiteX96" fmla="*/ 465 w 9815"/>
              <a:gd name="connsiteY96" fmla="*/ 3566 h 10000"/>
              <a:gd name="connsiteX97" fmla="*/ 372 w 9815"/>
              <a:gd name="connsiteY97" fmla="*/ 3488 h 10000"/>
              <a:gd name="connsiteX98" fmla="*/ 277 w 9815"/>
              <a:gd name="connsiteY98" fmla="*/ 3566 h 10000"/>
              <a:gd name="connsiteX99" fmla="*/ 277 w 9815"/>
              <a:gd name="connsiteY99" fmla="*/ 3644 h 10000"/>
              <a:gd name="connsiteX100" fmla="*/ 233 w 9815"/>
              <a:gd name="connsiteY100" fmla="*/ 3644 h 10000"/>
              <a:gd name="connsiteX101" fmla="*/ 139 w 9815"/>
              <a:gd name="connsiteY101" fmla="*/ 3799 h 10000"/>
              <a:gd name="connsiteX102" fmla="*/ 139 w 9815"/>
              <a:gd name="connsiteY102" fmla="*/ 4031 h 10000"/>
              <a:gd name="connsiteX103" fmla="*/ 233 w 9815"/>
              <a:gd name="connsiteY103" fmla="*/ 4186 h 10000"/>
              <a:gd name="connsiteX104" fmla="*/ 186 w 9815"/>
              <a:gd name="connsiteY104" fmla="*/ 4418 h 10000"/>
              <a:gd name="connsiteX105" fmla="*/ 233 w 9815"/>
              <a:gd name="connsiteY105" fmla="*/ 4807 h 10000"/>
              <a:gd name="connsiteX106" fmla="*/ 186 w 9815"/>
              <a:gd name="connsiteY106" fmla="*/ 5039 h 10000"/>
              <a:gd name="connsiteX107" fmla="*/ 277 w 9815"/>
              <a:gd name="connsiteY107" fmla="*/ 5271 h 10000"/>
              <a:gd name="connsiteX108" fmla="*/ 233 w 9815"/>
              <a:gd name="connsiteY108" fmla="*/ 5426 h 10000"/>
              <a:gd name="connsiteX109" fmla="*/ 324 w 9815"/>
              <a:gd name="connsiteY109" fmla="*/ 5582 h 10000"/>
              <a:gd name="connsiteX110" fmla="*/ 324 w 9815"/>
              <a:gd name="connsiteY110" fmla="*/ 5659 h 10000"/>
              <a:gd name="connsiteX111" fmla="*/ 186 w 9815"/>
              <a:gd name="connsiteY111" fmla="*/ 6047 h 10000"/>
              <a:gd name="connsiteX112" fmla="*/ 43 w 9815"/>
              <a:gd name="connsiteY112" fmla="*/ 6202 h 10000"/>
              <a:gd name="connsiteX113" fmla="*/ 92 w 9815"/>
              <a:gd name="connsiteY113" fmla="*/ 6202 h 10000"/>
              <a:gd name="connsiteX114" fmla="*/ 186 w 9815"/>
              <a:gd name="connsiteY114" fmla="*/ 6356 h 10000"/>
              <a:gd name="connsiteX115" fmla="*/ 92 w 9815"/>
              <a:gd name="connsiteY115" fmla="*/ 6512 h 10000"/>
              <a:gd name="connsiteX116" fmla="*/ 43 w 9815"/>
              <a:gd name="connsiteY116" fmla="*/ 6590 h 10000"/>
              <a:gd name="connsiteX117" fmla="*/ 0 w 9815"/>
              <a:gd name="connsiteY117" fmla="*/ 6590 h 10000"/>
              <a:gd name="connsiteX118" fmla="*/ 43 w 9815"/>
              <a:gd name="connsiteY118" fmla="*/ 6822 h 10000"/>
              <a:gd name="connsiteX119" fmla="*/ 43 w 9815"/>
              <a:gd name="connsiteY119" fmla="*/ 6900 h 10000"/>
              <a:gd name="connsiteX120" fmla="*/ 43 w 9815"/>
              <a:gd name="connsiteY120" fmla="*/ 6977 h 10000"/>
              <a:gd name="connsiteX121" fmla="*/ 43 w 9815"/>
              <a:gd name="connsiteY121" fmla="*/ 7054 h 10000"/>
              <a:gd name="connsiteX122" fmla="*/ 92 w 9815"/>
              <a:gd name="connsiteY122" fmla="*/ 7209 h 10000"/>
              <a:gd name="connsiteX123" fmla="*/ 233 w 9815"/>
              <a:gd name="connsiteY123" fmla="*/ 7287 h 10000"/>
              <a:gd name="connsiteX124" fmla="*/ 277 w 9815"/>
              <a:gd name="connsiteY124" fmla="*/ 7364 h 10000"/>
              <a:gd name="connsiteX125" fmla="*/ 277 w 9815"/>
              <a:gd name="connsiteY125" fmla="*/ 7520 h 10000"/>
              <a:gd name="connsiteX126" fmla="*/ 372 w 9815"/>
              <a:gd name="connsiteY126" fmla="*/ 7752 h 10000"/>
              <a:gd name="connsiteX127" fmla="*/ 422 w 9815"/>
              <a:gd name="connsiteY127" fmla="*/ 7752 h 10000"/>
              <a:gd name="connsiteX128" fmla="*/ 372 w 9815"/>
              <a:gd name="connsiteY128" fmla="*/ 7907 h 10000"/>
              <a:gd name="connsiteX129" fmla="*/ 324 w 9815"/>
              <a:gd name="connsiteY129" fmla="*/ 7830 h 10000"/>
              <a:gd name="connsiteX130" fmla="*/ 324 w 9815"/>
              <a:gd name="connsiteY130" fmla="*/ 7907 h 10000"/>
              <a:gd name="connsiteX131" fmla="*/ 372 w 9815"/>
              <a:gd name="connsiteY131" fmla="*/ 8062 h 10000"/>
              <a:gd name="connsiteX132" fmla="*/ 513 w 9815"/>
              <a:gd name="connsiteY132" fmla="*/ 8062 h 10000"/>
              <a:gd name="connsiteX133" fmla="*/ 559 w 9815"/>
              <a:gd name="connsiteY133" fmla="*/ 8140 h 10000"/>
              <a:gd name="connsiteX134" fmla="*/ 513 w 9815"/>
              <a:gd name="connsiteY134" fmla="*/ 8140 h 10000"/>
              <a:gd name="connsiteX135" fmla="*/ 559 w 9815"/>
              <a:gd name="connsiteY135" fmla="*/ 8217 h 10000"/>
              <a:gd name="connsiteX136" fmla="*/ 604 w 9815"/>
              <a:gd name="connsiteY136" fmla="*/ 8217 h 10000"/>
              <a:gd name="connsiteX137" fmla="*/ 651 w 9815"/>
              <a:gd name="connsiteY137" fmla="*/ 8372 h 10000"/>
              <a:gd name="connsiteX138" fmla="*/ 697 w 9815"/>
              <a:gd name="connsiteY138" fmla="*/ 8449 h 10000"/>
              <a:gd name="connsiteX139" fmla="*/ 743 w 9815"/>
              <a:gd name="connsiteY139" fmla="*/ 8372 h 10000"/>
              <a:gd name="connsiteX140" fmla="*/ 978 w 9815"/>
              <a:gd name="connsiteY140" fmla="*/ 8605 h 10000"/>
              <a:gd name="connsiteX141" fmla="*/ 930 w 9815"/>
              <a:gd name="connsiteY141" fmla="*/ 8915 h 10000"/>
              <a:gd name="connsiteX142" fmla="*/ 882 w 9815"/>
              <a:gd name="connsiteY142" fmla="*/ 8838 h 10000"/>
              <a:gd name="connsiteX143" fmla="*/ 836 w 9815"/>
              <a:gd name="connsiteY143" fmla="*/ 8915 h 10000"/>
              <a:gd name="connsiteX144" fmla="*/ 836 w 9815"/>
              <a:gd name="connsiteY144" fmla="*/ 9070 h 10000"/>
              <a:gd name="connsiteX145" fmla="*/ 882 w 9815"/>
              <a:gd name="connsiteY145" fmla="*/ 8993 h 10000"/>
              <a:gd name="connsiteX146" fmla="*/ 930 w 9815"/>
              <a:gd name="connsiteY146" fmla="*/ 9070 h 10000"/>
              <a:gd name="connsiteX147" fmla="*/ 791 w 9815"/>
              <a:gd name="connsiteY147" fmla="*/ 9147 h 10000"/>
              <a:gd name="connsiteX148" fmla="*/ 836 w 9815"/>
              <a:gd name="connsiteY148" fmla="*/ 9225 h 10000"/>
              <a:gd name="connsiteX149" fmla="*/ 743 w 9815"/>
              <a:gd name="connsiteY149" fmla="*/ 9380 h 10000"/>
              <a:gd name="connsiteX150" fmla="*/ 697 w 9815"/>
              <a:gd name="connsiteY150" fmla="*/ 9380 h 10000"/>
              <a:gd name="connsiteX151" fmla="*/ 743 w 9815"/>
              <a:gd name="connsiteY151" fmla="*/ 9380 h 10000"/>
              <a:gd name="connsiteX152" fmla="*/ 930 w 9815"/>
              <a:gd name="connsiteY152" fmla="*/ 9691 h 10000"/>
              <a:gd name="connsiteX153" fmla="*/ 1164 w 9815"/>
              <a:gd name="connsiteY153" fmla="*/ 9691 h 10000"/>
              <a:gd name="connsiteX154" fmla="*/ 1258 w 9815"/>
              <a:gd name="connsiteY154" fmla="*/ 9768 h 10000"/>
              <a:gd name="connsiteX155" fmla="*/ 1349 w 9815"/>
              <a:gd name="connsiteY155" fmla="*/ 9768 h 10000"/>
              <a:gd name="connsiteX156" fmla="*/ 1444 w 9815"/>
              <a:gd name="connsiteY156" fmla="*/ 9923 h 10000"/>
              <a:gd name="connsiteX157" fmla="*/ 1488 w 9815"/>
              <a:gd name="connsiteY157" fmla="*/ 10000 h 10000"/>
              <a:gd name="connsiteX158" fmla="*/ 1533 w 9815"/>
              <a:gd name="connsiteY158" fmla="*/ 10000 h 10000"/>
              <a:gd name="connsiteX159" fmla="*/ 1583 w 9815"/>
              <a:gd name="connsiteY159" fmla="*/ 9923 h 10000"/>
              <a:gd name="connsiteX160" fmla="*/ 1488 w 9815"/>
              <a:gd name="connsiteY160" fmla="*/ 9768 h 10000"/>
              <a:gd name="connsiteX161" fmla="*/ 1488 w 9815"/>
              <a:gd name="connsiteY161" fmla="*/ 9613 h 10000"/>
              <a:gd name="connsiteX162" fmla="*/ 1444 w 9815"/>
              <a:gd name="connsiteY162" fmla="*/ 9457 h 10000"/>
              <a:gd name="connsiteX163" fmla="*/ 1533 w 9815"/>
              <a:gd name="connsiteY163" fmla="*/ 9225 h 10000"/>
              <a:gd name="connsiteX164" fmla="*/ 1583 w 9815"/>
              <a:gd name="connsiteY164" fmla="*/ 9302 h 10000"/>
              <a:gd name="connsiteX165" fmla="*/ 1628 w 9815"/>
              <a:gd name="connsiteY165" fmla="*/ 9225 h 10000"/>
              <a:gd name="connsiteX166" fmla="*/ 1628 w 9815"/>
              <a:gd name="connsiteY166" fmla="*/ 9147 h 10000"/>
              <a:gd name="connsiteX167" fmla="*/ 1583 w 9815"/>
              <a:gd name="connsiteY167" fmla="*/ 9147 h 10000"/>
              <a:gd name="connsiteX168" fmla="*/ 1628 w 9815"/>
              <a:gd name="connsiteY168" fmla="*/ 9070 h 10000"/>
              <a:gd name="connsiteX169" fmla="*/ 1583 w 9815"/>
              <a:gd name="connsiteY169" fmla="*/ 8915 h 10000"/>
              <a:gd name="connsiteX170" fmla="*/ 1488 w 9815"/>
              <a:gd name="connsiteY170" fmla="*/ 8915 h 10000"/>
              <a:gd name="connsiteX171" fmla="*/ 1444 w 9815"/>
              <a:gd name="connsiteY171" fmla="*/ 8760 h 10000"/>
              <a:gd name="connsiteX172" fmla="*/ 1488 w 9815"/>
              <a:gd name="connsiteY172" fmla="*/ 8372 h 10000"/>
              <a:gd name="connsiteX173" fmla="*/ 1583 w 9815"/>
              <a:gd name="connsiteY173" fmla="*/ 8528 h 10000"/>
              <a:gd name="connsiteX174" fmla="*/ 1628 w 9815"/>
              <a:gd name="connsiteY174" fmla="*/ 8528 h 10000"/>
              <a:gd name="connsiteX175" fmla="*/ 1583 w 9815"/>
              <a:gd name="connsiteY175" fmla="*/ 8372 h 10000"/>
              <a:gd name="connsiteX176" fmla="*/ 1721 w 9815"/>
              <a:gd name="connsiteY176" fmla="*/ 8140 h 10000"/>
              <a:gd name="connsiteX177" fmla="*/ 1817 w 9815"/>
              <a:gd name="connsiteY177" fmla="*/ 8217 h 10000"/>
              <a:gd name="connsiteX178" fmla="*/ 1859 w 9815"/>
              <a:gd name="connsiteY178" fmla="*/ 8140 h 10000"/>
              <a:gd name="connsiteX179" fmla="*/ 1953 w 9815"/>
              <a:gd name="connsiteY179" fmla="*/ 8217 h 10000"/>
              <a:gd name="connsiteX180" fmla="*/ 2094 w 9815"/>
              <a:gd name="connsiteY180" fmla="*/ 8372 h 10000"/>
              <a:gd name="connsiteX181" fmla="*/ 2186 w 9815"/>
              <a:gd name="connsiteY181" fmla="*/ 8295 h 10000"/>
              <a:gd name="connsiteX182" fmla="*/ 2280 w 9815"/>
              <a:gd name="connsiteY182" fmla="*/ 8295 h 10000"/>
              <a:gd name="connsiteX183" fmla="*/ 2326 w 9815"/>
              <a:gd name="connsiteY183" fmla="*/ 8372 h 10000"/>
              <a:gd name="connsiteX184" fmla="*/ 2512 w 9815"/>
              <a:gd name="connsiteY184" fmla="*/ 8372 h 10000"/>
              <a:gd name="connsiteX185" fmla="*/ 2557 w 9815"/>
              <a:gd name="connsiteY185" fmla="*/ 8217 h 10000"/>
              <a:gd name="connsiteX186" fmla="*/ 2417 w 9815"/>
              <a:gd name="connsiteY186" fmla="*/ 8140 h 10000"/>
              <a:gd name="connsiteX187" fmla="*/ 2512 w 9815"/>
              <a:gd name="connsiteY187" fmla="*/ 8062 h 10000"/>
              <a:gd name="connsiteX188" fmla="*/ 2463 w 9815"/>
              <a:gd name="connsiteY188" fmla="*/ 7985 h 10000"/>
              <a:gd name="connsiteX189" fmla="*/ 2512 w 9815"/>
              <a:gd name="connsiteY189" fmla="*/ 7907 h 10000"/>
              <a:gd name="connsiteX190" fmla="*/ 2512 w 9815"/>
              <a:gd name="connsiteY190" fmla="*/ 7675 h 10000"/>
              <a:gd name="connsiteX191" fmla="*/ 2603 w 9815"/>
              <a:gd name="connsiteY191" fmla="*/ 7752 h 10000"/>
              <a:gd name="connsiteX192" fmla="*/ 3024 w 9815"/>
              <a:gd name="connsiteY192" fmla="*/ 7520 h 10000"/>
              <a:gd name="connsiteX193" fmla="*/ 3024 w 9815"/>
              <a:gd name="connsiteY193" fmla="*/ 7442 h 10000"/>
              <a:gd name="connsiteX194" fmla="*/ 3069 w 9815"/>
              <a:gd name="connsiteY194" fmla="*/ 7442 h 10000"/>
              <a:gd name="connsiteX195" fmla="*/ 3208 w 9815"/>
              <a:gd name="connsiteY195" fmla="*/ 7442 h 10000"/>
              <a:gd name="connsiteX196" fmla="*/ 3256 w 9815"/>
              <a:gd name="connsiteY196" fmla="*/ 7598 h 10000"/>
              <a:gd name="connsiteX197" fmla="*/ 3256 w 9815"/>
              <a:gd name="connsiteY197" fmla="*/ 7675 h 10000"/>
              <a:gd name="connsiteX198" fmla="*/ 3303 w 9815"/>
              <a:gd name="connsiteY198" fmla="*/ 7675 h 10000"/>
              <a:gd name="connsiteX199" fmla="*/ 3395 w 9815"/>
              <a:gd name="connsiteY199" fmla="*/ 7752 h 10000"/>
              <a:gd name="connsiteX200" fmla="*/ 3395 w 9815"/>
              <a:gd name="connsiteY200" fmla="*/ 7830 h 10000"/>
              <a:gd name="connsiteX201" fmla="*/ 3488 w 9815"/>
              <a:gd name="connsiteY201" fmla="*/ 7830 h 10000"/>
              <a:gd name="connsiteX202" fmla="*/ 3581 w 9815"/>
              <a:gd name="connsiteY202" fmla="*/ 7675 h 10000"/>
              <a:gd name="connsiteX203" fmla="*/ 3674 w 9815"/>
              <a:gd name="connsiteY203" fmla="*/ 7598 h 10000"/>
              <a:gd name="connsiteX204" fmla="*/ 3724 w 9815"/>
              <a:gd name="connsiteY204" fmla="*/ 7830 h 10000"/>
              <a:gd name="connsiteX205" fmla="*/ 3906 w 9815"/>
              <a:gd name="connsiteY205" fmla="*/ 8372 h 10000"/>
              <a:gd name="connsiteX206" fmla="*/ 3955 w 9815"/>
              <a:gd name="connsiteY206" fmla="*/ 8217 h 10000"/>
              <a:gd name="connsiteX207" fmla="*/ 4001 w 9815"/>
              <a:gd name="connsiteY207" fmla="*/ 8372 h 10000"/>
              <a:gd name="connsiteX208" fmla="*/ 4139 w 9815"/>
              <a:gd name="connsiteY208" fmla="*/ 8295 h 10000"/>
              <a:gd name="connsiteX209" fmla="*/ 4281 w 9815"/>
              <a:gd name="connsiteY209" fmla="*/ 8528 h 10000"/>
              <a:gd name="connsiteX210" fmla="*/ 4372 w 9815"/>
              <a:gd name="connsiteY210" fmla="*/ 8605 h 10000"/>
              <a:gd name="connsiteX211" fmla="*/ 4372 w 9815"/>
              <a:gd name="connsiteY211" fmla="*/ 8528 h 10000"/>
              <a:gd name="connsiteX212" fmla="*/ 4419 w 9815"/>
              <a:gd name="connsiteY212" fmla="*/ 8683 h 10000"/>
              <a:gd name="connsiteX213" fmla="*/ 4372 w 9815"/>
              <a:gd name="connsiteY213" fmla="*/ 8760 h 10000"/>
              <a:gd name="connsiteX214" fmla="*/ 4467 w 9815"/>
              <a:gd name="connsiteY214" fmla="*/ 8683 h 10000"/>
              <a:gd name="connsiteX215" fmla="*/ 4511 w 9815"/>
              <a:gd name="connsiteY215" fmla="*/ 8605 h 10000"/>
              <a:gd name="connsiteX216" fmla="*/ 4744 w 9815"/>
              <a:gd name="connsiteY216" fmla="*/ 8372 h 10000"/>
              <a:gd name="connsiteX217" fmla="*/ 4930 w 9815"/>
              <a:gd name="connsiteY217" fmla="*/ 8449 h 10000"/>
              <a:gd name="connsiteX218" fmla="*/ 5022 w 9815"/>
              <a:gd name="connsiteY218" fmla="*/ 8528 h 10000"/>
              <a:gd name="connsiteX219" fmla="*/ 5207 w 9815"/>
              <a:gd name="connsiteY219" fmla="*/ 8528 h 10000"/>
              <a:gd name="connsiteX220" fmla="*/ 5207 w 9815"/>
              <a:gd name="connsiteY220" fmla="*/ 8372 h 10000"/>
              <a:gd name="connsiteX221" fmla="*/ 5207 w 9815"/>
              <a:gd name="connsiteY221" fmla="*/ 8217 h 10000"/>
              <a:gd name="connsiteX222" fmla="*/ 5301 w 9815"/>
              <a:gd name="connsiteY222" fmla="*/ 8140 h 10000"/>
              <a:gd name="connsiteX223" fmla="*/ 5487 w 9815"/>
              <a:gd name="connsiteY223" fmla="*/ 8217 h 10000"/>
              <a:gd name="connsiteX224" fmla="*/ 5580 w 9815"/>
              <a:gd name="connsiteY224" fmla="*/ 8449 h 10000"/>
              <a:gd name="connsiteX225" fmla="*/ 5628 w 9815"/>
              <a:gd name="connsiteY225" fmla="*/ 8449 h 10000"/>
              <a:gd name="connsiteX226" fmla="*/ 5721 w 9815"/>
              <a:gd name="connsiteY226" fmla="*/ 8372 h 10000"/>
              <a:gd name="connsiteX227" fmla="*/ 6003 w 9815"/>
              <a:gd name="connsiteY227" fmla="*/ 8605 h 10000"/>
              <a:gd name="connsiteX228" fmla="*/ 6141 w 9815"/>
              <a:gd name="connsiteY228" fmla="*/ 8683 h 10000"/>
              <a:gd name="connsiteX229" fmla="*/ 6327 w 9815"/>
              <a:gd name="connsiteY229" fmla="*/ 8605 h 10000"/>
              <a:gd name="connsiteX230" fmla="*/ 6418 w 9815"/>
              <a:gd name="connsiteY230" fmla="*/ 8449 h 10000"/>
              <a:gd name="connsiteX231" fmla="*/ 6558 w 9815"/>
              <a:gd name="connsiteY231" fmla="*/ 8528 h 10000"/>
              <a:gd name="connsiteX232" fmla="*/ 6651 w 9815"/>
              <a:gd name="connsiteY232" fmla="*/ 8605 h 10000"/>
              <a:gd name="connsiteX233" fmla="*/ 8233 w 9815"/>
              <a:gd name="connsiteY233" fmla="*/ 7675 h 10000"/>
              <a:gd name="connsiteX234" fmla="*/ 8140 w 9815"/>
              <a:gd name="connsiteY234" fmla="*/ 7675 h 10000"/>
              <a:gd name="connsiteX235" fmla="*/ 8094 w 9815"/>
              <a:gd name="connsiteY235" fmla="*/ 7675 h 10000"/>
              <a:gd name="connsiteX236" fmla="*/ 8046 w 9815"/>
              <a:gd name="connsiteY236" fmla="*/ 7598 h 10000"/>
              <a:gd name="connsiteX237" fmla="*/ 7955 w 9815"/>
              <a:gd name="connsiteY237" fmla="*/ 7598 h 10000"/>
              <a:gd name="connsiteX238" fmla="*/ 7955 w 9815"/>
              <a:gd name="connsiteY238" fmla="*/ 7520 h 10000"/>
              <a:gd name="connsiteX239" fmla="*/ 8094 w 9815"/>
              <a:gd name="connsiteY239" fmla="*/ 7287 h 10000"/>
              <a:gd name="connsiteX240" fmla="*/ 8516 w 9815"/>
              <a:gd name="connsiteY240" fmla="*/ 6590 h 10000"/>
              <a:gd name="connsiteX241" fmla="*/ 8698 w 9815"/>
              <a:gd name="connsiteY241" fmla="*/ 6512 h 10000"/>
              <a:gd name="connsiteX242" fmla="*/ 8743 w 9815"/>
              <a:gd name="connsiteY242" fmla="*/ 6590 h 10000"/>
              <a:gd name="connsiteX243" fmla="*/ 8792 w 9815"/>
              <a:gd name="connsiteY243" fmla="*/ 6512 h 10000"/>
              <a:gd name="connsiteX244" fmla="*/ 8928 w 9815"/>
              <a:gd name="connsiteY244" fmla="*/ 6590 h 10000"/>
              <a:gd name="connsiteX245" fmla="*/ 8981 w 9815"/>
              <a:gd name="connsiteY245" fmla="*/ 6434 h 10000"/>
              <a:gd name="connsiteX246" fmla="*/ 9116 w 9815"/>
              <a:gd name="connsiteY246" fmla="*/ 6512 h 10000"/>
              <a:gd name="connsiteX247" fmla="*/ 9161 w 9815"/>
              <a:gd name="connsiteY247" fmla="*/ 6512 h 10000"/>
              <a:gd name="connsiteX248" fmla="*/ 9116 w 9815"/>
              <a:gd name="connsiteY248" fmla="*/ 6590 h 10000"/>
              <a:gd name="connsiteX249" fmla="*/ 9116 w 9815"/>
              <a:gd name="connsiteY249" fmla="*/ 6667 h 10000"/>
              <a:gd name="connsiteX250" fmla="*/ 9393 w 9815"/>
              <a:gd name="connsiteY250" fmla="*/ 6590 h 10000"/>
              <a:gd name="connsiteX251" fmla="*/ 9348 w 9815"/>
              <a:gd name="connsiteY251" fmla="*/ 6512 h 10000"/>
              <a:gd name="connsiteX252" fmla="*/ 9537 w 9815"/>
              <a:gd name="connsiteY252" fmla="*/ 5969 h 10000"/>
              <a:gd name="connsiteX253" fmla="*/ 9766 w 9815"/>
              <a:gd name="connsiteY253" fmla="*/ 5892 h 10000"/>
              <a:gd name="connsiteX254" fmla="*/ 9766 w 9815"/>
              <a:gd name="connsiteY254" fmla="*/ 6047 h 10000"/>
              <a:gd name="connsiteX255" fmla="*/ 9766 w 9815"/>
              <a:gd name="connsiteY255" fmla="*/ 6202 h 10000"/>
              <a:gd name="connsiteX256" fmla="*/ 9815 w 9815"/>
              <a:gd name="connsiteY256" fmla="*/ 3566 h 10000"/>
              <a:gd name="connsiteX257" fmla="*/ 9720 w 9815"/>
              <a:gd name="connsiteY257" fmla="*/ 3488 h 10000"/>
              <a:gd name="connsiteX258" fmla="*/ 9766 w 9815"/>
              <a:gd name="connsiteY258" fmla="*/ 3333 h 10000"/>
              <a:gd name="connsiteX259" fmla="*/ 9673 w 9815"/>
              <a:gd name="connsiteY259" fmla="*/ 3101 h 10000"/>
              <a:gd name="connsiteX260" fmla="*/ 9486 w 9815"/>
              <a:gd name="connsiteY260" fmla="*/ 3023 h 10000"/>
              <a:gd name="connsiteX261" fmla="*/ 9211 w 9815"/>
              <a:gd name="connsiteY261" fmla="*/ 3178 h 10000"/>
              <a:gd name="connsiteX262" fmla="*/ 9161 w 9815"/>
              <a:gd name="connsiteY262" fmla="*/ 2946 h 10000"/>
              <a:gd name="connsiteX263" fmla="*/ 9070 w 9815"/>
              <a:gd name="connsiteY263" fmla="*/ 2946 h 10000"/>
              <a:gd name="connsiteX264" fmla="*/ 9023 w 9815"/>
              <a:gd name="connsiteY264" fmla="*/ 2868 h 10000"/>
              <a:gd name="connsiteX265" fmla="*/ 9023 w 9815"/>
              <a:gd name="connsiteY265" fmla="*/ 2636 h 10000"/>
              <a:gd name="connsiteX266" fmla="*/ 8698 w 9815"/>
              <a:gd name="connsiteY266" fmla="*/ 2480 h 10000"/>
              <a:gd name="connsiteX267" fmla="*/ 8326 w 9815"/>
              <a:gd name="connsiteY267" fmla="*/ 2325 h 10000"/>
              <a:gd name="connsiteX268" fmla="*/ 8233 w 9815"/>
              <a:gd name="connsiteY268" fmla="*/ 2636 h 10000"/>
              <a:gd name="connsiteX269" fmla="*/ 8326 w 9815"/>
              <a:gd name="connsiteY269" fmla="*/ 2868 h 10000"/>
              <a:gd name="connsiteX270" fmla="*/ 8046 w 9815"/>
              <a:gd name="connsiteY270" fmla="*/ 2868 h 10000"/>
              <a:gd name="connsiteX271" fmla="*/ 7999 w 9815"/>
              <a:gd name="connsiteY271" fmla="*/ 2868 h 10000"/>
              <a:gd name="connsiteX272" fmla="*/ 7906 w 9815"/>
              <a:gd name="connsiteY272" fmla="*/ 2946 h 10000"/>
              <a:gd name="connsiteX273" fmla="*/ 7767 w 9815"/>
              <a:gd name="connsiteY273" fmla="*/ 2714 h 10000"/>
              <a:gd name="connsiteX274" fmla="*/ 7672 w 9815"/>
              <a:gd name="connsiteY274" fmla="*/ 3178 h 10000"/>
              <a:gd name="connsiteX275" fmla="*/ 7584 w 9815"/>
              <a:gd name="connsiteY275" fmla="*/ 3101 h 10000"/>
              <a:gd name="connsiteX276" fmla="*/ 7488 w 9815"/>
              <a:gd name="connsiteY276" fmla="*/ 2791 h 10000"/>
              <a:gd name="connsiteX277" fmla="*/ 7536 w 9815"/>
              <a:gd name="connsiteY277" fmla="*/ 2403 h 10000"/>
              <a:gd name="connsiteX278" fmla="*/ 7442 w 9815"/>
              <a:gd name="connsiteY278" fmla="*/ 2170 h 10000"/>
              <a:gd name="connsiteX279" fmla="*/ 7163 w 9815"/>
              <a:gd name="connsiteY279" fmla="*/ 2016 h 10000"/>
              <a:gd name="connsiteX280" fmla="*/ 7068 w 9815"/>
              <a:gd name="connsiteY280" fmla="*/ 2016 h 10000"/>
              <a:gd name="connsiteX281" fmla="*/ 7023 w 9815"/>
              <a:gd name="connsiteY281" fmla="*/ 2170 h 10000"/>
              <a:gd name="connsiteX282" fmla="*/ 7068 w 9815"/>
              <a:gd name="connsiteY282" fmla="*/ 2325 h 10000"/>
              <a:gd name="connsiteX283" fmla="*/ 6701 w 9815"/>
              <a:gd name="connsiteY283" fmla="*/ 2248 h 10000"/>
              <a:gd name="connsiteX284" fmla="*/ 6744 w 9815"/>
              <a:gd name="connsiteY284" fmla="*/ 2016 h 10000"/>
              <a:gd name="connsiteX285" fmla="*/ 6513 w 9815"/>
              <a:gd name="connsiteY285" fmla="*/ 1938 h 10000"/>
              <a:gd name="connsiteX286" fmla="*/ 6372 w 9815"/>
              <a:gd name="connsiteY286" fmla="*/ 2093 h 10000"/>
              <a:gd name="connsiteX287" fmla="*/ 6100 w 9815"/>
              <a:gd name="connsiteY287" fmla="*/ 1861 h 10000"/>
              <a:gd name="connsiteX0" fmla="*/ 6215 w 10000"/>
              <a:gd name="connsiteY0" fmla="*/ 1861 h 10000"/>
              <a:gd name="connsiteX1" fmla="*/ 6215 w 10000"/>
              <a:gd name="connsiteY1" fmla="*/ 1861 h 10000"/>
              <a:gd name="connsiteX2" fmla="*/ 6160 w 10000"/>
              <a:gd name="connsiteY2" fmla="*/ 1938 h 10000"/>
              <a:gd name="connsiteX3" fmla="*/ 6215 w 10000"/>
              <a:gd name="connsiteY3" fmla="*/ 2093 h 10000"/>
              <a:gd name="connsiteX4" fmla="*/ 6017 w 10000"/>
              <a:gd name="connsiteY4" fmla="*/ 2248 h 10000"/>
              <a:gd name="connsiteX5" fmla="*/ 5968 w 10000"/>
              <a:gd name="connsiteY5" fmla="*/ 2248 h 10000"/>
              <a:gd name="connsiteX6" fmla="*/ 6017 w 10000"/>
              <a:gd name="connsiteY6" fmla="*/ 2016 h 10000"/>
              <a:gd name="connsiteX7" fmla="*/ 6492 w 10000"/>
              <a:gd name="connsiteY7" fmla="*/ 1318 h 10000"/>
              <a:gd name="connsiteX8" fmla="*/ 6492 w 10000"/>
              <a:gd name="connsiteY8" fmla="*/ 853 h 10000"/>
              <a:gd name="connsiteX9" fmla="*/ 6304 w 10000"/>
              <a:gd name="connsiteY9" fmla="*/ 543 h 10000"/>
              <a:gd name="connsiteX10" fmla="*/ 6066 w 10000"/>
              <a:gd name="connsiteY10" fmla="*/ 543 h 10000"/>
              <a:gd name="connsiteX11" fmla="*/ 6066 w 10000"/>
              <a:gd name="connsiteY11" fmla="*/ 698 h 10000"/>
              <a:gd name="connsiteX12" fmla="*/ 5922 w 10000"/>
              <a:gd name="connsiteY12" fmla="*/ 698 h 10000"/>
              <a:gd name="connsiteX13" fmla="*/ 6017 w 10000"/>
              <a:gd name="connsiteY13" fmla="*/ 387 h 10000"/>
              <a:gd name="connsiteX14" fmla="*/ 5783 w 10000"/>
              <a:gd name="connsiteY14" fmla="*/ 310 h 10000"/>
              <a:gd name="connsiteX15" fmla="*/ 5922 w 10000"/>
              <a:gd name="connsiteY15" fmla="*/ 155 h 10000"/>
              <a:gd name="connsiteX16" fmla="*/ 5783 w 10000"/>
              <a:gd name="connsiteY16" fmla="*/ 0 h 10000"/>
              <a:gd name="connsiteX17" fmla="*/ 5546 w 10000"/>
              <a:gd name="connsiteY17" fmla="*/ 387 h 10000"/>
              <a:gd name="connsiteX18" fmla="*/ 5546 w 10000"/>
              <a:gd name="connsiteY18" fmla="*/ 698 h 10000"/>
              <a:gd name="connsiteX19" fmla="*/ 5401 w 10000"/>
              <a:gd name="connsiteY19" fmla="*/ 698 h 10000"/>
              <a:gd name="connsiteX20" fmla="*/ 4976 w 10000"/>
              <a:gd name="connsiteY20" fmla="*/ 853 h 10000"/>
              <a:gd name="connsiteX21" fmla="*/ 4596 w 10000"/>
              <a:gd name="connsiteY21" fmla="*/ 1240 h 10000"/>
              <a:gd name="connsiteX22" fmla="*/ 4454 w 10000"/>
              <a:gd name="connsiteY22" fmla="*/ 1551 h 10000"/>
              <a:gd name="connsiteX23" fmla="*/ 4502 w 10000"/>
              <a:gd name="connsiteY23" fmla="*/ 1938 h 10000"/>
              <a:gd name="connsiteX24" fmla="*/ 3980 w 10000"/>
              <a:gd name="connsiteY24" fmla="*/ 2093 h 10000"/>
              <a:gd name="connsiteX25" fmla="*/ 4030 w 10000"/>
              <a:gd name="connsiteY25" fmla="*/ 2559 h 10000"/>
              <a:gd name="connsiteX26" fmla="*/ 4172 w 10000"/>
              <a:gd name="connsiteY26" fmla="*/ 2791 h 10000"/>
              <a:gd name="connsiteX27" fmla="*/ 4076 w 10000"/>
              <a:gd name="connsiteY27" fmla="*/ 2868 h 10000"/>
              <a:gd name="connsiteX28" fmla="*/ 3934 w 10000"/>
              <a:gd name="connsiteY28" fmla="*/ 2559 h 10000"/>
              <a:gd name="connsiteX29" fmla="*/ 3794 w 10000"/>
              <a:gd name="connsiteY29" fmla="*/ 2480 h 10000"/>
              <a:gd name="connsiteX30" fmla="*/ 3743 w 10000"/>
              <a:gd name="connsiteY30" fmla="*/ 2559 h 10000"/>
              <a:gd name="connsiteX31" fmla="*/ 3648 w 10000"/>
              <a:gd name="connsiteY31" fmla="*/ 2403 h 10000"/>
              <a:gd name="connsiteX32" fmla="*/ 3554 w 10000"/>
              <a:gd name="connsiteY32" fmla="*/ 2248 h 10000"/>
              <a:gd name="connsiteX33" fmla="*/ 3554 w 10000"/>
              <a:gd name="connsiteY33" fmla="*/ 2325 h 10000"/>
              <a:gd name="connsiteX34" fmla="*/ 3605 w 10000"/>
              <a:gd name="connsiteY34" fmla="*/ 2559 h 10000"/>
              <a:gd name="connsiteX35" fmla="*/ 3459 w 10000"/>
              <a:gd name="connsiteY35" fmla="*/ 2946 h 10000"/>
              <a:gd name="connsiteX36" fmla="*/ 3554 w 10000"/>
              <a:gd name="connsiteY36" fmla="*/ 3256 h 10000"/>
              <a:gd name="connsiteX37" fmla="*/ 3504 w 10000"/>
              <a:gd name="connsiteY37" fmla="*/ 3566 h 10000"/>
              <a:gd name="connsiteX38" fmla="*/ 3504 w 10000"/>
              <a:gd name="connsiteY38" fmla="*/ 3799 h 10000"/>
              <a:gd name="connsiteX39" fmla="*/ 3648 w 10000"/>
              <a:gd name="connsiteY39" fmla="*/ 3799 h 10000"/>
              <a:gd name="connsiteX40" fmla="*/ 3554 w 10000"/>
              <a:gd name="connsiteY40" fmla="*/ 3876 h 10000"/>
              <a:gd name="connsiteX41" fmla="*/ 3605 w 10000"/>
              <a:gd name="connsiteY41" fmla="*/ 4263 h 10000"/>
              <a:gd name="connsiteX42" fmla="*/ 3317 w 10000"/>
              <a:gd name="connsiteY42" fmla="*/ 4652 h 10000"/>
              <a:gd name="connsiteX43" fmla="*/ 3268 w 10000"/>
              <a:gd name="connsiteY43" fmla="*/ 4574 h 10000"/>
              <a:gd name="connsiteX44" fmla="*/ 3459 w 10000"/>
              <a:gd name="connsiteY44" fmla="*/ 4186 h 10000"/>
              <a:gd name="connsiteX45" fmla="*/ 3504 w 10000"/>
              <a:gd name="connsiteY45" fmla="*/ 3954 h 10000"/>
              <a:gd name="connsiteX46" fmla="*/ 3406 w 10000"/>
              <a:gd name="connsiteY46" fmla="*/ 3799 h 10000"/>
              <a:gd name="connsiteX47" fmla="*/ 3406 w 10000"/>
              <a:gd name="connsiteY47" fmla="*/ 3023 h 10000"/>
              <a:gd name="connsiteX48" fmla="*/ 3365 w 10000"/>
              <a:gd name="connsiteY48" fmla="*/ 2868 h 10000"/>
              <a:gd name="connsiteX49" fmla="*/ 3406 w 10000"/>
              <a:gd name="connsiteY49" fmla="*/ 2403 h 10000"/>
              <a:gd name="connsiteX50" fmla="*/ 3317 w 10000"/>
              <a:gd name="connsiteY50" fmla="*/ 2325 h 10000"/>
              <a:gd name="connsiteX51" fmla="*/ 3365 w 10000"/>
              <a:gd name="connsiteY51" fmla="*/ 2248 h 10000"/>
              <a:gd name="connsiteX52" fmla="*/ 3317 w 10000"/>
              <a:gd name="connsiteY52" fmla="*/ 2093 h 10000"/>
              <a:gd name="connsiteX53" fmla="*/ 3219 w 10000"/>
              <a:gd name="connsiteY53" fmla="*/ 2170 h 10000"/>
              <a:gd name="connsiteX54" fmla="*/ 2984 w 10000"/>
              <a:gd name="connsiteY54" fmla="*/ 3178 h 10000"/>
              <a:gd name="connsiteX55" fmla="*/ 2984 w 10000"/>
              <a:gd name="connsiteY55" fmla="*/ 3566 h 10000"/>
              <a:gd name="connsiteX56" fmla="*/ 3127 w 10000"/>
              <a:gd name="connsiteY56" fmla="*/ 3876 h 10000"/>
              <a:gd name="connsiteX57" fmla="*/ 3127 w 10000"/>
              <a:gd name="connsiteY57" fmla="*/ 4031 h 10000"/>
              <a:gd name="connsiteX58" fmla="*/ 2984 w 10000"/>
              <a:gd name="connsiteY58" fmla="*/ 3876 h 10000"/>
              <a:gd name="connsiteX59" fmla="*/ 2419 w 10000"/>
              <a:gd name="connsiteY59" fmla="*/ 3256 h 10000"/>
              <a:gd name="connsiteX60" fmla="*/ 2370 w 10000"/>
              <a:gd name="connsiteY60" fmla="*/ 3411 h 10000"/>
              <a:gd name="connsiteX61" fmla="*/ 2559 w 10000"/>
              <a:gd name="connsiteY61" fmla="*/ 3799 h 10000"/>
              <a:gd name="connsiteX62" fmla="*/ 2463 w 10000"/>
              <a:gd name="connsiteY62" fmla="*/ 3876 h 10000"/>
              <a:gd name="connsiteX63" fmla="*/ 2419 w 10000"/>
              <a:gd name="connsiteY63" fmla="*/ 3799 h 10000"/>
              <a:gd name="connsiteX64" fmla="*/ 2133 w 10000"/>
              <a:gd name="connsiteY64" fmla="*/ 3954 h 10000"/>
              <a:gd name="connsiteX65" fmla="*/ 2087 w 10000"/>
              <a:gd name="connsiteY65" fmla="*/ 4109 h 10000"/>
              <a:gd name="connsiteX66" fmla="*/ 2039 w 10000"/>
              <a:gd name="connsiteY66" fmla="*/ 3954 h 10000"/>
              <a:gd name="connsiteX67" fmla="*/ 2039 w 10000"/>
              <a:gd name="connsiteY67" fmla="*/ 3799 h 10000"/>
              <a:gd name="connsiteX68" fmla="*/ 1562 w 10000"/>
              <a:gd name="connsiteY68" fmla="*/ 4263 h 10000"/>
              <a:gd name="connsiteX69" fmla="*/ 1562 w 10000"/>
              <a:gd name="connsiteY69" fmla="*/ 4418 h 10000"/>
              <a:gd name="connsiteX70" fmla="*/ 1471 w 10000"/>
              <a:gd name="connsiteY70" fmla="*/ 4496 h 10000"/>
              <a:gd name="connsiteX71" fmla="*/ 1326 w 10000"/>
              <a:gd name="connsiteY71" fmla="*/ 4341 h 10000"/>
              <a:gd name="connsiteX72" fmla="*/ 1471 w 10000"/>
              <a:gd name="connsiteY72" fmla="*/ 4186 h 10000"/>
              <a:gd name="connsiteX73" fmla="*/ 1422 w 10000"/>
              <a:gd name="connsiteY73" fmla="*/ 3954 h 10000"/>
              <a:gd name="connsiteX74" fmla="*/ 1233 w 10000"/>
              <a:gd name="connsiteY74" fmla="*/ 3876 h 10000"/>
              <a:gd name="connsiteX75" fmla="*/ 1282 w 10000"/>
              <a:gd name="connsiteY75" fmla="*/ 4031 h 10000"/>
              <a:gd name="connsiteX76" fmla="*/ 1282 w 10000"/>
              <a:gd name="connsiteY76" fmla="*/ 4418 h 10000"/>
              <a:gd name="connsiteX77" fmla="*/ 1326 w 10000"/>
              <a:gd name="connsiteY77" fmla="*/ 4574 h 10000"/>
              <a:gd name="connsiteX78" fmla="*/ 1282 w 10000"/>
              <a:gd name="connsiteY78" fmla="*/ 4729 h 10000"/>
              <a:gd name="connsiteX79" fmla="*/ 1136 w 10000"/>
              <a:gd name="connsiteY79" fmla="*/ 4652 h 10000"/>
              <a:gd name="connsiteX80" fmla="*/ 948 w 10000"/>
              <a:gd name="connsiteY80" fmla="*/ 4884 h 10000"/>
              <a:gd name="connsiteX81" fmla="*/ 1040 w 10000"/>
              <a:gd name="connsiteY81" fmla="*/ 5194 h 10000"/>
              <a:gd name="connsiteX82" fmla="*/ 757 w 10000"/>
              <a:gd name="connsiteY82" fmla="*/ 5039 h 10000"/>
              <a:gd name="connsiteX83" fmla="*/ 710 w 10000"/>
              <a:gd name="connsiteY83" fmla="*/ 5116 h 10000"/>
              <a:gd name="connsiteX84" fmla="*/ 806 w 10000"/>
              <a:gd name="connsiteY84" fmla="*/ 5349 h 10000"/>
              <a:gd name="connsiteX85" fmla="*/ 710 w 10000"/>
              <a:gd name="connsiteY85" fmla="*/ 5349 h 10000"/>
              <a:gd name="connsiteX86" fmla="*/ 570 w 10000"/>
              <a:gd name="connsiteY86" fmla="*/ 5194 h 10000"/>
              <a:gd name="connsiteX87" fmla="*/ 570 w 10000"/>
              <a:gd name="connsiteY87" fmla="*/ 4729 h 10000"/>
              <a:gd name="connsiteX88" fmla="*/ 430 w 10000"/>
              <a:gd name="connsiteY88" fmla="*/ 4574 h 10000"/>
              <a:gd name="connsiteX89" fmla="*/ 379 w 10000"/>
              <a:gd name="connsiteY89" fmla="*/ 4418 h 10000"/>
              <a:gd name="connsiteX90" fmla="*/ 474 w 10000"/>
              <a:gd name="connsiteY90" fmla="*/ 4496 h 10000"/>
              <a:gd name="connsiteX91" fmla="*/ 852 w 10000"/>
              <a:gd name="connsiteY91" fmla="*/ 4729 h 10000"/>
              <a:gd name="connsiteX92" fmla="*/ 1087 w 10000"/>
              <a:gd name="connsiteY92" fmla="*/ 4496 h 10000"/>
              <a:gd name="connsiteX93" fmla="*/ 1040 w 10000"/>
              <a:gd name="connsiteY93" fmla="*/ 4263 h 10000"/>
              <a:gd name="connsiteX94" fmla="*/ 757 w 10000"/>
              <a:gd name="connsiteY94" fmla="*/ 3799 h 10000"/>
              <a:gd name="connsiteX95" fmla="*/ 474 w 10000"/>
              <a:gd name="connsiteY95" fmla="*/ 3644 h 10000"/>
              <a:gd name="connsiteX96" fmla="*/ 474 w 10000"/>
              <a:gd name="connsiteY96" fmla="*/ 3566 h 10000"/>
              <a:gd name="connsiteX97" fmla="*/ 379 w 10000"/>
              <a:gd name="connsiteY97" fmla="*/ 3488 h 10000"/>
              <a:gd name="connsiteX98" fmla="*/ 282 w 10000"/>
              <a:gd name="connsiteY98" fmla="*/ 3566 h 10000"/>
              <a:gd name="connsiteX99" fmla="*/ 282 w 10000"/>
              <a:gd name="connsiteY99" fmla="*/ 3644 h 10000"/>
              <a:gd name="connsiteX100" fmla="*/ 237 w 10000"/>
              <a:gd name="connsiteY100" fmla="*/ 3644 h 10000"/>
              <a:gd name="connsiteX101" fmla="*/ 142 w 10000"/>
              <a:gd name="connsiteY101" fmla="*/ 3799 h 10000"/>
              <a:gd name="connsiteX102" fmla="*/ 142 w 10000"/>
              <a:gd name="connsiteY102" fmla="*/ 4031 h 10000"/>
              <a:gd name="connsiteX103" fmla="*/ 237 w 10000"/>
              <a:gd name="connsiteY103" fmla="*/ 4186 h 10000"/>
              <a:gd name="connsiteX104" fmla="*/ 190 w 10000"/>
              <a:gd name="connsiteY104" fmla="*/ 4418 h 10000"/>
              <a:gd name="connsiteX105" fmla="*/ 237 w 10000"/>
              <a:gd name="connsiteY105" fmla="*/ 4807 h 10000"/>
              <a:gd name="connsiteX106" fmla="*/ 190 w 10000"/>
              <a:gd name="connsiteY106" fmla="*/ 5039 h 10000"/>
              <a:gd name="connsiteX107" fmla="*/ 282 w 10000"/>
              <a:gd name="connsiteY107" fmla="*/ 5271 h 10000"/>
              <a:gd name="connsiteX108" fmla="*/ 237 w 10000"/>
              <a:gd name="connsiteY108" fmla="*/ 5426 h 10000"/>
              <a:gd name="connsiteX109" fmla="*/ 330 w 10000"/>
              <a:gd name="connsiteY109" fmla="*/ 5582 h 10000"/>
              <a:gd name="connsiteX110" fmla="*/ 330 w 10000"/>
              <a:gd name="connsiteY110" fmla="*/ 5659 h 10000"/>
              <a:gd name="connsiteX111" fmla="*/ 190 w 10000"/>
              <a:gd name="connsiteY111" fmla="*/ 6047 h 10000"/>
              <a:gd name="connsiteX112" fmla="*/ 44 w 10000"/>
              <a:gd name="connsiteY112" fmla="*/ 6202 h 10000"/>
              <a:gd name="connsiteX113" fmla="*/ 94 w 10000"/>
              <a:gd name="connsiteY113" fmla="*/ 6202 h 10000"/>
              <a:gd name="connsiteX114" fmla="*/ 190 w 10000"/>
              <a:gd name="connsiteY114" fmla="*/ 6356 h 10000"/>
              <a:gd name="connsiteX115" fmla="*/ 94 w 10000"/>
              <a:gd name="connsiteY115" fmla="*/ 6512 h 10000"/>
              <a:gd name="connsiteX116" fmla="*/ 44 w 10000"/>
              <a:gd name="connsiteY116" fmla="*/ 6590 h 10000"/>
              <a:gd name="connsiteX117" fmla="*/ 0 w 10000"/>
              <a:gd name="connsiteY117" fmla="*/ 6590 h 10000"/>
              <a:gd name="connsiteX118" fmla="*/ 44 w 10000"/>
              <a:gd name="connsiteY118" fmla="*/ 6822 h 10000"/>
              <a:gd name="connsiteX119" fmla="*/ 44 w 10000"/>
              <a:gd name="connsiteY119" fmla="*/ 6900 h 10000"/>
              <a:gd name="connsiteX120" fmla="*/ 44 w 10000"/>
              <a:gd name="connsiteY120" fmla="*/ 6977 h 10000"/>
              <a:gd name="connsiteX121" fmla="*/ 44 w 10000"/>
              <a:gd name="connsiteY121" fmla="*/ 7054 h 10000"/>
              <a:gd name="connsiteX122" fmla="*/ 94 w 10000"/>
              <a:gd name="connsiteY122" fmla="*/ 7209 h 10000"/>
              <a:gd name="connsiteX123" fmla="*/ 237 w 10000"/>
              <a:gd name="connsiteY123" fmla="*/ 7287 h 10000"/>
              <a:gd name="connsiteX124" fmla="*/ 282 w 10000"/>
              <a:gd name="connsiteY124" fmla="*/ 7364 h 10000"/>
              <a:gd name="connsiteX125" fmla="*/ 282 w 10000"/>
              <a:gd name="connsiteY125" fmla="*/ 7520 h 10000"/>
              <a:gd name="connsiteX126" fmla="*/ 379 w 10000"/>
              <a:gd name="connsiteY126" fmla="*/ 7752 h 10000"/>
              <a:gd name="connsiteX127" fmla="*/ 430 w 10000"/>
              <a:gd name="connsiteY127" fmla="*/ 7752 h 10000"/>
              <a:gd name="connsiteX128" fmla="*/ 379 w 10000"/>
              <a:gd name="connsiteY128" fmla="*/ 7907 h 10000"/>
              <a:gd name="connsiteX129" fmla="*/ 330 w 10000"/>
              <a:gd name="connsiteY129" fmla="*/ 7830 h 10000"/>
              <a:gd name="connsiteX130" fmla="*/ 330 w 10000"/>
              <a:gd name="connsiteY130" fmla="*/ 7907 h 10000"/>
              <a:gd name="connsiteX131" fmla="*/ 379 w 10000"/>
              <a:gd name="connsiteY131" fmla="*/ 8062 h 10000"/>
              <a:gd name="connsiteX132" fmla="*/ 523 w 10000"/>
              <a:gd name="connsiteY132" fmla="*/ 8062 h 10000"/>
              <a:gd name="connsiteX133" fmla="*/ 570 w 10000"/>
              <a:gd name="connsiteY133" fmla="*/ 8140 h 10000"/>
              <a:gd name="connsiteX134" fmla="*/ 523 w 10000"/>
              <a:gd name="connsiteY134" fmla="*/ 8140 h 10000"/>
              <a:gd name="connsiteX135" fmla="*/ 570 w 10000"/>
              <a:gd name="connsiteY135" fmla="*/ 8217 h 10000"/>
              <a:gd name="connsiteX136" fmla="*/ 615 w 10000"/>
              <a:gd name="connsiteY136" fmla="*/ 8217 h 10000"/>
              <a:gd name="connsiteX137" fmla="*/ 663 w 10000"/>
              <a:gd name="connsiteY137" fmla="*/ 8372 h 10000"/>
              <a:gd name="connsiteX138" fmla="*/ 710 w 10000"/>
              <a:gd name="connsiteY138" fmla="*/ 8449 h 10000"/>
              <a:gd name="connsiteX139" fmla="*/ 757 w 10000"/>
              <a:gd name="connsiteY139" fmla="*/ 8372 h 10000"/>
              <a:gd name="connsiteX140" fmla="*/ 996 w 10000"/>
              <a:gd name="connsiteY140" fmla="*/ 8605 h 10000"/>
              <a:gd name="connsiteX141" fmla="*/ 948 w 10000"/>
              <a:gd name="connsiteY141" fmla="*/ 8915 h 10000"/>
              <a:gd name="connsiteX142" fmla="*/ 899 w 10000"/>
              <a:gd name="connsiteY142" fmla="*/ 8838 h 10000"/>
              <a:gd name="connsiteX143" fmla="*/ 852 w 10000"/>
              <a:gd name="connsiteY143" fmla="*/ 8915 h 10000"/>
              <a:gd name="connsiteX144" fmla="*/ 852 w 10000"/>
              <a:gd name="connsiteY144" fmla="*/ 9070 h 10000"/>
              <a:gd name="connsiteX145" fmla="*/ 899 w 10000"/>
              <a:gd name="connsiteY145" fmla="*/ 8993 h 10000"/>
              <a:gd name="connsiteX146" fmla="*/ 948 w 10000"/>
              <a:gd name="connsiteY146" fmla="*/ 9070 h 10000"/>
              <a:gd name="connsiteX147" fmla="*/ 806 w 10000"/>
              <a:gd name="connsiteY147" fmla="*/ 9147 h 10000"/>
              <a:gd name="connsiteX148" fmla="*/ 852 w 10000"/>
              <a:gd name="connsiteY148" fmla="*/ 9225 h 10000"/>
              <a:gd name="connsiteX149" fmla="*/ 757 w 10000"/>
              <a:gd name="connsiteY149" fmla="*/ 9380 h 10000"/>
              <a:gd name="connsiteX150" fmla="*/ 710 w 10000"/>
              <a:gd name="connsiteY150" fmla="*/ 9380 h 10000"/>
              <a:gd name="connsiteX151" fmla="*/ 757 w 10000"/>
              <a:gd name="connsiteY151" fmla="*/ 9380 h 10000"/>
              <a:gd name="connsiteX152" fmla="*/ 948 w 10000"/>
              <a:gd name="connsiteY152" fmla="*/ 9691 h 10000"/>
              <a:gd name="connsiteX153" fmla="*/ 1186 w 10000"/>
              <a:gd name="connsiteY153" fmla="*/ 9691 h 10000"/>
              <a:gd name="connsiteX154" fmla="*/ 1282 w 10000"/>
              <a:gd name="connsiteY154" fmla="*/ 9768 h 10000"/>
              <a:gd name="connsiteX155" fmla="*/ 1374 w 10000"/>
              <a:gd name="connsiteY155" fmla="*/ 9768 h 10000"/>
              <a:gd name="connsiteX156" fmla="*/ 1471 w 10000"/>
              <a:gd name="connsiteY156" fmla="*/ 9923 h 10000"/>
              <a:gd name="connsiteX157" fmla="*/ 1516 w 10000"/>
              <a:gd name="connsiteY157" fmla="*/ 10000 h 10000"/>
              <a:gd name="connsiteX158" fmla="*/ 1562 w 10000"/>
              <a:gd name="connsiteY158" fmla="*/ 10000 h 10000"/>
              <a:gd name="connsiteX159" fmla="*/ 1613 w 10000"/>
              <a:gd name="connsiteY159" fmla="*/ 9923 h 10000"/>
              <a:gd name="connsiteX160" fmla="*/ 1516 w 10000"/>
              <a:gd name="connsiteY160" fmla="*/ 9768 h 10000"/>
              <a:gd name="connsiteX161" fmla="*/ 1516 w 10000"/>
              <a:gd name="connsiteY161" fmla="*/ 9613 h 10000"/>
              <a:gd name="connsiteX162" fmla="*/ 1471 w 10000"/>
              <a:gd name="connsiteY162" fmla="*/ 9457 h 10000"/>
              <a:gd name="connsiteX163" fmla="*/ 1562 w 10000"/>
              <a:gd name="connsiteY163" fmla="*/ 9225 h 10000"/>
              <a:gd name="connsiteX164" fmla="*/ 1613 w 10000"/>
              <a:gd name="connsiteY164" fmla="*/ 9302 h 10000"/>
              <a:gd name="connsiteX165" fmla="*/ 1659 w 10000"/>
              <a:gd name="connsiteY165" fmla="*/ 9225 h 10000"/>
              <a:gd name="connsiteX166" fmla="*/ 1659 w 10000"/>
              <a:gd name="connsiteY166" fmla="*/ 9147 h 10000"/>
              <a:gd name="connsiteX167" fmla="*/ 1613 w 10000"/>
              <a:gd name="connsiteY167" fmla="*/ 9147 h 10000"/>
              <a:gd name="connsiteX168" fmla="*/ 1659 w 10000"/>
              <a:gd name="connsiteY168" fmla="*/ 9070 h 10000"/>
              <a:gd name="connsiteX169" fmla="*/ 1613 w 10000"/>
              <a:gd name="connsiteY169" fmla="*/ 8915 h 10000"/>
              <a:gd name="connsiteX170" fmla="*/ 1516 w 10000"/>
              <a:gd name="connsiteY170" fmla="*/ 8915 h 10000"/>
              <a:gd name="connsiteX171" fmla="*/ 1471 w 10000"/>
              <a:gd name="connsiteY171" fmla="*/ 8760 h 10000"/>
              <a:gd name="connsiteX172" fmla="*/ 1516 w 10000"/>
              <a:gd name="connsiteY172" fmla="*/ 8372 h 10000"/>
              <a:gd name="connsiteX173" fmla="*/ 1613 w 10000"/>
              <a:gd name="connsiteY173" fmla="*/ 8528 h 10000"/>
              <a:gd name="connsiteX174" fmla="*/ 1659 w 10000"/>
              <a:gd name="connsiteY174" fmla="*/ 8528 h 10000"/>
              <a:gd name="connsiteX175" fmla="*/ 1613 w 10000"/>
              <a:gd name="connsiteY175" fmla="*/ 8372 h 10000"/>
              <a:gd name="connsiteX176" fmla="*/ 1753 w 10000"/>
              <a:gd name="connsiteY176" fmla="*/ 8140 h 10000"/>
              <a:gd name="connsiteX177" fmla="*/ 1851 w 10000"/>
              <a:gd name="connsiteY177" fmla="*/ 8217 h 10000"/>
              <a:gd name="connsiteX178" fmla="*/ 1894 w 10000"/>
              <a:gd name="connsiteY178" fmla="*/ 8140 h 10000"/>
              <a:gd name="connsiteX179" fmla="*/ 1990 w 10000"/>
              <a:gd name="connsiteY179" fmla="*/ 8217 h 10000"/>
              <a:gd name="connsiteX180" fmla="*/ 2133 w 10000"/>
              <a:gd name="connsiteY180" fmla="*/ 8372 h 10000"/>
              <a:gd name="connsiteX181" fmla="*/ 2227 w 10000"/>
              <a:gd name="connsiteY181" fmla="*/ 8295 h 10000"/>
              <a:gd name="connsiteX182" fmla="*/ 2323 w 10000"/>
              <a:gd name="connsiteY182" fmla="*/ 8295 h 10000"/>
              <a:gd name="connsiteX183" fmla="*/ 2370 w 10000"/>
              <a:gd name="connsiteY183" fmla="*/ 8372 h 10000"/>
              <a:gd name="connsiteX184" fmla="*/ 2559 w 10000"/>
              <a:gd name="connsiteY184" fmla="*/ 8372 h 10000"/>
              <a:gd name="connsiteX185" fmla="*/ 2605 w 10000"/>
              <a:gd name="connsiteY185" fmla="*/ 8217 h 10000"/>
              <a:gd name="connsiteX186" fmla="*/ 2463 w 10000"/>
              <a:gd name="connsiteY186" fmla="*/ 8140 h 10000"/>
              <a:gd name="connsiteX187" fmla="*/ 2559 w 10000"/>
              <a:gd name="connsiteY187" fmla="*/ 8062 h 10000"/>
              <a:gd name="connsiteX188" fmla="*/ 2509 w 10000"/>
              <a:gd name="connsiteY188" fmla="*/ 7985 h 10000"/>
              <a:gd name="connsiteX189" fmla="*/ 2559 w 10000"/>
              <a:gd name="connsiteY189" fmla="*/ 7907 h 10000"/>
              <a:gd name="connsiteX190" fmla="*/ 2559 w 10000"/>
              <a:gd name="connsiteY190" fmla="*/ 7675 h 10000"/>
              <a:gd name="connsiteX191" fmla="*/ 2652 w 10000"/>
              <a:gd name="connsiteY191" fmla="*/ 7752 h 10000"/>
              <a:gd name="connsiteX192" fmla="*/ 3081 w 10000"/>
              <a:gd name="connsiteY192" fmla="*/ 7520 h 10000"/>
              <a:gd name="connsiteX193" fmla="*/ 3081 w 10000"/>
              <a:gd name="connsiteY193" fmla="*/ 7442 h 10000"/>
              <a:gd name="connsiteX194" fmla="*/ 3127 w 10000"/>
              <a:gd name="connsiteY194" fmla="*/ 7442 h 10000"/>
              <a:gd name="connsiteX195" fmla="*/ 3268 w 10000"/>
              <a:gd name="connsiteY195" fmla="*/ 7442 h 10000"/>
              <a:gd name="connsiteX196" fmla="*/ 3317 w 10000"/>
              <a:gd name="connsiteY196" fmla="*/ 7598 h 10000"/>
              <a:gd name="connsiteX197" fmla="*/ 3317 w 10000"/>
              <a:gd name="connsiteY197" fmla="*/ 7675 h 10000"/>
              <a:gd name="connsiteX198" fmla="*/ 3365 w 10000"/>
              <a:gd name="connsiteY198" fmla="*/ 7675 h 10000"/>
              <a:gd name="connsiteX199" fmla="*/ 3459 w 10000"/>
              <a:gd name="connsiteY199" fmla="*/ 7752 h 10000"/>
              <a:gd name="connsiteX200" fmla="*/ 3459 w 10000"/>
              <a:gd name="connsiteY200" fmla="*/ 7830 h 10000"/>
              <a:gd name="connsiteX201" fmla="*/ 3554 w 10000"/>
              <a:gd name="connsiteY201" fmla="*/ 7830 h 10000"/>
              <a:gd name="connsiteX202" fmla="*/ 3648 w 10000"/>
              <a:gd name="connsiteY202" fmla="*/ 7675 h 10000"/>
              <a:gd name="connsiteX203" fmla="*/ 3743 w 10000"/>
              <a:gd name="connsiteY203" fmla="*/ 7598 h 10000"/>
              <a:gd name="connsiteX204" fmla="*/ 3794 w 10000"/>
              <a:gd name="connsiteY204" fmla="*/ 7830 h 10000"/>
              <a:gd name="connsiteX205" fmla="*/ 3980 w 10000"/>
              <a:gd name="connsiteY205" fmla="*/ 8372 h 10000"/>
              <a:gd name="connsiteX206" fmla="*/ 4030 w 10000"/>
              <a:gd name="connsiteY206" fmla="*/ 8217 h 10000"/>
              <a:gd name="connsiteX207" fmla="*/ 4076 w 10000"/>
              <a:gd name="connsiteY207" fmla="*/ 8372 h 10000"/>
              <a:gd name="connsiteX208" fmla="*/ 4217 w 10000"/>
              <a:gd name="connsiteY208" fmla="*/ 8295 h 10000"/>
              <a:gd name="connsiteX209" fmla="*/ 4362 w 10000"/>
              <a:gd name="connsiteY209" fmla="*/ 8528 h 10000"/>
              <a:gd name="connsiteX210" fmla="*/ 4454 w 10000"/>
              <a:gd name="connsiteY210" fmla="*/ 8605 h 10000"/>
              <a:gd name="connsiteX211" fmla="*/ 4454 w 10000"/>
              <a:gd name="connsiteY211" fmla="*/ 8528 h 10000"/>
              <a:gd name="connsiteX212" fmla="*/ 4502 w 10000"/>
              <a:gd name="connsiteY212" fmla="*/ 8683 h 10000"/>
              <a:gd name="connsiteX213" fmla="*/ 4454 w 10000"/>
              <a:gd name="connsiteY213" fmla="*/ 8760 h 10000"/>
              <a:gd name="connsiteX214" fmla="*/ 4551 w 10000"/>
              <a:gd name="connsiteY214" fmla="*/ 8683 h 10000"/>
              <a:gd name="connsiteX215" fmla="*/ 4596 w 10000"/>
              <a:gd name="connsiteY215" fmla="*/ 8605 h 10000"/>
              <a:gd name="connsiteX216" fmla="*/ 4833 w 10000"/>
              <a:gd name="connsiteY216" fmla="*/ 8372 h 10000"/>
              <a:gd name="connsiteX217" fmla="*/ 5023 w 10000"/>
              <a:gd name="connsiteY217" fmla="*/ 8449 h 10000"/>
              <a:gd name="connsiteX218" fmla="*/ 5117 w 10000"/>
              <a:gd name="connsiteY218" fmla="*/ 8528 h 10000"/>
              <a:gd name="connsiteX219" fmla="*/ 5305 w 10000"/>
              <a:gd name="connsiteY219" fmla="*/ 8528 h 10000"/>
              <a:gd name="connsiteX220" fmla="*/ 5305 w 10000"/>
              <a:gd name="connsiteY220" fmla="*/ 8372 h 10000"/>
              <a:gd name="connsiteX221" fmla="*/ 5305 w 10000"/>
              <a:gd name="connsiteY221" fmla="*/ 8217 h 10000"/>
              <a:gd name="connsiteX222" fmla="*/ 5401 w 10000"/>
              <a:gd name="connsiteY222" fmla="*/ 8140 h 10000"/>
              <a:gd name="connsiteX223" fmla="*/ 5590 w 10000"/>
              <a:gd name="connsiteY223" fmla="*/ 8217 h 10000"/>
              <a:gd name="connsiteX224" fmla="*/ 5685 w 10000"/>
              <a:gd name="connsiteY224" fmla="*/ 8449 h 10000"/>
              <a:gd name="connsiteX225" fmla="*/ 5734 w 10000"/>
              <a:gd name="connsiteY225" fmla="*/ 8449 h 10000"/>
              <a:gd name="connsiteX226" fmla="*/ 5829 w 10000"/>
              <a:gd name="connsiteY226" fmla="*/ 8372 h 10000"/>
              <a:gd name="connsiteX227" fmla="*/ 6116 w 10000"/>
              <a:gd name="connsiteY227" fmla="*/ 8605 h 10000"/>
              <a:gd name="connsiteX228" fmla="*/ 6257 w 10000"/>
              <a:gd name="connsiteY228" fmla="*/ 8683 h 10000"/>
              <a:gd name="connsiteX229" fmla="*/ 6446 w 10000"/>
              <a:gd name="connsiteY229" fmla="*/ 8605 h 10000"/>
              <a:gd name="connsiteX230" fmla="*/ 6539 w 10000"/>
              <a:gd name="connsiteY230" fmla="*/ 8449 h 10000"/>
              <a:gd name="connsiteX231" fmla="*/ 6682 w 10000"/>
              <a:gd name="connsiteY231" fmla="*/ 8528 h 10000"/>
              <a:gd name="connsiteX232" fmla="*/ 6776 w 10000"/>
              <a:gd name="connsiteY232" fmla="*/ 8605 h 10000"/>
              <a:gd name="connsiteX233" fmla="*/ 8388 w 10000"/>
              <a:gd name="connsiteY233" fmla="*/ 7675 h 10000"/>
              <a:gd name="connsiteX234" fmla="*/ 8293 w 10000"/>
              <a:gd name="connsiteY234" fmla="*/ 7675 h 10000"/>
              <a:gd name="connsiteX235" fmla="*/ 8247 w 10000"/>
              <a:gd name="connsiteY235" fmla="*/ 7675 h 10000"/>
              <a:gd name="connsiteX236" fmla="*/ 8198 w 10000"/>
              <a:gd name="connsiteY236" fmla="*/ 7598 h 10000"/>
              <a:gd name="connsiteX237" fmla="*/ 8105 w 10000"/>
              <a:gd name="connsiteY237" fmla="*/ 7598 h 10000"/>
              <a:gd name="connsiteX238" fmla="*/ 8105 w 10000"/>
              <a:gd name="connsiteY238" fmla="*/ 7520 h 10000"/>
              <a:gd name="connsiteX239" fmla="*/ 8247 w 10000"/>
              <a:gd name="connsiteY239" fmla="*/ 7287 h 10000"/>
              <a:gd name="connsiteX240" fmla="*/ 8677 w 10000"/>
              <a:gd name="connsiteY240" fmla="*/ 6590 h 10000"/>
              <a:gd name="connsiteX241" fmla="*/ 8862 w 10000"/>
              <a:gd name="connsiteY241" fmla="*/ 6512 h 10000"/>
              <a:gd name="connsiteX242" fmla="*/ 8908 w 10000"/>
              <a:gd name="connsiteY242" fmla="*/ 6590 h 10000"/>
              <a:gd name="connsiteX243" fmla="*/ 8958 w 10000"/>
              <a:gd name="connsiteY243" fmla="*/ 6512 h 10000"/>
              <a:gd name="connsiteX244" fmla="*/ 9096 w 10000"/>
              <a:gd name="connsiteY244" fmla="*/ 6590 h 10000"/>
              <a:gd name="connsiteX245" fmla="*/ 9150 w 10000"/>
              <a:gd name="connsiteY245" fmla="*/ 6434 h 10000"/>
              <a:gd name="connsiteX246" fmla="*/ 9288 w 10000"/>
              <a:gd name="connsiteY246" fmla="*/ 6512 h 10000"/>
              <a:gd name="connsiteX247" fmla="*/ 9334 w 10000"/>
              <a:gd name="connsiteY247" fmla="*/ 6512 h 10000"/>
              <a:gd name="connsiteX248" fmla="*/ 9288 w 10000"/>
              <a:gd name="connsiteY248" fmla="*/ 6590 h 10000"/>
              <a:gd name="connsiteX249" fmla="*/ 9288 w 10000"/>
              <a:gd name="connsiteY249" fmla="*/ 6667 h 10000"/>
              <a:gd name="connsiteX250" fmla="*/ 9570 w 10000"/>
              <a:gd name="connsiteY250" fmla="*/ 6590 h 10000"/>
              <a:gd name="connsiteX251" fmla="*/ 9524 w 10000"/>
              <a:gd name="connsiteY251" fmla="*/ 6512 h 10000"/>
              <a:gd name="connsiteX252" fmla="*/ 9717 w 10000"/>
              <a:gd name="connsiteY252" fmla="*/ 5969 h 10000"/>
              <a:gd name="connsiteX253" fmla="*/ 9950 w 10000"/>
              <a:gd name="connsiteY253" fmla="*/ 5892 h 10000"/>
              <a:gd name="connsiteX254" fmla="*/ 9950 w 10000"/>
              <a:gd name="connsiteY254" fmla="*/ 6047 h 10000"/>
              <a:gd name="connsiteX255" fmla="*/ 10000 w 10000"/>
              <a:gd name="connsiteY255" fmla="*/ 3566 h 10000"/>
              <a:gd name="connsiteX256" fmla="*/ 9903 w 10000"/>
              <a:gd name="connsiteY256" fmla="*/ 3488 h 10000"/>
              <a:gd name="connsiteX257" fmla="*/ 9950 w 10000"/>
              <a:gd name="connsiteY257" fmla="*/ 3333 h 10000"/>
              <a:gd name="connsiteX258" fmla="*/ 9855 w 10000"/>
              <a:gd name="connsiteY258" fmla="*/ 3101 h 10000"/>
              <a:gd name="connsiteX259" fmla="*/ 9665 w 10000"/>
              <a:gd name="connsiteY259" fmla="*/ 3023 h 10000"/>
              <a:gd name="connsiteX260" fmla="*/ 9385 w 10000"/>
              <a:gd name="connsiteY260" fmla="*/ 3178 h 10000"/>
              <a:gd name="connsiteX261" fmla="*/ 9334 w 10000"/>
              <a:gd name="connsiteY261" fmla="*/ 2946 h 10000"/>
              <a:gd name="connsiteX262" fmla="*/ 9241 w 10000"/>
              <a:gd name="connsiteY262" fmla="*/ 2946 h 10000"/>
              <a:gd name="connsiteX263" fmla="*/ 9193 w 10000"/>
              <a:gd name="connsiteY263" fmla="*/ 2868 h 10000"/>
              <a:gd name="connsiteX264" fmla="*/ 9193 w 10000"/>
              <a:gd name="connsiteY264" fmla="*/ 2636 h 10000"/>
              <a:gd name="connsiteX265" fmla="*/ 8862 w 10000"/>
              <a:gd name="connsiteY265" fmla="*/ 2480 h 10000"/>
              <a:gd name="connsiteX266" fmla="*/ 8483 w 10000"/>
              <a:gd name="connsiteY266" fmla="*/ 2325 h 10000"/>
              <a:gd name="connsiteX267" fmla="*/ 8388 w 10000"/>
              <a:gd name="connsiteY267" fmla="*/ 2636 h 10000"/>
              <a:gd name="connsiteX268" fmla="*/ 8483 w 10000"/>
              <a:gd name="connsiteY268" fmla="*/ 2868 h 10000"/>
              <a:gd name="connsiteX269" fmla="*/ 8198 w 10000"/>
              <a:gd name="connsiteY269" fmla="*/ 2868 h 10000"/>
              <a:gd name="connsiteX270" fmla="*/ 8150 w 10000"/>
              <a:gd name="connsiteY270" fmla="*/ 2868 h 10000"/>
              <a:gd name="connsiteX271" fmla="*/ 8055 w 10000"/>
              <a:gd name="connsiteY271" fmla="*/ 2946 h 10000"/>
              <a:gd name="connsiteX272" fmla="*/ 7913 w 10000"/>
              <a:gd name="connsiteY272" fmla="*/ 2714 h 10000"/>
              <a:gd name="connsiteX273" fmla="*/ 7817 w 10000"/>
              <a:gd name="connsiteY273" fmla="*/ 3178 h 10000"/>
              <a:gd name="connsiteX274" fmla="*/ 7727 w 10000"/>
              <a:gd name="connsiteY274" fmla="*/ 3101 h 10000"/>
              <a:gd name="connsiteX275" fmla="*/ 7629 w 10000"/>
              <a:gd name="connsiteY275" fmla="*/ 2791 h 10000"/>
              <a:gd name="connsiteX276" fmla="*/ 7678 w 10000"/>
              <a:gd name="connsiteY276" fmla="*/ 2403 h 10000"/>
              <a:gd name="connsiteX277" fmla="*/ 7582 w 10000"/>
              <a:gd name="connsiteY277" fmla="*/ 2170 h 10000"/>
              <a:gd name="connsiteX278" fmla="*/ 7298 w 10000"/>
              <a:gd name="connsiteY278" fmla="*/ 2016 h 10000"/>
              <a:gd name="connsiteX279" fmla="*/ 7201 w 10000"/>
              <a:gd name="connsiteY279" fmla="*/ 2016 h 10000"/>
              <a:gd name="connsiteX280" fmla="*/ 7155 w 10000"/>
              <a:gd name="connsiteY280" fmla="*/ 2170 h 10000"/>
              <a:gd name="connsiteX281" fmla="*/ 7201 w 10000"/>
              <a:gd name="connsiteY281" fmla="*/ 2325 h 10000"/>
              <a:gd name="connsiteX282" fmla="*/ 6827 w 10000"/>
              <a:gd name="connsiteY282" fmla="*/ 2248 h 10000"/>
              <a:gd name="connsiteX283" fmla="*/ 6871 w 10000"/>
              <a:gd name="connsiteY283" fmla="*/ 2016 h 10000"/>
              <a:gd name="connsiteX284" fmla="*/ 6636 w 10000"/>
              <a:gd name="connsiteY284" fmla="*/ 1938 h 10000"/>
              <a:gd name="connsiteX285" fmla="*/ 6492 w 10000"/>
              <a:gd name="connsiteY285" fmla="*/ 2093 h 10000"/>
              <a:gd name="connsiteX286" fmla="*/ 6215 w 10000"/>
              <a:gd name="connsiteY286" fmla="*/ 1861 h 10000"/>
              <a:gd name="connsiteX0" fmla="*/ 6215 w 10000"/>
              <a:gd name="connsiteY0" fmla="*/ 1861 h 10000"/>
              <a:gd name="connsiteX1" fmla="*/ 6215 w 10000"/>
              <a:gd name="connsiteY1" fmla="*/ 1861 h 10000"/>
              <a:gd name="connsiteX2" fmla="*/ 6160 w 10000"/>
              <a:gd name="connsiteY2" fmla="*/ 1938 h 10000"/>
              <a:gd name="connsiteX3" fmla="*/ 6215 w 10000"/>
              <a:gd name="connsiteY3" fmla="*/ 2093 h 10000"/>
              <a:gd name="connsiteX4" fmla="*/ 6017 w 10000"/>
              <a:gd name="connsiteY4" fmla="*/ 2248 h 10000"/>
              <a:gd name="connsiteX5" fmla="*/ 5968 w 10000"/>
              <a:gd name="connsiteY5" fmla="*/ 2248 h 10000"/>
              <a:gd name="connsiteX6" fmla="*/ 6017 w 10000"/>
              <a:gd name="connsiteY6" fmla="*/ 2016 h 10000"/>
              <a:gd name="connsiteX7" fmla="*/ 6492 w 10000"/>
              <a:gd name="connsiteY7" fmla="*/ 1318 h 10000"/>
              <a:gd name="connsiteX8" fmla="*/ 6492 w 10000"/>
              <a:gd name="connsiteY8" fmla="*/ 853 h 10000"/>
              <a:gd name="connsiteX9" fmla="*/ 6304 w 10000"/>
              <a:gd name="connsiteY9" fmla="*/ 543 h 10000"/>
              <a:gd name="connsiteX10" fmla="*/ 6066 w 10000"/>
              <a:gd name="connsiteY10" fmla="*/ 543 h 10000"/>
              <a:gd name="connsiteX11" fmla="*/ 6066 w 10000"/>
              <a:gd name="connsiteY11" fmla="*/ 698 h 10000"/>
              <a:gd name="connsiteX12" fmla="*/ 5922 w 10000"/>
              <a:gd name="connsiteY12" fmla="*/ 698 h 10000"/>
              <a:gd name="connsiteX13" fmla="*/ 6017 w 10000"/>
              <a:gd name="connsiteY13" fmla="*/ 387 h 10000"/>
              <a:gd name="connsiteX14" fmla="*/ 5783 w 10000"/>
              <a:gd name="connsiteY14" fmla="*/ 310 h 10000"/>
              <a:gd name="connsiteX15" fmla="*/ 5922 w 10000"/>
              <a:gd name="connsiteY15" fmla="*/ 155 h 10000"/>
              <a:gd name="connsiteX16" fmla="*/ 5783 w 10000"/>
              <a:gd name="connsiteY16" fmla="*/ 0 h 10000"/>
              <a:gd name="connsiteX17" fmla="*/ 5546 w 10000"/>
              <a:gd name="connsiteY17" fmla="*/ 387 h 10000"/>
              <a:gd name="connsiteX18" fmla="*/ 5546 w 10000"/>
              <a:gd name="connsiteY18" fmla="*/ 698 h 10000"/>
              <a:gd name="connsiteX19" fmla="*/ 5401 w 10000"/>
              <a:gd name="connsiteY19" fmla="*/ 698 h 10000"/>
              <a:gd name="connsiteX20" fmla="*/ 4976 w 10000"/>
              <a:gd name="connsiteY20" fmla="*/ 853 h 10000"/>
              <a:gd name="connsiteX21" fmla="*/ 4596 w 10000"/>
              <a:gd name="connsiteY21" fmla="*/ 1240 h 10000"/>
              <a:gd name="connsiteX22" fmla="*/ 4454 w 10000"/>
              <a:gd name="connsiteY22" fmla="*/ 1551 h 10000"/>
              <a:gd name="connsiteX23" fmla="*/ 4502 w 10000"/>
              <a:gd name="connsiteY23" fmla="*/ 1938 h 10000"/>
              <a:gd name="connsiteX24" fmla="*/ 3980 w 10000"/>
              <a:gd name="connsiteY24" fmla="*/ 2093 h 10000"/>
              <a:gd name="connsiteX25" fmla="*/ 4030 w 10000"/>
              <a:gd name="connsiteY25" fmla="*/ 2559 h 10000"/>
              <a:gd name="connsiteX26" fmla="*/ 4172 w 10000"/>
              <a:gd name="connsiteY26" fmla="*/ 2791 h 10000"/>
              <a:gd name="connsiteX27" fmla="*/ 4076 w 10000"/>
              <a:gd name="connsiteY27" fmla="*/ 2868 h 10000"/>
              <a:gd name="connsiteX28" fmla="*/ 3934 w 10000"/>
              <a:gd name="connsiteY28" fmla="*/ 2559 h 10000"/>
              <a:gd name="connsiteX29" fmla="*/ 3794 w 10000"/>
              <a:gd name="connsiteY29" fmla="*/ 2480 h 10000"/>
              <a:gd name="connsiteX30" fmla="*/ 3743 w 10000"/>
              <a:gd name="connsiteY30" fmla="*/ 2559 h 10000"/>
              <a:gd name="connsiteX31" fmla="*/ 3648 w 10000"/>
              <a:gd name="connsiteY31" fmla="*/ 2403 h 10000"/>
              <a:gd name="connsiteX32" fmla="*/ 3554 w 10000"/>
              <a:gd name="connsiteY32" fmla="*/ 2248 h 10000"/>
              <a:gd name="connsiteX33" fmla="*/ 3554 w 10000"/>
              <a:gd name="connsiteY33" fmla="*/ 2325 h 10000"/>
              <a:gd name="connsiteX34" fmla="*/ 3605 w 10000"/>
              <a:gd name="connsiteY34" fmla="*/ 2559 h 10000"/>
              <a:gd name="connsiteX35" fmla="*/ 3459 w 10000"/>
              <a:gd name="connsiteY35" fmla="*/ 2946 h 10000"/>
              <a:gd name="connsiteX36" fmla="*/ 3554 w 10000"/>
              <a:gd name="connsiteY36" fmla="*/ 3256 h 10000"/>
              <a:gd name="connsiteX37" fmla="*/ 3504 w 10000"/>
              <a:gd name="connsiteY37" fmla="*/ 3566 h 10000"/>
              <a:gd name="connsiteX38" fmla="*/ 3504 w 10000"/>
              <a:gd name="connsiteY38" fmla="*/ 3799 h 10000"/>
              <a:gd name="connsiteX39" fmla="*/ 3648 w 10000"/>
              <a:gd name="connsiteY39" fmla="*/ 3799 h 10000"/>
              <a:gd name="connsiteX40" fmla="*/ 3554 w 10000"/>
              <a:gd name="connsiteY40" fmla="*/ 3876 h 10000"/>
              <a:gd name="connsiteX41" fmla="*/ 3605 w 10000"/>
              <a:gd name="connsiteY41" fmla="*/ 4263 h 10000"/>
              <a:gd name="connsiteX42" fmla="*/ 3317 w 10000"/>
              <a:gd name="connsiteY42" fmla="*/ 4652 h 10000"/>
              <a:gd name="connsiteX43" fmla="*/ 3268 w 10000"/>
              <a:gd name="connsiteY43" fmla="*/ 4574 h 10000"/>
              <a:gd name="connsiteX44" fmla="*/ 3459 w 10000"/>
              <a:gd name="connsiteY44" fmla="*/ 4186 h 10000"/>
              <a:gd name="connsiteX45" fmla="*/ 3504 w 10000"/>
              <a:gd name="connsiteY45" fmla="*/ 3954 h 10000"/>
              <a:gd name="connsiteX46" fmla="*/ 3406 w 10000"/>
              <a:gd name="connsiteY46" fmla="*/ 3799 h 10000"/>
              <a:gd name="connsiteX47" fmla="*/ 3406 w 10000"/>
              <a:gd name="connsiteY47" fmla="*/ 3023 h 10000"/>
              <a:gd name="connsiteX48" fmla="*/ 3365 w 10000"/>
              <a:gd name="connsiteY48" fmla="*/ 2868 h 10000"/>
              <a:gd name="connsiteX49" fmla="*/ 3406 w 10000"/>
              <a:gd name="connsiteY49" fmla="*/ 2403 h 10000"/>
              <a:gd name="connsiteX50" fmla="*/ 3317 w 10000"/>
              <a:gd name="connsiteY50" fmla="*/ 2325 h 10000"/>
              <a:gd name="connsiteX51" fmla="*/ 3365 w 10000"/>
              <a:gd name="connsiteY51" fmla="*/ 2248 h 10000"/>
              <a:gd name="connsiteX52" fmla="*/ 3317 w 10000"/>
              <a:gd name="connsiteY52" fmla="*/ 2093 h 10000"/>
              <a:gd name="connsiteX53" fmla="*/ 3219 w 10000"/>
              <a:gd name="connsiteY53" fmla="*/ 2170 h 10000"/>
              <a:gd name="connsiteX54" fmla="*/ 2984 w 10000"/>
              <a:gd name="connsiteY54" fmla="*/ 3178 h 10000"/>
              <a:gd name="connsiteX55" fmla="*/ 2984 w 10000"/>
              <a:gd name="connsiteY55" fmla="*/ 3566 h 10000"/>
              <a:gd name="connsiteX56" fmla="*/ 3127 w 10000"/>
              <a:gd name="connsiteY56" fmla="*/ 3876 h 10000"/>
              <a:gd name="connsiteX57" fmla="*/ 3127 w 10000"/>
              <a:gd name="connsiteY57" fmla="*/ 4031 h 10000"/>
              <a:gd name="connsiteX58" fmla="*/ 2984 w 10000"/>
              <a:gd name="connsiteY58" fmla="*/ 3876 h 10000"/>
              <a:gd name="connsiteX59" fmla="*/ 2419 w 10000"/>
              <a:gd name="connsiteY59" fmla="*/ 3256 h 10000"/>
              <a:gd name="connsiteX60" fmla="*/ 2370 w 10000"/>
              <a:gd name="connsiteY60" fmla="*/ 3411 h 10000"/>
              <a:gd name="connsiteX61" fmla="*/ 2559 w 10000"/>
              <a:gd name="connsiteY61" fmla="*/ 3799 h 10000"/>
              <a:gd name="connsiteX62" fmla="*/ 2463 w 10000"/>
              <a:gd name="connsiteY62" fmla="*/ 3876 h 10000"/>
              <a:gd name="connsiteX63" fmla="*/ 2419 w 10000"/>
              <a:gd name="connsiteY63" fmla="*/ 3799 h 10000"/>
              <a:gd name="connsiteX64" fmla="*/ 2133 w 10000"/>
              <a:gd name="connsiteY64" fmla="*/ 3954 h 10000"/>
              <a:gd name="connsiteX65" fmla="*/ 2087 w 10000"/>
              <a:gd name="connsiteY65" fmla="*/ 4109 h 10000"/>
              <a:gd name="connsiteX66" fmla="*/ 2039 w 10000"/>
              <a:gd name="connsiteY66" fmla="*/ 3954 h 10000"/>
              <a:gd name="connsiteX67" fmla="*/ 2039 w 10000"/>
              <a:gd name="connsiteY67" fmla="*/ 3799 h 10000"/>
              <a:gd name="connsiteX68" fmla="*/ 1562 w 10000"/>
              <a:gd name="connsiteY68" fmla="*/ 4263 h 10000"/>
              <a:gd name="connsiteX69" fmla="*/ 1562 w 10000"/>
              <a:gd name="connsiteY69" fmla="*/ 4418 h 10000"/>
              <a:gd name="connsiteX70" fmla="*/ 1471 w 10000"/>
              <a:gd name="connsiteY70" fmla="*/ 4496 h 10000"/>
              <a:gd name="connsiteX71" fmla="*/ 1326 w 10000"/>
              <a:gd name="connsiteY71" fmla="*/ 4341 h 10000"/>
              <a:gd name="connsiteX72" fmla="*/ 1471 w 10000"/>
              <a:gd name="connsiteY72" fmla="*/ 4186 h 10000"/>
              <a:gd name="connsiteX73" fmla="*/ 1422 w 10000"/>
              <a:gd name="connsiteY73" fmla="*/ 3954 h 10000"/>
              <a:gd name="connsiteX74" fmla="*/ 1233 w 10000"/>
              <a:gd name="connsiteY74" fmla="*/ 3876 h 10000"/>
              <a:gd name="connsiteX75" fmla="*/ 1282 w 10000"/>
              <a:gd name="connsiteY75" fmla="*/ 4031 h 10000"/>
              <a:gd name="connsiteX76" fmla="*/ 1282 w 10000"/>
              <a:gd name="connsiteY76" fmla="*/ 4418 h 10000"/>
              <a:gd name="connsiteX77" fmla="*/ 1326 w 10000"/>
              <a:gd name="connsiteY77" fmla="*/ 4574 h 10000"/>
              <a:gd name="connsiteX78" fmla="*/ 1282 w 10000"/>
              <a:gd name="connsiteY78" fmla="*/ 4729 h 10000"/>
              <a:gd name="connsiteX79" fmla="*/ 1136 w 10000"/>
              <a:gd name="connsiteY79" fmla="*/ 4652 h 10000"/>
              <a:gd name="connsiteX80" fmla="*/ 948 w 10000"/>
              <a:gd name="connsiteY80" fmla="*/ 4884 h 10000"/>
              <a:gd name="connsiteX81" fmla="*/ 1040 w 10000"/>
              <a:gd name="connsiteY81" fmla="*/ 5194 h 10000"/>
              <a:gd name="connsiteX82" fmla="*/ 757 w 10000"/>
              <a:gd name="connsiteY82" fmla="*/ 5039 h 10000"/>
              <a:gd name="connsiteX83" fmla="*/ 710 w 10000"/>
              <a:gd name="connsiteY83" fmla="*/ 5116 h 10000"/>
              <a:gd name="connsiteX84" fmla="*/ 806 w 10000"/>
              <a:gd name="connsiteY84" fmla="*/ 5349 h 10000"/>
              <a:gd name="connsiteX85" fmla="*/ 710 w 10000"/>
              <a:gd name="connsiteY85" fmla="*/ 5349 h 10000"/>
              <a:gd name="connsiteX86" fmla="*/ 570 w 10000"/>
              <a:gd name="connsiteY86" fmla="*/ 5194 h 10000"/>
              <a:gd name="connsiteX87" fmla="*/ 570 w 10000"/>
              <a:gd name="connsiteY87" fmla="*/ 4729 h 10000"/>
              <a:gd name="connsiteX88" fmla="*/ 430 w 10000"/>
              <a:gd name="connsiteY88" fmla="*/ 4574 h 10000"/>
              <a:gd name="connsiteX89" fmla="*/ 379 w 10000"/>
              <a:gd name="connsiteY89" fmla="*/ 4418 h 10000"/>
              <a:gd name="connsiteX90" fmla="*/ 474 w 10000"/>
              <a:gd name="connsiteY90" fmla="*/ 4496 h 10000"/>
              <a:gd name="connsiteX91" fmla="*/ 852 w 10000"/>
              <a:gd name="connsiteY91" fmla="*/ 4729 h 10000"/>
              <a:gd name="connsiteX92" fmla="*/ 1087 w 10000"/>
              <a:gd name="connsiteY92" fmla="*/ 4496 h 10000"/>
              <a:gd name="connsiteX93" fmla="*/ 1040 w 10000"/>
              <a:gd name="connsiteY93" fmla="*/ 4263 h 10000"/>
              <a:gd name="connsiteX94" fmla="*/ 757 w 10000"/>
              <a:gd name="connsiteY94" fmla="*/ 3799 h 10000"/>
              <a:gd name="connsiteX95" fmla="*/ 474 w 10000"/>
              <a:gd name="connsiteY95" fmla="*/ 3644 h 10000"/>
              <a:gd name="connsiteX96" fmla="*/ 474 w 10000"/>
              <a:gd name="connsiteY96" fmla="*/ 3566 h 10000"/>
              <a:gd name="connsiteX97" fmla="*/ 379 w 10000"/>
              <a:gd name="connsiteY97" fmla="*/ 3488 h 10000"/>
              <a:gd name="connsiteX98" fmla="*/ 282 w 10000"/>
              <a:gd name="connsiteY98" fmla="*/ 3566 h 10000"/>
              <a:gd name="connsiteX99" fmla="*/ 282 w 10000"/>
              <a:gd name="connsiteY99" fmla="*/ 3644 h 10000"/>
              <a:gd name="connsiteX100" fmla="*/ 237 w 10000"/>
              <a:gd name="connsiteY100" fmla="*/ 3644 h 10000"/>
              <a:gd name="connsiteX101" fmla="*/ 142 w 10000"/>
              <a:gd name="connsiteY101" fmla="*/ 3799 h 10000"/>
              <a:gd name="connsiteX102" fmla="*/ 142 w 10000"/>
              <a:gd name="connsiteY102" fmla="*/ 4031 h 10000"/>
              <a:gd name="connsiteX103" fmla="*/ 237 w 10000"/>
              <a:gd name="connsiteY103" fmla="*/ 4186 h 10000"/>
              <a:gd name="connsiteX104" fmla="*/ 190 w 10000"/>
              <a:gd name="connsiteY104" fmla="*/ 4418 h 10000"/>
              <a:gd name="connsiteX105" fmla="*/ 237 w 10000"/>
              <a:gd name="connsiteY105" fmla="*/ 4807 h 10000"/>
              <a:gd name="connsiteX106" fmla="*/ 190 w 10000"/>
              <a:gd name="connsiteY106" fmla="*/ 5039 h 10000"/>
              <a:gd name="connsiteX107" fmla="*/ 282 w 10000"/>
              <a:gd name="connsiteY107" fmla="*/ 5271 h 10000"/>
              <a:gd name="connsiteX108" fmla="*/ 237 w 10000"/>
              <a:gd name="connsiteY108" fmla="*/ 5426 h 10000"/>
              <a:gd name="connsiteX109" fmla="*/ 330 w 10000"/>
              <a:gd name="connsiteY109" fmla="*/ 5582 h 10000"/>
              <a:gd name="connsiteX110" fmla="*/ 330 w 10000"/>
              <a:gd name="connsiteY110" fmla="*/ 5659 h 10000"/>
              <a:gd name="connsiteX111" fmla="*/ 190 w 10000"/>
              <a:gd name="connsiteY111" fmla="*/ 6047 h 10000"/>
              <a:gd name="connsiteX112" fmla="*/ 44 w 10000"/>
              <a:gd name="connsiteY112" fmla="*/ 6202 h 10000"/>
              <a:gd name="connsiteX113" fmla="*/ 94 w 10000"/>
              <a:gd name="connsiteY113" fmla="*/ 6202 h 10000"/>
              <a:gd name="connsiteX114" fmla="*/ 190 w 10000"/>
              <a:gd name="connsiteY114" fmla="*/ 6356 h 10000"/>
              <a:gd name="connsiteX115" fmla="*/ 94 w 10000"/>
              <a:gd name="connsiteY115" fmla="*/ 6512 h 10000"/>
              <a:gd name="connsiteX116" fmla="*/ 44 w 10000"/>
              <a:gd name="connsiteY116" fmla="*/ 6590 h 10000"/>
              <a:gd name="connsiteX117" fmla="*/ 0 w 10000"/>
              <a:gd name="connsiteY117" fmla="*/ 6590 h 10000"/>
              <a:gd name="connsiteX118" fmla="*/ 44 w 10000"/>
              <a:gd name="connsiteY118" fmla="*/ 6822 h 10000"/>
              <a:gd name="connsiteX119" fmla="*/ 44 w 10000"/>
              <a:gd name="connsiteY119" fmla="*/ 6900 h 10000"/>
              <a:gd name="connsiteX120" fmla="*/ 44 w 10000"/>
              <a:gd name="connsiteY120" fmla="*/ 6977 h 10000"/>
              <a:gd name="connsiteX121" fmla="*/ 44 w 10000"/>
              <a:gd name="connsiteY121" fmla="*/ 7054 h 10000"/>
              <a:gd name="connsiteX122" fmla="*/ 94 w 10000"/>
              <a:gd name="connsiteY122" fmla="*/ 7209 h 10000"/>
              <a:gd name="connsiteX123" fmla="*/ 237 w 10000"/>
              <a:gd name="connsiteY123" fmla="*/ 7287 h 10000"/>
              <a:gd name="connsiteX124" fmla="*/ 282 w 10000"/>
              <a:gd name="connsiteY124" fmla="*/ 7364 h 10000"/>
              <a:gd name="connsiteX125" fmla="*/ 282 w 10000"/>
              <a:gd name="connsiteY125" fmla="*/ 7520 h 10000"/>
              <a:gd name="connsiteX126" fmla="*/ 379 w 10000"/>
              <a:gd name="connsiteY126" fmla="*/ 7752 h 10000"/>
              <a:gd name="connsiteX127" fmla="*/ 430 w 10000"/>
              <a:gd name="connsiteY127" fmla="*/ 7752 h 10000"/>
              <a:gd name="connsiteX128" fmla="*/ 379 w 10000"/>
              <a:gd name="connsiteY128" fmla="*/ 7907 h 10000"/>
              <a:gd name="connsiteX129" fmla="*/ 330 w 10000"/>
              <a:gd name="connsiteY129" fmla="*/ 7830 h 10000"/>
              <a:gd name="connsiteX130" fmla="*/ 330 w 10000"/>
              <a:gd name="connsiteY130" fmla="*/ 7907 h 10000"/>
              <a:gd name="connsiteX131" fmla="*/ 379 w 10000"/>
              <a:gd name="connsiteY131" fmla="*/ 8062 h 10000"/>
              <a:gd name="connsiteX132" fmla="*/ 523 w 10000"/>
              <a:gd name="connsiteY132" fmla="*/ 8062 h 10000"/>
              <a:gd name="connsiteX133" fmla="*/ 570 w 10000"/>
              <a:gd name="connsiteY133" fmla="*/ 8140 h 10000"/>
              <a:gd name="connsiteX134" fmla="*/ 523 w 10000"/>
              <a:gd name="connsiteY134" fmla="*/ 8140 h 10000"/>
              <a:gd name="connsiteX135" fmla="*/ 570 w 10000"/>
              <a:gd name="connsiteY135" fmla="*/ 8217 h 10000"/>
              <a:gd name="connsiteX136" fmla="*/ 615 w 10000"/>
              <a:gd name="connsiteY136" fmla="*/ 8217 h 10000"/>
              <a:gd name="connsiteX137" fmla="*/ 663 w 10000"/>
              <a:gd name="connsiteY137" fmla="*/ 8372 h 10000"/>
              <a:gd name="connsiteX138" fmla="*/ 710 w 10000"/>
              <a:gd name="connsiteY138" fmla="*/ 8449 h 10000"/>
              <a:gd name="connsiteX139" fmla="*/ 757 w 10000"/>
              <a:gd name="connsiteY139" fmla="*/ 8372 h 10000"/>
              <a:gd name="connsiteX140" fmla="*/ 996 w 10000"/>
              <a:gd name="connsiteY140" fmla="*/ 8605 h 10000"/>
              <a:gd name="connsiteX141" fmla="*/ 948 w 10000"/>
              <a:gd name="connsiteY141" fmla="*/ 8915 h 10000"/>
              <a:gd name="connsiteX142" fmla="*/ 899 w 10000"/>
              <a:gd name="connsiteY142" fmla="*/ 8838 h 10000"/>
              <a:gd name="connsiteX143" fmla="*/ 852 w 10000"/>
              <a:gd name="connsiteY143" fmla="*/ 8915 h 10000"/>
              <a:gd name="connsiteX144" fmla="*/ 852 w 10000"/>
              <a:gd name="connsiteY144" fmla="*/ 9070 h 10000"/>
              <a:gd name="connsiteX145" fmla="*/ 899 w 10000"/>
              <a:gd name="connsiteY145" fmla="*/ 8993 h 10000"/>
              <a:gd name="connsiteX146" fmla="*/ 948 w 10000"/>
              <a:gd name="connsiteY146" fmla="*/ 9070 h 10000"/>
              <a:gd name="connsiteX147" fmla="*/ 806 w 10000"/>
              <a:gd name="connsiteY147" fmla="*/ 9147 h 10000"/>
              <a:gd name="connsiteX148" fmla="*/ 852 w 10000"/>
              <a:gd name="connsiteY148" fmla="*/ 9225 h 10000"/>
              <a:gd name="connsiteX149" fmla="*/ 757 w 10000"/>
              <a:gd name="connsiteY149" fmla="*/ 9380 h 10000"/>
              <a:gd name="connsiteX150" fmla="*/ 710 w 10000"/>
              <a:gd name="connsiteY150" fmla="*/ 9380 h 10000"/>
              <a:gd name="connsiteX151" fmla="*/ 757 w 10000"/>
              <a:gd name="connsiteY151" fmla="*/ 9380 h 10000"/>
              <a:gd name="connsiteX152" fmla="*/ 948 w 10000"/>
              <a:gd name="connsiteY152" fmla="*/ 9691 h 10000"/>
              <a:gd name="connsiteX153" fmla="*/ 1186 w 10000"/>
              <a:gd name="connsiteY153" fmla="*/ 9691 h 10000"/>
              <a:gd name="connsiteX154" fmla="*/ 1282 w 10000"/>
              <a:gd name="connsiteY154" fmla="*/ 9768 h 10000"/>
              <a:gd name="connsiteX155" fmla="*/ 1374 w 10000"/>
              <a:gd name="connsiteY155" fmla="*/ 9768 h 10000"/>
              <a:gd name="connsiteX156" fmla="*/ 1471 w 10000"/>
              <a:gd name="connsiteY156" fmla="*/ 9923 h 10000"/>
              <a:gd name="connsiteX157" fmla="*/ 1516 w 10000"/>
              <a:gd name="connsiteY157" fmla="*/ 10000 h 10000"/>
              <a:gd name="connsiteX158" fmla="*/ 1562 w 10000"/>
              <a:gd name="connsiteY158" fmla="*/ 10000 h 10000"/>
              <a:gd name="connsiteX159" fmla="*/ 1613 w 10000"/>
              <a:gd name="connsiteY159" fmla="*/ 9923 h 10000"/>
              <a:gd name="connsiteX160" fmla="*/ 1516 w 10000"/>
              <a:gd name="connsiteY160" fmla="*/ 9768 h 10000"/>
              <a:gd name="connsiteX161" fmla="*/ 1516 w 10000"/>
              <a:gd name="connsiteY161" fmla="*/ 9613 h 10000"/>
              <a:gd name="connsiteX162" fmla="*/ 1471 w 10000"/>
              <a:gd name="connsiteY162" fmla="*/ 9457 h 10000"/>
              <a:gd name="connsiteX163" fmla="*/ 1562 w 10000"/>
              <a:gd name="connsiteY163" fmla="*/ 9225 h 10000"/>
              <a:gd name="connsiteX164" fmla="*/ 1613 w 10000"/>
              <a:gd name="connsiteY164" fmla="*/ 9302 h 10000"/>
              <a:gd name="connsiteX165" fmla="*/ 1659 w 10000"/>
              <a:gd name="connsiteY165" fmla="*/ 9225 h 10000"/>
              <a:gd name="connsiteX166" fmla="*/ 1659 w 10000"/>
              <a:gd name="connsiteY166" fmla="*/ 9147 h 10000"/>
              <a:gd name="connsiteX167" fmla="*/ 1613 w 10000"/>
              <a:gd name="connsiteY167" fmla="*/ 9147 h 10000"/>
              <a:gd name="connsiteX168" fmla="*/ 1659 w 10000"/>
              <a:gd name="connsiteY168" fmla="*/ 9070 h 10000"/>
              <a:gd name="connsiteX169" fmla="*/ 1613 w 10000"/>
              <a:gd name="connsiteY169" fmla="*/ 8915 h 10000"/>
              <a:gd name="connsiteX170" fmla="*/ 1516 w 10000"/>
              <a:gd name="connsiteY170" fmla="*/ 8915 h 10000"/>
              <a:gd name="connsiteX171" fmla="*/ 1471 w 10000"/>
              <a:gd name="connsiteY171" fmla="*/ 8760 h 10000"/>
              <a:gd name="connsiteX172" fmla="*/ 1516 w 10000"/>
              <a:gd name="connsiteY172" fmla="*/ 8372 h 10000"/>
              <a:gd name="connsiteX173" fmla="*/ 1613 w 10000"/>
              <a:gd name="connsiteY173" fmla="*/ 8528 h 10000"/>
              <a:gd name="connsiteX174" fmla="*/ 1659 w 10000"/>
              <a:gd name="connsiteY174" fmla="*/ 8528 h 10000"/>
              <a:gd name="connsiteX175" fmla="*/ 1613 w 10000"/>
              <a:gd name="connsiteY175" fmla="*/ 8372 h 10000"/>
              <a:gd name="connsiteX176" fmla="*/ 1753 w 10000"/>
              <a:gd name="connsiteY176" fmla="*/ 8140 h 10000"/>
              <a:gd name="connsiteX177" fmla="*/ 1851 w 10000"/>
              <a:gd name="connsiteY177" fmla="*/ 8217 h 10000"/>
              <a:gd name="connsiteX178" fmla="*/ 1894 w 10000"/>
              <a:gd name="connsiteY178" fmla="*/ 8140 h 10000"/>
              <a:gd name="connsiteX179" fmla="*/ 1990 w 10000"/>
              <a:gd name="connsiteY179" fmla="*/ 8217 h 10000"/>
              <a:gd name="connsiteX180" fmla="*/ 2133 w 10000"/>
              <a:gd name="connsiteY180" fmla="*/ 8372 h 10000"/>
              <a:gd name="connsiteX181" fmla="*/ 2227 w 10000"/>
              <a:gd name="connsiteY181" fmla="*/ 8295 h 10000"/>
              <a:gd name="connsiteX182" fmla="*/ 2323 w 10000"/>
              <a:gd name="connsiteY182" fmla="*/ 8295 h 10000"/>
              <a:gd name="connsiteX183" fmla="*/ 2370 w 10000"/>
              <a:gd name="connsiteY183" fmla="*/ 8372 h 10000"/>
              <a:gd name="connsiteX184" fmla="*/ 2559 w 10000"/>
              <a:gd name="connsiteY184" fmla="*/ 8372 h 10000"/>
              <a:gd name="connsiteX185" fmla="*/ 2605 w 10000"/>
              <a:gd name="connsiteY185" fmla="*/ 8217 h 10000"/>
              <a:gd name="connsiteX186" fmla="*/ 2463 w 10000"/>
              <a:gd name="connsiteY186" fmla="*/ 8140 h 10000"/>
              <a:gd name="connsiteX187" fmla="*/ 2559 w 10000"/>
              <a:gd name="connsiteY187" fmla="*/ 8062 h 10000"/>
              <a:gd name="connsiteX188" fmla="*/ 2509 w 10000"/>
              <a:gd name="connsiteY188" fmla="*/ 7985 h 10000"/>
              <a:gd name="connsiteX189" fmla="*/ 2559 w 10000"/>
              <a:gd name="connsiteY189" fmla="*/ 7907 h 10000"/>
              <a:gd name="connsiteX190" fmla="*/ 2559 w 10000"/>
              <a:gd name="connsiteY190" fmla="*/ 7675 h 10000"/>
              <a:gd name="connsiteX191" fmla="*/ 2652 w 10000"/>
              <a:gd name="connsiteY191" fmla="*/ 7752 h 10000"/>
              <a:gd name="connsiteX192" fmla="*/ 3081 w 10000"/>
              <a:gd name="connsiteY192" fmla="*/ 7520 h 10000"/>
              <a:gd name="connsiteX193" fmla="*/ 3081 w 10000"/>
              <a:gd name="connsiteY193" fmla="*/ 7442 h 10000"/>
              <a:gd name="connsiteX194" fmla="*/ 3127 w 10000"/>
              <a:gd name="connsiteY194" fmla="*/ 7442 h 10000"/>
              <a:gd name="connsiteX195" fmla="*/ 3268 w 10000"/>
              <a:gd name="connsiteY195" fmla="*/ 7442 h 10000"/>
              <a:gd name="connsiteX196" fmla="*/ 3317 w 10000"/>
              <a:gd name="connsiteY196" fmla="*/ 7598 h 10000"/>
              <a:gd name="connsiteX197" fmla="*/ 3317 w 10000"/>
              <a:gd name="connsiteY197" fmla="*/ 7675 h 10000"/>
              <a:gd name="connsiteX198" fmla="*/ 3365 w 10000"/>
              <a:gd name="connsiteY198" fmla="*/ 7675 h 10000"/>
              <a:gd name="connsiteX199" fmla="*/ 3459 w 10000"/>
              <a:gd name="connsiteY199" fmla="*/ 7752 h 10000"/>
              <a:gd name="connsiteX200" fmla="*/ 3459 w 10000"/>
              <a:gd name="connsiteY200" fmla="*/ 7830 h 10000"/>
              <a:gd name="connsiteX201" fmla="*/ 3554 w 10000"/>
              <a:gd name="connsiteY201" fmla="*/ 7830 h 10000"/>
              <a:gd name="connsiteX202" fmla="*/ 3648 w 10000"/>
              <a:gd name="connsiteY202" fmla="*/ 7675 h 10000"/>
              <a:gd name="connsiteX203" fmla="*/ 3743 w 10000"/>
              <a:gd name="connsiteY203" fmla="*/ 7598 h 10000"/>
              <a:gd name="connsiteX204" fmla="*/ 3794 w 10000"/>
              <a:gd name="connsiteY204" fmla="*/ 7830 h 10000"/>
              <a:gd name="connsiteX205" fmla="*/ 3980 w 10000"/>
              <a:gd name="connsiteY205" fmla="*/ 8372 h 10000"/>
              <a:gd name="connsiteX206" fmla="*/ 4030 w 10000"/>
              <a:gd name="connsiteY206" fmla="*/ 8217 h 10000"/>
              <a:gd name="connsiteX207" fmla="*/ 4076 w 10000"/>
              <a:gd name="connsiteY207" fmla="*/ 8372 h 10000"/>
              <a:gd name="connsiteX208" fmla="*/ 4217 w 10000"/>
              <a:gd name="connsiteY208" fmla="*/ 8295 h 10000"/>
              <a:gd name="connsiteX209" fmla="*/ 4362 w 10000"/>
              <a:gd name="connsiteY209" fmla="*/ 8528 h 10000"/>
              <a:gd name="connsiteX210" fmla="*/ 4454 w 10000"/>
              <a:gd name="connsiteY210" fmla="*/ 8605 h 10000"/>
              <a:gd name="connsiteX211" fmla="*/ 4454 w 10000"/>
              <a:gd name="connsiteY211" fmla="*/ 8528 h 10000"/>
              <a:gd name="connsiteX212" fmla="*/ 4502 w 10000"/>
              <a:gd name="connsiteY212" fmla="*/ 8683 h 10000"/>
              <a:gd name="connsiteX213" fmla="*/ 4454 w 10000"/>
              <a:gd name="connsiteY213" fmla="*/ 8760 h 10000"/>
              <a:gd name="connsiteX214" fmla="*/ 4551 w 10000"/>
              <a:gd name="connsiteY214" fmla="*/ 8683 h 10000"/>
              <a:gd name="connsiteX215" fmla="*/ 4596 w 10000"/>
              <a:gd name="connsiteY215" fmla="*/ 8605 h 10000"/>
              <a:gd name="connsiteX216" fmla="*/ 4833 w 10000"/>
              <a:gd name="connsiteY216" fmla="*/ 8372 h 10000"/>
              <a:gd name="connsiteX217" fmla="*/ 5023 w 10000"/>
              <a:gd name="connsiteY217" fmla="*/ 8449 h 10000"/>
              <a:gd name="connsiteX218" fmla="*/ 5117 w 10000"/>
              <a:gd name="connsiteY218" fmla="*/ 8528 h 10000"/>
              <a:gd name="connsiteX219" fmla="*/ 5305 w 10000"/>
              <a:gd name="connsiteY219" fmla="*/ 8528 h 10000"/>
              <a:gd name="connsiteX220" fmla="*/ 5305 w 10000"/>
              <a:gd name="connsiteY220" fmla="*/ 8372 h 10000"/>
              <a:gd name="connsiteX221" fmla="*/ 5305 w 10000"/>
              <a:gd name="connsiteY221" fmla="*/ 8217 h 10000"/>
              <a:gd name="connsiteX222" fmla="*/ 5401 w 10000"/>
              <a:gd name="connsiteY222" fmla="*/ 8140 h 10000"/>
              <a:gd name="connsiteX223" fmla="*/ 5590 w 10000"/>
              <a:gd name="connsiteY223" fmla="*/ 8217 h 10000"/>
              <a:gd name="connsiteX224" fmla="*/ 5685 w 10000"/>
              <a:gd name="connsiteY224" fmla="*/ 8449 h 10000"/>
              <a:gd name="connsiteX225" fmla="*/ 5734 w 10000"/>
              <a:gd name="connsiteY225" fmla="*/ 8449 h 10000"/>
              <a:gd name="connsiteX226" fmla="*/ 5829 w 10000"/>
              <a:gd name="connsiteY226" fmla="*/ 8372 h 10000"/>
              <a:gd name="connsiteX227" fmla="*/ 6116 w 10000"/>
              <a:gd name="connsiteY227" fmla="*/ 8605 h 10000"/>
              <a:gd name="connsiteX228" fmla="*/ 6257 w 10000"/>
              <a:gd name="connsiteY228" fmla="*/ 8683 h 10000"/>
              <a:gd name="connsiteX229" fmla="*/ 6446 w 10000"/>
              <a:gd name="connsiteY229" fmla="*/ 8605 h 10000"/>
              <a:gd name="connsiteX230" fmla="*/ 6539 w 10000"/>
              <a:gd name="connsiteY230" fmla="*/ 8449 h 10000"/>
              <a:gd name="connsiteX231" fmla="*/ 6682 w 10000"/>
              <a:gd name="connsiteY231" fmla="*/ 8528 h 10000"/>
              <a:gd name="connsiteX232" fmla="*/ 6776 w 10000"/>
              <a:gd name="connsiteY232" fmla="*/ 8605 h 10000"/>
              <a:gd name="connsiteX233" fmla="*/ 8388 w 10000"/>
              <a:gd name="connsiteY233" fmla="*/ 7675 h 10000"/>
              <a:gd name="connsiteX234" fmla="*/ 8293 w 10000"/>
              <a:gd name="connsiteY234" fmla="*/ 7675 h 10000"/>
              <a:gd name="connsiteX235" fmla="*/ 8247 w 10000"/>
              <a:gd name="connsiteY235" fmla="*/ 7675 h 10000"/>
              <a:gd name="connsiteX236" fmla="*/ 8198 w 10000"/>
              <a:gd name="connsiteY236" fmla="*/ 7598 h 10000"/>
              <a:gd name="connsiteX237" fmla="*/ 8105 w 10000"/>
              <a:gd name="connsiteY237" fmla="*/ 7598 h 10000"/>
              <a:gd name="connsiteX238" fmla="*/ 8105 w 10000"/>
              <a:gd name="connsiteY238" fmla="*/ 7520 h 10000"/>
              <a:gd name="connsiteX239" fmla="*/ 8247 w 10000"/>
              <a:gd name="connsiteY239" fmla="*/ 7287 h 10000"/>
              <a:gd name="connsiteX240" fmla="*/ 8677 w 10000"/>
              <a:gd name="connsiteY240" fmla="*/ 6590 h 10000"/>
              <a:gd name="connsiteX241" fmla="*/ 8862 w 10000"/>
              <a:gd name="connsiteY241" fmla="*/ 6512 h 10000"/>
              <a:gd name="connsiteX242" fmla="*/ 8908 w 10000"/>
              <a:gd name="connsiteY242" fmla="*/ 6590 h 10000"/>
              <a:gd name="connsiteX243" fmla="*/ 8958 w 10000"/>
              <a:gd name="connsiteY243" fmla="*/ 6512 h 10000"/>
              <a:gd name="connsiteX244" fmla="*/ 9096 w 10000"/>
              <a:gd name="connsiteY244" fmla="*/ 6590 h 10000"/>
              <a:gd name="connsiteX245" fmla="*/ 9150 w 10000"/>
              <a:gd name="connsiteY245" fmla="*/ 6434 h 10000"/>
              <a:gd name="connsiteX246" fmla="*/ 9288 w 10000"/>
              <a:gd name="connsiteY246" fmla="*/ 6512 h 10000"/>
              <a:gd name="connsiteX247" fmla="*/ 9334 w 10000"/>
              <a:gd name="connsiteY247" fmla="*/ 6512 h 10000"/>
              <a:gd name="connsiteX248" fmla="*/ 9288 w 10000"/>
              <a:gd name="connsiteY248" fmla="*/ 6590 h 10000"/>
              <a:gd name="connsiteX249" fmla="*/ 9288 w 10000"/>
              <a:gd name="connsiteY249" fmla="*/ 6667 h 10000"/>
              <a:gd name="connsiteX250" fmla="*/ 9570 w 10000"/>
              <a:gd name="connsiteY250" fmla="*/ 6590 h 10000"/>
              <a:gd name="connsiteX251" fmla="*/ 9524 w 10000"/>
              <a:gd name="connsiteY251" fmla="*/ 6512 h 10000"/>
              <a:gd name="connsiteX252" fmla="*/ 9717 w 10000"/>
              <a:gd name="connsiteY252" fmla="*/ 5969 h 10000"/>
              <a:gd name="connsiteX253" fmla="*/ 9950 w 10000"/>
              <a:gd name="connsiteY253" fmla="*/ 5892 h 10000"/>
              <a:gd name="connsiteX254" fmla="*/ 10000 w 10000"/>
              <a:gd name="connsiteY254" fmla="*/ 3566 h 10000"/>
              <a:gd name="connsiteX255" fmla="*/ 9903 w 10000"/>
              <a:gd name="connsiteY255" fmla="*/ 3488 h 10000"/>
              <a:gd name="connsiteX256" fmla="*/ 9950 w 10000"/>
              <a:gd name="connsiteY256" fmla="*/ 3333 h 10000"/>
              <a:gd name="connsiteX257" fmla="*/ 9855 w 10000"/>
              <a:gd name="connsiteY257" fmla="*/ 3101 h 10000"/>
              <a:gd name="connsiteX258" fmla="*/ 9665 w 10000"/>
              <a:gd name="connsiteY258" fmla="*/ 3023 h 10000"/>
              <a:gd name="connsiteX259" fmla="*/ 9385 w 10000"/>
              <a:gd name="connsiteY259" fmla="*/ 3178 h 10000"/>
              <a:gd name="connsiteX260" fmla="*/ 9334 w 10000"/>
              <a:gd name="connsiteY260" fmla="*/ 2946 h 10000"/>
              <a:gd name="connsiteX261" fmla="*/ 9241 w 10000"/>
              <a:gd name="connsiteY261" fmla="*/ 2946 h 10000"/>
              <a:gd name="connsiteX262" fmla="*/ 9193 w 10000"/>
              <a:gd name="connsiteY262" fmla="*/ 2868 h 10000"/>
              <a:gd name="connsiteX263" fmla="*/ 9193 w 10000"/>
              <a:gd name="connsiteY263" fmla="*/ 2636 h 10000"/>
              <a:gd name="connsiteX264" fmla="*/ 8862 w 10000"/>
              <a:gd name="connsiteY264" fmla="*/ 2480 h 10000"/>
              <a:gd name="connsiteX265" fmla="*/ 8483 w 10000"/>
              <a:gd name="connsiteY265" fmla="*/ 2325 h 10000"/>
              <a:gd name="connsiteX266" fmla="*/ 8388 w 10000"/>
              <a:gd name="connsiteY266" fmla="*/ 2636 h 10000"/>
              <a:gd name="connsiteX267" fmla="*/ 8483 w 10000"/>
              <a:gd name="connsiteY267" fmla="*/ 2868 h 10000"/>
              <a:gd name="connsiteX268" fmla="*/ 8198 w 10000"/>
              <a:gd name="connsiteY268" fmla="*/ 2868 h 10000"/>
              <a:gd name="connsiteX269" fmla="*/ 8150 w 10000"/>
              <a:gd name="connsiteY269" fmla="*/ 2868 h 10000"/>
              <a:gd name="connsiteX270" fmla="*/ 8055 w 10000"/>
              <a:gd name="connsiteY270" fmla="*/ 2946 h 10000"/>
              <a:gd name="connsiteX271" fmla="*/ 7913 w 10000"/>
              <a:gd name="connsiteY271" fmla="*/ 2714 h 10000"/>
              <a:gd name="connsiteX272" fmla="*/ 7817 w 10000"/>
              <a:gd name="connsiteY272" fmla="*/ 3178 h 10000"/>
              <a:gd name="connsiteX273" fmla="*/ 7727 w 10000"/>
              <a:gd name="connsiteY273" fmla="*/ 3101 h 10000"/>
              <a:gd name="connsiteX274" fmla="*/ 7629 w 10000"/>
              <a:gd name="connsiteY274" fmla="*/ 2791 h 10000"/>
              <a:gd name="connsiteX275" fmla="*/ 7678 w 10000"/>
              <a:gd name="connsiteY275" fmla="*/ 2403 h 10000"/>
              <a:gd name="connsiteX276" fmla="*/ 7582 w 10000"/>
              <a:gd name="connsiteY276" fmla="*/ 2170 h 10000"/>
              <a:gd name="connsiteX277" fmla="*/ 7298 w 10000"/>
              <a:gd name="connsiteY277" fmla="*/ 2016 h 10000"/>
              <a:gd name="connsiteX278" fmla="*/ 7201 w 10000"/>
              <a:gd name="connsiteY278" fmla="*/ 2016 h 10000"/>
              <a:gd name="connsiteX279" fmla="*/ 7155 w 10000"/>
              <a:gd name="connsiteY279" fmla="*/ 2170 h 10000"/>
              <a:gd name="connsiteX280" fmla="*/ 7201 w 10000"/>
              <a:gd name="connsiteY280" fmla="*/ 2325 h 10000"/>
              <a:gd name="connsiteX281" fmla="*/ 6827 w 10000"/>
              <a:gd name="connsiteY281" fmla="*/ 2248 h 10000"/>
              <a:gd name="connsiteX282" fmla="*/ 6871 w 10000"/>
              <a:gd name="connsiteY282" fmla="*/ 2016 h 10000"/>
              <a:gd name="connsiteX283" fmla="*/ 6636 w 10000"/>
              <a:gd name="connsiteY283" fmla="*/ 1938 h 10000"/>
              <a:gd name="connsiteX284" fmla="*/ 6492 w 10000"/>
              <a:gd name="connsiteY284" fmla="*/ 2093 h 10000"/>
              <a:gd name="connsiteX285" fmla="*/ 6215 w 10000"/>
              <a:gd name="connsiteY285" fmla="*/ 1861 h 10000"/>
              <a:gd name="connsiteX0" fmla="*/ 6215 w 10000"/>
              <a:gd name="connsiteY0" fmla="*/ 1861 h 10000"/>
              <a:gd name="connsiteX1" fmla="*/ 6215 w 10000"/>
              <a:gd name="connsiteY1" fmla="*/ 1861 h 10000"/>
              <a:gd name="connsiteX2" fmla="*/ 6160 w 10000"/>
              <a:gd name="connsiteY2" fmla="*/ 1938 h 10000"/>
              <a:gd name="connsiteX3" fmla="*/ 6215 w 10000"/>
              <a:gd name="connsiteY3" fmla="*/ 2093 h 10000"/>
              <a:gd name="connsiteX4" fmla="*/ 6017 w 10000"/>
              <a:gd name="connsiteY4" fmla="*/ 2248 h 10000"/>
              <a:gd name="connsiteX5" fmla="*/ 5968 w 10000"/>
              <a:gd name="connsiteY5" fmla="*/ 2248 h 10000"/>
              <a:gd name="connsiteX6" fmla="*/ 6017 w 10000"/>
              <a:gd name="connsiteY6" fmla="*/ 2016 h 10000"/>
              <a:gd name="connsiteX7" fmla="*/ 6492 w 10000"/>
              <a:gd name="connsiteY7" fmla="*/ 1318 h 10000"/>
              <a:gd name="connsiteX8" fmla="*/ 6492 w 10000"/>
              <a:gd name="connsiteY8" fmla="*/ 853 h 10000"/>
              <a:gd name="connsiteX9" fmla="*/ 6304 w 10000"/>
              <a:gd name="connsiteY9" fmla="*/ 543 h 10000"/>
              <a:gd name="connsiteX10" fmla="*/ 6066 w 10000"/>
              <a:gd name="connsiteY10" fmla="*/ 543 h 10000"/>
              <a:gd name="connsiteX11" fmla="*/ 6066 w 10000"/>
              <a:gd name="connsiteY11" fmla="*/ 698 h 10000"/>
              <a:gd name="connsiteX12" fmla="*/ 5922 w 10000"/>
              <a:gd name="connsiteY12" fmla="*/ 698 h 10000"/>
              <a:gd name="connsiteX13" fmla="*/ 6017 w 10000"/>
              <a:gd name="connsiteY13" fmla="*/ 387 h 10000"/>
              <a:gd name="connsiteX14" fmla="*/ 5783 w 10000"/>
              <a:gd name="connsiteY14" fmla="*/ 310 h 10000"/>
              <a:gd name="connsiteX15" fmla="*/ 5922 w 10000"/>
              <a:gd name="connsiteY15" fmla="*/ 155 h 10000"/>
              <a:gd name="connsiteX16" fmla="*/ 5783 w 10000"/>
              <a:gd name="connsiteY16" fmla="*/ 0 h 10000"/>
              <a:gd name="connsiteX17" fmla="*/ 5546 w 10000"/>
              <a:gd name="connsiteY17" fmla="*/ 387 h 10000"/>
              <a:gd name="connsiteX18" fmla="*/ 5546 w 10000"/>
              <a:gd name="connsiteY18" fmla="*/ 698 h 10000"/>
              <a:gd name="connsiteX19" fmla="*/ 5401 w 10000"/>
              <a:gd name="connsiteY19" fmla="*/ 698 h 10000"/>
              <a:gd name="connsiteX20" fmla="*/ 4976 w 10000"/>
              <a:gd name="connsiteY20" fmla="*/ 853 h 10000"/>
              <a:gd name="connsiteX21" fmla="*/ 4596 w 10000"/>
              <a:gd name="connsiteY21" fmla="*/ 1240 h 10000"/>
              <a:gd name="connsiteX22" fmla="*/ 4454 w 10000"/>
              <a:gd name="connsiteY22" fmla="*/ 1551 h 10000"/>
              <a:gd name="connsiteX23" fmla="*/ 4502 w 10000"/>
              <a:gd name="connsiteY23" fmla="*/ 1938 h 10000"/>
              <a:gd name="connsiteX24" fmla="*/ 3980 w 10000"/>
              <a:gd name="connsiteY24" fmla="*/ 2093 h 10000"/>
              <a:gd name="connsiteX25" fmla="*/ 4030 w 10000"/>
              <a:gd name="connsiteY25" fmla="*/ 2559 h 10000"/>
              <a:gd name="connsiteX26" fmla="*/ 4172 w 10000"/>
              <a:gd name="connsiteY26" fmla="*/ 2791 h 10000"/>
              <a:gd name="connsiteX27" fmla="*/ 4076 w 10000"/>
              <a:gd name="connsiteY27" fmla="*/ 2868 h 10000"/>
              <a:gd name="connsiteX28" fmla="*/ 3934 w 10000"/>
              <a:gd name="connsiteY28" fmla="*/ 2559 h 10000"/>
              <a:gd name="connsiteX29" fmla="*/ 3794 w 10000"/>
              <a:gd name="connsiteY29" fmla="*/ 2480 h 10000"/>
              <a:gd name="connsiteX30" fmla="*/ 3743 w 10000"/>
              <a:gd name="connsiteY30" fmla="*/ 2559 h 10000"/>
              <a:gd name="connsiteX31" fmla="*/ 3648 w 10000"/>
              <a:gd name="connsiteY31" fmla="*/ 2403 h 10000"/>
              <a:gd name="connsiteX32" fmla="*/ 3554 w 10000"/>
              <a:gd name="connsiteY32" fmla="*/ 2248 h 10000"/>
              <a:gd name="connsiteX33" fmla="*/ 3554 w 10000"/>
              <a:gd name="connsiteY33" fmla="*/ 2325 h 10000"/>
              <a:gd name="connsiteX34" fmla="*/ 3605 w 10000"/>
              <a:gd name="connsiteY34" fmla="*/ 2559 h 10000"/>
              <a:gd name="connsiteX35" fmla="*/ 3459 w 10000"/>
              <a:gd name="connsiteY35" fmla="*/ 2946 h 10000"/>
              <a:gd name="connsiteX36" fmla="*/ 3554 w 10000"/>
              <a:gd name="connsiteY36" fmla="*/ 3256 h 10000"/>
              <a:gd name="connsiteX37" fmla="*/ 3504 w 10000"/>
              <a:gd name="connsiteY37" fmla="*/ 3566 h 10000"/>
              <a:gd name="connsiteX38" fmla="*/ 3504 w 10000"/>
              <a:gd name="connsiteY38" fmla="*/ 3799 h 10000"/>
              <a:gd name="connsiteX39" fmla="*/ 3648 w 10000"/>
              <a:gd name="connsiteY39" fmla="*/ 3799 h 10000"/>
              <a:gd name="connsiteX40" fmla="*/ 3554 w 10000"/>
              <a:gd name="connsiteY40" fmla="*/ 3876 h 10000"/>
              <a:gd name="connsiteX41" fmla="*/ 3605 w 10000"/>
              <a:gd name="connsiteY41" fmla="*/ 4263 h 10000"/>
              <a:gd name="connsiteX42" fmla="*/ 3317 w 10000"/>
              <a:gd name="connsiteY42" fmla="*/ 4652 h 10000"/>
              <a:gd name="connsiteX43" fmla="*/ 3268 w 10000"/>
              <a:gd name="connsiteY43" fmla="*/ 4574 h 10000"/>
              <a:gd name="connsiteX44" fmla="*/ 3459 w 10000"/>
              <a:gd name="connsiteY44" fmla="*/ 4186 h 10000"/>
              <a:gd name="connsiteX45" fmla="*/ 3504 w 10000"/>
              <a:gd name="connsiteY45" fmla="*/ 3954 h 10000"/>
              <a:gd name="connsiteX46" fmla="*/ 3406 w 10000"/>
              <a:gd name="connsiteY46" fmla="*/ 3799 h 10000"/>
              <a:gd name="connsiteX47" fmla="*/ 3406 w 10000"/>
              <a:gd name="connsiteY47" fmla="*/ 3023 h 10000"/>
              <a:gd name="connsiteX48" fmla="*/ 3365 w 10000"/>
              <a:gd name="connsiteY48" fmla="*/ 2868 h 10000"/>
              <a:gd name="connsiteX49" fmla="*/ 3406 w 10000"/>
              <a:gd name="connsiteY49" fmla="*/ 2403 h 10000"/>
              <a:gd name="connsiteX50" fmla="*/ 3317 w 10000"/>
              <a:gd name="connsiteY50" fmla="*/ 2325 h 10000"/>
              <a:gd name="connsiteX51" fmla="*/ 3365 w 10000"/>
              <a:gd name="connsiteY51" fmla="*/ 2248 h 10000"/>
              <a:gd name="connsiteX52" fmla="*/ 3317 w 10000"/>
              <a:gd name="connsiteY52" fmla="*/ 2093 h 10000"/>
              <a:gd name="connsiteX53" fmla="*/ 3219 w 10000"/>
              <a:gd name="connsiteY53" fmla="*/ 2170 h 10000"/>
              <a:gd name="connsiteX54" fmla="*/ 2984 w 10000"/>
              <a:gd name="connsiteY54" fmla="*/ 3178 h 10000"/>
              <a:gd name="connsiteX55" fmla="*/ 2984 w 10000"/>
              <a:gd name="connsiteY55" fmla="*/ 3566 h 10000"/>
              <a:gd name="connsiteX56" fmla="*/ 3127 w 10000"/>
              <a:gd name="connsiteY56" fmla="*/ 3876 h 10000"/>
              <a:gd name="connsiteX57" fmla="*/ 3127 w 10000"/>
              <a:gd name="connsiteY57" fmla="*/ 4031 h 10000"/>
              <a:gd name="connsiteX58" fmla="*/ 2984 w 10000"/>
              <a:gd name="connsiteY58" fmla="*/ 3876 h 10000"/>
              <a:gd name="connsiteX59" fmla="*/ 2419 w 10000"/>
              <a:gd name="connsiteY59" fmla="*/ 3256 h 10000"/>
              <a:gd name="connsiteX60" fmla="*/ 2370 w 10000"/>
              <a:gd name="connsiteY60" fmla="*/ 3411 h 10000"/>
              <a:gd name="connsiteX61" fmla="*/ 2559 w 10000"/>
              <a:gd name="connsiteY61" fmla="*/ 3799 h 10000"/>
              <a:gd name="connsiteX62" fmla="*/ 2463 w 10000"/>
              <a:gd name="connsiteY62" fmla="*/ 3876 h 10000"/>
              <a:gd name="connsiteX63" fmla="*/ 2419 w 10000"/>
              <a:gd name="connsiteY63" fmla="*/ 3799 h 10000"/>
              <a:gd name="connsiteX64" fmla="*/ 2133 w 10000"/>
              <a:gd name="connsiteY64" fmla="*/ 3954 h 10000"/>
              <a:gd name="connsiteX65" fmla="*/ 2087 w 10000"/>
              <a:gd name="connsiteY65" fmla="*/ 4109 h 10000"/>
              <a:gd name="connsiteX66" fmla="*/ 2039 w 10000"/>
              <a:gd name="connsiteY66" fmla="*/ 3954 h 10000"/>
              <a:gd name="connsiteX67" fmla="*/ 2039 w 10000"/>
              <a:gd name="connsiteY67" fmla="*/ 3799 h 10000"/>
              <a:gd name="connsiteX68" fmla="*/ 1562 w 10000"/>
              <a:gd name="connsiteY68" fmla="*/ 4263 h 10000"/>
              <a:gd name="connsiteX69" fmla="*/ 1562 w 10000"/>
              <a:gd name="connsiteY69" fmla="*/ 4418 h 10000"/>
              <a:gd name="connsiteX70" fmla="*/ 1471 w 10000"/>
              <a:gd name="connsiteY70" fmla="*/ 4496 h 10000"/>
              <a:gd name="connsiteX71" fmla="*/ 1326 w 10000"/>
              <a:gd name="connsiteY71" fmla="*/ 4341 h 10000"/>
              <a:gd name="connsiteX72" fmla="*/ 1471 w 10000"/>
              <a:gd name="connsiteY72" fmla="*/ 4186 h 10000"/>
              <a:gd name="connsiteX73" fmla="*/ 1422 w 10000"/>
              <a:gd name="connsiteY73" fmla="*/ 3954 h 10000"/>
              <a:gd name="connsiteX74" fmla="*/ 1233 w 10000"/>
              <a:gd name="connsiteY74" fmla="*/ 3876 h 10000"/>
              <a:gd name="connsiteX75" fmla="*/ 1282 w 10000"/>
              <a:gd name="connsiteY75" fmla="*/ 4031 h 10000"/>
              <a:gd name="connsiteX76" fmla="*/ 1282 w 10000"/>
              <a:gd name="connsiteY76" fmla="*/ 4418 h 10000"/>
              <a:gd name="connsiteX77" fmla="*/ 1326 w 10000"/>
              <a:gd name="connsiteY77" fmla="*/ 4574 h 10000"/>
              <a:gd name="connsiteX78" fmla="*/ 1282 w 10000"/>
              <a:gd name="connsiteY78" fmla="*/ 4729 h 10000"/>
              <a:gd name="connsiteX79" fmla="*/ 1136 w 10000"/>
              <a:gd name="connsiteY79" fmla="*/ 4652 h 10000"/>
              <a:gd name="connsiteX80" fmla="*/ 948 w 10000"/>
              <a:gd name="connsiteY80" fmla="*/ 4884 h 10000"/>
              <a:gd name="connsiteX81" fmla="*/ 1040 w 10000"/>
              <a:gd name="connsiteY81" fmla="*/ 5194 h 10000"/>
              <a:gd name="connsiteX82" fmla="*/ 757 w 10000"/>
              <a:gd name="connsiteY82" fmla="*/ 5039 h 10000"/>
              <a:gd name="connsiteX83" fmla="*/ 710 w 10000"/>
              <a:gd name="connsiteY83" fmla="*/ 5116 h 10000"/>
              <a:gd name="connsiteX84" fmla="*/ 806 w 10000"/>
              <a:gd name="connsiteY84" fmla="*/ 5349 h 10000"/>
              <a:gd name="connsiteX85" fmla="*/ 710 w 10000"/>
              <a:gd name="connsiteY85" fmla="*/ 5349 h 10000"/>
              <a:gd name="connsiteX86" fmla="*/ 570 w 10000"/>
              <a:gd name="connsiteY86" fmla="*/ 5194 h 10000"/>
              <a:gd name="connsiteX87" fmla="*/ 570 w 10000"/>
              <a:gd name="connsiteY87" fmla="*/ 4729 h 10000"/>
              <a:gd name="connsiteX88" fmla="*/ 430 w 10000"/>
              <a:gd name="connsiteY88" fmla="*/ 4574 h 10000"/>
              <a:gd name="connsiteX89" fmla="*/ 379 w 10000"/>
              <a:gd name="connsiteY89" fmla="*/ 4418 h 10000"/>
              <a:gd name="connsiteX90" fmla="*/ 474 w 10000"/>
              <a:gd name="connsiteY90" fmla="*/ 4496 h 10000"/>
              <a:gd name="connsiteX91" fmla="*/ 852 w 10000"/>
              <a:gd name="connsiteY91" fmla="*/ 4729 h 10000"/>
              <a:gd name="connsiteX92" fmla="*/ 1087 w 10000"/>
              <a:gd name="connsiteY92" fmla="*/ 4496 h 10000"/>
              <a:gd name="connsiteX93" fmla="*/ 1040 w 10000"/>
              <a:gd name="connsiteY93" fmla="*/ 4263 h 10000"/>
              <a:gd name="connsiteX94" fmla="*/ 757 w 10000"/>
              <a:gd name="connsiteY94" fmla="*/ 3799 h 10000"/>
              <a:gd name="connsiteX95" fmla="*/ 474 w 10000"/>
              <a:gd name="connsiteY95" fmla="*/ 3644 h 10000"/>
              <a:gd name="connsiteX96" fmla="*/ 474 w 10000"/>
              <a:gd name="connsiteY96" fmla="*/ 3566 h 10000"/>
              <a:gd name="connsiteX97" fmla="*/ 379 w 10000"/>
              <a:gd name="connsiteY97" fmla="*/ 3488 h 10000"/>
              <a:gd name="connsiteX98" fmla="*/ 282 w 10000"/>
              <a:gd name="connsiteY98" fmla="*/ 3566 h 10000"/>
              <a:gd name="connsiteX99" fmla="*/ 282 w 10000"/>
              <a:gd name="connsiteY99" fmla="*/ 3644 h 10000"/>
              <a:gd name="connsiteX100" fmla="*/ 237 w 10000"/>
              <a:gd name="connsiteY100" fmla="*/ 3644 h 10000"/>
              <a:gd name="connsiteX101" fmla="*/ 142 w 10000"/>
              <a:gd name="connsiteY101" fmla="*/ 3799 h 10000"/>
              <a:gd name="connsiteX102" fmla="*/ 142 w 10000"/>
              <a:gd name="connsiteY102" fmla="*/ 4031 h 10000"/>
              <a:gd name="connsiteX103" fmla="*/ 237 w 10000"/>
              <a:gd name="connsiteY103" fmla="*/ 4186 h 10000"/>
              <a:gd name="connsiteX104" fmla="*/ 190 w 10000"/>
              <a:gd name="connsiteY104" fmla="*/ 4418 h 10000"/>
              <a:gd name="connsiteX105" fmla="*/ 237 w 10000"/>
              <a:gd name="connsiteY105" fmla="*/ 4807 h 10000"/>
              <a:gd name="connsiteX106" fmla="*/ 190 w 10000"/>
              <a:gd name="connsiteY106" fmla="*/ 5039 h 10000"/>
              <a:gd name="connsiteX107" fmla="*/ 282 w 10000"/>
              <a:gd name="connsiteY107" fmla="*/ 5271 h 10000"/>
              <a:gd name="connsiteX108" fmla="*/ 237 w 10000"/>
              <a:gd name="connsiteY108" fmla="*/ 5426 h 10000"/>
              <a:gd name="connsiteX109" fmla="*/ 330 w 10000"/>
              <a:gd name="connsiteY109" fmla="*/ 5582 h 10000"/>
              <a:gd name="connsiteX110" fmla="*/ 330 w 10000"/>
              <a:gd name="connsiteY110" fmla="*/ 5659 h 10000"/>
              <a:gd name="connsiteX111" fmla="*/ 190 w 10000"/>
              <a:gd name="connsiteY111" fmla="*/ 6047 h 10000"/>
              <a:gd name="connsiteX112" fmla="*/ 44 w 10000"/>
              <a:gd name="connsiteY112" fmla="*/ 6202 h 10000"/>
              <a:gd name="connsiteX113" fmla="*/ 94 w 10000"/>
              <a:gd name="connsiteY113" fmla="*/ 6202 h 10000"/>
              <a:gd name="connsiteX114" fmla="*/ 190 w 10000"/>
              <a:gd name="connsiteY114" fmla="*/ 6356 h 10000"/>
              <a:gd name="connsiteX115" fmla="*/ 94 w 10000"/>
              <a:gd name="connsiteY115" fmla="*/ 6512 h 10000"/>
              <a:gd name="connsiteX116" fmla="*/ 44 w 10000"/>
              <a:gd name="connsiteY116" fmla="*/ 6590 h 10000"/>
              <a:gd name="connsiteX117" fmla="*/ 0 w 10000"/>
              <a:gd name="connsiteY117" fmla="*/ 6590 h 10000"/>
              <a:gd name="connsiteX118" fmla="*/ 44 w 10000"/>
              <a:gd name="connsiteY118" fmla="*/ 6822 h 10000"/>
              <a:gd name="connsiteX119" fmla="*/ 44 w 10000"/>
              <a:gd name="connsiteY119" fmla="*/ 6900 h 10000"/>
              <a:gd name="connsiteX120" fmla="*/ 44 w 10000"/>
              <a:gd name="connsiteY120" fmla="*/ 6977 h 10000"/>
              <a:gd name="connsiteX121" fmla="*/ 44 w 10000"/>
              <a:gd name="connsiteY121" fmla="*/ 7054 h 10000"/>
              <a:gd name="connsiteX122" fmla="*/ 94 w 10000"/>
              <a:gd name="connsiteY122" fmla="*/ 7209 h 10000"/>
              <a:gd name="connsiteX123" fmla="*/ 237 w 10000"/>
              <a:gd name="connsiteY123" fmla="*/ 7287 h 10000"/>
              <a:gd name="connsiteX124" fmla="*/ 282 w 10000"/>
              <a:gd name="connsiteY124" fmla="*/ 7364 h 10000"/>
              <a:gd name="connsiteX125" fmla="*/ 282 w 10000"/>
              <a:gd name="connsiteY125" fmla="*/ 7520 h 10000"/>
              <a:gd name="connsiteX126" fmla="*/ 379 w 10000"/>
              <a:gd name="connsiteY126" fmla="*/ 7752 h 10000"/>
              <a:gd name="connsiteX127" fmla="*/ 430 w 10000"/>
              <a:gd name="connsiteY127" fmla="*/ 7752 h 10000"/>
              <a:gd name="connsiteX128" fmla="*/ 379 w 10000"/>
              <a:gd name="connsiteY128" fmla="*/ 7907 h 10000"/>
              <a:gd name="connsiteX129" fmla="*/ 330 w 10000"/>
              <a:gd name="connsiteY129" fmla="*/ 7830 h 10000"/>
              <a:gd name="connsiteX130" fmla="*/ 330 w 10000"/>
              <a:gd name="connsiteY130" fmla="*/ 7907 h 10000"/>
              <a:gd name="connsiteX131" fmla="*/ 379 w 10000"/>
              <a:gd name="connsiteY131" fmla="*/ 8062 h 10000"/>
              <a:gd name="connsiteX132" fmla="*/ 523 w 10000"/>
              <a:gd name="connsiteY132" fmla="*/ 8062 h 10000"/>
              <a:gd name="connsiteX133" fmla="*/ 570 w 10000"/>
              <a:gd name="connsiteY133" fmla="*/ 8140 h 10000"/>
              <a:gd name="connsiteX134" fmla="*/ 523 w 10000"/>
              <a:gd name="connsiteY134" fmla="*/ 8140 h 10000"/>
              <a:gd name="connsiteX135" fmla="*/ 570 w 10000"/>
              <a:gd name="connsiteY135" fmla="*/ 8217 h 10000"/>
              <a:gd name="connsiteX136" fmla="*/ 615 w 10000"/>
              <a:gd name="connsiteY136" fmla="*/ 8217 h 10000"/>
              <a:gd name="connsiteX137" fmla="*/ 663 w 10000"/>
              <a:gd name="connsiteY137" fmla="*/ 8372 h 10000"/>
              <a:gd name="connsiteX138" fmla="*/ 710 w 10000"/>
              <a:gd name="connsiteY138" fmla="*/ 8449 h 10000"/>
              <a:gd name="connsiteX139" fmla="*/ 757 w 10000"/>
              <a:gd name="connsiteY139" fmla="*/ 8372 h 10000"/>
              <a:gd name="connsiteX140" fmla="*/ 996 w 10000"/>
              <a:gd name="connsiteY140" fmla="*/ 8605 h 10000"/>
              <a:gd name="connsiteX141" fmla="*/ 948 w 10000"/>
              <a:gd name="connsiteY141" fmla="*/ 8915 h 10000"/>
              <a:gd name="connsiteX142" fmla="*/ 899 w 10000"/>
              <a:gd name="connsiteY142" fmla="*/ 8838 h 10000"/>
              <a:gd name="connsiteX143" fmla="*/ 852 w 10000"/>
              <a:gd name="connsiteY143" fmla="*/ 8915 h 10000"/>
              <a:gd name="connsiteX144" fmla="*/ 852 w 10000"/>
              <a:gd name="connsiteY144" fmla="*/ 9070 h 10000"/>
              <a:gd name="connsiteX145" fmla="*/ 899 w 10000"/>
              <a:gd name="connsiteY145" fmla="*/ 8993 h 10000"/>
              <a:gd name="connsiteX146" fmla="*/ 948 w 10000"/>
              <a:gd name="connsiteY146" fmla="*/ 9070 h 10000"/>
              <a:gd name="connsiteX147" fmla="*/ 806 w 10000"/>
              <a:gd name="connsiteY147" fmla="*/ 9147 h 10000"/>
              <a:gd name="connsiteX148" fmla="*/ 852 w 10000"/>
              <a:gd name="connsiteY148" fmla="*/ 9225 h 10000"/>
              <a:gd name="connsiteX149" fmla="*/ 757 w 10000"/>
              <a:gd name="connsiteY149" fmla="*/ 9380 h 10000"/>
              <a:gd name="connsiteX150" fmla="*/ 710 w 10000"/>
              <a:gd name="connsiteY150" fmla="*/ 9380 h 10000"/>
              <a:gd name="connsiteX151" fmla="*/ 757 w 10000"/>
              <a:gd name="connsiteY151" fmla="*/ 9380 h 10000"/>
              <a:gd name="connsiteX152" fmla="*/ 948 w 10000"/>
              <a:gd name="connsiteY152" fmla="*/ 9691 h 10000"/>
              <a:gd name="connsiteX153" fmla="*/ 1186 w 10000"/>
              <a:gd name="connsiteY153" fmla="*/ 9691 h 10000"/>
              <a:gd name="connsiteX154" fmla="*/ 1282 w 10000"/>
              <a:gd name="connsiteY154" fmla="*/ 9768 h 10000"/>
              <a:gd name="connsiteX155" fmla="*/ 1374 w 10000"/>
              <a:gd name="connsiteY155" fmla="*/ 9768 h 10000"/>
              <a:gd name="connsiteX156" fmla="*/ 1471 w 10000"/>
              <a:gd name="connsiteY156" fmla="*/ 9923 h 10000"/>
              <a:gd name="connsiteX157" fmla="*/ 1516 w 10000"/>
              <a:gd name="connsiteY157" fmla="*/ 10000 h 10000"/>
              <a:gd name="connsiteX158" fmla="*/ 1562 w 10000"/>
              <a:gd name="connsiteY158" fmla="*/ 10000 h 10000"/>
              <a:gd name="connsiteX159" fmla="*/ 1613 w 10000"/>
              <a:gd name="connsiteY159" fmla="*/ 9923 h 10000"/>
              <a:gd name="connsiteX160" fmla="*/ 1516 w 10000"/>
              <a:gd name="connsiteY160" fmla="*/ 9768 h 10000"/>
              <a:gd name="connsiteX161" fmla="*/ 1516 w 10000"/>
              <a:gd name="connsiteY161" fmla="*/ 9613 h 10000"/>
              <a:gd name="connsiteX162" fmla="*/ 1471 w 10000"/>
              <a:gd name="connsiteY162" fmla="*/ 9457 h 10000"/>
              <a:gd name="connsiteX163" fmla="*/ 1562 w 10000"/>
              <a:gd name="connsiteY163" fmla="*/ 9225 h 10000"/>
              <a:gd name="connsiteX164" fmla="*/ 1613 w 10000"/>
              <a:gd name="connsiteY164" fmla="*/ 9302 h 10000"/>
              <a:gd name="connsiteX165" fmla="*/ 1659 w 10000"/>
              <a:gd name="connsiteY165" fmla="*/ 9225 h 10000"/>
              <a:gd name="connsiteX166" fmla="*/ 1659 w 10000"/>
              <a:gd name="connsiteY166" fmla="*/ 9147 h 10000"/>
              <a:gd name="connsiteX167" fmla="*/ 1613 w 10000"/>
              <a:gd name="connsiteY167" fmla="*/ 9147 h 10000"/>
              <a:gd name="connsiteX168" fmla="*/ 1659 w 10000"/>
              <a:gd name="connsiteY168" fmla="*/ 9070 h 10000"/>
              <a:gd name="connsiteX169" fmla="*/ 1613 w 10000"/>
              <a:gd name="connsiteY169" fmla="*/ 8915 h 10000"/>
              <a:gd name="connsiteX170" fmla="*/ 1516 w 10000"/>
              <a:gd name="connsiteY170" fmla="*/ 8915 h 10000"/>
              <a:gd name="connsiteX171" fmla="*/ 1471 w 10000"/>
              <a:gd name="connsiteY171" fmla="*/ 8760 h 10000"/>
              <a:gd name="connsiteX172" fmla="*/ 1516 w 10000"/>
              <a:gd name="connsiteY172" fmla="*/ 8372 h 10000"/>
              <a:gd name="connsiteX173" fmla="*/ 1613 w 10000"/>
              <a:gd name="connsiteY173" fmla="*/ 8528 h 10000"/>
              <a:gd name="connsiteX174" fmla="*/ 1659 w 10000"/>
              <a:gd name="connsiteY174" fmla="*/ 8528 h 10000"/>
              <a:gd name="connsiteX175" fmla="*/ 1613 w 10000"/>
              <a:gd name="connsiteY175" fmla="*/ 8372 h 10000"/>
              <a:gd name="connsiteX176" fmla="*/ 1753 w 10000"/>
              <a:gd name="connsiteY176" fmla="*/ 8140 h 10000"/>
              <a:gd name="connsiteX177" fmla="*/ 1851 w 10000"/>
              <a:gd name="connsiteY177" fmla="*/ 8217 h 10000"/>
              <a:gd name="connsiteX178" fmla="*/ 1894 w 10000"/>
              <a:gd name="connsiteY178" fmla="*/ 8140 h 10000"/>
              <a:gd name="connsiteX179" fmla="*/ 1990 w 10000"/>
              <a:gd name="connsiteY179" fmla="*/ 8217 h 10000"/>
              <a:gd name="connsiteX180" fmla="*/ 2133 w 10000"/>
              <a:gd name="connsiteY180" fmla="*/ 8372 h 10000"/>
              <a:gd name="connsiteX181" fmla="*/ 2227 w 10000"/>
              <a:gd name="connsiteY181" fmla="*/ 8295 h 10000"/>
              <a:gd name="connsiteX182" fmla="*/ 2323 w 10000"/>
              <a:gd name="connsiteY182" fmla="*/ 8295 h 10000"/>
              <a:gd name="connsiteX183" fmla="*/ 2370 w 10000"/>
              <a:gd name="connsiteY183" fmla="*/ 8372 h 10000"/>
              <a:gd name="connsiteX184" fmla="*/ 2559 w 10000"/>
              <a:gd name="connsiteY184" fmla="*/ 8372 h 10000"/>
              <a:gd name="connsiteX185" fmla="*/ 2605 w 10000"/>
              <a:gd name="connsiteY185" fmla="*/ 8217 h 10000"/>
              <a:gd name="connsiteX186" fmla="*/ 2463 w 10000"/>
              <a:gd name="connsiteY186" fmla="*/ 8140 h 10000"/>
              <a:gd name="connsiteX187" fmla="*/ 2559 w 10000"/>
              <a:gd name="connsiteY187" fmla="*/ 8062 h 10000"/>
              <a:gd name="connsiteX188" fmla="*/ 2509 w 10000"/>
              <a:gd name="connsiteY188" fmla="*/ 7985 h 10000"/>
              <a:gd name="connsiteX189" fmla="*/ 2559 w 10000"/>
              <a:gd name="connsiteY189" fmla="*/ 7907 h 10000"/>
              <a:gd name="connsiteX190" fmla="*/ 2559 w 10000"/>
              <a:gd name="connsiteY190" fmla="*/ 7675 h 10000"/>
              <a:gd name="connsiteX191" fmla="*/ 2652 w 10000"/>
              <a:gd name="connsiteY191" fmla="*/ 7752 h 10000"/>
              <a:gd name="connsiteX192" fmla="*/ 3081 w 10000"/>
              <a:gd name="connsiteY192" fmla="*/ 7520 h 10000"/>
              <a:gd name="connsiteX193" fmla="*/ 3081 w 10000"/>
              <a:gd name="connsiteY193" fmla="*/ 7442 h 10000"/>
              <a:gd name="connsiteX194" fmla="*/ 3127 w 10000"/>
              <a:gd name="connsiteY194" fmla="*/ 7442 h 10000"/>
              <a:gd name="connsiteX195" fmla="*/ 3268 w 10000"/>
              <a:gd name="connsiteY195" fmla="*/ 7442 h 10000"/>
              <a:gd name="connsiteX196" fmla="*/ 3317 w 10000"/>
              <a:gd name="connsiteY196" fmla="*/ 7598 h 10000"/>
              <a:gd name="connsiteX197" fmla="*/ 3317 w 10000"/>
              <a:gd name="connsiteY197" fmla="*/ 7675 h 10000"/>
              <a:gd name="connsiteX198" fmla="*/ 3365 w 10000"/>
              <a:gd name="connsiteY198" fmla="*/ 7675 h 10000"/>
              <a:gd name="connsiteX199" fmla="*/ 3459 w 10000"/>
              <a:gd name="connsiteY199" fmla="*/ 7752 h 10000"/>
              <a:gd name="connsiteX200" fmla="*/ 3459 w 10000"/>
              <a:gd name="connsiteY200" fmla="*/ 7830 h 10000"/>
              <a:gd name="connsiteX201" fmla="*/ 3554 w 10000"/>
              <a:gd name="connsiteY201" fmla="*/ 7830 h 10000"/>
              <a:gd name="connsiteX202" fmla="*/ 3648 w 10000"/>
              <a:gd name="connsiteY202" fmla="*/ 7675 h 10000"/>
              <a:gd name="connsiteX203" fmla="*/ 3743 w 10000"/>
              <a:gd name="connsiteY203" fmla="*/ 7598 h 10000"/>
              <a:gd name="connsiteX204" fmla="*/ 3794 w 10000"/>
              <a:gd name="connsiteY204" fmla="*/ 7830 h 10000"/>
              <a:gd name="connsiteX205" fmla="*/ 3980 w 10000"/>
              <a:gd name="connsiteY205" fmla="*/ 8372 h 10000"/>
              <a:gd name="connsiteX206" fmla="*/ 4030 w 10000"/>
              <a:gd name="connsiteY206" fmla="*/ 8217 h 10000"/>
              <a:gd name="connsiteX207" fmla="*/ 4076 w 10000"/>
              <a:gd name="connsiteY207" fmla="*/ 8372 h 10000"/>
              <a:gd name="connsiteX208" fmla="*/ 4217 w 10000"/>
              <a:gd name="connsiteY208" fmla="*/ 8295 h 10000"/>
              <a:gd name="connsiteX209" fmla="*/ 4362 w 10000"/>
              <a:gd name="connsiteY209" fmla="*/ 8528 h 10000"/>
              <a:gd name="connsiteX210" fmla="*/ 4454 w 10000"/>
              <a:gd name="connsiteY210" fmla="*/ 8605 h 10000"/>
              <a:gd name="connsiteX211" fmla="*/ 4454 w 10000"/>
              <a:gd name="connsiteY211" fmla="*/ 8528 h 10000"/>
              <a:gd name="connsiteX212" fmla="*/ 4502 w 10000"/>
              <a:gd name="connsiteY212" fmla="*/ 8683 h 10000"/>
              <a:gd name="connsiteX213" fmla="*/ 4454 w 10000"/>
              <a:gd name="connsiteY213" fmla="*/ 8760 h 10000"/>
              <a:gd name="connsiteX214" fmla="*/ 4551 w 10000"/>
              <a:gd name="connsiteY214" fmla="*/ 8683 h 10000"/>
              <a:gd name="connsiteX215" fmla="*/ 4596 w 10000"/>
              <a:gd name="connsiteY215" fmla="*/ 8605 h 10000"/>
              <a:gd name="connsiteX216" fmla="*/ 4833 w 10000"/>
              <a:gd name="connsiteY216" fmla="*/ 8372 h 10000"/>
              <a:gd name="connsiteX217" fmla="*/ 5023 w 10000"/>
              <a:gd name="connsiteY217" fmla="*/ 8449 h 10000"/>
              <a:gd name="connsiteX218" fmla="*/ 5117 w 10000"/>
              <a:gd name="connsiteY218" fmla="*/ 8528 h 10000"/>
              <a:gd name="connsiteX219" fmla="*/ 5305 w 10000"/>
              <a:gd name="connsiteY219" fmla="*/ 8528 h 10000"/>
              <a:gd name="connsiteX220" fmla="*/ 5305 w 10000"/>
              <a:gd name="connsiteY220" fmla="*/ 8372 h 10000"/>
              <a:gd name="connsiteX221" fmla="*/ 5305 w 10000"/>
              <a:gd name="connsiteY221" fmla="*/ 8217 h 10000"/>
              <a:gd name="connsiteX222" fmla="*/ 5401 w 10000"/>
              <a:gd name="connsiteY222" fmla="*/ 8140 h 10000"/>
              <a:gd name="connsiteX223" fmla="*/ 5590 w 10000"/>
              <a:gd name="connsiteY223" fmla="*/ 8217 h 10000"/>
              <a:gd name="connsiteX224" fmla="*/ 5685 w 10000"/>
              <a:gd name="connsiteY224" fmla="*/ 8449 h 10000"/>
              <a:gd name="connsiteX225" fmla="*/ 5734 w 10000"/>
              <a:gd name="connsiteY225" fmla="*/ 8449 h 10000"/>
              <a:gd name="connsiteX226" fmla="*/ 5829 w 10000"/>
              <a:gd name="connsiteY226" fmla="*/ 8372 h 10000"/>
              <a:gd name="connsiteX227" fmla="*/ 6116 w 10000"/>
              <a:gd name="connsiteY227" fmla="*/ 8605 h 10000"/>
              <a:gd name="connsiteX228" fmla="*/ 6257 w 10000"/>
              <a:gd name="connsiteY228" fmla="*/ 8683 h 10000"/>
              <a:gd name="connsiteX229" fmla="*/ 6446 w 10000"/>
              <a:gd name="connsiteY229" fmla="*/ 8605 h 10000"/>
              <a:gd name="connsiteX230" fmla="*/ 6539 w 10000"/>
              <a:gd name="connsiteY230" fmla="*/ 8449 h 10000"/>
              <a:gd name="connsiteX231" fmla="*/ 6682 w 10000"/>
              <a:gd name="connsiteY231" fmla="*/ 8528 h 10000"/>
              <a:gd name="connsiteX232" fmla="*/ 6776 w 10000"/>
              <a:gd name="connsiteY232" fmla="*/ 8605 h 10000"/>
              <a:gd name="connsiteX233" fmla="*/ 8388 w 10000"/>
              <a:gd name="connsiteY233" fmla="*/ 7675 h 10000"/>
              <a:gd name="connsiteX234" fmla="*/ 8293 w 10000"/>
              <a:gd name="connsiteY234" fmla="*/ 7675 h 10000"/>
              <a:gd name="connsiteX235" fmla="*/ 8247 w 10000"/>
              <a:gd name="connsiteY235" fmla="*/ 7675 h 10000"/>
              <a:gd name="connsiteX236" fmla="*/ 8198 w 10000"/>
              <a:gd name="connsiteY236" fmla="*/ 7598 h 10000"/>
              <a:gd name="connsiteX237" fmla="*/ 8105 w 10000"/>
              <a:gd name="connsiteY237" fmla="*/ 7598 h 10000"/>
              <a:gd name="connsiteX238" fmla="*/ 8105 w 10000"/>
              <a:gd name="connsiteY238" fmla="*/ 7520 h 10000"/>
              <a:gd name="connsiteX239" fmla="*/ 8247 w 10000"/>
              <a:gd name="connsiteY239" fmla="*/ 7287 h 10000"/>
              <a:gd name="connsiteX240" fmla="*/ 8677 w 10000"/>
              <a:gd name="connsiteY240" fmla="*/ 6590 h 10000"/>
              <a:gd name="connsiteX241" fmla="*/ 8862 w 10000"/>
              <a:gd name="connsiteY241" fmla="*/ 6512 h 10000"/>
              <a:gd name="connsiteX242" fmla="*/ 8908 w 10000"/>
              <a:gd name="connsiteY242" fmla="*/ 6590 h 10000"/>
              <a:gd name="connsiteX243" fmla="*/ 8958 w 10000"/>
              <a:gd name="connsiteY243" fmla="*/ 6512 h 10000"/>
              <a:gd name="connsiteX244" fmla="*/ 9096 w 10000"/>
              <a:gd name="connsiteY244" fmla="*/ 6590 h 10000"/>
              <a:gd name="connsiteX245" fmla="*/ 9150 w 10000"/>
              <a:gd name="connsiteY245" fmla="*/ 6434 h 10000"/>
              <a:gd name="connsiteX246" fmla="*/ 9288 w 10000"/>
              <a:gd name="connsiteY246" fmla="*/ 6512 h 10000"/>
              <a:gd name="connsiteX247" fmla="*/ 9334 w 10000"/>
              <a:gd name="connsiteY247" fmla="*/ 6512 h 10000"/>
              <a:gd name="connsiteX248" fmla="*/ 9288 w 10000"/>
              <a:gd name="connsiteY248" fmla="*/ 6590 h 10000"/>
              <a:gd name="connsiteX249" fmla="*/ 9288 w 10000"/>
              <a:gd name="connsiteY249" fmla="*/ 6667 h 10000"/>
              <a:gd name="connsiteX250" fmla="*/ 9570 w 10000"/>
              <a:gd name="connsiteY250" fmla="*/ 6590 h 10000"/>
              <a:gd name="connsiteX251" fmla="*/ 9524 w 10000"/>
              <a:gd name="connsiteY251" fmla="*/ 6512 h 10000"/>
              <a:gd name="connsiteX252" fmla="*/ 9717 w 10000"/>
              <a:gd name="connsiteY252" fmla="*/ 5969 h 10000"/>
              <a:gd name="connsiteX253" fmla="*/ 10000 w 10000"/>
              <a:gd name="connsiteY253" fmla="*/ 3566 h 10000"/>
              <a:gd name="connsiteX254" fmla="*/ 9903 w 10000"/>
              <a:gd name="connsiteY254" fmla="*/ 3488 h 10000"/>
              <a:gd name="connsiteX255" fmla="*/ 9950 w 10000"/>
              <a:gd name="connsiteY255" fmla="*/ 3333 h 10000"/>
              <a:gd name="connsiteX256" fmla="*/ 9855 w 10000"/>
              <a:gd name="connsiteY256" fmla="*/ 3101 h 10000"/>
              <a:gd name="connsiteX257" fmla="*/ 9665 w 10000"/>
              <a:gd name="connsiteY257" fmla="*/ 3023 h 10000"/>
              <a:gd name="connsiteX258" fmla="*/ 9385 w 10000"/>
              <a:gd name="connsiteY258" fmla="*/ 3178 h 10000"/>
              <a:gd name="connsiteX259" fmla="*/ 9334 w 10000"/>
              <a:gd name="connsiteY259" fmla="*/ 2946 h 10000"/>
              <a:gd name="connsiteX260" fmla="*/ 9241 w 10000"/>
              <a:gd name="connsiteY260" fmla="*/ 2946 h 10000"/>
              <a:gd name="connsiteX261" fmla="*/ 9193 w 10000"/>
              <a:gd name="connsiteY261" fmla="*/ 2868 h 10000"/>
              <a:gd name="connsiteX262" fmla="*/ 9193 w 10000"/>
              <a:gd name="connsiteY262" fmla="*/ 2636 h 10000"/>
              <a:gd name="connsiteX263" fmla="*/ 8862 w 10000"/>
              <a:gd name="connsiteY263" fmla="*/ 2480 h 10000"/>
              <a:gd name="connsiteX264" fmla="*/ 8483 w 10000"/>
              <a:gd name="connsiteY264" fmla="*/ 2325 h 10000"/>
              <a:gd name="connsiteX265" fmla="*/ 8388 w 10000"/>
              <a:gd name="connsiteY265" fmla="*/ 2636 h 10000"/>
              <a:gd name="connsiteX266" fmla="*/ 8483 w 10000"/>
              <a:gd name="connsiteY266" fmla="*/ 2868 h 10000"/>
              <a:gd name="connsiteX267" fmla="*/ 8198 w 10000"/>
              <a:gd name="connsiteY267" fmla="*/ 2868 h 10000"/>
              <a:gd name="connsiteX268" fmla="*/ 8150 w 10000"/>
              <a:gd name="connsiteY268" fmla="*/ 2868 h 10000"/>
              <a:gd name="connsiteX269" fmla="*/ 8055 w 10000"/>
              <a:gd name="connsiteY269" fmla="*/ 2946 h 10000"/>
              <a:gd name="connsiteX270" fmla="*/ 7913 w 10000"/>
              <a:gd name="connsiteY270" fmla="*/ 2714 h 10000"/>
              <a:gd name="connsiteX271" fmla="*/ 7817 w 10000"/>
              <a:gd name="connsiteY271" fmla="*/ 3178 h 10000"/>
              <a:gd name="connsiteX272" fmla="*/ 7727 w 10000"/>
              <a:gd name="connsiteY272" fmla="*/ 3101 h 10000"/>
              <a:gd name="connsiteX273" fmla="*/ 7629 w 10000"/>
              <a:gd name="connsiteY273" fmla="*/ 2791 h 10000"/>
              <a:gd name="connsiteX274" fmla="*/ 7678 w 10000"/>
              <a:gd name="connsiteY274" fmla="*/ 2403 h 10000"/>
              <a:gd name="connsiteX275" fmla="*/ 7582 w 10000"/>
              <a:gd name="connsiteY275" fmla="*/ 2170 h 10000"/>
              <a:gd name="connsiteX276" fmla="*/ 7298 w 10000"/>
              <a:gd name="connsiteY276" fmla="*/ 2016 h 10000"/>
              <a:gd name="connsiteX277" fmla="*/ 7201 w 10000"/>
              <a:gd name="connsiteY277" fmla="*/ 2016 h 10000"/>
              <a:gd name="connsiteX278" fmla="*/ 7155 w 10000"/>
              <a:gd name="connsiteY278" fmla="*/ 2170 h 10000"/>
              <a:gd name="connsiteX279" fmla="*/ 7201 w 10000"/>
              <a:gd name="connsiteY279" fmla="*/ 2325 h 10000"/>
              <a:gd name="connsiteX280" fmla="*/ 6827 w 10000"/>
              <a:gd name="connsiteY280" fmla="*/ 2248 h 10000"/>
              <a:gd name="connsiteX281" fmla="*/ 6871 w 10000"/>
              <a:gd name="connsiteY281" fmla="*/ 2016 h 10000"/>
              <a:gd name="connsiteX282" fmla="*/ 6636 w 10000"/>
              <a:gd name="connsiteY282" fmla="*/ 1938 h 10000"/>
              <a:gd name="connsiteX283" fmla="*/ 6492 w 10000"/>
              <a:gd name="connsiteY283" fmla="*/ 2093 h 10000"/>
              <a:gd name="connsiteX284" fmla="*/ 6215 w 10000"/>
              <a:gd name="connsiteY284" fmla="*/ 1861 h 10000"/>
              <a:gd name="connsiteX0" fmla="*/ 6215 w 9950"/>
              <a:gd name="connsiteY0" fmla="*/ 1861 h 10000"/>
              <a:gd name="connsiteX1" fmla="*/ 6215 w 9950"/>
              <a:gd name="connsiteY1" fmla="*/ 1861 h 10000"/>
              <a:gd name="connsiteX2" fmla="*/ 6160 w 9950"/>
              <a:gd name="connsiteY2" fmla="*/ 1938 h 10000"/>
              <a:gd name="connsiteX3" fmla="*/ 6215 w 9950"/>
              <a:gd name="connsiteY3" fmla="*/ 2093 h 10000"/>
              <a:gd name="connsiteX4" fmla="*/ 6017 w 9950"/>
              <a:gd name="connsiteY4" fmla="*/ 2248 h 10000"/>
              <a:gd name="connsiteX5" fmla="*/ 5968 w 9950"/>
              <a:gd name="connsiteY5" fmla="*/ 2248 h 10000"/>
              <a:gd name="connsiteX6" fmla="*/ 6017 w 9950"/>
              <a:gd name="connsiteY6" fmla="*/ 2016 h 10000"/>
              <a:gd name="connsiteX7" fmla="*/ 6492 w 9950"/>
              <a:gd name="connsiteY7" fmla="*/ 1318 h 10000"/>
              <a:gd name="connsiteX8" fmla="*/ 6492 w 9950"/>
              <a:gd name="connsiteY8" fmla="*/ 853 h 10000"/>
              <a:gd name="connsiteX9" fmla="*/ 6304 w 9950"/>
              <a:gd name="connsiteY9" fmla="*/ 543 h 10000"/>
              <a:gd name="connsiteX10" fmla="*/ 6066 w 9950"/>
              <a:gd name="connsiteY10" fmla="*/ 543 h 10000"/>
              <a:gd name="connsiteX11" fmla="*/ 6066 w 9950"/>
              <a:gd name="connsiteY11" fmla="*/ 698 h 10000"/>
              <a:gd name="connsiteX12" fmla="*/ 5922 w 9950"/>
              <a:gd name="connsiteY12" fmla="*/ 698 h 10000"/>
              <a:gd name="connsiteX13" fmla="*/ 6017 w 9950"/>
              <a:gd name="connsiteY13" fmla="*/ 387 h 10000"/>
              <a:gd name="connsiteX14" fmla="*/ 5783 w 9950"/>
              <a:gd name="connsiteY14" fmla="*/ 310 h 10000"/>
              <a:gd name="connsiteX15" fmla="*/ 5922 w 9950"/>
              <a:gd name="connsiteY15" fmla="*/ 155 h 10000"/>
              <a:gd name="connsiteX16" fmla="*/ 5783 w 9950"/>
              <a:gd name="connsiteY16" fmla="*/ 0 h 10000"/>
              <a:gd name="connsiteX17" fmla="*/ 5546 w 9950"/>
              <a:gd name="connsiteY17" fmla="*/ 387 h 10000"/>
              <a:gd name="connsiteX18" fmla="*/ 5546 w 9950"/>
              <a:gd name="connsiteY18" fmla="*/ 698 h 10000"/>
              <a:gd name="connsiteX19" fmla="*/ 5401 w 9950"/>
              <a:gd name="connsiteY19" fmla="*/ 698 h 10000"/>
              <a:gd name="connsiteX20" fmla="*/ 4976 w 9950"/>
              <a:gd name="connsiteY20" fmla="*/ 853 h 10000"/>
              <a:gd name="connsiteX21" fmla="*/ 4596 w 9950"/>
              <a:gd name="connsiteY21" fmla="*/ 1240 h 10000"/>
              <a:gd name="connsiteX22" fmla="*/ 4454 w 9950"/>
              <a:gd name="connsiteY22" fmla="*/ 1551 h 10000"/>
              <a:gd name="connsiteX23" fmla="*/ 4502 w 9950"/>
              <a:gd name="connsiteY23" fmla="*/ 1938 h 10000"/>
              <a:gd name="connsiteX24" fmla="*/ 3980 w 9950"/>
              <a:gd name="connsiteY24" fmla="*/ 2093 h 10000"/>
              <a:gd name="connsiteX25" fmla="*/ 4030 w 9950"/>
              <a:gd name="connsiteY25" fmla="*/ 2559 h 10000"/>
              <a:gd name="connsiteX26" fmla="*/ 4172 w 9950"/>
              <a:gd name="connsiteY26" fmla="*/ 2791 h 10000"/>
              <a:gd name="connsiteX27" fmla="*/ 4076 w 9950"/>
              <a:gd name="connsiteY27" fmla="*/ 2868 h 10000"/>
              <a:gd name="connsiteX28" fmla="*/ 3934 w 9950"/>
              <a:gd name="connsiteY28" fmla="*/ 2559 h 10000"/>
              <a:gd name="connsiteX29" fmla="*/ 3794 w 9950"/>
              <a:gd name="connsiteY29" fmla="*/ 2480 h 10000"/>
              <a:gd name="connsiteX30" fmla="*/ 3743 w 9950"/>
              <a:gd name="connsiteY30" fmla="*/ 2559 h 10000"/>
              <a:gd name="connsiteX31" fmla="*/ 3648 w 9950"/>
              <a:gd name="connsiteY31" fmla="*/ 2403 h 10000"/>
              <a:gd name="connsiteX32" fmla="*/ 3554 w 9950"/>
              <a:gd name="connsiteY32" fmla="*/ 2248 h 10000"/>
              <a:gd name="connsiteX33" fmla="*/ 3554 w 9950"/>
              <a:gd name="connsiteY33" fmla="*/ 2325 h 10000"/>
              <a:gd name="connsiteX34" fmla="*/ 3605 w 9950"/>
              <a:gd name="connsiteY34" fmla="*/ 2559 h 10000"/>
              <a:gd name="connsiteX35" fmla="*/ 3459 w 9950"/>
              <a:gd name="connsiteY35" fmla="*/ 2946 h 10000"/>
              <a:gd name="connsiteX36" fmla="*/ 3554 w 9950"/>
              <a:gd name="connsiteY36" fmla="*/ 3256 h 10000"/>
              <a:gd name="connsiteX37" fmla="*/ 3504 w 9950"/>
              <a:gd name="connsiteY37" fmla="*/ 3566 h 10000"/>
              <a:gd name="connsiteX38" fmla="*/ 3504 w 9950"/>
              <a:gd name="connsiteY38" fmla="*/ 3799 h 10000"/>
              <a:gd name="connsiteX39" fmla="*/ 3648 w 9950"/>
              <a:gd name="connsiteY39" fmla="*/ 3799 h 10000"/>
              <a:gd name="connsiteX40" fmla="*/ 3554 w 9950"/>
              <a:gd name="connsiteY40" fmla="*/ 3876 h 10000"/>
              <a:gd name="connsiteX41" fmla="*/ 3605 w 9950"/>
              <a:gd name="connsiteY41" fmla="*/ 4263 h 10000"/>
              <a:gd name="connsiteX42" fmla="*/ 3317 w 9950"/>
              <a:gd name="connsiteY42" fmla="*/ 4652 h 10000"/>
              <a:gd name="connsiteX43" fmla="*/ 3268 w 9950"/>
              <a:gd name="connsiteY43" fmla="*/ 4574 h 10000"/>
              <a:gd name="connsiteX44" fmla="*/ 3459 w 9950"/>
              <a:gd name="connsiteY44" fmla="*/ 4186 h 10000"/>
              <a:gd name="connsiteX45" fmla="*/ 3504 w 9950"/>
              <a:gd name="connsiteY45" fmla="*/ 3954 h 10000"/>
              <a:gd name="connsiteX46" fmla="*/ 3406 w 9950"/>
              <a:gd name="connsiteY46" fmla="*/ 3799 h 10000"/>
              <a:gd name="connsiteX47" fmla="*/ 3406 w 9950"/>
              <a:gd name="connsiteY47" fmla="*/ 3023 h 10000"/>
              <a:gd name="connsiteX48" fmla="*/ 3365 w 9950"/>
              <a:gd name="connsiteY48" fmla="*/ 2868 h 10000"/>
              <a:gd name="connsiteX49" fmla="*/ 3406 w 9950"/>
              <a:gd name="connsiteY49" fmla="*/ 2403 h 10000"/>
              <a:gd name="connsiteX50" fmla="*/ 3317 w 9950"/>
              <a:gd name="connsiteY50" fmla="*/ 2325 h 10000"/>
              <a:gd name="connsiteX51" fmla="*/ 3365 w 9950"/>
              <a:gd name="connsiteY51" fmla="*/ 2248 h 10000"/>
              <a:gd name="connsiteX52" fmla="*/ 3317 w 9950"/>
              <a:gd name="connsiteY52" fmla="*/ 2093 h 10000"/>
              <a:gd name="connsiteX53" fmla="*/ 3219 w 9950"/>
              <a:gd name="connsiteY53" fmla="*/ 2170 h 10000"/>
              <a:gd name="connsiteX54" fmla="*/ 2984 w 9950"/>
              <a:gd name="connsiteY54" fmla="*/ 3178 h 10000"/>
              <a:gd name="connsiteX55" fmla="*/ 2984 w 9950"/>
              <a:gd name="connsiteY55" fmla="*/ 3566 h 10000"/>
              <a:gd name="connsiteX56" fmla="*/ 3127 w 9950"/>
              <a:gd name="connsiteY56" fmla="*/ 3876 h 10000"/>
              <a:gd name="connsiteX57" fmla="*/ 3127 w 9950"/>
              <a:gd name="connsiteY57" fmla="*/ 4031 h 10000"/>
              <a:gd name="connsiteX58" fmla="*/ 2984 w 9950"/>
              <a:gd name="connsiteY58" fmla="*/ 3876 h 10000"/>
              <a:gd name="connsiteX59" fmla="*/ 2419 w 9950"/>
              <a:gd name="connsiteY59" fmla="*/ 3256 h 10000"/>
              <a:gd name="connsiteX60" fmla="*/ 2370 w 9950"/>
              <a:gd name="connsiteY60" fmla="*/ 3411 h 10000"/>
              <a:gd name="connsiteX61" fmla="*/ 2559 w 9950"/>
              <a:gd name="connsiteY61" fmla="*/ 3799 h 10000"/>
              <a:gd name="connsiteX62" fmla="*/ 2463 w 9950"/>
              <a:gd name="connsiteY62" fmla="*/ 3876 h 10000"/>
              <a:gd name="connsiteX63" fmla="*/ 2419 w 9950"/>
              <a:gd name="connsiteY63" fmla="*/ 3799 h 10000"/>
              <a:gd name="connsiteX64" fmla="*/ 2133 w 9950"/>
              <a:gd name="connsiteY64" fmla="*/ 3954 h 10000"/>
              <a:gd name="connsiteX65" fmla="*/ 2087 w 9950"/>
              <a:gd name="connsiteY65" fmla="*/ 4109 h 10000"/>
              <a:gd name="connsiteX66" fmla="*/ 2039 w 9950"/>
              <a:gd name="connsiteY66" fmla="*/ 3954 h 10000"/>
              <a:gd name="connsiteX67" fmla="*/ 2039 w 9950"/>
              <a:gd name="connsiteY67" fmla="*/ 3799 h 10000"/>
              <a:gd name="connsiteX68" fmla="*/ 1562 w 9950"/>
              <a:gd name="connsiteY68" fmla="*/ 4263 h 10000"/>
              <a:gd name="connsiteX69" fmla="*/ 1562 w 9950"/>
              <a:gd name="connsiteY69" fmla="*/ 4418 h 10000"/>
              <a:gd name="connsiteX70" fmla="*/ 1471 w 9950"/>
              <a:gd name="connsiteY70" fmla="*/ 4496 h 10000"/>
              <a:gd name="connsiteX71" fmla="*/ 1326 w 9950"/>
              <a:gd name="connsiteY71" fmla="*/ 4341 h 10000"/>
              <a:gd name="connsiteX72" fmla="*/ 1471 w 9950"/>
              <a:gd name="connsiteY72" fmla="*/ 4186 h 10000"/>
              <a:gd name="connsiteX73" fmla="*/ 1422 w 9950"/>
              <a:gd name="connsiteY73" fmla="*/ 3954 h 10000"/>
              <a:gd name="connsiteX74" fmla="*/ 1233 w 9950"/>
              <a:gd name="connsiteY74" fmla="*/ 3876 h 10000"/>
              <a:gd name="connsiteX75" fmla="*/ 1282 w 9950"/>
              <a:gd name="connsiteY75" fmla="*/ 4031 h 10000"/>
              <a:gd name="connsiteX76" fmla="*/ 1282 w 9950"/>
              <a:gd name="connsiteY76" fmla="*/ 4418 h 10000"/>
              <a:gd name="connsiteX77" fmla="*/ 1326 w 9950"/>
              <a:gd name="connsiteY77" fmla="*/ 4574 h 10000"/>
              <a:gd name="connsiteX78" fmla="*/ 1282 w 9950"/>
              <a:gd name="connsiteY78" fmla="*/ 4729 h 10000"/>
              <a:gd name="connsiteX79" fmla="*/ 1136 w 9950"/>
              <a:gd name="connsiteY79" fmla="*/ 4652 h 10000"/>
              <a:gd name="connsiteX80" fmla="*/ 948 w 9950"/>
              <a:gd name="connsiteY80" fmla="*/ 4884 h 10000"/>
              <a:gd name="connsiteX81" fmla="*/ 1040 w 9950"/>
              <a:gd name="connsiteY81" fmla="*/ 5194 h 10000"/>
              <a:gd name="connsiteX82" fmla="*/ 757 w 9950"/>
              <a:gd name="connsiteY82" fmla="*/ 5039 h 10000"/>
              <a:gd name="connsiteX83" fmla="*/ 710 w 9950"/>
              <a:gd name="connsiteY83" fmla="*/ 5116 h 10000"/>
              <a:gd name="connsiteX84" fmla="*/ 806 w 9950"/>
              <a:gd name="connsiteY84" fmla="*/ 5349 h 10000"/>
              <a:gd name="connsiteX85" fmla="*/ 710 w 9950"/>
              <a:gd name="connsiteY85" fmla="*/ 5349 h 10000"/>
              <a:gd name="connsiteX86" fmla="*/ 570 w 9950"/>
              <a:gd name="connsiteY86" fmla="*/ 5194 h 10000"/>
              <a:gd name="connsiteX87" fmla="*/ 570 w 9950"/>
              <a:gd name="connsiteY87" fmla="*/ 4729 h 10000"/>
              <a:gd name="connsiteX88" fmla="*/ 430 w 9950"/>
              <a:gd name="connsiteY88" fmla="*/ 4574 h 10000"/>
              <a:gd name="connsiteX89" fmla="*/ 379 w 9950"/>
              <a:gd name="connsiteY89" fmla="*/ 4418 h 10000"/>
              <a:gd name="connsiteX90" fmla="*/ 474 w 9950"/>
              <a:gd name="connsiteY90" fmla="*/ 4496 h 10000"/>
              <a:gd name="connsiteX91" fmla="*/ 852 w 9950"/>
              <a:gd name="connsiteY91" fmla="*/ 4729 h 10000"/>
              <a:gd name="connsiteX92" fmla="*/ 1087 w 9950"/>
              <a:gd name="connsiteY92" fmla="*/ 4496 h 10000"/>
              <a:gd name="connsiteX93" fmla="*/ 1040 w 9950"/>
              <a:gd name="connsiteY93" fmla="*/ 4263 h 10000"/>
              <a:gd name="connsiteX94" fmla="*/ 757 w 9950"/>
              <a:gd name="connsiteY94" fmla="*/ 3799 h 10000"/>
              <a:gd name="connsiteX95" fmla="*/ 474 w 9950"/>
              <a:gd name="connsiteY95" fmla="*/ 3644 h 10000"/>
              <a:gd name="connsiteX96" fmla="*/ 474 w 9950"/>
              <a:gd name="connsiteY96" fmla="*/ 3566 h 10000"/>
              <a:gd name="connsiteX97" fmla="*/ 379 w 9950"/>
              <a:gd name="connsiteY97" fmla="*/ 3488 h 10000"/>
              <a:gd name="connsiteX98" fmla="*/ 282 w 9950"/>
              <a:gd name="connsiteY98" fmla="*/ 3566 h 10000"/>
              <a:gd name="connsiteX99" fmla="*/ 282 w 9950"/>
              <a:gd name="connsiteY99" fmla="*/ 3644 h 10000"/>
              <a:gd name="connsiteX100" fmla="*/ 237 w 9950"/>
              <a:gd name="connsiteY100" fmla="*/ 3644 h 10000"/>
              <a:gd name="connsiteX101" fmla="*/ 142 w 9950"/>
              <a:gd name="connsiteY101" fmla="*/ 3799 h 10000"/>
              <a:gd name="connsiteX102" fmla="*/ 142 w 9950"/>
              <a:gd name="connsiteY102" fmla="*/ 4031 h 10000"/>
              <a:gd name="connsiteX103" fmla="*/ 237 w 9950"/>
              <a:gd name="connsiteY103" fmla="*/ 4186 h 10000"/>
              <a:gd name="connsiteX104" fmla="*/ 190 w 9950"/>
              <a:gd name="connsiteY104" fmla="*/ 4418 h 10000"/>
              <a:gd name="connsiteX105" fmla="*/ 237 w 9950"/>
              <a:gd name="connsiteY105" fmla="*/ 4807 h 10000"/>
              <a:gd name="connsiteX106" fmla="*/ 190 w 9950"/>
              <a:gd name="connsiteY106" fmla="*/ 5039 h 10000"/>
              <a:gd name="connsiteX107" fmla="*/ 282 w 9950"/>
              <a:gd name="connsiteY107" fmla="*/ 5271 h 10000"/>
              <a:gd name="connsiteX108" fmla="*/ 237 w 9950"/>
              <a:gd name="connsiteY108" fmla="*/ 5426 h 10000"/>
              <a:gd name="connsiteX109" fmla="*/ 330 w 9950"/>
              <a:gd name="connsiteY109" fmla="*/ 5582 h 10000"/>
              <a:gd name="connsiteX110" fmla="*/ 330 w 9950"/>
              <a:gd name="connsiteY110" fmla="*/ 5659 h 10000"/>
              <a:gd name="connsiteX111" fmla="*/ 190 w 9950"/>
              <a:gd name="connsiteY111" fmla="*/ 6047 h 10000"/>
              <a:gd name="connsiteX112" fmla="*/ 44 w 9950"/>
              <a:gd name="connsiteY112" fmla="*/ 6202 h 10000"/>
              <a:gd name="connsiteX113" fmla="*/ 94 w 9950"/>
              <a:gd name="connsiteY113" fmla="*/ 6202 h 10000"/>
              <a:gd name="connsiteX114" fmla="*/ 190 w 9950"/>
              <a:gd name="connsiteY114" fmla="*/ 6356 h 10000"/>
              <a:gd name="connsiteX115" fmla="*/ 94 w 9950"/>
              <a:gd name="connsiteY115" fmla="*/ 6512 h 10000"/>
              <a:gd name="connsiteX116" fmla="*/ 44 w 9950"/>
              <a:gd name="connsiteY116" fmla="*/ 6590 h 10000"/>
              <a:gd name="connsiteX117" fmla="*/ 0 w 9950"/>
              <a:gd name="connsiteY117" fmla="*/ 6590 h 10000"/>
              <a:gd name="connsiteX118" fmla="*/ 44 w 9950"/>
              <a:gd name="connsiteY118" fmla="*/ 6822 h 10000"/>
              <a:gd name="connsiteX119" fmla="*/ 44 w 9950"/>
              <a:gd name="connsiteY119" fmla="*/ 6900 h 10000"/>
              <a:gd name="connsiteX120" fmla="*/ 44 w 9950"/>
              <a:gd name="connsiteY120" fmla="*/ 6977 h 10000"/>
              <a:gd name="connsiteX121" fmla="*/ 44 w 9950"/>
              <a:gd name="connsiteY121" fmla="*/ 7054 h 10000"/>
              <a:gd name="connsiteX122" fmla="*/ 94 w 9950"/>
              <a:gd name="connsiteY122" fmla="*/ 7209 h 10000"/>
              <a:gd name="connsiteX123" fmla="*/ 237 w 9950"/>
              <a:gd name="connsiteY123" fmla="*/ 7287 h 10000"/>
              <a:gd name="connsiteX124" fmla="*/ 282 w 9950"/>
              <a:gd name="connsiteY124" fmla="*/ 7364 h 10000"/>
              <a:gd name="connsiteX125" fmla="*/ 282 w 9950"/>
              <a:gd name="connsiteY125" fmla="*/ 7520 h 10000"/>
              <a:gd name="connsiteX126" fmla="*/ 379 w 9950"/>
              <a:gd name="connsiteY126" fmla="*/ 7752 h 10000"/>
              <a:gd name="connsiteX127" fmla="*/ 430 w 9950"/>
              <a:gd name="connsiteY127" fmla="*/ 7752 h 10000"/>
              <a:gd name="connsiteX128" fmla="*/ 379 w 9950"/>
              <a:gd name="connsiteY128" fmla="*/ 7907 h 10000"/>
              <a:gd name="connsiteX129" fmla="*/ 330 w 9950"/>
              <a:gd name="connsiteY129" fmla="*/ 7830 h 10000"/>
              <a:gd name="connsiteX130" fmla="*/ 330 w 9950"/>
              <a:gd name="connsiteY130" fmla="*/ 7907 h 10000"/>
              <a:gd name="connsiteX131" fmla="*/ 379 w 9950"/>
              <a:gd name="connsiteY131" fmla="*/ 8062 h 10000"/>
              <a:gd name="connsiteX132" fmla="*/ 523 w 9950"/>
              <a:gd name="connsiteY132" fmla="*/ 8062 h 10000"/>
              <a:gd name="connsiteX133" fmla="*/ 570 w 9950"/>
              <a:gd name="connsiteY133" fmla="*/ 8140 h 10000"/>
              <a:gd name="connsiteX134" fmla="*/ 523 w 9950"/>
              <a:gd name="connsiteY134" fmla="*/ 8140 h 10000"/>
              <a:gd name="connsiteX135" fmla="*/ 570 w 9950"/>
              <a:gd name="connsiteY135" fmla="*/ 8217 h 10000"/>
              <a:gd name="connsiteX136" fmla="*/ 615 w 9950"/>
              <a:gd name="connsiteY136" fmla="*/ 8217 h 10000"/>
              <a:gd name="connsiteX137" fmla="*/ 663 w 9950"/>
              <a:gd name="connsiteY137" fmla="*/ 8372 h 10000"/>
              <a:gd name="connsiteX138" fmla="*/ 710 w 9950"/>
              <a:gd name="connsiteY138" fmla="*/ 8449 h 10000"/>
              <a:gd name="connsiteX139" fmla="*/ 757 w 9950"/>
              <a:gd name="connsiteY139" fmla="*/ 8372 h 10000"/>
              <a:gd name="connsiteX140" fmla="*/ 996 w 9950"/>
              <a:gd name="connsiteY140" fmla="*/ 8605 h 10000"/>
              <a:gd name="connsiteX141" fmla="*/ 948 w 9950"/>
              <a:gd name="connsiteY141" fmla="*/ 8915 h 10000"/>
              <a:gd name="connsiteX142" fmla="*/ 899 w 9950"/>
              <a:gd name="connsiteY142" fmla="*/ 8838 h 10000"/>
              <a:gd name="connsiteX143" fmla="*/ 852 w 9950"/>
              <a:gd name="connsiteY143" fmla="*/ 8915 h 10000"/>
              <a:gd name="connsiteX144" fmla="*/ 852 w 9950"/>
              <a:gd name="connsiteY144" fmla="*/ 9070 h 10000"/>
              <a:gd name="connsiteX145" fmla="*/ 899 w 9950"/>
              <a:gd name="connsiteY145" fmla="*/ 8993 h 10000"/>
              <a:gd name="connsiteX146" fmla="*/ 948 w 9950"/>
              <a:gd name="connsiteY146" fmla="*/ 9070 h 10000"/>
              <a:gd name="connsiteX147" fmla="*/ 806 w 9950"/>
              <a:gd name="connsiteY147" fmla="*/ 9147 h 10000"/>
              <a:gd name="connsiteX148" fmla="*/ 852 w 9950"/>
              <a:gd name="connsiteY148" fmla="*/ 9225 h 10000"/>
              <a:gd name="connsiteX149" fmla="*/ 757 w 9950"/>
              <a:gd name="connsiteY149" fmla="*/ 9380 h 10000"/>
              <a:gd name="connsiteX150" fmla="*/ 710 w 9950"/>
              <a:gd name="connsiteY150" fmla="*/ 9380 h 10000"/>
              <a:gd name="connsiteX151" fmla="*/ 757 w 9950"/>
              <a:gd name="connsiteY151" fmla="*/ 9380 h 10000"/>
              <a:gd name="connsiteX152" fmla="*/ 948 w 9950"/>
              <a:gd name="connsiteY152" fmla="*/ 9691 h 10000"/>
              <a:gd name="connsiteX153" fmla="*/ 1186 w 9950"/>
              <a:gd name="connsiteY153" fmla="*/ 9691 h 10000"/>
              <a:gd name="connsiteX154" fmla="*/ 1282 w 9950"/>
              <a:gd name="connsiteY154" fmla="*/ 9768 h 10000"/>
              <a:gd name="connsiteX155" fmla="*/ 1374 w 9950"/>
              <a:gd name="connsiteY155" fmla="*/ 9768 h 10000"/>
              <a:gd name="connsiteX156" fmla="*/ 1471 w 9950"/>
              <a:gd name="connsiteY156" fmla="*/ 9923 h 10000"/>
              <a:gd name="connsiteX157" fmla="*/ 1516 w 9950"/>
              <a:gd name="connsiteY157" fmla="*/ 10000 h 10000"/>
              <a:gd name="connsiteX158" fmla="*/ 1562 w 9950"/>
              <a:gd name="connsiteY158" fmla="*/ 10000 h 10000"/>
              <a:gd name="connsiteX159" fmla="*/ 1613 w 9950"/>
              <a:gd name="connsiteY159" fmla="*/ 9923 h 10000"/>
              <a:gd name="connsiteX160" fmla="*/ 1516 w 9950"/>
              <a:gd name="connsiteY160" fmla="*/ 9768 h 10000"/>
              <a:gd name="connsiteX161" fmla="*/ 1516 w 9950"/>
              <a:gd name="connsiteY161" fmla="*/ 9613 h 10000"/>
              <a:gd name="connsiteX162" fmla="*/ 1471 w 9950"/>
              <a:gd name="connsiteY162" fmla="*/ 9457 h 10000"/>
              <a:gd name="connsiteX163" fmla="*/ 1562 w 9950"/>
              <a:gd name="connsiteY163" fmla="*/ 9225 h 10000"/>
              <a:gd name="connsiteX164" fmla="*/ 1613 w 9950"/>
              <a:gd name="connsiteY164" fmla="*/ 9302 h 10000"/>
              <a:gd name="connsiteX165" fmla="*/ 1659 w 9950"/>
              <a:gd name="connsiteY165" fmla="*/ 9225 h 10000"/>
              <a:gd name="connsiteX166" fmla="*/ 1659 w 9950"/>
              <a:gd name="connsiteY166" fmla="*/ 9147 h 10000"/>
              <a:gd name="connsiteX167" fmla="*/ 1613 w 9950"/>
              <a:gd name="connsiteY167" fmla="*/ 9147 h 10000"/>
              <a:gd name="connsiteX168" fmla="*/ 1659 w 9950"/>
              <a:gd name="connsiteY168" fmla="*/ 9070 h 10000"/>
              <a:gd name="connsiteX169" fmla="*/ 1613 w 9950"/>
              <a:gd name="connsiteY169" fmla="*/ 8915 h 10000"/>
              <a:gd name="connsiteX170" fmla="*/ 1516 w 9950"/>
              <a:gd name="connsiteY170" fmla="*/ 8915 h 10000"/>
              <a:gd name="connsiteX171" fmla="*/ 1471 w 9950"/>
              <a:gd name="connsiteY171" fmla="*/ 8760 h 10000"/>
              <a:gd name="connsiteX172" fmla="*/ 1516 w 9950"/>
              <a:gd name="connsiteY172" fmla="*/ 8372 h 10000"/>
              <a:gd name="connsiteX173" fmla="*/ 1613 w 9950"/>
              <a:gd name="connsiteY173" fmla="*/ 8528 h 10000"/>
              <a:gd name="connsiteX174" fmla="*/ 1659 w 9950"/>
              <a:gd name="connsiteY174" fmla="*/ 8528 h 10000"/>
              <a:gd name="connsiteX175" fmla="*/ 1613 w 9950"/>
              <a:gd name="connsiteY175" fmla="*/ 8372 h 10000"/>
              <a:gd name="connsiteX176" fmla="*/ 1753 w 9950"/>
              <a:gd name="connsiteY176" fmla="*/ 8140 h 10000"/>
              <a:gd name="connsiteX177" fmla="*/ 1851 w 9950"/>
              <a:gd name="connsiteY177" fmla="*/ 8217 h 10000"/>
              <a:gd name="connsiteX178" fmla="*/ 1894 w 9950"/>
              <a:gd name="connsiteY178" fmla="*/ 8140 h 10000"/>
              <a:gd name="connsiteX179" fmla="*/ 1990 w 9950"/>
              <a:gd name="connsiteY179" fmla="*/ 8217 h 10000"/>
              <a:gd name="connsiteX180" fmla="*/ 2133 w 9950"/>
              <a:gd name="connsiteY180" fmla="*/ 8372 h 10000"/>
              <a:gd name="connsiteX181" fmla="*/ 2227 w 9950"/>
              <a:gd name="connsiteY181" fmla="*/ 8295 h 10000"/>
              <a:gd name="connsiteX182" fmla="*/ 2323 w 9950"/>
              <a:gd name="connsiteY182" fmla="*/ 8295 h 10000"/>
              <a:gd name="connsiteX183" fmla="*/ 2370 w 9950"/>
              <a:gd name="connsiteY183" fmla="*/ 8372 h 10000"/>
              <a:gd name="connsiteX184" fmla="*/ 2559 w 9950"/>
              <a:gd name="connsiteY184" fmla="*/ 8372 h 10000"/>
              <a:gd name="connsiteX185" fmla="*/ 2605 w 9950"/>
              <a:gd name="connsiteY185" fmla="*/ 8217 h 10000"/>
              <a:gd name="connsiteX186" fmla="*/ 2463 w 9950"/>
              <a:gd name="connsiteY186" fmla="*/ 8140 h 10000"/>
              <a:gd name="connsiteX187" fmla="*/ 2559 w 9950"/>
              <a:gd name="connsiteY187" fmla="*/ 8062 h 10000"/>
              <a:gd name="connsiteX188" fmla="*/ 2509 w 9950"/>
              <a:gd name="connsiteY188" fmla="*/ 7985 h 10000"/>
              <a:gd name="connsiteX189" fmla="*/ 2559 w 9950"/>
              <a:gd name="connsiteY189" fmla="*/ 7907 h 10000"/>
              <a:gd name="connsiteX190" fmla="*/ 2559 w 9950"/>
              <a:gd name="connsiteY190" fmla="*/ 7675 h 10000"/>
              <a:gd name="connsiteX191" fmla="*/ 2652 w 9950"/>
              <a:gd name="connsiteY191" fmla="*/ 7752 h 10000"/>
              <a:gd name="connsiteX192" fmla="*/ 3081 w 9950"/>
              <a:gd name="connsiteY192" fmla="*/ 7520 h 10000"/>
              <a:gd name="connsiteX193" fmla="*/ 3081 w 9950"/>
              <a:gd name="connsiteY193" fmla="*/ 7442 h 10000"/>
              <a:gd name="connsiteX194" fmla="*/ 3127 w 9950"/>
              <a:gd name="connsiteY194" fmla="*/ 7442 h 10000"/>
              <a:gd name="connsiteX195" fmla="*/ 3268 w 9950"/>
              <a:gd name="connsiteY195" fmla="*/ 7442 h 10000"/>
              <a:gd name="connsiteX196" fmla="*/ 3317 w 9950"/>
              <a:gd name="connsiteY196" fmla="*/ 7598 h 10000"/>
              <a:gd name="connsiteX197" fmla="*/ 3317 w 9950"/>
              <a:gd name="connsiteY197" fmla="*/ 7675 h 10000"/>
              <a:gd name="connsiteX198" fmla="*/ 3365 w 9950"/>
              <a:gd name="connsiteY198" fmla="*/ 7675 h 10000"/>
              <a:gd name="connsiteX199" fmla="*/ 3459 w 9950"/>
              <a:gd name="connsiteY199" fmla="*/ 7752 h 10000"/>
              <a:gd name="connsiteX200" fmla="*/ 3459 w 9950"/>
              <a:gd name="connsiteY200" fmla="*/ 7830 h 10000"/>
              <a:gd name="connsiteX201" fmla="*/ 3554 w 9950"/>
              <a:gd name="connsiteY201" fmla="*/ 7830 h 10000"/>
              <a:gd name="connsiteX202" fmla="*/ 3648 w 9950"/>
              <a:gd name="connsiteY202" fmla="*/ 7675 h 10000"/>
              <a:gd name="connsiteX203" fmla="*/ 3743 w 9950"/>
              <a:gd name="connsiteY203" fmla="*/ 7598 h 10000"/>
              <a:gd name="connsiteX204" fmla="*/ 3794 w 9950"/>
              <a:gd name="connsiteY204" fmla="*/ 7830 h 10000"/>
              <a:gd name="connsiteX205" fmla="*/ 3980 w 9950"/>
              <a:gd name="connsiteY205" fmla="*/ 8372 h 10000"/>
              <a:gd name="connsiteX206" fmla="*/ 4030 w 9950"/>
              <a:gd name="connsiteY206" fmla="*/ 8217 h 10000"/>
              <a:gd name="connsiteX207" fmla="*/ 4076 w 9950"/>
              <a:gd name="connsiteY207" fmla="*/ 8372 h 10000"/>
              <a:gd name="connsiteX208" fmla="*/ 4217 w 9950"/>
              <a:gd name="connsiteY208" fmla="*/ 8295 h 10000"/>
              <a:gd name="connsiteX209" fmla="*/ 4362 w 9950"/>
              <a:gd name="connsiteY209" fmla="*/ 8528 h 10000"/>
              <a:gd name="connsiteX210" fmla="*/ 4454 w 9950"/>
              <a:gd name="connsiteY210" fmla="*/ 8605 h 10000"/>
              <a:gd name="connsiteX211" fmla="*/ 4454 w 9950"/>
              <a:gd name="connsiteY211" fmla="*/ 8528 h 10000"/>
              <a:gd name="connsiteX212" fmla="*/ 4502 w 9950"/>
              <a:gd name="connsiteY212" fmla="*/ 8683 h 10000"/>
              <a:gd name="connsiteX213" fmla="*/ 4454 w 9950"/>
              <a:gd name="connsiteY213" fmla="*/ 8760 h 10000"/>
              <a:gd name="connsiteX214" fmla="*/ 4551 w 9950"/>
              <a:gd name="connsiteY214" fmla="*/ 8683 h 10000"/>
              <a:gd name="connsiteX215" fmla="*/ 4596 w 9950"/>
              <a:gd name="connsiteY215" fmla="*/ 8605 h 10000"/>
              <a:gd name="connsiteX216" fmla="*/ 4833 w 9950"/>
              <a:gd name="connsiteY216" fmla="*/ 8372 h 10000"/>
              <a:gd name="connsiteX217" fmla="*/ 5023 w 9950"/>
              <a:gd name="connsiteY217" fmla="*/ 8449 h 10000"/>
              <a:gd name="connsiteX218" fmla="*/ 5117 w 9950"/>
              <a:gd name="connsiteY218" fmla="*/ 8528 h 10000"/>
              <a:gd name="connsiteX219" fmla="*/ 5305 w 9950"/>
              <a:gd name="connsiteY219" fmla="*/ 8528 h 10000"/>
              <a:gd name="connsiteX220" fmla="*/ 5305 w 9950"/>
              <a:gd name="connsiteY220" fmla="*/ 8372 h 10000"/>
              <a:gd name="connsiteX221" fmla="*/ 5305 w 9950"/>
              <a:gd name="connsiteY221" fmla="*/ 8217 h 10000"/>
              <a:gd name="connsiteX222" fmla="*/ 5401 w 9950"/>
              <a:gd name="connsiteY222" fmla="*/ 8140 h 10000"/>
              <a:gd name="connsiteX223" fmla="*/ 5590 w 9950"/>
              <a:gd name="connsiteY223" fmla="*/ 8217 h 10000"/>
              <a:gd name="connsiteX224" fmla="*/ 5685 w 9950"/>
              <a:gd name="connsiteY224" fmla="*/ 8449 h 10000"/>
              <a:gd name="connsiteX225" fmla="*/ 5734 w 9950"/>
              <a:gd name="connsiteY225" fmla="*/ 8449 h 10000"/>
              <a:gd name="connsiteX226" fmla="*/ 5829 w 9950"/>
              <a:gd name="connsiteY226" fmla="*/ 8372 h 10000"/>
              <a:gd name="connsiteX227" fmla="*/ 6116 w 9950"/>
              <a:gd name="connsiteY227" fmla="*/ 8605 h 10000"/>
              <a:gd name="connsiteX228" fmla="*/ 6257 w 9950"/>
              <a:gd name="connsiteY228" fmla="*/ 8683 h 10000"/>
              <a:gd name="connsiteX229" fmla="*/ 6446 w 9950"/>
              <a:gd name="connsiteY229" fmla="*/ 8605 h 10000"/>
              <a:gd name="connsiteX230" fmla="*/ 6539 w 9950"/>
              <a:gd name="connsiteY230" fmla="*/ 8449 h 10000"/>
              <a:gd name="connsiteX231" fmla="*/ 6682 w 9950"/>
              <a:gd name="connsiteY231" fmla="*/ 8528 h 10000"/>
              <a:gd name="connsiteX232" fmla="*/ 6776 w 9950"/>
              <a:gd name="connsiteY232" fmla="*/ 8605 h 10000"/>
              <a:gd name="connsiteX233" fmla="*/ 8388 w 9950"/>
              <a:gd name="connsiteY233" fmla="*/ 7675 h 10000"/>
              <a:gd name="connsiteX234" fmla="*/ 8293 w 9950"/>
              <a:gd name="connsiteY234" fmla="*/ 7675 h 10000"/>
              <a:gd name="connsiteX235" fmla="*/ 8247 w 9950"/>
              <a:gd name="connsiteY235" fmla="*/ 7675 h 10000"/>
              <a:gd name="connsiteX236" fmla="*/ 8198 w 9950"/>
              <a:gd name="connsiteY236" fmla="*/ 7598 h 10000"/>
              <a:gd name="connsiteX237" fmla="*/ 8105 w 9950"/>
              <a:gd name="connsiteY237" fmla="*/ 7598 h 10000"/>
              <a:gd name="connsiteX238" fmla="*/ 8105 w 9950"/>
              <a:gd name="connsiteY238" fmla="*/ 7520 h 10000"/>
              <a:gd name="connsiteX239" fmla="*/ 8247 w 9950"/>
              <a:gd name="connsiteY239" fmla="*/ 7287 h 10000"/>
              <a:gd name="connsiteX240" fmla="*/ 8677 w 9950"/>
              <a:gd name="connsiteY240" fmla="*/ 6590 h 10000"/>
              <a:gd name="connsiteX241" fmla="*/ 8862 w 9950"/>
              <a:gd name="connsiteY241" fmla="*/ 6512 h 10000"/>
              <a:gd name="connsiteX242" fmla="*/ 8908 w 9950"/>
              <a:gd name="connsiteY242" fmla="*/ 6590 h 10000"/>
              <a:gd name="connsiteX243" fmla="*/ 8958 w 9950"/>
              <a:gd name="connsiteY243" fmla="*/ 6512 h 10000"/>
              <a:gd name="connsiteX244" fmla="*/ 9096 w 9950"/>
              <a:gd name="connsiteY244" fmla="*/ 6590 h 10000"/>
              <a:gd name="connsiteX245" fmla="*/ 9150 w 9950"/>
              <a:gd name="connsiteY245" fmla="*/ 6434 h 10000"/>
              <a:gd name="connsiteX246" fmla="*/ 9288 w 9950"/>
              <a:gd name="connsiteY246" fmla="*/ 6512 h 10000"/>
              <a:gd name="connsiteX247" fmla="*/ 9334 w 9950"/>
              <a:gd name="connsiteY247" fmla="*/ 6512 h 10000"/>
              <a:gd name="connsiteX248" fmla="*/ 9288 w 9950"/>
              <a:gd name="connsiteY248" fmla="*/ 6590 h 10000"/>
              <a:gd name="connsiteX249" fmla="*/ 9288 w 9950"/>
              <a:gd name="connsiteY249" fmla="*/ 6667 h 10000"/>
              <a:gd name="connsiteX250" fmla="*/ 9570 w 9950"/>
              <a:gd name="connsiteY250" fmla="*/ 6590 h 10000"/>
              <a:gd name="connsiteX251" fmla="*/ 9524 w 9950"/>
              <a:gd name="connsiteY251" fmla="*/ 6512 h 10000"/>
              <a:gd name="connsiteX252" fmla="*/ 9717 w 9950"/>
              <a:gd name="connsiteY252" fmla="*/ 5969 h 10000"/>
              <a:gd name="connsiteX253" fmla="*/ 9903 w 9950"/>
              <a:gd name="connsiteY253" fmla="*/ 3488 h 10000"/>
              <a:gd name="connsiteX254" fmla="*/ 9950 w 9950"/>
              <a:gd name="connsiteY254" fmla="*/ 3333 h 10000"/>
              <a:gd name="connsiteX255" fmla="*/ 9855 w 9950"/>
              <a:gd name="connsiteY255" fmla="*/ 3101 h 10000"/>
              <a:gd name="connsiteX256" fmla="*/ 9665 w 9950"/>
              <a:gd name="connsiteY256" fmla="*/ 3023 h 10000"/>
              <a:gd name="connsiteX257" fmla="*/ 9385 w 9950"/>
              <a:gd name="connsiteY257" fmla="*/ 3178 h 10000"/>
              <a:gd name="connsiteX258" fmla="*/ 9334 w 9950"/>
              <a:gd name="connsiteY258" fmla="*/ 2946 h 10000"/>
              <a:gd name="connsiteX259" fmla="*/ 9241 w 9950"/>
              <a:gd name="connsiteY259" fmla="*/ 2946 h 10000"/>
              <a:gd name="connsiteX260" fmla="*/ 9193 w 9950"/>
              <a:gd name="connsiteY260" fmla="*/ 2868 h 10000"/>
              <a:gd name="connsiteX261" fmla="*/ 9193 w 9950"/>
              <a:gd name="connsiteY261" fmla="*/ 2636 h 10000"/>
              <a:gd name="connsiteX262" fmla="*/ 8862 w 9950"/>
              <a:gd name="connsiteY262" fmla="*/ 2480 h 10000"/>
              <a:gd name="connsiteX263" fmla="*/ 8483 w 9950"/>
              <a:gd name="connsiteY263" fmla="*/ 2325 h 10000"/>
              <a:gd name="connsiteX264" fmla="*/ 8388 w 9950"/>
              <a:gd name="connsiteY264" fmla="*/ 2636 h 10000"/>
              <a:gd name="connsiteX265" fmla="*/ 8483 w 9950"/>
              <a:gd name="connsiteY265" fmla="*/ 2868 h 10000"/>
              <a:gd name="connsiteX266" fmla="*/ 8198 w 9950"/>
              <a:gd name="connsiteY266" fmla="*/ 2868 h 10000"/>
              <a:gd name="connsiteX267" fmla="*/ 8150 w 9950"/>
              <a:gd name="connsiteY267" fmla="*/ 2868 h 10000"/>
              <a:gd name="connsiteX268" fmla="*/ 8055 w 9950"/>
              <a:gd name="connsiteY268" fmla="*/ 2946 h 10000"/>
              <a:gd name="connsiteX269" fmla="*/ 7913 w 9950"/>
              <a:gd name="connsiteY269" fmla="*/ 2714 h 10000"/>
              <a:gd name="connsiteX270" fmla="*/ 7817 w 9950"/>
              <a:gd name="connsiteY270" fmla="*/ 3178 h 10000"/>
              <a:gd name="connsiteX271" fmla="*/ 7727 w 9950"/>
              <a:gd name="connsiteY271" fmla="*/ 3101 h 10000"/>
              <a:gd name="connsiteX272" fmla="*/ 7629 w 9950"/>
              <a:gd name="connsiteY272" fmla="*/ 2791 h 10000"/>
              <a:gd name="connsiteX273" fmla="*/ 7678 w 9950"/>
              <a:gd name="connsiteY273" fmla="*/ 2403 h 10000"/>
              <a:gd name="connsiteX274" fmla="*/ 7582 w 9950"/>
              <a:gd name="connsiteY274" fmla="*/ 2170 h 10000"/>
              <a:gd name="connsiteX275" fmla="*/ 7298 w 9950"/>
              <a:gd name="connsiteY275" fmla="*/ 2016 h 10000"/>
              <a:gd name="connsiteX276" fmla="*/ 7201 w 9950"/>
              <a:gd name="connsiteY276" fmla="*/ 2016 h 10000"/>
              <a:gd name="connsiteX277" fmla="*/ 7155 w 9950"/>
              <a:gd name="connsiteY277" fmla="*/ 2170 h 10000"/>
              <a:gd name="connsiteX278" fmla="*/ 7201 w 9950"/>
              <a:gd name="connsiteY278" fmla="*/ 2325 h 10000"/>
              <a:gd name="connsiteX279" fmla="*/ 6827 w 9950"/>
              <a:gd name="connsiteY279" fmla="*/ 2248 h 10000"/>
              <a:gd name="connsiteX280" fmla="*/ 6871 w 9950"/>
              <a:gd name="connsiteY280" fmla="*/ 2016 h 10000"/>
              <a:gd name="connsiteX281" fmla="*/ 6636 w 9950"/>
              <a:gd name="connsiteY281" fmla="*/ 1938 h 10000"/>
              <a:gd name="connsiteX282" fmla="*/ 6492 w 9950"/>
              <a:gd name="connsiteY282" fmla="*/ 2093 h 10000"/>
              <a:gd name="connsiteX283" fmla="*/ 6215 w 9950"/>
              <a:gd name="connsiteY283" fmla="*/ 1861 h 10000"/>
              <a:gd name="connsiteX0" fmla="*/ 6246 w 10000"/>
              <a:gd name="connsiteY0" fmla="*/ 1861 h 10000"/>
              <a:gd name="connsiteX1" fmla="*/ 6246 w 10000"/>
              <a:gd name="connsiteY1" fmla="*/ 1861 h 10000"/>
              <a:gd name="connsiteX2" fmla="*/ 6191 w 10000"/>
              <a:gd name="connsiteY2" fmla="*/ 1938 h 10000"/>
              <a:gd name="connsiteX3" fmla="*/ 6246 w 10000"/>
              <a:gd name="connsiteY3" fmla="*/ 2093 h 10000"/>
              <a:gd name="connsiteX4" fmla="*/ 6047 w 10000"/>
              <a:gd name="connsiteY4" fmla="*/ 2248 h 10000"/>
              <a:gd name="connsiteX5" fmla="*/ 5998 w 10000"/>
              <a:gd name="connsiteY5" fmla="*/ 2248 h 10000"/>
              <a:gd name="connsiteX6" fmla="*/ 6047 w 10000"/>
              <a:gd name="connsiteY6" fmla="*/ 2016 h 10000"/>
              <a:gd name="connsiteX7" fmla="*/ 6525 w 10000"/>
              <a:gd name="connsiteY7" fmla="*/ 1318 h 10000"/>
              <a:gd name="connsiteX8" fmla="*/ 6525 w 10000"/>
              <a:gd name="connsiteY8" fmla="*/ 853 h 10000"/>
              <a:gd name="connsiteX9" fmla="*/ 6336 w 10000"/>
              <a:gd name="connsiteY9" fmla="*/ 543 h 10000"/>
              <a:gd name="connsiteX10" fmla="*/ 6096 w 10000"/>
              <a:gd name="connsiteY10" fmla="*/ 543 h 10000"/>
              <a:gd name="connsiteX11" fmla="*/ 6096 w 10000"/>
              <a:gd name="connsiteY11" fmla="*/ 698 h 10000"/>
              <a:gd name="connsiteX12" fmla="*/ 5952 w 10000"/>
              <a:gd name="connsiteY12" fmla="*/ 698 h 10000"/>
              <a:gd name="connsiteX13" fmla="*/ 6047 w 10000"/>
              <a:gd name="connsiteY13" fmla="*/ 387 h 10000"/>
              <a:gd name="connsiteX14" fmla="*/ 5812 w 10000"/>
              <a:gd name="connsiteY14" fmla="*/ 310 h 10000"/>
              <a:gd name="connsiteX15" fmla="*/ 5952 w 10000"/>
              <a:gd name="connsiteY15" fmla="*/ 155 h 10000"/>
              <a:gd name="connsiteX16" fmla="*/ 5812 w 10000"/>
              <a:gd name="connsiteY16" fmla="*/ 0 h 10000"/>
              <a:gd name="connsiteX17" fmla="*/ 5574 w 10000"/>
              <a:gd name="connsiteY17" fmla="*/ 387 h 10000"/>
              <a:gd name="connsiteX18" fmla="*/ 5574 w 10000"/>
              <a:gd name="connsiteY18" fmla="*/ 698 h 10000"/>
              <a:gd name="connsiteX19" fmla="*/ 5428 w 10000"/>
              <a:gd name="connsiteY19" fmla="*/ 698 h 10000"/>
              <a:gd name="connsiteX20" fmla="*/ 5001 w 10000"/>
              <a:gd name="connsiteY20" fmla="*/ 853 h 10000"/>
              <a:gd name="connsiteX21" fmla="*/ 4619 w 10000"/>
              <a:gd name="connsiteY21" fmla="*/ 1240 h 10000"/>
              <a:gd name="connsiteX22" fmla="*/ 4476 w 10000"/>
              <a:gd name="connsiteY22" fmla="*/ 1551 h 10000"/>
              <a:gd name="connsiteX23" fmla="*/ 4525 w 10000"/>
              <a:gd name="connsiteY23" fmla="*/ 1938 h 10000"/>
              <a:gd name="connsiteX24" fmla="*/ 4000 w 10000"/>
              <a:gd name="connsiteY24" fmla="*/ 2093 h 10000"/>
              <a:gd name="connsiteX25" fmla="*/ 4050 w 10000"/>
              <a:gd name="connsiteY25" fmla="*/ 2559 h 10000"/>
              <a:gd name="connsiteX26" fmla="*/ 4193 w 10000"/>
              <a:gd name="connsiteY26" fmla="*/ 2791 h 10000"/>
              <a:gd name="connsiteX27" fmla="*/ 4096 w 10000"/>
              <a:gd name="connsiteY27" fmla="*/ 2868 h 10000"/>
              <a:gd name="connsiteX28" fmla="*/ 3954 w 10000"/>
              <a:gd name="connsiteY28" fmla="*/ 2559 h 10000"/>
              <a:gd name="connsiteX29" fmla="*/ 3813 w 10000"/>
              <a:gd name="connsiteY29" fmla="*/ 2480 h 10000"/>
              <a:gd name="connsiteX30" fmla="*/ 3762 w 10000"/>
              <a:gd name="connsiteY30" fmla="*/ 2559 h 10000"/>
              <a:gd name="connsiteX31" fmla="*/ 3666 w 10000"/>
              <a:gd name="connsiteY31" fmla="*/ 2403 h 10000"/>
              <a:gd name="connsiteX32" fmla="*/ 3572 w 10000"/>
              <a:gd name="connsiteY32" fmla="*/ 2248 h 10000"/>
              <a:gd name="connsiteX33" fmla="*/ 3572 w 10000"/>
              <a:gd name="connsiteY33" fmla="*/ 2325 h 10000"/>
              <a:gd name="connsiteX34" fmla="*/ 3623 w 10000"/>
              <a:gd name="connsiteY34" fmla="*/ 2559 h 10000"/>
              <a:gd name="connsiteX35" fmla="*/ 3476 w 10000"/>
              <a:gd name="connsiteY35" fmla="*/ 2946 h 10000"/>
              <a:gd name="connsiteX36" fmla="*/ 3572 w 10000"/>
              <a:gd name="connsiteY36" fmla="*/ 3256 h 10000"/>
              <a:gd name="connsiteX37" fmla="*/ 3522 w 10000"/>
              <a:gd name="connsiteY37" fmla="*/ 3566 h 10000"/>
              <a:gd name="connsiteX38" fmla="*/ 3522 w 10000"/>
              <a:gd name="connsiteY38" fmla="*/ 3799 h 10000"/>
              <a:gd name="connsiteX39" fmla="*/ 3666 w 10000"/>
              <a:gd name="connsiteY39" fmla="*/ 3799 h 10000"/>
              <a:gd name="connsiteX40" fmla="*/ 3572 w 10000"/>
              <a:gd name="connsiteY40" fmla="*/ 3876 h 10000"/>
              <a:gd name="connsiteX41" fmla="*/ 3623 w 10000"/>
              <a:gd name="connsiteY41" fmla="*/ 4263 h 10000"/>
              <a:gd name="connsiteX42" fmla="*/ 3334 w 10000"/>
              <a:gd name="connsiteY42" fmla="*/ 4652 h 10000"/>
              <a:gd name="connsiteX43" fmla="*/ 3284 w 10000"/>
              <a:gd name="connsiteY43" fmla="*/ 4574 h 10000"/>
              <a:gd name="connsiteX44" fmla="*/ 3476 w 10000"/>
              <a:gd name="connsiteY44" fmla="*/ 4186 h 10000"/>
              <a:gd name="connsiteX45" fmla="*/ 3522 w 10000"/>
              <a:gd name="connsiteY45" fmla="*/ 3954 h 10000"/>
              <a:gd name="connsiteX46" fmla="*/ 3423 w 10000"/>
              <a:gd name="connsiteY46" fmla="*/ 3799 h 10000"/>
              <a:gd name="connsiteX47" fmla="*/ 3423 w 10000"/>
              <a:gd name="connsiteY47" fmla="*/ 3023 h 10000"/>
              <a:gd name="connsiteX48" fmla="*/ 3382 w 10000"/>
              <a:gd name="connsiteY48" fmla="*/ 2868 h 10000"/>
              <a:gd name="connsiteX49" fmla="*/ 3423 w 10000"/>
              <a:gd name="connsiteY49" fmla="*/ 2403 h 10000"/>
              <a:gd name="connsiteX50" fmla="*/ 3334 w 10000"/>
              <a:gd name="connsiteY50" fmla="*/ 2325 h 10000"/>
              <a:gd name="connsiteX51" fmla="*/ 3382 w 10000"/>
              <a:gd name="connsiteY51" fmla="*/ 2248 h 10000"/>
              <a:gd name="connsiteX52" fmla="*/ 3334 w 10000"/>
              <a:gd name="connsiteY52" fmla="*/ 2093 h 10000"/>
              <a:gd name="connsiteX53" fmla="*/ 3235 w 10000"/>
              <a:gd name="connsiteY53" fmla="*/ 2170 h 10000"/>
              <a:gd name="connsiteX54" fmla="*/ 2999 w 10000"/>
              <a:gd name="connsiteY54" fmla="*/ 3178 h 10000"/>
              <a:gd name="connsiteX55" fmla="*/ 2999 w 10000"/>
              <a:gd name="connsiteY55" fmla="*/ 3566 h 10000"/>
              <a:gd name="connsiteX56" fmla="*/ 3143 w 10000"/>
              <a:gd name="connsiteY56" fmla="*/ 3876 h 10000"/>
              <a:gd name="connsiteX57" fmla="*/ 3143 w 10000"/>
              <a:gd name="connsiteY57" fmla="*/ 4031 h 10000"/>
              <a:gd name="connsiteX58" fmla="*/ 2999 w 10000"/>
              <a:gd name="connsiteY58" fmla="*/ 3876 h 10000"/>
              <a:gd name="connsiteX59" fmla="*/ 2431 w 10000"/>
              <a:gd name="connsiteY59" fmla="*/ 3256 h 10000"/>
              <a:gd name="connsiteX60" fmla="*/ 2382 w 10000"/>
              <a:gd name="connsiteY60" fmla="*/ 3411 h 10000"/>
              <a:gd name="connsiteX61" fmla="*/ 2572 w 10000"/>
              <a:gd name="connsiteY61" fmla="*/ 3799 h 10000"/>
              <a:gd name="connsiteX62" fmla="*/ 2475 w 10000"/>
              <a:gd name="connsiteY62" fmla="*/ 3876 h 10000"/>
              <a:gd name="connsiteX63" fmla="*/ 2431 w 10000"/>
              <a:gd name="connsiteY63" fmla="*/ 3799 h 10000"/>
              <a:gd name="connsiteX64" fmla="*/ 2144 w 10000"/>
              <a:gd name="connsiteY64" fmla="*/ 3954 h 10000"/>
              <a:gd name="connsiteX65" fmla="*/ 2097 w 10000"/>
              <a:gd name="connsiteY65" fmla="*/ 4109 h 10000"/>
              <a:gd name="connsiteX66" fmla="*/ 2049 w 10000"/>
              <a:gd name="connsiteY66" fmla="*/ 3954 h 10000"/>
              <a:gd name="connsiteX67" fmla="*/ 2049 w 10000"/>
              <a:gd name="connsiteY67" fmla="*/ 3799 h 10000"/>
              <a:gd name="connsiteX68" fmla="*/ 1570 w 10000"/>
              <a:gd name="connsiteY68" fmla="*/ 4263 h 10000"/>
              <a:gd name="connsiteX69" fmla="*/ 1570 w 10000"/>
              <a:gd name="connsiteY69" fmla="*/ 4418 h 10000"/>
              <a:gd name="connsiteX70" fmla="*/ 1478 w 10000"/>
              <a:gd name="connsiteY70" fmla="*/ 4496 h 10000"/>
              <a:gd name="connsiteX71" fmla="*/ 1333 w 10000"/>
              <a:gd name="connsiteY71" fmla="*/ 4341 h 10000"/>
              <a:gd name="connsiteX72" fmla="*/ 1478 w 10000"/>
              <a:gd name="connsiteY72" fmla="*/ 4186 h 10000"/>
              <a:gd name="connsiteX73" fmla="*/ 1429 w 10000"/>
              <a:gd name="connsiteY73" fmla="*/ 3954 h 10000"/>
              <a:gd name="connsiteX74" fmla="*/ 1239 w 10000"/>
              <a:gd name="connsiteY74" fmla="*/ 3876 h 10000"/>
              <a:gd name="connsiteX75" fmla="*/ 1288 w 10000"/>
              <a:gd name="connsiteY75" fmla="*/ 4031 h 10000"/>
              <a:gd name="connsiteX76" fmla="*/ 1288 w 10000"/>
              <a:gd name="connsiteY76" fmla="*/ 4418 h 10000"/>
              <a:gd name="connsiteX77" fmla="*/ 1333 w 10000"/>
              <a:gd name="connsiteY77" fmla="*/ 4574 h 10000"/>
              <a:gd name="connsiteX78" fmla="*/ 1288 w 10000"/>
              <a:gd name="connsiteY78" fmla="*/ 4729 h 10000"/>
              <a:gd name="connsiteX79" fmla="*/ 1142 w 10000"/>
              <a:gd name="connsiteY79" fmla="*/ 4652 h 10000"/>
              <a:gd name="connsiteX80" fmla="*/ 953 w 10000"/>
              <a:gd name="connsiteY80" fmla="*/ 4884 h 10000"/>
              <a:gd name="connsiteX81" fmla="*/ 1045 w 10000"/>
              <a:gd name="connsiteY81" fmla="*/ 5194 h 10000"/>
              <a:gd name="connsiteX82" fmla="*/ 761 w 10000"/>
              <a:gd name="connsiteY82" fmla="*/ 5039 h 10000"/>
              <a:gd name="connsiteX83" fmla="*/ 714 w 10000"/>
              <a:gd name="connsiteY83" fmla="*/ 5116 h 10000"/>
              <a:gd name="connsiteX84" fmla="*/ 810 w 10000"/>
              <a:gd name="connsiteY84" fmla="*/ 5349 h 10000"/>
              <a:gd name="connsiteX85" fmla="*/ 714 w 10000"/>
              <a:gd name="connsiteY85" fmla="*/ 5349 h 10000"/>
              <a:gd name="connsiteX86" fmla="*/ 573 w 10000"/>
              <a:gd name="connsiteY86" fmla="*/ 5194 h 10000"/>
              <a:gd name="connsiteX87" fmla="*/ 573 w 10000"/>
              <a:gd name="connsiteY87" fmla="*/ 4729 h 10000"/>
              <a:gd name="connsiteX88" fmla="*/ 432 w 10000"/>
              <a:gd name="connsiteY88" fmla="*/ 4574 h 10000"/>
              <a:gd name="connsiteX89" fmla="*/ 381 w 10000"/>
              <a:gd name="connsiteY89" fmla="*/ 4418 h 10000"/>
              <a:gd name="connsiteX90" fmla="*/ 476 w 10000"/>
              <a:gd name="connsiteY90" fmla="*/ 4496 h 10000"/>
              <a:gd name="connsiteX91" fmla="*/ 856 w 10000"/>
              <a:gd name="connsiteY91" fmla="*/ 4729 h 10000"/>
              <a:gd name="connsiteX92" fmla="*/ 1092 w 10000"/>
              <a:gd name="connsiteY92" fmla="*/ 4496 h 10000"/>
              <a:gd name="connsiteX93" fmla="*/ 1045 w 10000"/>
              <a:gd name="connsiteY93" fmla="*/ 4263 h 10000"/>
              <a:gd name="connsiteX94" fmla="*/ 761 w 10000"/>
              <a:gd name="connsiteY94" fmla="*/ 3799 h 10000"/>
              <a:gd name="connsiteX95" fmla="*/ 476 w 10000"/>
              <a:gd name="connsiteY95" fmla="*/ 3644 h 10000"/>
              <a:gd name="connsiteX96" fmla="*/ 476 w 10000"/>
              <a:gd name="connsiteY96" fmla="*/ 3566 h 10000"/>
              <a:gd name="connsiteX97" fmla="*/ 381 w 10000"/>
              <a:gd name="connsiteY97" fmla="*/ 3488 h 10000"/>
              <a:gd name="connsiteX98" fmla="*/ 283 w 10000"/>
              <a:gd name="connsiteY98" fmla="*/ 3566 h 10000"/>
              <a:gd name="connsiteX99" fmla="*/ 283 w 10000"/>
              <a:gd name="connsiteY99" fmla="*/ 3644 h 10000"/>
              <a:gd name="connsiteX100" fmla="*/ 238 w 10000"/>
              <a:gd name="connsiteY100" fmla="*/ 3644 h 10000"/>
              <a:gd name="connsiteX101" fmla="*/ 143 w 10000"/>
              <a:gd name="connsiteY101" fmla="*/ 3799 h 10000"/>
              <a:gd name="connsiteX102" fmla="*/ 143 w 10000"/>
              <a:gd name="connsiteY102" fmla="*/ 4031 h 10000"/>
              <a:gd name="connsiteX103" fmla="*/ 238 w 10000"/>
              <a:gd name="connsiteY103" fmla="*/ 4186 h 10000"/>
              <a:gd name="connsiteX104" fmla="*/ 191 w 10000"/>
              <a:gd name="connsiteY104" fmla="*/ 4418 h 10000"/>
              <a:gd name="connsiteX105" fmla="*/ 238 w 10000"/>
              <a:gd name="connsiteY105" fmla="*/ 4807 h 10000"/>
              <a:gd name="connsiteX106" fmla="*/ 191 w 10000"/>
              <a:gd name="connsiteY106" fmla="*/ 5039 h 10000"/>
              <a:gd name="connsiteX107" fmla="*/ 283 w 10000"/>
              <a:gd name="connsiteY107" fmla="*/ 5271 h 10000"/>
              <a:gd name="connsiteX108" fmla="*/ 238 w 10000"/>
              <a:gd name="connsiteY108" fmla="*/ 5426 h 10000"/>
              <a:gd name="connsiteX109" fmla="*/ 332 w 10000"/>
              <a:gd name="connsiteY109" fmla="*/ 5582 h 10000"/>
              <a:gd name="connsiteX110" fmla="*/ 332 w 10000"/>
              <a:gd name="connsiteY110" fmla="*/ 5659 h 10000"/>
              <a:gd name="connsiteX111" fmla="*/ 191 w 10000"/>
              <a:gd name="connsiteY111" fmla="*/ 6047 h 10000"/>
              <a:gd name="connsiteX112" fmla="*/ 44 w 10000"/>
              <a:gd name="connsiteY112" fmla="*/ 6202 h 10000"/>
              <a:gd name="connsiteX113" fmla="*/ 94 w 10000"/>
              <a:gd name="connsiteY113" fmla="*/ 6202 h 10000"/>
              <a:gd name="connsiteX114" fmla="*/ 191 w 10000"/>
              <a:gd name="connsiteY114" fmla="*/ 6356 h 10000"/>
              <a:gd name="connsiteX115" fmla="*/ 94 w 10000"/>
              <a:gd name="connsiteY115" fmla="*/ 6512 h 10000"/>
              <a:gd name="connsiteX116" fmla="*/ 44 w 10000"/>
              <a:gd name="connsiteY116" fmla="*/ 6590 h 10000"/>
              <a:gd name="connsiteX117" fmla="*/ 0 w 10000"/>
              <a:gd name="connsiteY117" fmla="*/ 6590 h 10000"/>
              <a:gd name="connsiteX118" fmla="*/ 44 w 10000"/>
              <a:gd name="connsiteY118" fmla="*/ 6822 h 10000"/>
              <a:gd name="connsiteX119" fmla="*/ 44 w 10000"/>
              <a:gd name="connsiteY119" fmla="*/ 6900 h 10000"/>
              <a:gd name="connsiteX120" fmla="*/ 44 w 10000"/>
              <a:gd name="connsiteY120" fmla="*/ 6977 h 10000"/>
              <a:gd name="connsiteX121" fmla="*/ 44 w 10000"/>
              <a:gd name="connsiteY121" fmla="*/ 7054 h 10000"/>
              <a:gd name="connsiteX122" fmla="*/ 94 w 10000"/>
              <a:gd name="connsiteY122" fmla="*/ 7209 h 10000"/>
              <a:gd name="connsiteX123" fmla="*/ 238 w 10000"/>
              <a:gd name="connsiteY123" fmla="*/ 7287 h 10000"/>
              <a:gd name="connsiteX124" fmla="*/ 283 w 10000"/>
              <a:gd name="connsiteY124" fmla="*/ 7364 h 10000"/>
              <a:gd name="connsiteX125" fmla="*/ 283 w 10000"/>
              <a:gd name="connsiteY125" fmla="*/ 7520 h 10000"/>
              <a:gd name="connsiteX126" fmla="*/ 381 w 10000"/>
              <a:gd name="connsiteY126" fmla="*/ 7752 h 10000"/>
              <a:gd name="connsiteX127" fmla="*/ 432 w 10000"/>
              <a:gd name="connsiteY127" fmla="*/ 7752 h 10000"/>
              <a:gd name="connsiteX128" fmla="*/ 381 w 10000"/>
              <a:gd name="connsiteY128" fmla="*/ 7907 h 10000"/>
              <a:gd name="connsiteX129" fmla="*/ 332 w 10000"/>
              <a:gd name="connsiteY129" fmla="*/ 7830 h 10000"/>
              <a:gd name="connsiteX130" fmla="*/ 332 w 10000"/>
              <a:gd name="connsiteY130" fmla="*/ 7907 h 10000"/>
              <a:gd name="connsiteX131" fmla="*/ 381 w 10000"/>
              <a:gd name="connsiteY131" fmla="*/ 8062 h 10000"/>
              <a:gd name="connsiteX132" fmla="*/ 526 w 10000"/>
              <a:gd name="connsiteY132" fmla="*/ 8062 h 10000"/>
              <a:gd name="connsiteX133" fmla="*/ 573 w 10000"/>
              <a:gd name="connsiteY133" fmla="*/ 8140 h 10000"/>
              <a:gd name="connsiteX134" fmla="*/ 526 w 10000"/>
              <a:gd name="connsiteY134" fmla="*/ 8140 h 10000"/>
              <a:gd name="connsiteX135" fmla="*/ 573 w 10000"/>
              <a:gd name="connsiteY135" fmla="*/ 8217 h 10000"/>
              <a:gd name="connsiteX136" fmla="*/ 618 w 10000"/>
              <a:gd name="connsiteY136" fmla="*/ 8217 h 10000"/>
              <a:gd name="connsiteX137" fmla="*/ 666 w 10000"/>
              <a:gd name="connsiteY137" fmla="*/ 8372 h 10000"/>
              <a:gd name="connsiteX138" fmla="*/ 714 w 10000"/>
              <a:gd name="connsiteY138" fmla="*/ 8449 h 10000"/>
              <a:gd name="connsiteX139" fmla="*/ 761 w 10000"/>
              <a:gd name="connsiteY139" fmla="*/ 8372 h 10000"/>
              <a:gd name="connsiteX140" fmla="*/ 1001 w 10000"/>
              <a:gd name="connsiteY140" fmla="*/ 8605 h 10000"/>
              <a:gd name="connsiteX141" fmla="*/ 953 w 10000"/>
              <a:gd name="connsiteY141" fmla="*/ 8915 h 10000"/>
              <a:gd name="connsiteX142" fmla="*/ 904 w 10000"/>
              <a:gd name="connsiteY142" fmla="*/ 8838 h 10000"/>
              <a:gd name="connsiteX143" fmla="*/ 856 w 10000"/>
              <a:gd name="connsiteY143" fmla="*/ 8915 h 10000"/>
              <a:gd name="connsiteX144" fmla="*/ 856 w 10000"/>
              <a:gd name="connsiteY144" fmla="*/ 9070 h 10000"/>
              <a:gd name="connsiteX145" fmla="*/ 904 w 10000"/>
              <a:gd name="connsiteY145" fmla="*/ 8993 h 10000"/>
              <a:gd name="connsiteX146" fmla="*/ 953 w 10000"/>
              <a:gd name="connsiteY146" fmla="*/ 9070 h 10000"/>
              <a:gd name="connsiteX147" fmla="*/ 810 w 10000"/>
              <a:gd name="connsiteY147" fmla="*/ 9147 h 10000"/>
              <a:gd name="connsiteX148" fmla="*/ 856 w 10000"/>
              <a:gd name="connsiteY148" fmla="*/ 9225 h 10000"/>
              <a:gd name="connsiteX149" fmla="*/ 761 w 10000"/>
              <a:gd name="connsiteY149" fmla="*/ 9380 h 10000"/>
              <a:gd name="connsiteX150" fmla="*/ 714 w 10000"/>
              <a:gd name="connsiteY150" fmla="*/ 9380 h 10000"/>
              <a:gd name="connsiteX151" fmla="*/ 761 w 10000"/>
              <a:gd name="connsiteY151" fmla="*/ 9380 h 10000"/>
              <a:gd name="connsiteX152" fmla="*/ 953 w 10000"/>
              <a:gd name="connsiteY152" fmla="*/ 9691 h 10000"/>
              <a:gd name="connsiteX153" fmla="*/ 1192 w 10000"/>
              <a:gd name="connsiteY153" fmla="*/ 9691 h 10000"/>
              <a:gd name="connsiteX154" fmla="*/ 1288 w 10000"/>
              <a:gd name="connsiteY154" fmla="*/ 9768 h 10000"/>
              <a:gd name="connsiteX155" fmla="*/ 1381 w 10000"/>
              <a:gd name="connsiteY155" fmla="*/ 9768 h 10000"/>
              <a:gd name="connsiteX156" fmla="*/ 1478 w 10000"/>
              <a:gd name="connsiteY156" fmla="*/ 9923 h 10000"/>
              <a:gd name="connsiteX157" fmla="*/ 1524 w 10000"/>
              <a:gd name="connsiteY157" fmla="*/ 10000 h 10000"/>
              <a:gd name="connsiteX158" fmla="*/ 1570 w 10000"/>
              <a:gd name="connsiteY158" fmla="*/ 10000 h 10000"/>
              <a:gd name="connsiteX159" fmla="*/ 1621 w 10000"/>
              <a:gd name="connsiteY159" fmla="*/ 9923 h 10000"/>
              <a:gd name="connsiteX160" fmla="*/ 1524 w 10000"/>
              <a:gd name="connsiteY160" fmla="*/ 9768 h 10000"/>
              <a:gd name="connsiteX161" fmla="*/ 1524 w 10000"/>
              <a:gd name="connsiteY161" fmla="*/ 9613 h 10000"/>
              <a:gd name="connsiteX162" fmla="*/ 1478 w 10000"/>
              <a:gd name="connsiteY162" fmla="*/ 9457 h 10000"/>
              <a:gd name="connsiteX163" fmla="*/ 1570 w 10000"/>
              <a:gd name="connsiteY163" fmla="*/ 9225 h 10000"/>
              <a:gd name="connsiteX164" fmla="*/ 1621 w 10000"/>
              <a:gd name="connsiteY164" fmla="*/ 9302 h 10000"/>
              <a:gd name="connsiteX165" fmla="*/ 1667 w 10000"/>
              <a:gd name="connsiteY165" fmla="*/ 9225 h 10000"/>
              <a:gd name="connsiteX166" fmla="*/ 1667 w 10000"/>
              <a:gd name="connsiteY166" fmla="*/ 9147 h 10000"/>
              <a:gd name="connsiteX167" fmla="*/ 1621 w 10000"/>
              <a:gd name="connsiteY167" fmla="*/ 9147 h 10000"/>
              <a:gd name="connsiteX168" fmla="*/ 1667 w 10000"/>
              <a:gd name="connsiteY168" fmla="*/ 9070 h 10000"/>
              <a:gd name="connsiteX169" fmla="*/ 1621 w 10000"/>
              <a:gd name="connsiteY169" fmla="*/ 8915 h 10000"/>
              <a:gd name="connsiteX170" fmla="*/ 1524 w 10000"/>
              <a:gd name="connsiteY170" fmla="*/ 8915 h 10000"/>
              <a:gd name="connsiteX171" fmla="*/ 1478 w 10000"/>
              <a:gd name="connsiteY171" fmla="*/ 8760 h 10000"/>
              <a:gd name="connsiteX172" fmla="*/ 1524 w 10000"/>
              <a:gd name="connsiteY172" fmla="*/ 8372 h 10000"/>
              <a:gd name="connsiteX173" fmla="*/ 1621 w 10000"/>
              <a:gd name="connsiteY173" fmla="*/ 8528 h 10000"/>
              <a:gd name="connsiteX174" fmla="*/ 1667 w 10000"/>
              <a:gd name="connsiteY174" fmla="*/ 8528 h 10000"/>
              <a:gd name="connsiteX175" fmla="*/ 1621 w 10000"/>
              <a:gd name="connsiteY175" fmla="*/ 8372 h 10000"/>
              <a:gd name="connsiteX176" fmla="*/ 1762 w 10000"/>
              <a:gd name="connsiteY176" fmla="*/ 8140 h 10000"/>
              <a:gd name="connsiteX177" fmla="*/ 1860 w 10000"/>
              <a:gd name="connsiteY177" fmla="*/ 8217 h 10000"/>
              <a:gd name="connsiteX178" fmla="*/ 1904 w 10000"/>
              <a:gd name="connsiteY178" fmla="*/ 8140 h 10000"/>
              <a:gd name="connsiteX179" fmla="*/ 2000 w 10000"/>
              <a:gd name="connsiteY179" fmla="*/ 8217 h 10000"/>
              <a:gd name="connsiteX180" fmla="*/ 2144 w 10000"/>
              <a:gd name="connsiteY180" fmla="*/ 8372 h 10000"/>
              <a:gd name="connsiteX181" fmla="*/ 2238 w 10000"/>
              <a:gd name="connsiteY181" fmla="*/ 8295 h 10000"/>
              <a:gd name="connsiteX182" fmla="*/ 2335 w 10000"/>
              <a:gd name="connsiteY182" fmla="*/ 8295 h 10000"/>
              <a:gd name="connsiteX183" fmla="*/ 2382 w 10000"/>
              <a:gd name="connsiteY183" fmla="*/ 8372 h 10000"/>
              <a:gd name="connsiteX184" fmla="*/ 2572 w 10000"/>
              <a:gd name="connsiteY184" fmla="*/ 8372 h 10000"/>
              <a:gd name="connsiteX185" fmla="*/ 2618 w 10000"/>
              <a:gd name="connsiteY185" fmla="*/ 8217 h 10000"/>
              <a:gd name="connsiteX186" fmla="*/ 2475 w 10000"/>
              <a:gd name="connsiteY186" fmla="*/ 8140 h 10000"/>
              <a:gd name="connsiteX187" fmla="*/ 2572 w 10000"/>
              <a:gd name="connsiteY187" fmla="*/ 8062 h 10000"/>
              <a:gd name="connsiteX188" fmla="*/ 2522 w 10000"/>
              <a:gd name="connsiteY188" fmla="*/ 7985 h 10000"/>
              <a:gd name="connsiteX189" fmla="*/ 2572 w 10000"/>
              <a:gd name="connsiteY189" fmla="*/ 7907 h 10000"/>
              <a:gd name="connsiteX190" fmla="*/ 2572 w 10000"/>
              <a:gd name="connsiteY190" fmla="*/ 7675 h 10000"/>
              <a:gd name="connsiteX191" fmla="*/ 2665 w 10000"/>
              <a:gd name="connsiteY191" fmla="*/ 7752 h 10000"/>
              <a:gd name="connsiteX192" fmla="*/ 3096 w 10000"/>
              <a:gd name="connsiteY192" fmla="*/ 7520 h 10000"/>
              <a:gd name="connsiteX193" fmla="*/ 3096 w 10000"/>
              <a:gd name="connsiteY193" fmla="*/ 7442 h 10000"/>
              <a:gd name="connsiteX194" fmla="*/ 3143 w 10000"/>
              <a:gd name="connsiteY194" fmla="*/ 7442 h 10000"/>
              <a:gd name="connsiteX195" fmla="*/ 3284 w 10000"/>
              <a:gd name="connsiteY195" fmla="*/ 7442 h 10000"/>
              <a:gd name="connsiteX196" fmla="*/ 3334 w 10000"/>
              <a:gd name="connsiteY196" fmla="*/ 7598 h 10000"/>
              <a:gd name="connsiteX197" fmla="*/ 3334 w 10000"/>
              <a:gd name="connsiteY197" fmla="*/ 7675 h 10000"/>
              <a:gd name="connsiteX198" fmla="*/ 3382 w 10000"/>
              <a:gd name="connsiteY198" fmla="*/ 7675 h 10000"/>
              <a:gd name="connsiteX199" fmla="*/ 3476 w 10000"/>
              <a:gd name="connsiteY199" fmla="*/ 7752 h 10000"/>
              <a:gd name="connsiteX200" fmla="*/ 3476 w 10000"/>
              <a:gd name="connsiteY200" fmla="*/ 7830 h 10000"/>
              <a:gd name="connsiteX201" fmla="*/ 3572 w 10000"/>
              <a:gd name="connsiteY201" fmla="*/ 7830 h 10000"/>
              <a:gd name="connsiteX202" fmla="*/ 3666 w 10000"/>
              <a:gd name="connsiteY202" fmla="*/ 7675 h 10000"/>
              <a:gd name="connsiteX203" fmla="*/ 3762 w 10000"/>
              <a:gd name="connsiteY203" fmla="*/ 7598 h 10000"/>
              <a:gd name="connsiteX204" fmla="*/ 3813 w 10000"/>
              <a:gd name="connsiteY204" fmla="*/ 7830 h 10000"/>
              <a:gd name="connsiteX205" fmla="*/ 4000 w 10000"/>
              <a:gd name="connsiteY205" fmla="*/ 8372 h 10000"/>
              <a:gd name="connsiteX206" fmla="*/ 4050 w 10000"/>
              <a:gd name="connsiteY206" fmla="*/ 8217 h 10000"/>
              <a:gd name="connsiteX207" fmla="*/ 4096 w 10000"/>
              <a:gd name="connsiteY207" fmla="*/ 8372 h 10000"/>
              <a:gd name="connsiteX208" fmla="*/ 4238 w 10000"/>
              <a:gd name="connsiteY208" fmla="*/ 8295 h 10000"/>
              <a:gd name="connsiteX209" fmla="*/ 4384 w 10000"/>
              <a:gd name="connsiteY209" fmla="*/ 8528 h 10000"/>
              <a:gd name="connsiteX210" fmla="*/ 4476 w 10000"/>
              <a:gd name="connsiteY210" fmla="*/ 8605 h 10000"/>
              <a:gd name="connsiteX211" fmla="*/ 4476 w 10000"/>
              <a:gd name="connsiteY211" fmla="*/ 8528 h 10000"/>
              <a:gd name="connsiteX212" fmla="*/ 4525 w 10000"/>
              <a:gd name="connsiteY212" fmla="*/ 8683 h 10000"/>
              <a:gd name="connsiteX213" fmla="*/ 4476 w 10000"/>
              <a:gd name="connsiteY213" fmla="*/ 8760 h 10000"/>
              <a:gd name="connsiteX214" fmla="*/ 4574 w 10000"/>
              <a:gd name="connsiteY214" fmla="*/ 8683 h 10000"/>
              <a:gd name="connsiteX215" fmla="*/ 4619 w 10000"/>
              <a:gd name="connsiteY215" fmla="*/ 8605 h 10000"/>
              <a:gd name="connsiteX216" fmla="*/ 4857 w 10000"/>
              <a:gd name="connsiteY216" fmla="*/ 8372 h 10000"/>
              <a:gd name="connsiteX217" fmla="*/ 5048 w 10000"/>
              <a:gd name="connsiteY217" fmla="*/ 8449 h 10000"/>
              <a:gd name="connsiteX218" fmla="*/ 5143 w 10000"/>
              <a:gd name="connsiteY218" fmla="*/ 8528 h 10000"/>
              <a:gd name="connsiteX219" fmla="*/ 5332 w 10000"/>
              <a:gd name="connsiteY219" fmla="*/ 8528 h 10000"/>
              <a:gd name="connsiteX220" fmla="*/ 5332 w 10000"/>
              <a:gd name="connsiteY220" fmla="*/ 8372 h 10000"/>
              <a:gd name="connsiteX221" fmla="*/ 5332 w 10000"/>
              <a:gd name="connsiteY221" fmla="*/ 8217 h 10000"/>
              <a:gd name="connsiteX222" fmla="*/ 5428 w 10000"/>
              <a:gd name="connsiteY222" fmla="*/ 8140 h 10000"/>
              <a:gd name="connsiteX223" fmla="*/ 5618 w 10000"/>
              <a:gd name="connsiteY223" fmla="*/ 8217 h 10000"/>
              <a:gd name="connsiteX224" fmla="*/ 5714 w 10000"/>
              <a:gd name="connsiteY224" fmla="*/ 8449 h 10000"/>
              <a:gd name="connsiteX225" fmla="*/ 5763 w 10000"/>
              <a:gd name="connsiteY225" fmla="*/ 8449 h 10000"/>
              <a:gd name="connsiteX226" fmla="*/ 5858 w 10000"/>
              <a:gd name="connsiteY226" fmla="*/ 8372 h 10000"/>
              <a:gd name="connsiteX227" fmla="*/ 6147 w 10000"/>
              <a:gd name="connsiteY227" fmla="*/ 8605 h 10000"/>
              <a:gd name="connsiteX228" fmla="*/ 6288 w 10000"/>
              <a:gd name="connsiteY228" fmla="*/ 8683 h 10000"/>
              <a:gd name="connsiteX229" fmla="*/ 6478 w 10000"/>
              <a:gd name="connsiteY229" fmla="*/ 8605 h 10000"/>
              <a:gd name="connsiteX230" fmla="*/ 6572 w 10000"/>
              <a:gd name="connsiteY230" fmla="*/ 8449 h 10000"/>
              <a:gd name="connsiteX231" fmla="*/ 6716 w 10000"/>
              <a:gd name="connsiteY231" fmla="*/ 8528 h 10000"/>
              <a:gd name="connsiteX232" fmla="*/ 6810 w 10000"/>
              <a:gd name="connsiteY232" fmla="*/ 8605 h 10000"/>
              <a:gd name="connsiteX233" fmla="*/ 8430 w 10000"/>
              <a:gd name="connsiteY233" fmla="*/ 7675 h 10000"/>
              <a:gd name="connsiteX234" fmla="*/ 8335 w 10000"/>
              <a:gd name="connsiteY234" fmla="*/ 7675 h 10000"/>
              <a:gd name="connsiteX235" fmla="*/ 8288 w 10000"/>
              <a:gd name="connsiteY235" fmla="*/ 7675 h 10000"/>
              <a:gd name="connsiteX236" fmla="*/ 8239 w 10000"/>
              <a:gd name="connsiteY236" fmla="*/ 7598 h 10000"/>
              <a:gd name="connsiteX237" fmla="*/ 8146 w 10000"/>
              <a:gd name="connsiteY237" fmla="*/ 7598 h 10000"/>
              <a:gd name="connsiteX238" fmla="*/ 8146 w 10000"/>
              <a:gd name="connsiteY238" fmla="*/ 7520 h 10000"/>
              <a:gd name="connsiteX239" fmla="*/ 8288 w 10000"/>
              <a:gd name="connsiteY239" fmla="*/ 7287 h 10000"/>
              <a:gd name="connsiteX240" fmla="*/ 8721 w 10000"/>
              <a:gd name="connsiteY240" fmla="*/ 6590 h 10000"/>
              <a:gd name="connsiteX241" fmla="*/ 8907 w 10000"/>
              <a:gd name="connsiteY241" fmla="*/ 6512 h 10000"/>
              <a:gd name="connsiteX242" fmla="*/ 8953 w 10000"/>
              <a:gd name="connsiteY242" fmla="*/ 6590 h 10000"/>
              <a:gd name="connsiteX243" fmla="*/ 9003 w 10000"/>
              <a:gd name="connsiteY243" fmla="*/ 6512 h 10000"/>
              <a:gd name="connsiteX244" fmla="*/ 9142 w 10000"/>
              <a:gd name="connsiteY244" fmla="*/ 6590 h 10000"/>
              <a:gd name="connsiteX245" fmla="*/ 9196 w 10000"/>
              <a:gd name="connsiteY245" fmla="*/ 6434 h 10000"/>
              <a:gd name="connsiteX246" fmla="*/ 9335 w 10000"/>
              <a:gd name="connsiteY246" fmla="*/ 6512 h 10000"/>
              <a:gd name="connsiteX247" fmla="*/ 9381 w 10000"/>
              <a:gd name="connsiteY247" fmla="*/ 6512 h 10000"/>
              <a:gd name="connsiteX248" fmla="*/ 9335 w 10000"/>
              <a:gd name="connsiteY248" fmla="*/ 6590 h 10000"/>
              <a:gd name="connsiteX249" fmla="*/ 9335 w 10000"/>
              <a:gd name="connsiteY249" fmla="*/ 6667 h 10000"/>
              <a:gd name="connsiteX250" fmla="*/ 9618 w 10000"/>
              <a:gd name="connsiteY250" fmla="*/ 6590 h 10000"/>
              <a:gd name="connsiteX251" fmla="*/ 9572 w 10000"/>
              <a:gd name="connsiteY251" fmla="*/ 6512 h 10000"/>
              <a:gd name="connsiteX252" fmla="*/ 9766 w 10000"/>
              <a:gd name="connsiteY252" fmla="*/ 5969 h 10000"/>
              <a:gd name="connsiteX253" fmla="*/ 10000 w 10000"/>
              <a:gd name="connsiteY253" fmla="*/ 3333 h 10000"/>
              <a:gd name="connsiteX254" fmla="*/ 9905 w 10000"/>
              <a:gd name="connsiteY254" fmla="*/ 3101 h 10000"/>
              <a:gd name="connsiteX255" fmla="*/ 9714 w 10000"/>
              <a:gd name="connsiteY255" fmla="*/ 3023 h 10000"/>
              <a:gd name="connsiteX256" fmla="*/ 9432 w 10000"/>
              <a:gd name="connsiteY256" fmla="*/ 3178 h 10000"/>
              <a:gd name="connsiteX257" fmla="*/ 9381 w 10000"/>
              <a:gd name="connsiteY257" fmla="*/ 2946 h 10000"/>
              <a:gd name="connsiteX258" fmla="*/ 9287 w 10000"/>
              <a:gd name="connsiteY258" fmla="*/ 2946 h 10000"/>
              <a:gd name="connsiteX259" fmla="*/ 9239 w 10000"/>
              <a:gd name="connsiteY259" fmla="*/ 2868 h 10000"/>
              <a:gd name="connsiteX260" fmla="*/ 9239 w 10000"/>
              <a:gd name="connsiteY260" fmla="*/ 2636 h 10000"/>
              <a:gd name="connsiteX261" fmla="*/ 8907 w 10000"/>
              <a:gd name="connsiteY261" fmla="*/ 2480 h 10000"/>
              <a:gd name="connsiteX262" fmla="*/ 8526 w 10000"/>
              <a:gd name="connsiteY262" fmla="*/ 2325 h 10000"/>
              <a:gd name="connsiteX263" fmla="*/ 8430 w 10000"/>
              <a:gd name="connsiteY263" fmla="*/ 2636 h 10000"/>
              <a:gd name="connsiteX264" fmla="*/ 8526 w 10000"/>
              <a:gd name="connsiteY264" fmla="*/ 2868 h 10000"/>
              <a:gd name="connsiteX265" fmla="*/ 8239 w 10000"/>
              <a:gd name="connsiteY265" fmla="*/ 2868 h 10000"/>
              <a:gd name="connsiteX266" fmla="*/ 8191 w 10000"/>
              <a:gd name="connsiteY266" fmla="*/ 2868 h 10000"/>
              <a:gd name="connsiteX267" fmla="*/ 8095 w 10000"/>
              <a:gd name="connsiteY267" fmla="*/ 2946 h 10000"/>
              <a:gd name="connsiteX268" fmla="*/ 7953 w 10000"/>
              <a:gd name="connsiteY268" fmla="*/ 2714 h 10000"/>
              <a:gd name="connsiteX269" fmla="*/ 7856 w 10000"/>
              <a:gd name="connsiteY269" fmla="*/ 3178 h 10000"/>
              <a:gd name="connsiteX270" fmla="*/ 7766 w 10000"/>
              <a:gd name="connsiteY270" fmla="*/ 3101 h 10000"/>
              <a:gd name="connsiteX271" fmla="*/ 7667 w 10000"/>
              <a:gd name="connsiteY271" fmla="*/ 2791 h 10000"/>
              <a:gd name="connsiteX272" fmla="*/ 7717 w 10000"/>
              <a:gd name="connsiteY272" fmla="*/ 2403 h 10000"/>
              <a:gd name="connsiteX273" fmla="*/ 7620 w 10000"/>
              <a:gd name="connsiteY273" fmla="*/ 2170 h 10000"/>
              <a:gd name="connsiteX274" fmla="*/ 7335 w 10000"/>
              <a:gd name="connsiteY274" fmla="*/ 2016 h 10000"/>
              <a:gd name="connsiteX275" fmla="*/ 7237 w 10000"/>
              <a:gd name="connsiteY275" fmla="*/ 2016 h 10000"/>
              <a:gd name="connsiteX276" fmla="*/ 7191 w 10000"/>
              <a:gd name="connsiteY276" fmla="*/ 2170 h 10000"/>
              <a:gd name="connsiteX277" fmla="*/ 7237 w 10000"/>
              <a:gd name="connsiteY277" fmla="*/ 2325 h 10000"/>
              <a:gd name="connsiteX278" fmla="*/ 6861 w 10000"/>
              <a:gd name="connsiteY278" fmla="*/ 2248 h 10000"/>
              <a:gd name="connsiteX279" fmla="*/ 6906 w 10000"/>
              <a:gd name="connsiteY279" fmla="*/ 2016 h 10000"/>
              <a:gd name="connsiteX280" fmla="*/ 6669 w 10000"/>
              <a:gd name="connsiteY280" fmla="*/ 1938 h 10000"/>
              <a:gd name="connsiteX281" fmla="*/ 6525 w 10000"/>
              <a:gd name="connsiteY281" fmla="*/ 2093 h 10000"/>
              <a:gd name="connsiteX282" fmla="*/ 6246 w 10000"/>
              <a:gd name="connsiteY282" fmla="*/ 1861 h 10000"/>
              <a:gd name="connsiteX0" fmla="*/ 6246 w 9905"/>
              <a:gd name="connsiteY0" fmla="*/ 1861 h 10000"/>
              <a:gd name="connsiteX1" fmla="*/ 6246 w 9905"/>
              <a:gd name="connsiteY1" fmla="*/ 1861 h 10000"/>
              <a:gd name="connsiteX2" fmla="*/ 6191 w 9905"/>
              <a:gd name="connsiteY2" fmla="*/ 1938 h 10000"/>
              <a:gd name="connsiteX3" fmla="*/ 6246 w 9905"/>
              <a:gd name="connsiteY3" fmla="*/ 2093 h 10000"/>
              <a:gd name="connsiteX4" fmla="*/ 6047 w 9905"/>
              <a:gd name="connsiteY4" fmla="*/ 2248 h 10000"/>
              <a:gd name="connsiteX5" fmla="*/ 5998 w 9905"/>
              <a:gd name="connsiteY5" fmla="*/ 2248 h 10000"/>
              <a:gd name="connsiteX6" fmla="*/ 6047 w 9905"/>
              <a:gd name="connsiteY6" fmla="*/ 2016 h 10000"/>
              <a:gd name="connsiteX7" fmla="*/ 6525 w 9905"/>
              <a:gd name="connsiteY7" fmla="*/ 1318 h 10000"/>
              <a:gd name="connsiteX8" fmla="*/ 6525 w 9905"/>
              <a:gd name="connsiteY8" fmla="*/ 853 h 10000"/>
              <a:gd name="connsiteX9" fmla="*/ 6336 w 9905"/>
              <a:gd name="connsiteY9" fmla="*/ 543 h 10000"/>
              <a:gd name="connsiteX10" fmla="*/ 6096 w 9905"/>
              <a:gd name="connsiteY10" fmla="*/ 543 h 10000"/>
              <a:gd name="connsiteX11" fmla="*/ 6096 w 9905"/>
              <a:gd name="connsiteY11" fmla="*/ 698 h 10000"/>
              <a:gd name="connsiteX12" fmla="*/ 5952 w 9905"/>
              <a:gd name="connsiteY12" fmla="*/ 698 h 10000"/>
              <a:gd name="connsiteX13" fmla="*/ 6047 w 9905"/>
              <a:gd name="connsiteY13" fmla="*/ 387 h 10000"/>
              <a:gd name="connsiteX14" fmla="*/ 5812 w 9905"/>
              <a:gd name="connsiteY14" fmla="*/ 310 h 10000"/>
              <a:gd name="connsiteX15" fmla="*/ 5952 w 9905"/>
              <a:gd name="connsiteY15" fmla="*/ 155 h 10000"/>
              <a:gd name="connsiteX16" fmla="*/ 5812 w 9905"/>
              <a:gd name="connsiteY16" fmla="*/ 0 h 10000"/>
              <a:gd name="connsiteX17" fmla="*/ 5574 w 9905"/>
              <a:gd name="connsiteY17" fmla="*/ 387 h 10000"/>
              <a:gd name="connsiteX18" fmla="*/ 5574 w 9905"/>
              <a:gd name="connsiteY18" fmla="*/ 698 h 10000"/>
              <a:gd name="connsiteX19" fmla="*/ 5428 w 9905"/>
              <a:gd name="connsiteY19" fmla="*/ 698 h 10000"/>
              <a:gd name="connsiteX20" fmla="*/ 5001 w 9905"/>
              <a:gd name="connsiteY20" fmla="*/ 853 h 10000"/>
              <a:gd name="connsiteX21" fmla="*/ 4619 w 9905"/>
              <a:gd name="connsiteY21" fmla="*/ 1240 h 10000"/>
              <a:gd name="connsiteX22" fmla="*/ 4476 w 9905"/>
              <a:gd name="connsiteY22" fmla="*/ 1551 h 10000"/>
              <a:gd name="connsiteX23" fmla="*/ 4525 w 9905"/>
              <a:gd name="connsiteY23" fmla="*/ 1938 h 10000"/>
              <a:gd name="connsiteX24" fmla="*/ 4000 w 9905"/>
              <a:gd name="connsiteY24" fmla="*/ 2093 h 10000"/>
              <a:gd name="connsiteX25" fmla="*/ 4050 w 9905"/>
              <a:gd name="connsiteY25" fmla="*/ 2559 h 10000"/>
              <a:gd name="connsiteX26" fmla="*/ 4193 w 9905"/>
              <a:gd name="connsiteY26" fmla="*/ 2791 h 10000"/>
              <a:gd name="connsiteX27" fmla="*/ 4096 w 9905"/>
              <a:gd name="connsiteY27" fmla="*/ 2868 h 10000"/>
              <a:gd name="connsiteX28" fmla="*/ 3954 w 9905"/>
              <a:gd name="connsiteY28" fmla="*/ 2559 h 10000"/>
              <a:gd name="connsiteX29" fmla="*/ 3813 w 9905"/>
              <a:gd name="connsiteY29" fmla="*/ 2480 h 10000"/>
              <a:gd name="connsiteX30" fmla="*/ 3762 w 9905"/>
              <a:gd name="connsiteY30" fmla="*/ 2559 h 10000"/>
              <a:gd name="connsiteX31" fmla="*/ 3666 w 9905"/>
              <a:gd name="connsiteY31" fmla="*/ 2403 h 10000"/>
              <a:gd name="connsiteX32" fmla="*/ 3572 w 9905"/>
              <a:gd name="connsiteY32" fmla="*/ 2248 h 10000"/>
              <a:gd name="connsiteX33" fmla="*/ 3572 w 9905"/>
              <a:gd name="connsiteY33" fmla="*/ 2325 h 10000"/>
              <a:gd name="connsiteX34" fmla="*/ 3623 w 9905"/>
              <a:gd name="connsiteY34" fmla="*/ 2559 h 10000"/>
              <a:gd name="connsiteX35" fmla="*/ 3476 w 9905"/>
              <a:gd name="connsiteY35" fmla="*/ 2946 h 10000"/>
              <a:gd name="connsiteX36" fmla="*/ 3572 w 9905"/>
              <a:gd name="connsiteY36" fmla="*/ 3256 h 10000"/>
              <a:gd name="connsiteX37" fmla="*/ 3522 w 9905"/>
              <a:gd name="connsiteY37" fmla="*/ 3566 h 10000"/>
              <a:gd name="connsiteX38" fmla="*/ 3522 w 9905"/>
              <a:gd name="connsiteY38" fmla="*/ 3799 h 10000"/>
              <a:gd name="connsiteX39" fmla="*/ 3666 w 9905"/>
              <a:gd name="connsiteY39" fmla="*/ 3799 h 10000"/>
              <a:gd name="connsiteX40" fmla="*/ 3572 w 9905"/>
              <a:gd name="connsiteY40" fmla="*/ 3876 h 10000"/>
              <a:gd name="connsiteX41" fmla="*/ 3623 w 9905"/>
              <a:gd name="connsiteY41" fmla="*/ 4263 h 10000"/>
              <a:gd name="connsiteX42" fmla="*/ 3334 w 9905"/>
              <a:gd name="connsiteY42" fmla="*/ 4652 h 10000"/>
              <a:gd name="connsiteX43" fmla="*/ 3284 w 9905"/>
              <a:gd name="connsiteY43" fmla="*/ 4574 h 10000"/>
              <a:gd name="connsiteX44" fmla="*/ 3476 w 9905"/>
              <a:gd name="connsiteY44" fmla="*/ 4186 h 10000"/>
              <a:gd name="connsiteX45" fmla="*/ 3522 w 9905"/>
              <a:gd name="connsiteY45" fmla="*/ 3954 h 10000"/>
              <a:gd name="connsiteX46" fmla="*/ 3423 w 9905"/>
              <a:gd name="connsiteY46" fmla="*/ 3799 h 10000"/>
              <a:gd name="connsiteX47" fmla="*/ 3423 w 9905"/>
              <a:gd name="connsiteY47" fmla="*/ 3023 h 10000"/>
              <a:gd name="connsiteX48" fmla="*/ 3382 w 9905"/>
              <a:gd name="connsiteY48" fmla="*/ 2868 h 10000"/>
              <a:gd name="connsiteX49" fmla="*/ 3423 w 9905"/>
              <a:gd name="connsiteY49" fmla="*/ 2403 h 10000"/>
              <a:gd name="connsiteX50" fmla="*/ 3334 w 9905"/>
              <a:gd name="connsiteY50" fmla="*/ 2325 h 10000"/>
              <a:gd name="connsiteX51" fmla="*/ 3382 w 9905"/>
              <a:gd name="connsiteY51" fmla="*/ 2248 h 10000"/>
              <a:gd name="connsiteX52" fmla="*/ 3334 w 9905"/>
              <a:gd name="connsiteY52" fmla="*/ 2093 h 10000"/>
              <a:gd name="connsiteX53" fmla="*/ 3235 w 9905"/>
              <a:gd name="connsiteY53" fmla="*/ 2170 h 10000"/>
              <a:gd name="connsiteX54" fmla="*/ 2999 w 9905"/>
              <a:gd name="connsiteY54" fmla="*/ 3178 h 10000"/>
              <a:gd name="connsiteX55" fmla="*/ 2999 w 9905"/>
              <a:gd name="connsiteY55" fmla="*/ 3566 h 10000"/>
              <a:gd name="connsiteX56" fmla="*/ 3143 w 9905"/>
              <a:gd name="connsiteY56" fmla="*/ 3876 h 10000"/>
              <a:gd name="connsiteX57" fmla="*/ 3143 w 9905"/>
              <a:gd name="connsiteY57" fmla="*/ 4031 h 10000"/>
              <a:gd name="connsiteX58" fmla="*/ 2999 w 9905"/>
              <a:gd name="connsiteY58" fmla="*/ 3876 h 10000"/>
              <a:gd name="connsiteX59" fmla="*/ 2431 w 9905"/>
              <a:gd name="connsiteY59" fmla="*/ 3256 h 10000"/>
              <a:gd name="connsiteX60" fmla="*/ 2382 w 9905"/>
              <a:gd name="connsiteY60" fmla="*/ 3411 h 10000"/>
              <a:gd name="connsiteX61" fmla="*/ 2572 w 9905"/>
              <a:gd name="connsiteY61" fmla="*/ 3799 h 10000"/>
              <a:gd name="connsiteX62" fmla="*/ 2475 w 9905"/>
              <a:gd name="connsiteY62" fmla="*/ 3876 h 10000"/>
              <a:gd name="connsiteX63" fmla="*/ 2431 w 9905"/>
              <a:gd name="connsiteY63" fmla="*/ 3799 h 10000"/>
              <a:gd name="connsiteX64" fmla="*/ 2144 w 9905"/>
              <a:gd name="connsiteY64" fmla="*/ 3954 h 10000"/>
              <a:gd name="connsiteX65" fmla="*/ 2097 w 9905"/>
              <a:gd name="connsiteY65" fmla="*/ 4109 h 10000"/>
              <a:gd name="connsiteX66" fmla="*/ 2049 w 9905"/>
              <a:gd name="connsiteY66" fmla="*/ 3954 h 10000"/>
              <a:gd name="connsiteX67" fmla="*/ 2049 w 9905"/>
              <a:gd name="connsiteY67" fmla="*/ 3799 h 10000"/>
              <a:gd name="connsiteX68" fmla="*/ 1570 w 9905"/>
              <a:gd name="connsiteY68" fmla="*/ 4263 h 10000"/>
              <a:gd name="connsiteX69" fmla="*/ 1570 w 9905"/>
              <a:gd name="connsiteY69" fmla="*/ 4418 h 10000"/>
              <a:gd name="connsiteX70" fmla="*/ 1478 w 9905"/>
              <a:gd name="connsiteY70" fmla="*/ 4496 h 10000"/>
              <a:gd name="connsiteX71" fmla="*/ 1333 w 9905"/>
              <a:gd name="connsiteY71" fmla="*/ 4341 h 10000"/>
              <a:gd name="connsiteX72" fmla="*/ 1478 w 9905"/>
              <a:gd name="connsiteY72" fmla="*/ 4186 h 10000"/>
              <a:gd name="connsiteX73" fmla="*/ 1429 w 9905"/>
              <a:gd name="connsiteY73" fmla="*/ 3954 h 10000"/>
              <a:gd name="connsiteX74" fmla="*/ 1239 w 9905"/>
              <a:gd name="connsiteY74" fmla="*/ 3876 h 10000"/>
              <a:gd name="connsiteX75" fmla="*/ 1288 w 9905"/>
              <a:gd name="connsiteY75" fmla="*/ 4031 h 10000"/>
              <a:gd name="connsiteX76" fmla="*/ 1288 w 9905"/>
              <a:gd name="connsiteY76" fmla="*/ 4418 h 10000"/>
              <a:gd name="connsiteX77" fmla="*/ 1333 w 9905"/>
              <a:gd name="connsiteY77" fmla="*/ 4574 h 10000"/>
              <a:gd name="connsiteX78" fmla="*/ 1288 w 9905"/>
              <a:gd name="connsiteY78" fmla="*/ 4729 h 10000"/>
              <a:gd name="connsiteX79" fmla="*/ 1142 w 9905"/>
              <a:gd name="connsiteY79" fmla="*/ 4652 h 10000"/>
              <a:gd name="connsiteX80" fmla="*/ 953 w 9905"/>
              <a:gd name="connsiteY80" fmla="*/ 4884 h 10000"/>
              <a:gd name="connsiteX81" fmla="*/ 1045 w 9905"/>
              <a:gd name="connsiteY81" fmla="*/ 5194 h 10000"/>
              <a:gd name="connsiteX82" fmla="*/ 761 w 9905"/>
              <a:gd name="connsiteY82" fmla="*/ 5039 h 10000"/>
              <a:gd name="connsiteX83" fmla="*/ 714 w 9905"/>
              <a:gd name="connsiteY83" fmla="*/ 5116 h 10000"/>
              <a:gd name="connsiteX84" fmla="*/ 810 w 9905"/>
              <a:gd name="connsiteY84" fmla="*/ 5349 h 10000"/>
              <a:gd name="connsiteX85" fmla="*/ 714 w 9905"/>
              <a:gd name="connsiteY85" fmla="*/ 5349 h 10000"/>
              <a:gd name="connsiteX86" fmla="*/ 573 w 9905"/>
              <a:gd name="connsiteY86" fmla="*/ 5194 h 10000"/>
              <a:gd name="connsiteX87" fmla="*/ 573 w 9905"/>
              <a:gd name="connsiteY87" fmla="*/ 4729 h 10000"/>
              <a:gd name="connsiteX88" fmla="*/ 432 w 9905"/>
              <a:gd name="connsiteY88" fmla="*/ 4574 h 10000"/>
              <a:gd name="connsiteX89" fmla="*/ 381 w 9905"/>
              <a:gd name="connsiteY89" fmla="*/ 4418 h 10000"/>
              <a:gd name="connsiteX90" fmla="*/ 476 w 9905"/>
              <a:gd name="connsiteY90" fmla="*/ 4496 h 10000"/>
              <a:gd name="connsiteX91" fmla="*/ 856 w 9905"/>
              <a:gd name="connsiteY91" fmla="*/ 4729 h 10000"/>
              <a:gd name="connsiteX92" fmla="*/ 1092 w 9905"/>
              <a:gd name="connsiteY92" fmla="*/ 4496 h 10000"/>
              <a:gd name="connsiteX93" fmla="*/ 1045 w 9905"/>
              <a:gd name="connsiteY93" fmla="*/ 4263 h 10000"/>
              <a:gd name="connsiteX94" fmla="*/ 761 w 9905"/>
              <a:gd name="connsiteY94" fmla="*/ 3799 h 10000"/>
              <a:gd name="connsiteX95" fmla="*/ 476 w 9905"/>
              <a:gd name="connsiteY95" fmla="*/ 3644 h 10000"/>
              <a:gd name="connsiteX96" fmla="*/ 476 w 9905"/>
              <a:gd name="connsiteY96" fmla="*/ 3566 h 10000"/>
              <a:gd name="connsiteX97" fmla="*/ 381 w 9905"/>
              <a:gd name="connsiteY97" fmla="*/ 3488 h 10000"/>
              <a:gd name="connsiteX98" fmla="*/ 283 w 9905"/>
              <a:gd name="connsiteY98" fmla="*/ 3566 h 10000"/>
              <a:gd name="connsiteX99" fmla="*/ 283 w 9905"/>
              <a:gd name="connsiteY99" fmla="*/ 3644 h 10000"/>
              <a:gd name="connsiteX100" fmla="*/ 238 w 9905"/>
              <a:gd name="connsiteY100" fmla="*/ 3644 h 10000"/>
              <a:gd name="connsiteX101" fmla="*/ 143 w 9905"/>
              <a:gd name="connsiteY101" fmla="*/ 3799 h 10000"/>
              <a:gd name="connsiteX102" fmla="*/ 143 w 9905"/>
              <a:gd name="connsiteY102" fmla="*/ 4031 h 10000"/>
              <a:gd name="connsiteX103" fmla="*/ 238 w 9905"/>
              <a:gd name="connsiteY103" fmla="*/ 4186 h 10000"/>
              <a:gd name="connsiteX104" fmla="*/ 191 w 9905"/>
              <a:gd name="connsiteY104" fmla="*/ 4418 h 10000"/>
              <a:gd name="connsiteX105" fmla="*/ 238 w 9905"/>
              <a:gd name="connsiteY105" fmla="*/ 4807 h 10000"/>
              <a:gd name="connsiteX106" fmla="*/ 191 w 9905"/>
              <a:gd name="connsiteY106" fmla="*/ 5039 h 10000"/>
              <a:gd name="connsiteX107" fmla="*/ 283 w 9905"/>
              <a:gd name="connsiteY107" fmla="*/ 5271 h 10000"/>
              <a:gd name="connsiteX108" fmla="*/ 238 w 9905"/>
              <a:gd name="connsiteY108" fmla="*/ 5426 h 10000"/>
              <a:gd name="connsiteX109" fmla="*/ 332 w 9905"/>
              <a:gd name="connsiteY109" fmla="*/ 5582 h 10000"/>
              <a:gd name="connsiteX110" fmla="*/ 332 w 9905"/>
              <a:gd name="connsiteY110" fmla="*/ 5659 h 10000"/>
              <a:gd name="connsiteX111" fmla="*/ 191 w 9905"/>
              <a:gd name="connsiteY111" fmla="*/ 6047 h 10000"/>
              <a:gd name="connsiteX112" fmla="*/ 44 w 9905"/>
              <a:gd name="connsiteY112" fmla="*/ 6202 h 10000"/>
              <a:gd name="connsiteX113" fmla="*/ 94 w 9905"/>
              <a:gd name="connsiteY113" fmla="*/ 6202 h 10000"/>
              <a:gd name="connsiteX114" fmla="*/ 191 w 9905"/>
              <a:gd name="connsiteY114" fmla="*/ 6356 h 10000"/>
              <a:gd name="connsiteX115" fmla="*/ 94 w 9905"/>
              <a:gd name="connsiteY115" fmla="*/ 6512 h 10000"/>
              <a:gd name="connsiteX116" fmla="*/ 44 w 9905"/>
              <a:gd name="connsiteY116" fmla="*/ 6590 h 10000"/>
              <a:gd name="connsiteX117" fmla="*/ 0 w 9905"/>
              <a:gd name="connsiteY117" fmla="*/ 6590 h 10000"/>
              <a:gd name="connsiteX118" fmla="*/ 44 w 9905"/>
              <a:gd name="connsiteY118" fmla="*/ 6822 h 10000"/>
              <a:gd name="connsiteX119" fmla="*/ 44 w 9905"/>
              <a:gd name="connsiteY119" fmla="*/ 6900 h 10000"/>
              <a:gd name="connsiteX120" fmla="*/ 44 w 9905"/>
              <a:gd name="connsiteY120" fmla="*/ 6977 h 10000"/>
              <a:gd name="connsiteX121" fmla="*/ 44 w 9905"/>
              <a:gd name="connsiteY121" fmla="*/ 7054 h 10000"/>
              <a:gd name="connsiteX122" fmla="*/ 94 w 9905"/>
              <a:gd name="connsiteY122" fmla="*/ 7209 h 10000"/>
              <a:gd name="connsiteX123" fmla="*/ 238 w 9905"/>
              <a:gd name="connsiteY123" fmla="*/ 7287 h 10000"/>
              <a:gd name="connsiteX124" fmla="*/ 283 w 9905"/>
              <a:gd name="connsiteY124" fmla="*/ 7364 h 10000"/>
              <a:gd name="connsiteX125" fmla="*/ 283 w 9905"/>
              <a:gd name="connsiteY125" fmla="*/ 7520 h 10000"/>
              <a:gd name="connsiteX126" fmla="*/ 381 w 9905"/>
              <a:gd name="connsiteY126" fmla="*/ 7752 h 10000"/>
              <a:gd name="connsiteX127" fmla="*/ 432 w 9905"/>
              <a:gd name="connsiteY127" fmla="*/ 7752 h 10000"/>
              <a:gd name="connsiteX128" fmla="*/ 381 w 9905"/>
              <a:gd name="connsiteY128" fmla="*/ 7907 h 10000"/>
              <a:gd name="connsiteX129" fmla="*/ 332 w 9905"/>
              <a:gd name="connsiteY129" fmla="*/ 7830 h 10000"/>
              <a:gd name="connsiteX130" fmla="*/ 332 w 9905"/>
              <a:gd name="connsiteY130" fmla="*/ 7907 h 10000"/>
              <a:gd name="connsiteX131" fmla="*/ 381 w 9905"/>
              <a:gd name="connsiteY131" fmla="*/ 8062 h 10000"/>
              <a:gd name="connsiteX132" fmla="*/ 526 w 9905"/>
              <a:gd name="connsiteY132" fmla="*/ 8062 h 10000"/>
              <a:gd name="connsiteX133" fmla="*/ 573 w 9905"/>
              <a:gd name="connsiteY133" fmla="*/ 8140 h 10000"/>
              <a:gd name="connsiteX134" fmla="*/ 526 w 9905"/>
              <a:gd name="connsiteY134" fmla="*/ 8140 h 10000"/>
              <a:gd name="connsiteX135" fmla="*/ 573 w 9905"/>
              <a:gd name="connsiteY135" fmla="*/ 8217 h 10000"/>
              <a:gd name="connsiteX136" fmla="*/ 618 w 9905"/>
              <a:gd name="connsiteY136" fmla="*/ 8217 h 10000"/>
              <a:gd name="connsiteX137" fmla="*/ 666 w 9905"/>
              <a:gd name="connsiteY137" fmla="*/ 8372 h 10000"/>
              <a:gd name="connsiteX138" fmla="*/ 714 w 9905"/>
              <a:gd name="connsiteY138" fmla="*/ 8449 h 10000"/>
              <a:gd name="connsiteX139" fmla="*/ 761 w 9905"/>
              <a:gd name="connsiteY139" fmla="*/ 8372 h 10000"/>
              <a:gd name="connsiteX140" fmla="*/ 1001 w 9905"/>
              <a:gd name="connsiteY140" fmla="*/ 8605 h 10000"/>
              <a:gd name="connsiteX141" fmla="*/ 953 w 9905"/>
              <a:gd name="connsiteY141" fmla="*/ 8915 h 10000"/>
              <a:gd name="connsiteX142" fmla="*/ 904 w 9905"/>
              <a:gd name="connsiteY142" fmla="*/ 8838 h 10000"/>
              <a:gd name="connsiteX143" fmla="*/ 856 w 9905"/>
              <a:gd name="connsiteY143" fmla="*/ 8915 h 10000"/>
              <a:gd name="connsiteX144" fmla="*/ 856 w 9905"/>
              <a:gd name="connsiteY144" fmla="*/ 9070 h 10000"/>
              <a:gd name="connsiteX145" fmla="*/ 904 w 9905"/>
              <a:gd name="connsiteY145" fmla="*/ 8993 h 10000"/>
              <a:gd name="connsiteX146" fmla="*/ 953 w 9905"/>
              <a:gd name="connsiteY146" fmla="*/ 9070 h 10000"/>
              <a:gd name="connsiteX147" fmla="*/ 810 w 9905"/>
              <a:gd name="connsiteY147" fmla="*/ 9147 h 10000"/>
              <a:gd name="connsiteX148" fmla="*/ 856 w 9905"/>
              <a:gd name="connsiteY148" fmla="*/ 9225 h 10000"/>
              <a:gd name="connsiteX149" fmla="*/ 761 w 9905"/>
              <a:gd name="connsiteY149" fmla="*/ 9380 h 10000"/>
              <a:gd name="connsiteX150" fmla="*/ 714 w 9905"/>
              <a:gd name="connsiteY150" fmla="*/ 9380 h 10000"/>
              <a:gd name="connsiteX151" fmla="*/ 761 w 9905"/>
              <a:gd name="connsiteY151" fmla="*/ 9380 h 10000"/>
              <a:gd name="connsiteX152" fmla="*/ 953 w 9905"/>
              <a:gd name="connsiteY152" fmla="*/ 9691 h 10000"/>
              <a:gd name="connsiteX153" fmla="*/ 1192 w 9905"/>
              <a:gd name="connsiteY153" fmla="*/ 9691 h 10000"/>
              <a:gd name="connsiteX154" fmla="*/ 1288 w 9905"/>
              <a:gd name="connsiteY154" fmla="*/ 9768 h 10000"/>
              <a:gd name="connsiteX155" fmla="*/ 1381 w 9905"/>
              <a:gd name="connsiteY155" fmla="*/ 9768 h 10000"/>
              <a:gd name="connsiteX156" fmla="*/ 1478 w 9905"/>
              <a:gd name="connsiteY156" fmla="*/ 9923 h 10000"/>
              <a:gd name="connsiteX157" fmla="*/ 1524 w 9905"/>
              <a:gd name="connsiteY157" fmla="*/ 10000 h 10000"/>
              <a:gd name="connsiteX158" fmla="*/ 1570 w 9905"/>
              <a:gd name="connsiteY158" fmla="*/ 10000 h 10000"/>
              <a:gd name="connsiteX159" fmla="*/ 1621 w 9905"/>
              <a:gd name="connsiteY159" fmla="*/ 9923 h 10000"/>
              <a:gd name="connsiteX160" fmla="*/ 1524 w 9905"/>
              <a:gd name="connsiteY160" fmla="*/ 9768 h 10000"/>
              <a:gd name="connsiteX161" fmla="*/ 1524 w 9905"/>
              <a:gd name="connsiteY161" fmla="*/ 9613 h 10000"/>
              <a:gd name="connsiteX162" fmla="*/ 1478 w 9905"/>
              <a:gd name="connsiteY162" fmla="*/ 9457 h 10000"/>
              <a:gd name="connsiteX163" fmla="*/ 1570 w 9905"/>
              <a:gd name="connsiteY163" fmla="*/ 9225 h 10000"/>
              <a:gd name="connsiteX164" fmla="*/ 1621 w 9905"/>
              <a:gd name="connsiteY164" fmla="*/ 9302 h 10000"/>
              <a:gd name="connsiteX165" fmla="*/ 1667 w 9905"/>
              <a:gd name="connsiteY165" fmla="*/ 9225 h 10000"/>
              <a:gd name="connsiteX166" fmla="*/ 1667 w 9905"/>
              <a:gd name="connsiteY166" fmla="*/ 9147 h 10000"/>
              <a:gd name="connsiteX167" fmla="*/ 1621 w 9905"/>
              <a:gd name="connsiteY167" fmla="*/ 9147 h 10000"/>
              <a:gd name="connsiteX168" fmla="*/ 1667 w 9905"/>
              <a:gd name="connsiteY168" fmla="*/ 9070 h 10000"/>
              <a:gd name="connsiteX169" fmla="*/ 1621 w 9905"/>
              <a:gd name="connsiteY169" fmla="*/ 8915 h 10000"/>
              <a:gd name="connsiteX170" fmla="*/ 1524 w 9905"/>
              <a:gd name="connsiteY170" fmla="*/ 8915 h 10000"/>
              <a:gd name="connsiteX171" fmla="*/ 1478 w 9905"/>
              <a:gd name="connsiteY171" fmla="*/ 8760 h 10000"/>
              <a:gd name="connsiteX172" fmla="*/ 1524 w 9905"/>
              <a:gd name="connsiteY172" fmla="*/ 8372 h 10000"/>
              <a:gd name="connsiteX173" fmla="*/ 1621 w 9905"/>
              <a:gd name="connsiteY173" fmla="*/ 8528 h 10000"/>
              <a:gd name="connsiteX174" fmla="*/ 1667 w 9905"/>
              <a:gd name="connsiteY174" fmla="*/ 8528 h 10000"/>
              <a:gd name="connsiteX175" fmla="*/ 1621 w 9905"/>
              <a:gd name="connsiteY175" fmla="*/ 8372 h 10000"/>
              <a:gd name="connsiteX176" fmla="*/ 1762 w 9905"/>
              <a:gd name="connsiteY176" fmla="*/ 8140 h 10000"/>
              <a:gd name="connsiteX177" fmla="*/ 1860 w 9905"/>
              <a:gd name="connsiteY177" fmla="*/ 8217 h 10000"/>
              <a:gd name="connsiteX178" fmla="*/ 1904 w 9905"/>
              <a:gd name="connsiteY178" fmla="*/ 8140 h 10000"/>
              <a:gd name="connsiteX179" fmla="*/ 2000 w 9905"/>
              <a:gd name="connsiteY179" fmla="*/ 8217 h 10000"/>
              <a:gd name="connsiteX180" fmla="*/ 2144 w 9905"/>
              <a:gd name="connsiteY180" fmla="*/ 8372 h 10000"/>
              <a:gd name="connsiteX181" fmla="*/ 2238 w 9905"/>
              <a:gd name="connsiteY181" fmla="*/ 8295 h 10000"/>
              <a:gd name="connsiteX182" fmla="*/ 2335 w 9905"/>
              <a:gd name="connsiteY182" fmla="*/ 8295 h 10000"/>
              <a:gd name="connsiteX183" fmla="*/ 2382 w 9905"/>
              <a:gd name="connsiteY183" fmla="*/ 8372 h 10000"/>
              <a:gd name="connsiteX184" fmla="*/ 2572 w 9905"/>
              <a:gd name="connsiteY184" fmla="*/ 8372 h 10000"/>
              <a:gd name="connsiteX185" fmla="*/ 2618 w 9905"/>
              <a:gd name="connsiteY185" fmla="*/ 8217 h 10000"/>
              <a:gd name="connsiteX186" fmla="*/ 2475 w 9905"/>
              <a:gd name="connsiteY186" fmla="*/ 8140 h 10000"/>
              <a:gd name="connsiteX187" fmla="*/ 2572 w 9905"/>
              <a:gd name="connsiteY187" fmla="*/ 8062 h 10000"/>
              <a:gd name="connsiteX188" fmla="*/ 2522 w 9905"/>
              <a:gd name="connsiteY188" fmla="*/ 7985 h 10000"/>
              <a:gd name="connsiteX189" fmla="*/ 2572 w 9905"/>
              <a:gd name="connsiteY189" fmla="*/ 7907 h 10000"/>
              <a:gd name="connsiteX190" fmla="*/ 2572 w 9905"/>
              <a:gd name="connsiteY190" fmla="*/ 7675 h 10000"/>
              <a:gd name="connsiteX191" fmla="*/ 2665 w 9905"/>
              <a:gd name="connsiteY191" fmla="*/ 7752 h 10000"/>
              <a:gd name="connsiteX192" fmla="*/ 3096 w 9905"/>
              <a:gd name="connsiteY192" fmla="*/ 7520 h 10000"/>
              <a:gd name="connsiteX193" fmla="*/ 3096 w 9905"/>
              <a:gd name="connsiteY193" fmla="*/ 7442 h 10000"/>
              <a:gd name="connsiteX194" fmla="*/ 3143 w 9905"/>
              <a:gd name="connsiteY194" fmla="*/ 7442 h 10000"/>
              <a:gd name="connsiteX195" fmla="*/ 3284 w 9905"/>
              <a:gd name="connsiteY195" fmla="*/ 7442 h 10000"/>
              <a:gd name="connsiteX196" fmla="*/ 3334 w 9905"/>
              <a:gd name="connsiteY196" fmla="*/ 7598 h 10000"/>
              <a:gd name="connsiteX197" fmla="*/ 3334 w 9905"/>
              <a:gd name="connsiteY197" fmla="*/ 7675 h 10000"/>
              <a:gd name="connsiteX198" fmla="*/ 3382 w 9905"/>
              <a:gd name="connsiteY198" fmla="*/ 7675 h 10000"/>
              <a:gd name="connsiteX199" fmla="*/ 3476 w 9905"/>
              <a:gd name="connsiteY199" fmla="*/ 7752 h 10000"/>
              <a:gd name="connsiteX200" fmla="*/ 3476 w 9905"/>
              <a:gd name="connsiteY200" fmla="*/ 7830 h 10000"/>
              <a:gd name="connsiteX201" fmla="*/ 3572 w 9905"/>
              <a:gd name="connsiteY201" fmla="*/ 7830 h 10000"/>
              <a:gd name="connsiteX202" fmla="*/ 3666 w 9905"/>
              <a:gd name="connsiteY202" fmla="*/ 7675 h 10000"/>
              <a:gd name="connsiteX203" fmla="*/ 3762 w 9905"/>
              <a:gd name="connsiteY203" fmla="*/ 7598 h 10000"/>
              <a:gd name="connsiteX204" fmla="*/ 3813 w 9905"/>
              <a:gd name="connsiteY204" fmla="*/ 7830 h 10000"/>
              <a:gd name="connsiteX205" fmla="*/ 4000 w 9905"/>
              <a:gd name="connsiteY205" fmla="*/ 8372 h 10000"/>
              <a:gd name="connsiteX206" fmla="*/ 4050 w 9905"/>
              <a:gd name="connsiteY206" fmla="*/ 8217 h 10000"/>
              <a:gd name="connsiteX207" fmla="*/ 4096 w 9905"/>
              <a:gd name="connsiteY207" fmla="*/ 8372 h 10000"/>
              <a:gd name="connsiteX208" fmla="*/ 4238 w 9905"/>
              <a:gd name="connsiteY208" fmla="*/ 8295 h 10000"/>
              <a:gd name="connsiteX209" fmla="*/ 4384 w 9905"/>
              <a:gd name="connsiteY209" fmla="*/ 8528 h 10000"/>
              <a:gd name="connsiteX210" fmla="*/ 4476 w 9905"/>
              <a:gd name="connsiteY210" fmla="*/ 8605 h 10000"/>
              <a:gd name="connsiteX211" fmla="*/ 4476 w 9905"/>
              <a:gd name="connsiteY211" fmla="*/ 8528 h 10000"/>
              <a:gd name="connsiteX212" fmla="*/ 4525 w 9905"/>
              <a:gd name="connsiteY212" fmla="*/ 8683 h 10000"/>
              <a:gd name="connsiteX213" fmla="*/ 4476 w 9905"/>
              <a:gd name="connsiteY213" fmla="*/ 8760 h 10000"/>
              <a:gd name="connsiteX214" fmla="*/ 4574 w 9905"/>
              <a:gd name="connsiteY214" fmla="*/ 8683 h 10000"/>
              <a:gd name="connsiteX215" fmla="*/ 4619 w 9905"/>
              <a:gd name="connsiteY215" fmla="*/ 8605 h 10000"/>
              <a:gd name="connsiteX216" fmla="*/ 4857 w 9905"/>
              <a:gd name="connsiteY216" fmla="*/ 8372 h 10000"/>
              <a:gd name="connsiteX217" fmla="*/ 5048 w 9905"/>
              <a:gd name="connsiteY217" fmla="*/ 8449 h 10000"/>
              <a:gd name="connsiteX218" fmla="*/ 5143 w 9905"/>
              <a:gd name="connsiteY218" fmla="*/ 8528 h 10000"/>
              <a:gd name="connsiteX219" fmla="*/ 5332 w 9905"/>
              <a:gd name="connsiteY219" fmla="*/ 8528 h 10000"/>
              <a:gd name="connsiteX220" fmla="*/ 5332 w 9905"/>
              <a:gd name="connsiteY220" fmla="*/ 8372 h 10000"/>
              <a:gd name="connsiteX221" fmla="*/ 5332 w 9905"/>
              <a:gd name="connsiteY221" fmla="*/ 8217 h 10000"/>
              <a:gd name="connsiteX222" fmla="*/ 5428 w 9905"/>
              <a:gd name="connsiteY222" fmla="*/ 8140 h 10000"/>
              <a:gd name="connsiteX223" fmla="*/ 5618 w 9905"/>
              <a:gd name="connsiteY223" fmla="*/ 8217 h 10000"/>
              <a:gd name="connsiteX224" fmla="*/ 5714 w 9905"/>
              <a:gd name="connsiteY224" fmla="*/ 8449 h 10000"/>
              <a:gd name="connsiteX225" fmla="*/ 5763 w 9905"/>
              <a:gd name="connsiteY225" fmla="*/ 8449 h 10000"/>
              <a:gd name="connsiteX226" fmla="*/ 5858 w 9905"/>
              <a:gd name="connsiteY226" fmla="*/ 8372 h 10000"/>
              <a:gd name="connsiteX227" fmla="*/ 6147 w 9905"/>
              <a:gd name="connsiteY227" fmla="*/ 8605 h 10000"/>
              <a:gd name="connsiteX228" fmla="*/ 6288 w 9905"/>
              <a:gd name="connsiteY228" fmla="*/ 8683 h 10000"/>
              <a:gd name="connsiteX229" fmla="*/ 6478 w 9905"/>
              <a:gd name="connsiteY229" fmla="*/ 8605 h 10000"/>
              <a:gd name="connsiteX230" fmla="*/ 6572 w 9905"/>
              <a:gd name="connsiteY230" fmla="*/ 8449 h 10000"/>
              <a:gd name="connsiteX231" fmla="*/ 6716 w 9905"/>
              <a:gd name="connsiteY231" fmla="*/ 8528 h 10000"/>
              <a:gd name="connsiteX232" fmla="*/ 6810 w 9905"/>
              <a:gd name="connsiteY232" fmla="*/ 8605 h 10000"/>
              <a:gd name="connsiteX233" fmla="*/ 8430 w 9905"/>
              <a:gd name="connsiteY233" fmla="*/ 7675 h 10000"/>
              <a:gd name="connsiteX234" fmla="*/ 8335 w 9905"/>
              <a:gd name="connsiteY234" fmla="*/ 7675 h 10000"/>
              <a:gd name="connsiteX235" fmla="*/ 8288 w 9905"/>
              <a:gd name="connsiteY235" fmla="*/ 7675 h 10000"/>
              <a:gd name="connsiteX236" fmla="*/ 8239 w 9905"/>
              <a:gd name="connsiteY236" fmla="*/ 7598 h 10000"/>
              <a:gd name="connsiteX237" fmla="*/ 8146 w 9905"/>
              <a:gd name="connsiteY237" fmla="*/ 7598 h 10000"/>
              <a:gd name="connsiteX238" fmla="*/ 8146 w 9905"/>
              <a:gd name="connsiteY238" fmla="*/ 7520 h 10000"/>
              <a:gd name="connsiteX239" fmla="*/ 8288 w 9905"/>
              <a:gd name="connsiteY239" fmla="*/ 7287 h 10000"/>
              <a:gd name="connsiteX240" fmla="*/ 8721 w 9905"/>
              <a:gd name="connsiteY240" fmla="*/ 6590 h 10000"/>
              <a:gd name="connsiteX241" fmla="*/ 8907 w 9905"/>
              <a:gd name="connsiteY241" fmla="*/ 6512 h 10000"/>
              <a:gd name="connsiteX242" fmla="*/ 8953 w 9905"/>
              <a:gd name="connsiteY242" fmla="*/ 6590 h 10000"/>
              <a:gd name="connsiteX243" fmla="*/ 9003 w 9905"/>
              <a:gd name="connsiteY243" fmla="*/ 6512 h 10000"/>
              <a:gd name="connsiteX244" fmla="*/ 9142 w 9905"/>
              <a:gd name="connsiteY244" fmla="*/ 6590 h 10000"/>
              <a:gd name="connsiteX245" fmla="*/ 9196 w 9905"/>
              <a:gd name="connsiteY245" fmla="*/ 6434 h 10000"/>
              <a:gd name="connsiteX246" fmla="*/ 9335 w 9905"/>
              <a:gd name="connsiteY246" fmla="*/ 6512 h 10000"/>
              <a:gd name="connsiteX247" fmla="*/ 9381 w 9905"/>
              <a:gd name="connsiteY247" fmla="*/ 6512 h 10000"/>
              <a:gd name="connsiteX248" fmla="*/ 9335 w 9905"/>
              <a:gd name="connsiteY248" fmla="*/ 6590 h 10000"/>
              <a:gd name="connsiteX249" fmla="*/ 9335 w 9905"/>
              <a:gd name="connsiteY249" fmla="*/ 6667 h 10000"/>
              <a:gd name="connsiteX250" fmla="*/ 9618 w 9905"/>
              <a:gd name="connsiteY250" fmla="*/ 6590 h 10000"/>
              <a:gd name="connsiteX251" fmla="*/ 9572 w 9905"/>
              <a:gd name="connsiteY251" fmla="*/ 6512 h 10000"/>
              <a:gd name="connsiteX252" fmla="*/ 9766 w 9905"/>
              <a:gd name="connsiteY252" fmla="*/ 5969 h 10000"/>
              <a:gd name="connsiteX253" fmla="*/ 9905 w 9905"/>
              <a:gd name="connsiteY253" fmla="*/ 3101 h 10000"/>
              <a:gd name="connsiteX254" fmla="*/ 9714 w 9905"/>
              <a:gd name="connsiteY254" fmla="*/ 3023 h 10000"/>
              <a:gd name="connsiteX255" fmla="*/ 9432 w 9905"/>
              <a:gd name="connsiteY255" fmla="*/ 3178 h 10000"/>
              <a:gd name="connsiteX256" fmla="*/ 9381 w 9905"/>
              <a:gd name="connsiteY256" fmla="*/ 2946 h 10000"/>
              <a:gd name="connsiteX257" fmla="*/ 9287 w 9905"/>
              <a:gd name="connsiteY257" fmla="*/ 2946 h 10000"/>
              <a:gd name="connsiteX258" fmla="*/ 9239 w 9905"/>
              <a:gd name="connsiteY258" fmla="*/ 2868 h 10000"/>
              <a:gd name="connsiteX259" fmla="*/ 9239 w 9905"/>
              <a:gd name="connsiteY259" fmla="*/ 2636 h 10000"/>
              <a:gd name="connsiteX260" fmla="*/ 8907 w 9905"/>
              <a:gd name="connsiteY260" fmla="*/ 2480 h 10000"/>
              <a:gd name="connsiteX261" fmla="*/ 8526 w 9905"/>
              <a:gd name="connsiteY261" fmla="*/ 2325 h 10000"/>
              <a:gd name="connsiteX262" fmla="*/ 8430 w 9905"/>
              <a:gd name="connsiteY262" fmla="*/ 2636 h 10000"/>
              <a:gd name="connsiteX263" fmla="*/ 8526 w 9905"/>
              <a:gd name="connsiteY263" fmla="*/ 2868 h 10000"/>
              <a:gd name="connsiteX264" fmla="*/ 8239 w 9905"/>
              <a:gd name="connsiteY264" fmla="*/ 2868 h 10000"/>
              <a:gd name="connsiteX265" fmla="*/ 8191 w 9905"/>
              <a:gd name="connsiteY265" fmla="*/ 2868 h 10000"/>
              <a:gd name="connsiteX266" fmla="*/ 8095 w 9905"/>
              <a:gd name="connsiteY266" fmla="*/ 2946 h 10000"/>
              <a:gd name="connsiteX267" fmla="*/ 7953 w 9905"/>
              <a:gd name="connsiteY267" fmla="*/ 2714 h 10000"/>
              <a:gd name="connsiteX268" fmla="*/ 7856 w 9905"/>
              <a:gd name="connsiteY268" fmla="*/ 3178 h 10000"/>
              <a:gd name="connsiteX269" fmla="*/ 7766 w 9905"/>
              <a:gd name="connsiteY269" fmla="*/ 3101 h 10000"/>
              <a:gd name="connsiteX270" fmla="*/ 7667 w 9905"/>
              <a:gd name="connsiteY270" fmla="*/ 2791 h 10000"/>
              <a:gd name="connsiteX271" fmla="*/ 7717 w 9905"/>
              <a:gd name="connsiteY271" fmla="*/ 2403 h 10000"/>
              <a:gd name="connsiteX272" fmla="*/ 7620 w 9905"/>
              <a:gd name="connsiteY272" fmla="*/ 2170 h 10000"/>
              <a:gd name="connsiteX273" fmla="*/ 7335 w 9905"/>
              <a:gd name="connsiteY273" fmla="*/ 2016 h 10000"/>
              <a:gd name="connsiteX274" fmla="*/ 7237 w 9905"/>
              <a:gd name="connsiteY274" fmla="*/ 2016 h 10000"/>
              <a:gd name="connsiteX275" fmla="*/ 7191 w 9905"/>
              <a:gd name="connsiteY275" fmla="*/ 2170 h 10000"/>
              <a:gd name="connsiteX276" fmla="*/ 7237 w 9905"/>
              <a:gd name="connsiteY276" fmla="*/ 2325 h 10000"/>
              <a:gd name="connsiteX277" fmla="*/ 6861 w 9905"/>
              <a:gd name="connsiteY277" fmla="*/ 2248 h 10000"/>
              <a:gd name="connsiteX278" fmla="*/ 6906 w 9905"/>
              <a:gd name="connsiteY278" fmla="*/ 2016 h 10000"/>
              <a:gd name="connsiteX279" fmla="*/ 6669 w 9905"/>
              <a:gd name="connsiteY279" fmla="*/ 1938 h 10000"/>
              <a:gd name="connsiteX280" fmla="*/ 6525 w 9905"/>
              <a:gd name="connsiteY280" fmla="*/ 2093 h 10000"/>
              <a:gd name="connsiteX281" fmla="*/ 6246 w 9905"/>
              <a:gd name="connsiteY281" fmla="*/ 1861 h 10000"/>
              <a:gd name="connsiteX0" fmla="*/ 6306 w 9869"/>
              <a:gd name="connsiteY0" fmla="*/ 1861 h 10000"/>
              <a:gd name="connsiteX1" fmla="*/ 6306 w 9869"/>
              <a:gd name="connsiteY1" fmla="*/ 1861 h 10000"/>
              <a:gd name="connsiteX2" fmla="*/ 6250 w 9869"/>
              <a:gd name="connsiteY2" fmla="*/ 1938 h 10000"/>
              <a:gd name="connsiteX3" fmla="*/ 6306 w 9869"/>
              <a:gd name="connsiteY3" fmla="*/ 2093 h 10000"/>
              <a:gd name="connsiteX4" fmla="*/ 6105 w 9869"/>
              <a:gd name="connsiteY4" fmla="*/ 2248 h 10000"/>
              <a:gd name="connsiteX5" fmla="*/ 6056 w 9869"/>
              <a:gd name="connsiteY5" fmla="*/ 2248 h 10000"/>
              <a:gd name="connsiteX6" fmla="*/ 6105 w 9869"/>
              <a:gd name="connsiteY6" fmla="*/ 2016 h 10000"/>
              <a:gd name="connsiteX7" fmla="*/ 6588 w 9869"/>
              <a:gd name="connsiteY7" fmla="*/ 1318 h 10000"/>
              <a:gd name="connsiteX8" fmla="*/ 6588 w 9869"/>
              <a:gd name="connsiteY8" fmla="*/ 853 h 10000"/>
              <a:gd name="connsiteX9" fmla="*/ 6397 w 9869"/>
              <a:gd name="connsiteY9" fmla="*/ 543 h 10000"/>
              <a:gd name="connsiteX10" fmla="*/ 6154 w 9869"/>
              <a:gd name="connsiteY10" fmla="*/ 543 h 10000"/>
              <a:gd name="connsiteX11" fmla="*/ 6154 w 9869"/>
              <a:gd name="connsiteY11" fmla="*/ 698 h 10000"/>
              <a:gd name="connsiteX12" fmla="*/ 6009 w 9869"/>
              <a:gd name="connsiteY12" fmla="*/ 698 h 10000"/>
              <a:gd name="connsiteX13" fmla="*/ 6105 w 9869"/>
              <a:gd name="connsiteY13" fmla="*/ 387 h 10000"/>
              <a:gd name="connsiteX14" fmla="*/ 5868 w 9869"/>
              <a:gd name="connsiteY14" fmla="*/ 310 h 10000"/>
              <a:gd name="connsiteX15" fmla="*/ 6009 w 9869"/>
              <a:gd name="connsiteY15" fmla="*/ 155 h 10000"/>
              <a:gd name="connsiteX16" fmla="*/ 5868 w 9869"/>
              <a:gd name="connsiteY16" fmla="*/ 0 h 10000"/>
              <a:gd name="connsiteX17" fmla="*/ 5627 w 9869"/>
              <a:gd name="connsiteY17" fmla="*/ 387 h 10000"/>
              <a:gd name="connsiteX18" fmla="*/ 5627 w 9869"/>
              <a:gd name="connsiteY18" fmla="*/ 698 h 10000"/>
              <a:gd name="connsiteX19" fmla="*/ 5480 w 9869"/>
              <a:gd name="connsiteY19" fmla="*/ 698 h 10000"/>
              <a:gd name="connsiteX20" fmla="*/ 5049 w 9869"/>
              <a:gd name="connsiteY20" fmla="*/ 853 h 10000"/>
              <a:gd name="connsiteX21" fmla="*/ 4663 w 9869"/>
              <a:gd name="connsiteY21" fmla="*/ 1240 h 10000"/>
              <a:gd name="connsiteX22" fmla="*/ 4519 w 9869"/>
              <a:gd name="connsiteY22" fmla="*/ 1551 h 10000"/>
              <a:gd name="connsiteX23" fmla="*/ 4568 w 9869"/>
              <a:gd name="connsiteY23" fmla="*/ 1938 h 10000"/>
              <a:gd name="connsiteX24" fmla="*/ 4038 w 9869"/>
              <a:gd name="connsiteY24" fmla="*/ 2093 h 10000"/>
              <a:gd name="connsiteX25" fmla="*/ 4089 w 9869"/>
              <a:gd name="connsiteY25" fmla="*/ 2559 h 10000"/>
              <a:gd name="connsiteX26" fmla="*/ 4233 w 9869"/>
              <a:gd name="connsiteY26" fmla="*/ 2791 h 10000"/>
              <a:gd name="connsiteX27" fmla="*/ 4135 w 9869"/>
              <a:gd name="connsiteY27" fmla="*/ 2868 h 10000"/>
              <a:gd name="connsiteX28" fmla="*/ 3992 w 9869"/>
              <a:gd name="connsiteY28" fmla="*/ 2559 h 10000"/>
              <a:gd name="connsiteX29" fmla="*/ 3850 w 9869"/>
              <a:gd name="connsiteY29" fmla="*/ 2480 h 10000"/>
              <a:gd name="connsiteX30" fmla="*/ 3798 w 9869"/>
              <a:gd name="connsiteY30" fmla="*/ 2559 h 10000"/>
              <a:gd name="connsiteX31" fmla="*/ 3701 w 9869"/>
              <a:gd name="connsiteY31" fmla="*/ 2403 h 10000"/>
              <a:gd name="connsiteX32" fmla="*/ 3606 w 9869"/>
              <a:gd name="connsiteY32" fmla="*/ 2248 h 10000"/>
              <a:gd name="connsiteX33" fmla="*/ 3606 w 9869"/>
              <a:gd name="connsiteY33" fmla="*/ 2325 h 10000"/>
              <a:gd name="connsiteX34" fmla="*/ 3658 w 9869"/>
              <a:gd name="connsiteY34" fmla="*/ 2559 h 10000"/>
              <a:gd name="connsiteX35" fmla="*/ 3509 w 9869"/>
              <a:gd name="connsiteY35" fmla="*/ 2946 h 10000"/>
              <a:gd name="connsiteX36" fmla="*/ 3606 w 9869"/>
              <a:gd name="connsiteY36" fmla="*/ 3256 h 10000"/>
              <a:gd name="connsiteX37" fmla="*/ 3556 w 9869"/>
              <a:gd name="connsiteY37" fmla="*/ 3566 h 10000"/>
              <a:gd name="connsiteX38" fmla="*/ 3556 w 9869"/>
              <a:gd name="connsiteY38" fmla="*/ 3799 h 10000"/>
              <a:gd name="connsiteX39" fmla="*/ 3701 w 9869"/>
              <a:gd name="connsiteY39" fmla="*/ 3799 h 10000"/>
              <a:gd name="connsiteX40" fmla="*/ 3606 w 9869"/>
              <a:gd name="connsiteY40" fmla="*/ 3876 h 10000"/>
              <a:gd name="connsiteX41" fmla="*/ 3658 w 9869"/>
              <a:gd name="connsiteY41" fmla="*/ 4263 h 10000"/>
              <a:gd name="connsiteX42" fmla="*/ 3366 w 9869"/>
              <a:gd name="connsiteY42" fmla="*/ 4652 h 10000"/>
              <a:gd name="connsiteX43" fmla="*/ 3315 w 9869"/>
              <a:gd name="connsiteY43" fmla="*/ 4574 h 10000"/>
              <a:gd name="connsiteX44" fmla="*/ 3509 w 9869"/>
              <a:gd name="connsiteY44" fmla="*/ 4186 h 10000"/>
              <a:gd name="connsiteX45" fmla="*/ 3556 w 9869"/>
              <a:gd name="connsiteY45" fmla="*/ 3954 h 10000"/>
              <a:gd name="connsiteX46" fmla="*/ 3456 w 9869"/>
              <a:gd name="connsiteY46" fmla="*/ 3799 h 10000"/>
              <a:gd name="connsiteX47" fmla="*/ 3456 w 9869"/>
              <a:gd name="connsiteY47" fmla="*/ 3023 h 10000"/>
              <a:gd name="connsiteX48" fmla="*/ 3414 w 9869"/>
              <a:gd name="connsiteY48" fmla="*/ 2868 h 10000"/>
              <a:gd name="connsiteX49" fmla="*/ 3456 w 9869"/>
              <a:gd name="connsiteY49" fmla="*/ 2403 h 10000"/>
              <a:gd name="connsiteX50" fmla="*/ 3366 w 9869"/>
              <a:gd name="connsiteY50" fmla="*/ 2325 h 10000"/>
              <a:gd name="connsiteX51" fmla="*/ 3414 w 9869"/>
              <a:gd name="connsiteY51" fmla="*/ 2248 h 10000"/>
              <a:gd name="connsiteX52" fmla="*/ 3366 w 9869"/>
              <a:gd name="connsiteY52" fmla="*/ 2093 h 10000"/>
              <a:gd name="connsiteX53" fmla="*/ 3266 w 9869"/>
              <a:gd name="connsiteY53" fmla="*/ 2170 h 10000"/>
              <a:gd name="connsiteX54" fmla="*/ 3028 w 9869"/>
              <a:gd name="connsiteY54" fmla="*/ 3178 h 10000"/>
              <a:gd name="connsiteX55" fmla="*/ 3028 w 9869"/>
              <a:gd name="connsiteY55" fmla="*/ 3566 h 10000"/>
              <a:gd name="connsiteX56" fmla="*/ 3173 w 9869"/>
              <a:gd name="connsiteY56" fmla="*/ 3876 h 10000"/>
              <a:gd name="connsiteX57" fmla="*/ 3173 w 9869"/>
              <a:gd name="connsiteY57" fmla="*/ 4031 h 10000"/>
              <a:gd name="connsiteX58" fmla="*/ 3028 w 9869"/>
              <a:gd name="connsiteY58" fmla="*/ 3876 h 10000"/>
              <a:gd name="connsiteX59" fmla="*/ 2454 w 9869"/>
              <a:gd name="connsiteY59" fmla="*/ 3256 h 10000"/>
              <a:gd name="connsiteX60" fmla="*/ 2405 w 9869"/>
              <a:gd name="connsiteY60" fmla="*/ 3411 h 10000"/>
              <a:gd name="connsiteX61" fmla="*/ 2597 w 9869"/>
              <a:gd name="connsiteY61" fmla="*/ 3799 h 10000"/>
              <a:gd name="connsiteX62" fmla="*/ 2499 w 9869"/>
              <a:gd name="connsiteY62" fmla="*/ 3876 h 10000"/>
              <a:gd name="connsiteX63" fmla="*/ 2454 w 9869"/>
              <a:gd name="connsiteY63" fmla="*/ 3799 h 10000"/>
              <a:gd name="connsiteX64" fmla="*/ 2165 w 9869"/>
              <a:gd name="connsiteY64" fmla="*/ 3954 h 10000"/>
              <a:gd name="connsiteX65" fmla="*/ 2117 w 9869"/>
              <a:gd name="connsiteY65" fmla="*/ 4109 h 10000"/>
              <a:gd name="connsiteX66" fmla="*/ 2069 w 9869"/>
              <a:gd name="connsiteY66" fmla="*/ 3954 h 10000"/>
              <a:gd name="connsiteX67" fmla="*/ 2069 w 9869"/>
              <a:gd name="connsiteY67" fmla="*/ 3799 h 10000"/>
              <a:gd name="connsiteX68" fmla="*/ 1585 w 9869"/>
              <a:gd name="connsiteY68" fmla="*/ 4263 h 10000"/>
              <a:gd name="connsiteX69" fmla="*/ 1585 w 9869"/>
              <a:gd name="connsiteY69" fmla="*/ 4418 h 10000"/>
              <a:gd name="connsiteX70" fmla="*/ 1492 w 9869"/>
              <a:gd name="connsiteY70" fmla="*/ 4496 h 10000"/>
              <a:gd name="connsiteX71" fmla="*/ 1346 w 9869"/>
              <a:gd name="connsiteY71" fmla="*/ 4341 h 10000"/>
              <a:gd name="connsiteX72" fmla="*/ 1492 w 9869"/>
              <a:gd name="connsiteY72" fmla="*/ 4186 h 10000"/>
              <a:gd name="connsiteX73" fmla="*/ 1443 w 9869"/>
              <a:gd name="connsiteY73" fmla="*/ 3954 h 10000"/>
              <a:gd name="connsiteX74" fmla="*/ 1251 w 9869"/>
              <a:gd name="connsiteY74" fmla="*/ 3876 h 10000"/>
              <a:gd name="connsiteX75" fmla="*/ 1300 w 9869"/>
              <a:gd name="connsiteY75" fmla="*/ 4031 h 10000"/>
              <a:gd name="connsiteX76" fmla="*/ 1300 w 9869"/>
              <a:gd name="connsiteY76" fmla="*/ 4418 h 10000"/>
              <a:gd name="connsiteX77" fmla="*/ 1346 w 9869"/>
              <a:gd name="connsiteY77" fmla="*/ 4574 h 10000"/>
              <a:gd name="connsiteX78" fmla="*/ 1300 w 9869"/>
              <a:gd name="connsiteY78" fmla="*/ 4729 h 10000"/>
              <a:gd name="connsiteX79" fmla="*/ 1153 w 9869"/>
              <a:gd name="connsiteY79" fmla="*/ 4652 h 10000"/>
              <a:gd name="connsiteX80" fmla="*/ 962 w 9869"/>
              <a:gd name="connsiteY80" fmla="*/ 4884 h 10000"/>
              <a:gd name="connsiteX81" fmla="*/ 1055 w 9869"/>
              <a:gd name="connsiteY81" fmla="*/ 5194 h 10000"/>
              <a:gd name="connsiteX82" fmla="*/ 768 w 9869"/>
              <a:gd name="connsiteY82" fmla="*/ 5039 h 10000"/>
              <a:gd name="connsiteX83" fmla="*/ 721 w 9869"/>
              <a:gd name="connsiteY83" fmla="*/ 5116 h 10000"/>
              <a:gd name="connsiteX84" fmla="*/ 818 w 9869"/>
              <a:gd name="connsiteY84" fmla="*/ 5349 h 10000"/>
              <a:gd name="connsiteX85" fmla="*/ 721 w 9869"/>
              <a:gd name="connsiteY85" fmla="*/ 5349 h 10000"/>
              <a:gd name="connsiteX86" fmla="*/ 578 w 9869"/>
              <a:gd name="connsiteY86" fmla="*/ 5194 h 10000"/>
              <a:gd name="connsiteX87" fmla="*/ 578 w 9869"/>
              <a:gd name="connsiteY87" fmla="*/ 4729 h 10000"/>
              <a:gd name="connsiteX88" fmla="*/ 436 w 9869"/>
              <a:gd name="connsiteY88" fmla="*/ 4574 h 10000"/>
              <a:gd name="connsiteX89" fmla="*/ 385 w 9869"/>
              <a:gd name="connsiteY89" fmla="*/ 4418 h 10000"/>
              <a:gd name="connsiteX90" fmla="*/ 481 w 9869"/>
              <a:gd name="connsiteY90" fmla="*/ 4496 h 10000"/>
              <a:gd name="connsiteX91" fmla="*/ 864 w 9869"/>
              <a:gd name="connsiteY91" fmla="*/ 4729 h 10000"/>
              <a:gd name="connsiteX92" fmla="*/ 1102 w 9869"/>
              <a:gd name="connsiteY92" fmla="*/ 4496 h 10000"/>
              <a:gd name="connsiteX93" fmla="*/ 1055 w 9869"/>
              <a:gd name="connsiteY93" fmla="*/ 4263 h 10000"/>
              <a:gd name="connsiteX94" fmla="*/ 768 w 9869"/>
              <a:gd name="connsiteY94" fmla="*/ 3799 h 10000"/>
              <a:gd name="connsiteX95" fmla="*/ 481 w 9869"/>
              <a:gd name="connsiteY95" fmla="*/ 3644 h 10000"/>
              <a:gd name="connsiteX96" fmla="*/ 481 w 9869"/>
              <a:gd name="connsiteY96" fmla="*/ 3566 h 10000"/>
              <a:gd name="connsiteX97" fmla="*/ 385 w 9869"/>
              <a:gd name="connsiteY97" fmla="*/ 3488 h 10000"/>
              <a:gd name="connsiteX98" fmla="*/ 286 w 9869"/>
              <a:gd name="connsiteY98" fmla="*/ 3566 h 10000"/>
              <a:gd name="connsiteX99" fmla="*/ 286 w 9869"/>
              <a:gd name="connsiteY99" fmla="*/ 3644 h 10000"/>
              <a:gd name="connsiteX100" fmla="*/ 240 w 9869"/>
              <a:gd name="connsiteY100" fmla="*/ 3644 h 10000"/>
              <a:gd name="connsiteX101" fmla="*/ 144 w 9869"/>
              <a:gd name="connsiteY101" fmla="*/ 3799 h 10000"/>
              <a:gd name="connsiteX102" fmla="*/ 144 w 9869"/>
              <a:gd name="connsiteY102" fmla="*/ 4031 h 10000"/>
              <a:gd name="connsiteX103" fmla="*/ 240 w 9869"/>
              <a:gd name="connsiteY103" fmla="*/ 4186 h 10000"/>
              <a:gd name="connsiteX104" fmla="*/ 193 w 9869"/>
              <a:gd name="connsiteY104" fmla="*/ 4418 h 10000"/>
              <a:gd name="connsiteX105" fmla="*/ 240 w 9869"/>
              <a:gd name="connsiteY105" fmla="*/ 4807 h 10000"/>
              <a:gd name="connsiteX106" fmla="*/ 193 w 9869"/>
              <a:gd name="connsiteY106" fmla="*/ 5039 h 10000"/>
              <a:gd name="connsiteX107" fmla="*/ 286 w 9869"/>
              <a:gd name="connsiteY107" fmla="*/ 5271 h 10000"/>
              <a:gd name="connsiteX108" fmla="*/ 240 w 9869"/>
              <a:gd name="connsiteY108" fmla="*/ 5426 h 10000"/>
              <a:gd name="connsiteX109" fmla="*/ 335 w 9869"/>
              <a:gd name="connsiteY109" fmla="*/ 5582 h 10000"/>
              <a:gd name="connsiteX110" fmla="*/ 335 w 9869"/>
              <a:gd name="connsiteY110" fmla="*/ 5659 h 10000"/>
              <a:gd name="connsiteX111" fmla="*/ 193 w 9869"/>
              <a:gd name="connsiteY111" fmla="*/ 6047 h 10000"/>
              <a:gd name="connsiteX112" fmla="*/ 44 w 9869"/>
              <a:gd name="connsiteY112" fmla="*/ 6202 h 10000"/>
              <a:gd name="connsiteX113" fmla="*/ 95 w 9869"/>
              <a:gd name="connsiteY113" fmla="*/ 6202 h 10000"/>
              <a:gd name="connsiteX114" fmla="*/ 193 w 9869"/>
              <a:gd name="connsiteY114" fmla="*/ 6356 h 10000"/>
              <a:gd name="connsiteX115" fmla="*/ 95 w 9869"/>
              <a:gd name="connsiteY115" fmla="*/ 6512 h 10000"/>
              <a:gd name="connsiteX116" fmla="*/ 44 w 9869"/>
              <a:gd name="connsiteY116" fmla="*/ 6590 h 10000"/>
              <a:gd name="connsiteX117" fmla="*/ 0 w 9869"/>
              <a:gd name="connsiteY117" fmla="*/ 6590 h 10000"/>
              <a:gd name="connsiteX118" fmla="*/ 44 w 9869"/>
              <a:gd name="connsiteY118" fmla="*/ 6822 h 10000"/>
              <a:gd name="connsiteX119" fmla="*/ 44 w 9869"/>
              <a:gd name="connsiteY119" fmla="*/ 6900 h 10000"/>
              <a:gd name="connsiteX120" fmla="*/ 44 w 9869"/>
              <a:gd name="connsiteY120" fmla="*/ 6977 h 10000"/>
              <a:gd name="connsiteX121" fmla="*/ 44 w 9869"/>
              <a:gd name="connsiteY121" fmla="*/ 7054 h 10000"/>
              <a:gd name="connsiteX122" fmla="*/ 95 w 9869"/>
              <a:gd name="connsiteY122" fmla="*/ 7209 h 10000"/>
              <a:gd name="connsiteX123" fmla="*/ 240 w 9869"/>
              <a:gd name="connsiteY123" fmla="*/ 7287 h 10000"/>
              <a:gd name="connsiteX124" fmla="*/ 286 w 9869"/>
              <a:gd name="connsiteY124" fmla="*/ 7364 h 10000"/>
              <a:gd name="connsiteX125" fmla="*/ 286 w 9869"/>
              <a:gd name="connsiteY125" fmla="*/ 7520 h 10000"/>
              <a:gd name="connsiteX126" fmla="*/ 385 w 9869"/>
              <a:gd name="connsiteY126" fmla="*/ 7752 h 10000"/>
              <a:gd name="connsiteX127" fmla="*/ 436 w 9869"/>
              <a:gd name="connsiteY127" fmla="*/ 7752 h 10000"/>
              <a:gd name="connsiteX128" fmla="*/ 385 w 9869"/>
              <a:gd name="connsiteY128" fmla="*/ 7907 h 10000"/>
              <a:gd name="connsiteX129" fmla="*/ 335 w 9869"/>
              <a:gd name="connsiteY129" fmla="*/ 7830 h 10000"/>
              <a:gd name="connsiteX130" fmla="*/ 335 w 9869"/>
              <a:gd name="connsiteY130" fmla="*/ 7907 h 10000"/>
              <a:gd name="connsiteX131" fmla="*/ 385 w 9869"/>
              <a:gd name="connsiteY131" fmla="*/ 8062 h 10000"/>
              <a:gd name="connsiteX132" fmla="*/ 531 w 9869"/>
              <a:gd name="connsiteY132" fmla="*/ 8062 h 10000"/>
              <a:gd name="connsiteX133" fmla="*/ 578 w 9869"/>
              <a:gd name="connsiteY133" fmla="*/ 8140 h 10000"/>
              <a:gd name="connsiteX134" fmla="*/ 531 w 9869"/>
              <a:gd name="connsiteY134" fmla="*/ 8140 h 10000"/>
              <a:gd name="connsiteX135" fmla="*/ 578 w 9869"/>
              <a:gd name="connsiteY135" fmla="*/ 8217 h 10000"/>
              <a:gd name="connsiteX136" fmla="*/ 624 w 9869"/>
              <a:gd name="connsiteY136" fmla="*/ 8217 h 10000"/>
              <a:gd name="connsiteX137" fmla="*/ 672 w 9869"/>
              <a:gd name="connsiteY137" fmla="*/ 8372 h 10000"/>
              <a:gd name="connsiteX138" fmla="*/ 721 w 9869"/>
              <a:gd name="connsiteY138" fmla="*/ 8449 h 10000"/>
              <a:gd name="connsiteX139" fmla="*/ 768 w 9869"/>
              <a:gd name="connsiteY139" fmla="*/ 8372 h 10000"/>
              <a:gd name="connsiteX140" fmla="*/ 1011 w 9869"/>
              <a:gd name="connsiteY140" fmla="*/ 8605 h 10000"/>
              <a:gd name="connsiteX141" fmla="*/ 962 w 9869"/>
              <a:gd name="connsiteY141" fmla="*/ 8915 h 10000"/>
              <a:gd name="connsiteX142" fmla="*/ 913 w 9869"/>
              <a:gd name="connsiteY142" fmla="*/ 8838 h 10000"/>
              <a:gd name="connsiteX143" fmla="*/ 864 w 9869"/>
              <a:gd name="connsiteY143" fmla="*/ 8915 h 10000"/>
              <a:gd name="connsiteX144" fmla="*/ 864 w 9869"/>
              <a:gd name="connsiteY144" fmla="*/ 9070 h 10000"/>
              <a:gd name="connsiteX145" fmla="*/ 913 w 9869"/>
              <a:gd name="connsiteY145" fmla="*/ 8993 h 10000"/>
              <a:gd name="connsiteX146" fmla="*/ 962 w 9869"/>
              <a:gd name="connsiteY146" fmla="*/ 9070 h 10000"/>
              <a:gd name="connsiteX147" fmla="*/ 818 w 9869"/>
              <a:gd name="connsiteY147" fmla="*/ 9147 h 10000"/>
              <a:gd name="connsiteX148" fmla="*/ 864 w 9869"/>
              <a:gd name="connsiteY148" fmla="*/ 9225 h 10000"/>
              <a:gd name="connsiteX149" fmla="*/ 768 w 9869"/>
              <a:gd name="connsiteY149" fmla="*/ 9380 h 10000"/>
              <a:gd name="connsiteX150" fmla="*/ 721 w 9869"/>
              <a:gd name="connsiteY150" fmla="*/ 9380 h 10000"/>
              <a:gd name="connsiteX151" fmla="*/ 768 w 9869"/>
              <a:gd name="connsiteY151" fmla="*/ 9380 h 10000"/>
              <a:gd name="connsiteX152" fmla="*/ 962 w 9869"/>
              <a:gd name="connsiteY152" fmla="*/ 9691 h 10000"/>
              <a:gd name="connsiteX153" fmla="*/ 1203 w 9869"/>
              <a:gd name="connsiteY153" fmla="*/ 9691 h 10000"/>
              <a:gd name="connsiteX154" fmla="*/ 1300 w 9869"/>
              <a:gd name="connsiteY154" fmla="*/ 9768 h 10000"/>
              <a:gd name="connsiteX155" fmla="*/ 1394 w 9869"/>
              <a:gd name="connsiteY155" fmla="*/ 9768 h 10000"/>
              <a:gd name="connsiteX156" fmla="*/ 1492 w 9869"/>
              <a:gd name="connsiteY156" fmla="*/ 9923 h 10000"/>
              <a:gd name="connsiteX157" fmla="*/ 1539 w 9869"/>
              <a:gd name="connsiteY157" fmla="*/ 10000 h 10000"/>
              <a:gd name="connsiteX158" fmla="*/ 1585 w 9869"/>
              <a:gd name="connsiteY158" fmla="*/ 10000 h 10000"/>
              <a:gd name="connsiteX159" fmla="*/ 1637 w 9869"/>
              <a:gd name="connsiteY159" fmla="*/ 9923 h 10000"/>
              <a:gd name="connsiteX160" fmla="*/ 1539 w 9869"/>
              <a:gd name="connsiteY160" fmla="*/ 9768 h 10000"/>
              <a:gd name="connsiteX161" fmla="*/ 1539 w 9869"/>
              <a:gd name="connsiteY161" fmla="*/ 9613 h 10000"/>
              <a:gd name="connsiteX162" fmla="*/ 1492 w 9869"/>
              <a:gd name="connsiteY162" fmla="*/ 9457 h 10000"/>
              <a:gd name="connsiteX163" fmla="*/ 1585 w 9869"/>
              <a:gd name="connsiteY163" fmla="*/ 9225 h 10000"/>
              <a:gd name="connsiteX164" fmla="*/ 1637 w 9869"/>
              <a:gd name="connsiteY164" fmla="*/ 9302 h 10000"/>
              <a:gd name="connsiteX165" fmla="*/ 1683 w 9869"/>
              <a:gd name="connsiteY165" fmla="*/ 9225 h 10000"/>
              <a:gd name="connsiteX166" fmla="*/ 1683 w 9869"/>
              <a:gd name="connsiteY166" fmla="*/ 9147 h 10000"/>
              <a:gd name="connsiteX167" fmla="*/ 1637 w 9869"/>
              <a:gd name="connsiteY167" fmla="*/ 9147 h 10000"/>
              <a:gd name="connsiteX168" fmla="*/ 1683 w 9869"/>
              <a:gd name="connsiteY168" fmla="*/ 9070 h 10000"/>
              <a:gd name="connsiteX169" fmla="*/ 1637 w 9869"/>
              <a:gd name="connsiteY169" fmla="*/ 8915 h 10000"/>
              <a:gd name="connsiteX170" fmla="*/ 1539 w 9869"/>
              <a:gd name="connsiteY170" fmla="*/ 8915 h 10000"/>
              <a:gd name="connsiteX171" fmla="*/ 1492 w 9869"/>
              <a:gd name="connsiteY171" fmla="*/ 8760 h 10000"/>
              <a:gd name="connsiteX172" fmla="*/ 1539 w 9869"/>
              <a:gd name="connsiteY172" fmla="*/ 8372 h 10000"/>
              <a:gd name="connsiteX173" fmla="*/ 1637 w 9869"/>
              <a:gd name="connsiteY173" fmla="*/ 8528 h 10000"/>
              <a:gd name="connsiteX174" fmla="*/ 1683 w 9869"/>
              <a:gd name="connsiteY174" fmla="*/ 8528 h 10000"/>
              <a:gd name="connsiteX175" fmla="*/ 1637 w 9869"/>
              <a:gd name="connsiteY175" fmla="*/ 8372 h 10000"/>
              <a:gd name="connsiteX176" fmla="*/ 1779 w 9869"/>
              <a:gd name="connsiteY176" fmla="*/ 8140 h 10000"/>
              <a:gd name="connsiteX177" fmla="*/ 1878 w 9869"/>
              <a:gd name="connsiteY177" fmla="*/ 8217 h 10000"/>
              <a:gd name="connsiteX178" fmla="*/ 1922 w 9869"/>
              <a:gd name="connsiteY178" fmla="*/ 8140 h 10000"/>
              <a:gd name="connsiteX179" fmla="*/ 2019 w 9869"/>
              <a:gd name="connsiteY179" fmla="*/ 8217 h 10000"/>
              <a:gd name="connsiteX180" fmla="*/ 2165 w 9869"/>
              <a:gd name="connsiteY180" fmla="*/ 8372 h 10000"/>
              <a:gd name="connsiteX181" fmla="*/ 2259 w 9869"/>
              <a:gd name="connsiteY181" fmla="*/ 8295 h 10000"/>
              <a:gd name="connsiteX182" fmla="*/ 2357 w 9869"/>
              <a:gd name="connsiteY182" fmla="*/ 8295 h 10000"/>
              <a:gd name="connsiteX183" fmla="*/ 2405 w 9869"/>
              <a:gd name="connsiteY183" fmla="*/ 8372 h 10000"/>
              <a:gd name="connsiteX184" fmla="*/ 2597 w 9869"/>
              <a:gd name="connsiteY184" fmla="*/ 8372 h 10000"/>
              <a:gd name="connsiteX185" fmla="*/ 2643 w 9869"/>
              <a:gd name="connsiteY185" fmla="*/ 8217 h 10000"/>
              <a:gd name="connsiteX186" fmla="*/ 2499 w 9869"/>
              <a:gd name="connsiteY186" fmla="*/ 8140 h 10000"/>
              <a:gd name="connsiteX187" fmla="*/ 2597 w 9869"/>
              <a:gd name="connsiteY187" fmla="*/ 8062 h 10000"/>
              <a:gd name="connsiteX188" fmla="*/ 2546 w 9869"/>
              <a:gd name="connsiteY188" fmla="*/ 7985 h 10000"/>
              <a:gd name="connsiteX189" fmla="*/ 2597 w 9869"/>
              <a:gd name="connsiteY189" fmla="*/ 7907 h 10000"/>
              <a:gd name="connsiteX190" fmla="*/ 2597 w 9869"/>
              <a:gd name="connsiteY190" fmla="*/ 7675 h 10000"/>
              <a:gd name="connsiteX191" fmla="*/ 2691 w 9869"/>
              <a:gd name="connsiteY191" fmla="*/ 7752 h 10000"/>
              <a:gd name="connsiteX192" fmla="*/ 3126 w 9869"/>
              <a:gd name="connsiteY192" fmla="*/ 7520 h 10000"/>
              <a:gd name="connsiteX193" fmla="*/ 3126 w 9869"/>
              <a:gd name="connsiteY193" fmla="*/ 7442 h 10000"/>
              <a:gd name="connsiteX194" fmla="*/ 3173 w 9869"/>
              <a:gd name="connsiteY194" fmla="*/ 7442 h 10000"/>
              <a:gd name="connsiteX195" fmla="*/ 3315 w 9869"/>
              <a:gd name="connsiteY195" fmla="*/ 7442 h 10000"/>
              <a:gd name="connsiteX196" fmla="*/ 3366 w 9869"/>
              <a:gd name="connsiteY196" fmla="*/ 7598 h 10000"/>
              <a:gd name="connsiteX197" fmla="*/ 3366 w 9869"/>
              <a:gd name="connsiteY197" fmla="*/ 7675 h 10000"/>
              <a:gd name="connsiteX198" fmla="*/ 3414 w 9869"/>
              <a:gd name="connsiteY198" fmla="*/ 7675 h 10000"/>
              <a:gd name="connsiteX199" fmla="*/ 3509 w 9869"/>
              <a:gd name="connsiteY199" fmla="*/ 7752 h 10000"/>
              <a:gd name="connsiteX200" fmla="*/ 3509 w 9869"/>
              <a:gd name="connsiteY200" fmla="*/ 7830 h 10000"/>
              <a:gd name="connsiteX201" fmla="*/ 3606 w 9869"/>
              <a:gd name="connsiteY201" fmla="*/ 7830 h 10000"/>
              <a:gd name="connsiteX202" fmla="*/ 3701 w 9869"/>
              <a:gd name="connsiteY202" fmla="*/ 7675 h 10000"/>
              <a:gd name="connsiteX203" fmla="*/ 3798 w 9869"/>
              <a:gd name="connsiteY203" fmla="*/ 7598 h 10000"/>
              <a:gd name="connsiteX204" fmla="*/ 3850 w 9869"/>
              <a:gd name="connsiteY204" fmla="*/ 7830 h 10000"/>
              <a:gd name="connsiteX205" fmla="*/ 4038 w 9869"/>
              <a:gd name="connsiteY205" fmla="*/ 8372 h 10000"/>
              <a:gd name="connsiteX206" fmla="*/ 4089 w 9869"/>
              <a:gd name="connsiteY206" fmla="*/ 8217 h 10000"/>
              <a:gd name="connsiteX207" fmla="*/ 4135 w 9869"/>
              <a:gd name="connsiteY207" fmla="*/ 8372 h 10000"/>
              <a:gd name="connsiteX208" fmla="*/ 4279 w 9869"/>
              <a:gd name="connsiteY208" fmla="*/ 8295 h 10000"/>
              <a:gd name="connsiteX209" fmla="*/ 4426 w 9869"/>
              <a:gd name="connsiteY209" fmla="*/ 8528 h 10000"/>
              <a:gd name="connsiteX210" fmla="*/ 4519 w 9869"/>
              <a:gd name="connsiteY210" fmla="*/ 8605 h 10000"/>
              <a:gd name="connsiteX211" fmla="*/ 4519 w 9869"/>
              <a:gd name="connsiteY211" fmla="*/ 8528 h 10000"/>
              <a:gd name="connsiteX212" fmla="*/ 4568 w 9869"/>
              <a:gd name="connsiteY212" fmla="*/ 8683 h 10000"/>
              <a:gd name="connsiteX213" fmla="*/ 4519 w 9869"/>
              <a:gd name="connsiteY213" fmla="*/ 8760 h 10000"/>
              <a:gd name="connsiteX214" fmla="*/ 4618 w 9869"/>
              <a:gd name="connsiteY214" fmla="*/ 8683 h 10000"/>
              <a:gd name="connsiteX215" fmla="*/ 4663 w 9869"/>
              <a:gd name="connsiteY215" fmla="*/ 8605 h 10000"/>
              <a:gd name="connsiteX216" fmla="*/ 4904 w 9869"/>
              <a:gd name="connsiteY216" fmla="*/ 8372 h 10000"/>
              <a:gd name="connsiteX217" fmla="*/ 5096 w 9869"/>
              <a:gd name="connsiteY217" fmla="*/ 8449 h 10000"/>
              <a:gd name="connsiteX218" fmla="*/ 5192 w 9869"/>
              <a:gd name="connsiteY218" fmla="*/ 8528 h 10000"/>
              <a:gd name="connsiteX219" fmla="*/ 5383 w 9869"/>
              <a:gd name="connsiteY219" fmla="*/ 8528 h 10000"/>
              <a:gd name="connsiteX220" fmla="*/ 5383 w 9869"/>
              <a:gd name="connsiteY220" fmla="*/ 8372 h 10000"/>
              <a:gd name="connsiteX221" fmla="*/ 5383 w 9869"/>
              <a:gd name="connsiteY221" fmla="*/ 8217 h 10000"/>
              <a:gd name="connsiteX222" fmla="*/ 5480 w 9869"/>
              <a:gd name="connsiteY222" fmla="*/ 8140 h 10000"/>
              <a:gd name="connsiteX223" fmla="*/ 5672 w 9869"/>
              <a:gd name="connsiteY223" fmla="*/ 8217 h 10000"/>
              <a:gd name="connsiteX224" fmla="*/ 5769 w 9869"/>
              <a:gd name="connsiteY224" fmla="*/ 8449 h 10000"/>
              <a:gd name="connsiteX225" fmla="*/ 5818 w 9869"/>
              <a:gd name="connsiteY225" fmla="*/ 8449 h 10000"/>
              <a:gd name="connsiteX226" fmla="*/ 5914 w 9869"/>
              <a:gd name="connsiteY226" fmla="*/ 8372 h 10000"/>
              <a:gd name="connsiteX227" fmla="*/ 6206 w 9869"/>
              <a:gd name="connsiteY227" fmla="*/ 8605 h 10000"/>
              <a:gd name="connsiteX228" fmla="*/ 6348 w 9869"/>
              <a:gd name="connsiteY228" fmla="*/ 8683 h 10000"/>
              <a:gd name="connsiteX229" fmla="*/ 6540 w 9869"/>
              <a:gd name="connsiteY229" fmla="*/ 8605 h 10000"/>
              <a:gd name="connsiteX230" fmla="*/ 6635 w 9869"/>
              <a:gd name="connsiteY230" fmla="*/ 8449 h 10000"/>
              <a:gd name="connsiteX231" fmla="*/ 6780 w 9869"/>
              <a:gd name="connsiteY231" fmla="*/ 8528 h 10000"/>
              <a:gd name="connsiteX232" fmla="*/ 6875 w 9869"/>
              <a:gd name="connsiteY232" fmla="*/ 8605 h 10000"/>
              <a:gd name="connsiteX233" fmla="*/ 8511 w 9869"/>
              <a:gd name="connsiteY233" fmla="*/ 7675 h 10000"/>
              <a:gd name="connsiteX234" fmla="*/ 8415 w 9869"/>
              <a:gd name="connsiteY234" fmla="*/ 7675 h 10000"/>
              <a:gd name="connsiteX235" fmla="*/ 8367 w 9869"/>
              <a:gd name="connsiteY235" fmla="*/ 7675 h 10000"/>
              <a:gd name="connsiteX236" fmla="*/ 8318 w 9869"/>
              <a:gd name="connsiteY236" fmla="*/ 7598 h 10000"/>
              <a:gd name="connsiteX237" fmla="*/ 8224 w 9869"/>
              <a:gd name="connsiteY237" fmla="*/ 7598 h 10000"/>
              <a:gd name="connsiteX238" fmla="*/ 8224 w 9869"/>
              <a:gd name="connsiteY238" fmla="*/ 7520 h 10000"/>
              <a:gd name="connsiteX239" fmla="*/ 8367 w 9869"/>
              <a:gd name="connsiteY239" fmla="*/ 7287 h 10000"/>
              <a:gd name="connsiteX240" fmla="*/ 8805 w 9869"/>
              <a:gd name="connsiteY240" fmla="*/ 6590 h 10000"/>
              <a:gd name="connsiteX241" fmla="*/ 8992 w 9869"/>
              <a:gd name="connsiteY241" fmla="*/ 6512 h 10000"/>
              <a:gd name="connsiteX242" fmla="*/ 9039 w 9869"/>
              <a:gd name="connsiteY242" fmla="*/ 6590 h 10000"/>
              <a:gd name="connsiteX243" fmla="*/ 9089 w 9869"/>
              <a:gd name="connsiteY243" fmla="*/ 6512 h 10000"/>
              <a:gd name="connsiteX244" fmla="*/ 9230 w 9869"/>
              <a:gd name="connsiteY244" fmla="*/ 6590 h 10000"/>
              <a:gd name="connsiteX245" fmla="*/ 9284 w 9869"/>
              <a:gd name="connsiteY245" fmla="*/ 6434 h 10000"/>
              <a:gd name="connsiteX246" fmla="*/ 9425 w 9869"/>
              <a:gd name="connsiteY246" fmla="*/ 6512 h 10000"/>
              <a:gd name="connsiteX247" fmla="*/ 9471 w 9869"/>
              <a:gd name="connsiteY247" fmla="*/ 6512 h 10000"/>
              <a:gd name="connsiteX248" fmla="*/ 9425 w 9869"/>
              <a:gd name="connsiteY248" fmla="*/ 6590 h 10000"/>
              <a:gd name="connsiteX249" fmla="*/ 9425 w 9869"/>
              <a:gd name="connsiteY249" fmla="*/ 6667 h 10000"/>
              <a:gd name="connsiteX250" fmla="*/ 9710 w 9869"/>
              <a:gd name="connsiteY250" fmla="*/ 6590 h 10000"/>
              <a:gd name="connsiteX251" fmla="*/ 9664 w 9869"/>
              <a:gd name="connsiteY251" fmla="*/ 6512 h 10000"/>
              <a:gd name="connsiteX252" fmla="*/ 9860 w 9869"/>
              <a:gd name="connsiteY252" fmla="*/ 5969 h 10000"/>
              <a:gd name="connsiteX253" fmla="*/ 9807 w 9869"/>
              <a:gd name="connsiteY253" fmla="*/ 3023 h 10000"/>
              <a:gd name="connsiteX254" fmla="*/ 9522 w 9869"/>
              <a:gd name="connsiteY254" fmla="*/ 3178 h 10000"/>
              <a:gd name="connsiteX255" fmla="*/ 9471 w 9869"/>
              <a:gd name="connsiteY255" fmla="*/ 2946 h 10000"/>
              <a:gd name="connsiteX256" fmla="*/ 9376 w 9869"/>
              <a:gd name="connsiteY256" fmla="*/ 2946 h 10000"/>
              <a:gd name="connsiteX257" fmla="*/ 9328 w 9869"/>
              <a:gd name="connsiteY257" fmla="*/ 2868 h 10000"/>
              <a:gd name="connsiteX258" fmla="*/ 9328 w 9869"/>
              <a:gd name="connsiteY258" fmla="*/ 2636 h 10000"/>
              <a:gd name="connsiteX259" fmla="*/ 8992 w 9869"/>
              <a:gd name="connsiteY259" fmla="*/ 2480 h 10000"/>
              <a:gd name="connsiteX260" fmla="*/ 8608 w 9869"/>
              <a:gd name="connsiteY260" fmla="*/ 2325 h 10000"/>
              <a:gd name="connsiteX261" fmla="*/ 8511 w 9869"/>
              <a:gd name="connsiteY261" fmla="*/ 2636 h 10000"/>
              <a:gd name="connsiteX262" fmla="*/ 8608 w 9869"/>
              <a:gd name="connsiteY262" fmla="*/ 2868 h 10000"/>
              <a:gd name="connsiteX263" fmla="*/ 8318 w 9869"/>
              <a:gd name="connsiteY263" fmla="*/ 2868 h 10000"/>
              <a:gd name="connsiteX264" fmla="*/ 8270 w 9869"/>
              <a:gd name="connsiteY264" fmla="*/ 2868 h 10000"/>
              <a:gd name="connsiteX265" fmla="*/ 8173 w 9869"/>
              <a:gd name="connsiteY265" fmla="*/ 2946 h 10000"/>
              <a:gd name="connsiteX266" fmla="*/ 8029 w 9869"/>
              <a:gd name="connsiteY266" fmla="*/ 2714 h 10000"/>
              <a:gd name="connsiteX267" fmla="*/ 7931 w 9869"/>
              <a:gd name="connsiteY267" fmla="*/ 3178 h 10000"/>
              <a:gd name="connsiteX268" fmla="*/ 7840 w 9869"/>
              <a:gd name="connsiteY268" fmla="*/ 3101 h 10000"/>
              <a:gd name="connsiteX269" fmla="*/ 7741 w 9869"/>
              <a:gd name="connsiteY269" fmla="*/ 2791 h 10000"/>
              <a:gd name="connsiteX270" fmla="*/ 7791 w 9869"/>
              <a:gd name="connsiteY270" fmla="*/ 2403 h 10000"/>
              <a:gd name="connsiteX271" fmla="*/ 7693 w 9869"/>
              <a:gd name="connsiteY271" fmla="*/ 2170 h 10000"/>
              <a:gd name="connsiteX272" fmla="*/ 7405 w 9869"/>
              <a:gd name="connsiteY272" fmla="*/ 2016 h 10000"/>
              <a:gd name="connsiteX273" fmla="*/ 7306 w 9869"/>
              <a:gd name="connsiteY273" fmla="*/ 2016 h 10000"/>
              <a:gd name="connsiteX274" fmla="*/ 7260 w 9869"/>
              <a:gd name="connsiteY274" fmla="*/ 2170 h 10000"/>
              <a:gd name="connsiteX275" fmla="*/ 7306 w 9869"/>
              <a:gd name="connsiteY275" fmla="*/ 2325 h 10000"/>
              <a:gd name="connsiteX276" fmla="*/ 6927 w 9869"/>
              <a:gd name="connsiteY276" fmla="*/ 2248 h 10000"/>
              <a:gd name="connsiteX277" fmla="*/ 6972 w 9869"/>
              <a:gd name="connsiteY277" fmla="*/ 2016 h 10000"/>
              <a:gd name="connsiteX278" fmla="*/ 6733 w 9869"/>
              <a:gd name="connsiteY278" fmla="*/ 1938 h 10000"/>
              <a:gd name="connsiteX279" fmla="*/ 6588 w 9869"/>
              <a:gd name="connsiteY279" fmla="*/ 2093 h 10000"/>
              <a:gd name="connsiteX280" fmla="*/ 6306 w 9869"/>
              <a:gd name="connsiteY280" fmla="*/ 1861 h 10000"/>
              <a:gd name="connsiteX0" fmla="*/ 6390 w 9991"/>
              <a:gd name="connsiteY0" fmla="*/ 1861 h 10000"/>
              <a:gd name="connsiteX1" fmla="*/ 6390 w 9991"/>
              <a:gd name="connsiteY1" fmla="*/ 1861 h 10000"/>
              <a:gd name="connsiteX2" fmla="*/ 6333 w 9991"/>
              <a:gd name="connsiteY2" fmla="*/ 1938 h 10000"/>
              <a:gd name="connsiteX3" fmla="*/ 6390 w 9991"/>
              <a:gd name="connsiteY3" fmla="*/ 2093 h 10000"/>
              <a:gd name="connsiteX4" fmla="*/ 6186 w 9991"/>
              <a:gd name="connsiteY4" fmla="*/ 2248 h 10000"/>
              <a:gd name="connsiteX5" fmla="*/ 6136 w 9991"/>
              <a:gd name="connsiteY5" fmla="*/ 2248 h 10000"/>
              <a:gd name="connsiteX6" fmla="*/ 6186 w 9991"/>
              <a:gd name="connsiteY6" fmla="*/ 2016 h 10000"/>
              <a:gd name="connsiteX7" fmla="*/ 6675 w 9991"/>
              <a:gd name="connsiteY7" fmla="*/ 1318 h 10000"/>
              <a:gd name="connsiteX8" fmla="*/ 6675 w 9991"/>
              <a:gd name="connsiteY8" fmla="*/ 853 h 10000"/>
              <a:gd name="connsiteX9" fmla="*/ 6482 w 9991"/>
              <a:gd name="connsiteY9" fmla="*/ 543 h 10000"/>
              <a:gd name="connsiteX10" fmla="*/ 6236 w 9991"/>
              <a:gd name="connsiteY10" fmla="*/ 543 h 10000"/>
              <a:gd name="connsiteX11" fmla="*/ 6236 w 9991"/>
              <a:gd name="connsiteY11" fmla="*/ 698 h 10000"/>
              <a:gd name="connsiteX12" fmla="*/ 6089 w 9991"/>
              <a:gd name="connsiteY12" fmla="*/ 698 h 10000"/>
              <a:gd name="connsiteX13" fmla="*/ 6186 w 9991"/>
              <a:gd name="connsiteY13" fmla="*/ 387 h 10000"/>
              <a:gd name="connsiteX14" fmla="*/ 5946 w 9991"/>
              <a:gd name="connsiteY14" fmla="*/ 310 h 10000"/>
              <a:gd name="connsiteX15" fmla="*/ 6089 w 9991"/>
              <a:gd name="connsiteY15" fmla="*/ 155 h 10000"/>
              <a:gd name="connsiteX16" fmla="*/ 5946 w 9991"/>
              <a:gd name="connsiteY16" fmla="*/ 0 h 10000"/>
              <a:gd name="connsiteX17" fmla="*/ 5702 w 9991"/>
              <a:gd name="connsiteY17" fmla="*/ 387 h 10000"/>
              <a:gd name="connsiteX18" fmla="*/ 5702 w 9991"/>
              <a:gd name="connsiteY18" fmla="*/ 698 h 10000"/>
              <a:gd name="connsiteX19" fmla="*/ 5553 w 9991"/>
              <a:gd name="connsiteY19" fmla="*/ 698 h 10000"/>
              <a:gd name="connsiteX20" fmla="*/ 5116 w 9991"/>
              <a:gd name="connsiteY20" fmla="*/ 853 h 10000"/>
              <a:gd name="connsiteX21" fmla="*/ 4725 w 9991"/>
              <a:gd name="connsiteY21" fmla="*/ 1240 h 10000"/>
              <a:gd name="connsiteX22" fmla="*/ 4579 w 9991"/>
              <a:gd name="connsiteY22" fmla="*/ 1551 h 10000"/>
              <a:gd name="connsiteX23" fmla="*/ 4629 w 9991"/>
              <a:gd name="connsiteY23" fmla="*/ 1938 h 10000"/>
              <a:gd name="connsiteX24" fmla="*/ 4092 w 9991"/>
              <a:gd name="connsiteY24" fmla="*/ 2093 h 10000"/>
              <a:gd name="connsiteX25" fmla="*/ 4143 w 9991"/>
              <a:gd name="connsiteY25" fmla="*/ 2559 h 10000"/>
              <a:gd name="connsiteX26" fmla="*/ 4289 w 9991"/>
              <a:gd name="connsiteY26" fmla="*/ 2791 h 10000"/>
              <a:gd name="connsiteX27" fmla="*/ 4190 w 9991"/>
              <a:gd name="connsiteY27" fmla="*/ 2868 h 10000"/>
              <a:gd name="connsiteX28" fmla="*/ 4045 w 9991"/>
              <a:gd name="connsiteY28" fmla="*/ 2559 h 10000"/>
              <a:gd name="connsiteX29" fmla="*/ 3901 w 9991"/>
              <a:gd name="connsiteY29" fmla="*/ 2480 h 10000"/>
              <a:gd name="connsiteX30" fmla="*/ 3848 w 9991"/>
              <a:gd name="connsiteY30" fmla="*/ 2559 h 10000"/>
              <a:gd name="connsiteX31" fmla="*/ 3750 w 9991"/>
              <a:gd name="connsiteY31" fmla="*/ 2403 h 10000"/>
              <a:gd name="connsiteX32" fmla="*/ 3654 w 9991"/>
              <a:gd name="connsiteY32" fmla="*/ 2248 h 10000"/>
              <a:gd name="connsiteX33" fmla="*/ 3654 w 9991"/>
              <a:gd name="connsiteY33" fmla="*/ 2325 h 10000"/>
              <a:gd name="connsiteX34" fmla="*/ 3707 w 9991"/>
              <a:gd name="connsiteY34" fmla="*/ 2559 h 10000"/>
              <a:gd name="connsiteX35" fmla="*/ 3556 w 9991"/>
              <a:gd name="connsiteY35" fmla="*/ 2946 h 10000"/>
              <a:gd name="connsiteX36" fmla="*/ 3654 w 9991"/>
              <a:gd name="connsiteY36" fmla="*/ 3256 h 10000"/>
              <a:gd name="connsiteX37" fmla="*/ 3603 w 9991"/>
              <a:gd name="connsiteY37" fmla="*/ 3566 h 10000"/>
              <a:gd name="connsiteX38" fmla="*/ 3603 w 9991"/>
              <a:gd name="connsiteY38" fmla="*/ 3799 h 10000"/>
              <a:gd name="connsiteX39" fmla="*/ 3750 w 9991"/>
              <a:gd name="connsiteY39" fmla="*/ 3799 h 10000"/>
              <a:gd name="connsiteX40" fmla="*/ 3654 w 9991"/>
              <a:gd name="connsiteY40" fmla="*/ 3876 h 10000"/>
              <a:gd name="connsiteX41" fmla="*/ 3707 w 9991"/>
              <a:gd name="connsiteY41" fmla="*/ 4263 h 10000"/>
              <a:gd name="connsiteX42" fmla="*/ 3411 w 9991"/>
              <a:gd name="connsiteY42" fmla="*/ 4652 h 10000"/>
              <a:gd name="connsiteX43" fmla="*/ 3359 w 9991"/>
              <a:gd name="connsiteY43" fmla="*/ 4574 h 10000"/>
              <a:gd name="connsiteX44" fmla="*/ 3556 w 9991"/>
              <a:gd name="connsiteY44" fmla="*/ 4186 h 10000"/>
              <a:gd name="connsiteX45" fmla="*/ 3603 w 9991"/>
              <a:gd name="connsiteY45" fmla="*/ 3954 h 10000"/>
              <a:gd name="connsiteX46" fmla="*/ 3502 w 9991"/>
              <a:gd name="connsiteY46" fmla="*/ 3799 h 10000"/>
              <a:gd name="connsiteX47" fmla="*/ 3502 w 9991"/>
              <a:gd name="connsiteY47" fmla="*/ 3023 h 10000"/>
              <a:gd name="connsiteX48" fmla="*/ 3459 w 9991"/>
              <a:gd name="connsiteY48" fmla="*/ 2868 h 10000"/>
              <a:gd name="connsiteX49" fmla="*/ 3502 w 9991"/>
              <a:gd name="connsiteY49" fmla="*/ 2403 h 10000"/>
              <a:gd name="connsiteX50" fmla="*/ 3411 w 9991"/>
              <a:gd name="connsiteY50" fmla="*/ 2325 h 10000"/>
              <a:gd name="connsiteX51" fmla="*/ 3459 w 9991"/>
              <a:gd name="connsiteY51" fmla="*/ 2248 h 10000"/>
              <a:gd name="connsiteX52" fmla="*/ 3411 w 9991"/>
              <a:gd name="connsiteY52" fmla="*/ 2093 h 10000"/>
              <a:gd name="connsiteX53" fmla="*/ 3309 w 9991"/>
              <a:gd name="connsiteY53" fmla="*/ 2170 h 10000"/>
              <a:gd name="connsiteX54" fmla="*/ 3068 w 9991"/>
              <a:gd name="connsiteY54" fmla="*/ 3178 h 10000"/>
              <a:gd name="connsiteX55" fmla="*/ 3068 w 9991"/>
              <a:gd name="connsiteY55" fmla="*/ 3566 h 10000"/>
              <a:gd name="connsiteX56" fmla="*/ 3215 w 9991"/>
              <a:gd name="connsiteY56" fmla="*/ 3876 h 10000"/>
              <a:gd name="connsiteX57" fmla="*/ 3215 w 9991"/>
              <a:gd name="connsiteY57" fmla="*/ 4031 h 10000"/>
              <a:gd name="connsiteX58" fmla="*/ 3068 w 9991"/>
              <a:gd name="connsiteY58" fmla="*/ 3876 h 10000"/>
              <a:gd name="connsiteX59" fmla="*/ 2487 w 9991"/>
              <a:gd name="connsiteY59" fmla="*/ 3256 h 10000"/>
              <a:gd name="connsiteX60" fmla="*/ 2437 w 9991"/>
              <a:gd name="connsiteY60" fmla="*/ 3411 h 10000"/>
              <a:gd name="connsiteX61" fmla="*/ 2631 w 9991"/>
              <a:gd name="connsiteY61" fmla="*/ 3799 h 10000"/>
              <a:gd name="connsiteX62" fmla="*/ 2532 w 9991"/>
              <a:gd name="connsiteY62" fmla="*/ 3876 h 10000"/>
              <a:gd name="connsiteX63" fmla="*/ 2487 w 9991"/>
              <a:gd name="connsiteY63" fmla="*/ 3799 h 10000"/>
              <a:gd name="connsiteX64" fmla="*/ 2194 w 9991"/>
              <a:gd name="connsiteY64" fmla="*/ 3954 h 10000"/>
              <a:gd name="connsiteX65" fmla="*/ 2145 w 9991"/>
              <a:gd name="connsiteY65" fmla="*/ 4109 h 10000"/>
              <a:gd name="connsiteX66" fmla="*/ 2096 w 9991"/>
              <a:gd name="connsiteY66" fmla="*/ 3954 h 10000"/>
              <a:gd name="connsiteX67" fmla="*/ 2096 w 9991"/>
              <a:gd name="connsiteY67" fmla="*/ 3799 h 10000"/>
              <a:gd name="connsiteX68" fmla="*/ 1606 w 9991"/>
              <a:gd name="connsiteY68" fmla="*/ 4263 h 10000"/>
              <a:gd name="connsiteX69" fmla="*/ 1606 w 9991"/>
              <a:gd name="connsiteY69" fmla="*/ 4418 h 10000"/>
              <a:gd name="connsiteX70" fmla="*/ 1512 w 9991"/>
              <a:gd name="connsiteY70" fmla="*/ 4496 h 10000"/>
              <a:gd name="connsiteX71" fmla="*/ 1364 w 9991"/>
              <a:gd name="connsiteY71" fmla="*/ 4341 h 10000"/>
              <a:gd name="connsiteX72" fmla="*/ 1512 w 9991"/>
              <a:gd name="connsiteY72" fmla="*/ 4186 h 10000"/>
              <a:gd name="connsiteX73" fmla="*/ 1462 w 9991"/>
              <a:gd name="connsiteY73" fmla="*/ 3954 h 10000"/>
              <a:gd name="connsiteX74" fmla="*/ 1268 w 9991"/>
              <a:gd name="connsiteY74" fmla="*/ 3876 h 10000"/>
              <a:gd name="connsiteX75" fmla="*/ 1317 w 9991"/>
              <a:gd name="connsiteY75" fmla="*/ 4031 h 10000"/>
              <a:gd name="connsiteX76" fmla="*/ 1317 w 9991"/>
              <a:gd name="connsiteY76" fmla="*/ 4418 h 10000"/>
              <a:gd name="connsiteX77" fmla="*/ 1364 w 9991"/>
              <a:gd name="connsiteY77" fmla="*/ 4574 h 10000"/>
              <a:gd name="connsiteX78" fmla="*/ 1317 w 9991"/>
              <a:gd name="connsiteY78" fmla="*/ 4729 h 10000"/>
              <a:gd name="connsiteX79" fmla="*/ 1168 w 9991"/>
              <a:gd name="connsiteY79" fmla="*/ 4652 h 10000"/>
              <a:gd name="connsiteX80" fmla="*/ 975 w 9991"/>
              <a:gd name="connsiteY80" fmla="*/ 4884 h 10000"/>
              <a:gd name="connsiteX81" fmla="*/ 1069 w 9991"/>
              <a:gd name="connsiteY81" fmla="*/ 5194 h 10000"/>
              <a:gd name="connsiteX82" fmla="*/ 778 w 9991"/>
              <a:gd name="connsiteY82" fmla="*/ 5039 h 10000"/>
              <a:gd name="connsiteX83" fmla="*/ 731 w 9991"/>
              <a:gd name="connsiteY83" fmla="*/ 5116 h 10000"/>
              <a:gd name="connsiteX84" fmla="*/ 829 w 9991"/>
              <a:gd name="connsiteY84" fmla="*/ 5349 h 10000"/>
              <a:gd name="connsiteX85" fmla="*/ 731 w 9991"/>
              <a:gd name="connsiteY85" fmla="*/ 5349 h 10000"/>
              <a:gd name="connsiteX86" fmla="*/ 586 w 9991"/>
              <a:gd name="connsiteY86" fmla="*/ 5194 h 10000"/>
              <a:gd name="connsiteX87" fmla="*/ 586 w 9991"/>
              <a:gd name="connsiteY87" fmla="*/ 4729 h 10000"/>
              <a:gd name="connsiteX88" fmla="*/ 442 w 9991"/>
              <a:gd name="connsiteY88" fmla="*/ 4574 h 10000"/>
              <a:gd name="connsiteX89" fmla="*/ 390 w 9991"/>
              <a:gd name="connsiteY89" fmla="*/ 4418 h 10000"/>
              <a:gd name="connsiteX90" fmla="*/ 487 w 9991"/>
              <a:gd name="connsiteY90" fmla="*/ 4496 h 10000"/>
              <a:gd name="connsiteX91" fmla="*/ 875 w 9991"/>
              <a:gd name="connsiteY91" fmla="*/ 4729 h 10000"/>
              <a:gd name="connsiteX92" fmla="*/ 1117 w 9991"/>
              <a:gd name="connsiteY92" fmla="*/ 4496 h 10000"/>
              <a:gd name="connsiteX93" fmla="*/ 1069 w 9991"/>
              <a:gd name="connsiteY93" fmla="*/ 4263 h 10000"/>
              <a:gd name="connsiteX94" fmla="*/ 778 w 9991"/>
              <a:gd name="connsiteY94" fmla="*/ 3799 h 10000"/>
              <a:gd name="connsiteX95" fmla="*/ 487 w 9991"/>
              <a:gd name="connsiteY95" fmla="*/ 3644 h 10000"/>
              <a:gd name="connsiteX96" fmla="*/ 487 w 9991"/>
              <a:gd name="connsiteY96" fmla="*/ 3566 h 10000"/>
              <a:gd name="connsiteX97" fmla="*/ 390 w 9991"/>
              <a:gd name="connsiteY97" fmla="*/ 3488 h 10000"/>
              <a:gd name="connsiteX98" fmla="*/ 290 w 9991"/>
              <a:gd name="connsiteY98" fmla="*/ 3566 h 10000"/>
              <a:gd name="connsiteX99" fmla="*/ 290 w 9991"/>
              <a:gd name="connsiteY99" fmla="*/ 3644 h 10000"/>
              <a:gd name="connsiteX100" fmla="*/ 243 w 9991"/>
              <a:gd name="connsiteY100" fmla="*/ 3644 h 10000"/>
              <a:gd name="connsiteX101" fmla="*/ 146 w 9991"/>
              <a:gd name="connsiteY101" fmla="*/ 3799 h 10000"/>
              <a:gd name="connsiteX102" fmla="*/ 146 w 9991"/>
              <a:gd name="connsiteY102" fmla="*/ 4031 h 10000"/>
              <a:gd name="connsiteX103" fmla="*/ 243 w 9991"/>
              <a:gd name="connsiteY103" fmla="*/ 4186 h 10000"/>
              <a:gd name="connsiteX104" fmla="*/ 196 w 9991"/>
              <a:gd name="connsiteY104" fmla="*/ 4418 h 10000"/>
              <a:gd name="connsiteX105" fmla="*/ 243 w 9991"/>
              <a:gd name="connsiteY105" fmla="*/ 4807 h 10000"/>
              <a:gd name="connsiteX106" fmla="*/ 196 w 9991"/>
              <a:gd name="connsiteY106" fmla="*/ 5039 h 10000"/>
              <a:gd name="connsiteX107" fmla="*/ 290 w 9991"/>
              <a:gd name="connsiteY107" fmla="*/ 5271 h 10000"/>
              <a:gd name="connsiteX108" fmla="*/ 243 w 9991"/>
              <a:gd name="connsiteY108" fmla="*/ 5426 h 10000"/>
              <a:gd name="connsiteX109" fmla="*/ 339 w 9991"/>
              <a:gd name="connsiteY109" fmla="*/ 5582 h 10000"/>
              <a:gd name="connsiteX110" fmla="*/ 339 w 9991"/>
              <a:gd name="connsiteY110" fmla="*/ 5659 h 10000"/>
              <a:gd name="connsiteX111" fmla="*/ 196 w 9991"/>
              <a:gd name="connsiteY111" fmla="*/ 6047 h 10000"/>
              <a:gd name="connsiteX112" fmla="*/ 45 w 9991"/>
              <a:gd name="connsiteY112" fmla="*/ 6202 h 10000"/>
              <a:gd name="connsiteX113" fmla="*/ 96 w 9991"/>
              <a:gd name="connsiteY113" fmla="*/ 6202 h 10000"/>
              <a:gd name="connsiteX114" fmla="*/ 196 w 9991"/>
              <a:gd name="connsiteY114" fmla="*/ 6356 h 10000"/>
              <a:gd name="connsiteX115" fmla="*/ 96 w 9991"/>
              <a:gd name="connsiteY115" fmla="*/ 6512 h 10000"/>
              <a:gd name="connsiteX116" fmla="*/ 45 w 9991"/>
              <a:gd name="connsiteY116" fmla="*/ 6590 h 10000"/>
              <a:gd name="connsiteX117" fmla="*/ 0 w 9991"/>
              <a:gd name="connsiteY117" fmla="*/ 6590 h 10000"/>
              <a:gd name="connsiteX118" fmla="*/ 45 w 9991"/>
              <a:gd name="connsiteY118" fmla="*/ 6822 h 10000"/>
              <a:gd name="connsiteX119" fmla="*/ 45 w 9991"/>
              <a:gd name="connsiteY119" fmla="*/ 6900 h 10000"/>
              <a:gd name="connsiteX120" fmla="*/ 45 w 9991"/>
              <a:gd name="connsiteY120" fmla="*/ 6977 h 10000"/>
              <a:gd name="connsiteX121" fmla="*/ 45 w 9991"/>
              <a:gd name="connsiteY121" fmla="*/ 7054 h 10000"/>
              <a:gd name="connsiteX122" fmla="*/ 96 w 9991"/>
              <a:gd name="connsiteY122" fmla="*/ 7209 h 10000"/>
              <a:gd name="connsiteX123" fmla="*/ 243 w 9991"/>
              <a:gd name="connsiteY123" fmla="*/ 7287 h 10000"/>
              <a:gd name="connsiteX124" fmla="*/ 290 w 9991"/>
              <a:gd name="connsiteY124" fmla="*/ 7364 h 10000"/>
              <a:gd name="connsiteX125" fmla="*/ 290 w 9991"/>
              <a:gd name="connsiteY125" fmla="*/ 7520 h 10000"/>
              <a:gd name="connsiteX126" fmla="*/ 390 w 9991"/>
              <a:gd name="connsiteY126" fmla="*/ 7752 h 10000"/>
              <a:gd name="connsiteX127" fmla="*/ 442 w 9991"/>
              <a:gd name="connsiteY127" fmla="*/ 7752 h 10000"/>
              <a:gd name="connsiteX128" fmla="*/ 390 w 9991"/>
              <a:gd name="connsiteY128" fmla="*/ 7907 h 10000"/>
              <a:gd name="connsiteX129" fmla="*/ 339 w 9991"/>
              <a:gd name="connsiteY129" fmla="*/ 7830 h 10000"/>
              <a:gd name="connsiteX130" fmla="*/ 339 w 9991"/>
              <a:gd name="connsiteY130" fmla="*/ 7907 h 10000"/>
              <a:gd name="connsiteX131" fmla="*/ 390 w 9991"/>
              <a:gd name="connsiteY131" fmla="*/ 8062 h 10000"/>
              <a:gd name="connsiteX132" fmla="*/ 538 w 9991"/>
              <a:gd name="connsiteY132" fmla="*/ 8062 h 10000"/>
              <a:gd name="connsiteX133" fmla="*/ 586 w 9991"/>
              <a:gd name="connsiteY133" fmla="*/ 8140 h 10000"/>
              <a:gd name="connsiteX134" fmla="*/ 538 w 9991"/>
              <a:gd name="connsiteY134" fmla="*/ 8140 h 10000"/>
              <a:gd name="connsiteX135" fmla="*/ 586 w 9991"/>
              <a:gd name="connsiteY135" fmla="*/ 8217 h 10000"/>
              <a:gd name="connsiteX136" fmla="*/ 632 w 9991"/>
              <a:gd name="connsiteY136" fmla="*/ 8217 h 10000"/>
              <a:gd name="connsiteX137" fmla="*/ 681 w 9991"/>
              <a:gd name="connsiteY137" fmla="*/ 8372 h 10000"/>
              <a:gd name="connsiteX138" fmla="*/ 731 w 9991"/>
              <a:gd name="connsiteY138" fmla="*/ 8449 h 10000"/>
              <a:gd name="connsiteX139" fmla="*/ 778 w 9991"/>
              <a:gd name="connsiteY139" fmla="*/ 8372 h 10000"/>
              <a:gd name="connsiteX140" fmla="*/ 1024 w 9991"/>
              <a:gd name="connsiteY140" fmla="*/ 8605 h 10000"/>
              <a:gd name="connsiteX141" fmla="*/ 975 w 9991"/>
              <a:gd name="connsiteY141" fmla="*/ 8915 h 10000"/>
              <a:gd name="connsiteX142" fmla="*/ 925 w 9991"/>
              <a:gd name="connsiteY142" fmla="*/ 8838 h 10000"/>
              <a:gd name="connsiteX143" fmla="*/ 875 w 9991"/>
              <a:gd name="connsiteY143" fmla="*/ 8915 h 10000"/>
              <a:gd name="connsiteX144" fmla="*/ 875 w 9991"/>
              <a:gd name="connsiteY144" fmla="*/ 9070 h 10000"/>
              <a:gd name="connsiteX145" fmla="*/ 925 w 9991"/>
              <a:gd name="connsiteY145" fmla="*/ 8993 h 10000"/>
              <a:gd name="connsiteX146" fmla="*/ 975 w 9991"/>
              <a:gd name="connsiteY146" fmla="*/ 9070 h 10000"/>
              <a:gd name="connsiteX147" fmla="*/ 829 w 9991"/>
              <a:gd name="connsiteY147" fmla="*/ 9147 h 10000"/>
              <a:gd name="connsiteX148" fmla="*/ 875 w 9991"/>
              <a:gd name="connsiteY148" fmla="*/ 9225 h 10000"/>
              <a:gd name="connsiteX149" fmla="*/ 778 w 9991"/>
              <a:gd name="connsiteY149" fmla="*/ 9380 h 10000"/>
              <a:gd name="connsiteX150" fmla="*/ 731 w 9991"/>
              <a:gd name="connsiteY150" fmla="*/ 9380 h 10000"/>
              <a:gd name="connsiteX151" fmla="*/ 778 w 9991"/>
              <a:gd name="connsiteY151" fmla="*/ 9380 h 10000"/>
              <a:gd name="connsiteX152" fmla="*/ 975 w 9991"/>
              <a:gd name="connsiteY152" fmla="*/ 9691 h 10000"/>
              <a:gd name="connsiteX153" fmla="*/ 1219 w 9991"/>
              <a:gd name="connsiteY153" fmla="*/ 9691 h 10000"/>
              <a:gd name="connsiteX154" fmla="*/ 1317 w 9991"/>
              <a:gd name="connsiteY154" fmla="*/ 9768 h 10000"/>
              <a:gd name="connsiteX155" fmla="*/ 1413 w 9991"/>
              <a:gd name="connsiteY155" fmla="*/ 9768 h 10000"/>
              <a:gd name="connsiteX156" fmla="*/ 1512 w 9991"/>
              <a:gd name="connsiteY156" fmla="*/ 9923 h 10000"/>
              <a:gd name="connsiteX157" fmla="*/ 1559 w 9991"/>
              <a:gd name="connsiteY157" fmla="*/ 10000 h 10000"/>
              <a:gd name="connsiteX158" fmla="*/ 1606 w 9991"/>
              <a:gd name="connsiteY158" fmla="*/ 10000 h 10000"/>
              <a:gd name="connsiteX159" fmla="*/ 1659 w 9991"/>
              <a:gd name="connsiteY159" fmla="*/ 9923 h 10000"/>
              <a:gd name="connsiteX160" fmla="*/ 1559 w 9991"/>
              <a:gd name="connsiteY160" fmla="*/ 9768 h 10000"/>
              <a:gd name="connsiteX161" fmla="*/ 1559 w 9991"/>
              <a:gd name="connsiteY161" fmla="*/ 9613 h 10000"/>
              <a:gd name="connsiteX162" fmla="*/ 1512 w 9991"/>
              <a:gd name="connsiteY162" fmla="*/ 9457 h 10000"/>
              <a:gd name="connsiteX163" fmla="*/ 1606 w 9991"/>
              <a:gd name="connsiteY163" fmla="*/ 9225 h 10000"/>
              <a:gd name="connsiteX164" fmla="*/ 1659 w 9991"/>
              <a:gd name="connsiteY164" fmla="*/ 9302 h 10000"/>
              <a:gd name="connsiteX165" fmla="*/ 1705 w 9991"/>
              <a:gd name="connsiteY165" fmla="*/ 9225 h 10000"/>
              <a:gd name="connsiteX166" fmla="*/ 1705 w 9991"/>
              <a:gd name="connsiteY166" fmla="*/ 9147 h 10000"/>
              <a:gd name="connsiteX167" fmla="*/ 1659 w 9991"/>
              <a:gd name="connsiteY167" fmla="*/ 9147 h 10000"/>
              <a:gd name="connsiteX168" fmla="*/ 1705 w 9991"/>
              <a:gd name="connsiteY168" fmla="*/ 9070 h 10000"/>
              <a:gd name="connsiteX169" fmla="*/ 1659 w 9991"/>
              <a:gd name="connsiteY169" fmla="*/ 8915 h 10000"/>
              <a:gd name="connsiteX170" fmla="*/ 1559 w 9991"/>
              <a:gd name="connsiteY170" fmla="*/ 8915 h 10000"/>
              <a:gd name="connsiteX171" fmla="*/ 1512 w 9991"/>
              <a:gd name="connsiteY171" fmla="*/ 8760 h 10000"/>
              <a:gd name="connsiteX172" fmla="*/ 1559 w 9991"/>
              <a:gd name="connsiteY172" fmla="*/ 8372 h 10000"/>
              <a:gd name="connsiteX173" fmla="*/ 1659 w 9991"/>
              <a:gd name="connsiteY173" fmla="*/ 8528 h 10000"/>
              <a:gd name="connsiteX174" fmla="*/ 1705 w 9991"/>
              <a:gd name="connsiteY174" fmla="*/ 8528 h 10000"/>
              <a:gd name="connsiteX175" fmla="*/ 1659 w 9991"/>
              <a:gd name="connsiteY175" fmla="*/ 8372 h 10000"/>
              <a:gd name="connsiteX176" fmla="*/ 1803 w 9991"/>
              <a:gd name="connsiteY176" fmla="*/ 8140 h 10000"/>
              <a:gd name="connsiteX177" fmla="*/ 1903 w 9991"/>
              <a:gd name="connsiteY177" fmla="*/ 8217 h 10000"/>
              <a:gd name="connsiteX178" fmla="*/ 1948 w 9991"/>
              <a:gd name="connsiteY178" fmla="*/ 8140 h 10000"/>
              <a:gd name="connsiteX179" fmla="*/ 2046 w 9991"/>
              <a:gd name="connsiteY179" fmla="*/ 8217 h 10000"/>
              <a:gd name="connsiteX180" fmla="*/ 2194 w 9991"/>
              <a:gd name="connsiteY180" fmla="*/ 8372 h 10000"/>
              <a:gd name="connsiteX181" fmla="*/ 2289 w 9991"/>
              <a:gd name="connsiteY181" fmla="*/ 8295 h 10000"/>
              <a:gd name="connsiteX182" fmla="*/ 2388 w 9991"/>
              <a:gd name="connsiteY182" fmla="*/ 8295 h 10000"/>
              <a:gd name="connsiteX183" fmla="*/ 2437 w 9991"/>
              <a:gd name="connsiteY183" fmla="*/ 8372 h 10000"/>
              <a:gd name="connsiteX184" fmla="*/ 2631 w 9991"/>
              <a:gd name="connsiteY184" fmla="*/ 8372 h 10000"/>
              <a:gd name="connsiteX185" fmla="*/ 2678 w 9991"/>
              <a:gd name="connsiteY185" fmla="*/ 8217 h 10000"/>
              <a:gd name="connsiteX186" fmla="*/ 2532 w 9991"/>
              <a:gd name="connsiteY186" fmla="*/ 8140 h 10000"/>
              <a:gd name="connsiteX187" fmla="*/ 2631 w 9991"/>
              <a:gd name="connsiteY187" fmla="*/ 8062 h 10000"/>
              <a:gd name="connsiteX188" fmla="*/ 2580 w 9991"/>
              <a:gd name="connsiteY188" fmla="*/ 7985 h 10000"/>
              <a:gd name="connsiteX189" fmla="*/ 2631 w 9991"/>
              <a:gd name="connsiteY189" fmla="*/ 7907 h 10000"/>
              <a:gd name="connsiteX190" fmla="*/ 2631 w 9991"/>
              <a:gd name="connsiteY190" fmla="*/ 7675 h 10000"/>
              <a:gd name="connsiteX191" fmla="*/ 2727 w 9991"/>
              <a:gd name="connsiteY191" fmla="*/ 7752 h 10000"/>
              <a:gd name="connsiteX192" fmla="*/ 3167 w 9991"/>
              <a:gd name="connsiteY192" fmla="*/ 7520 h 10000"/>
              <a:gd name="connsiteX193" fmla="*/ 3167 w 9991"/>
              <a:gd name="connsiteY193" fmla="*/ 7442 h 10000"/>
              <a:gd name="connsiteX194" fmla="*/ 3215 w 9991"/>
              <a:gd name="connsiteY194" fmla="*/ 7442 h 10000"/>
              <a:gd name="connsiteX195" fmla="*/ 3359 w 9991"/>
              <a:gd name="connsiteY195" fmla="*/ 7442 h 10000"/>
              <a:gd name="connsiteX196" fmla="*/ 3411 w 9991"/>
              <a:gd name="connsiteY196" fmla="*/ 7598 h 10000"/>
              <a:gd name="connsiteX197" fmla="*/ 3411 w 9991"/>
              <a:gd name="connsiteY197" fmla="*/ 7675 h 10000"/>
              <a:gd name="connsiteX198" fmla="*/ 3459 w 9991"/>
              <a:gd name="connsiteY198" fmla="*/ 7675 h 10000"/>
              <a:gd name="connsiteX199" fmla="*/ 3556 w 9991"/>
              <a:gd name="connsiteY199" fmla="*/ 7752 h 10000"/>
              <a:gd name="connsiteX200" fmla="*/ 3556 w 9991"/>
              <a:gd name="connsiteY200" fmla="*/ 7830 h 10000"/>
              <a:gd name="connsiteX201" fmla="*/ 3654 w 9991"/>
              <a:gd name="connsiteY201" fmla="*/ 7830 h 10000"/>
              <a:gd name="connsiteX202" fmla="*/ 3750 w 9991"/>
              <a:gd name="connsiteY202" fmla="*/ 7675 h 10000"/>
              <a:gd name="connsiteX203" fmla="*/ 3848 w 9991"/>
              <a:gd name="connsiteY203" fmla="*/ 7598 h 10000"/>
              <a:gd name="connsiteX204" fmla="*/ 3901 w 9991"/>
              <a:gd name="connsiteY204" fmla="*/ 7830 h 10000"/>
              <a:gd name="connsiteX205" fmla="*/ 4092 w 9991"/>
              <a:gd name="connsiteY205" fmla="*/ 8372 h 10000"/>
              <a:gd name="connsiteX206" fmla="*/ 4143 w 9991"/>
              <a:gd name="connsiteY206" fmla="*/ 8217 h 10000"/>
              <a:gd name="connsiteX207" fmla="*/ 4190 w 9991"/>
              <a:gd name="connsiteY207" fmla="*/ 8372 h 10000"/>
              <a:gd name="connsiteX208" fmla="*/ 4336 w 9991"/>
              <a:gd name="connsiteY208" fmla="*/ 8295 h 10000"/>
              <a:gd name="connsiteX209" fmla="*/ 4485 w 9991"/>
              <a:gd name="connsiteY209" fmla="*/ 8528 h 10000"/>
              <a:gd name="connsiteX210" fmla="*/ 4579 w 9991"/>
              <a:gd name="connsiteY210" fmla="*/ 8605 h 10000"/>
              <a:gd name="connsiteX211" fmla="*/ 4579 w 9991"/>
              <a:gd name="connsiteY211" fmla="*/ 8528 h 10000"/>
              <a:gd name="connsiteX212" fmla="*/ 4629 w 9991"/>
              <a:gd name="connsiteY212" fmla="*/ 8683 h 10000"/>
              <a:gd name="connsiteX213" fmla="*/ 4579 w 9991"/>
              <a:gd name="connsiteY213" fmla="*/ 8760 h 10000"/>
              <a:gd name="connsiteX214" fmla="*/ 4679 w 9991"/>
              <a:gd name="connsiteY214" fmla="*/ 8683 h 10000"/>
              <a:gd name="connsiteX215" fmla="*/ 4725 w 9991"/>
              <a:gd name="connsiteY215" fmla="*/ 8605 h 10000"/>
              <a:gd name="connsiteX216" fmla="*/ 4969 w 9991"/>
              <a:gd name="connsiteY216" fmla="*/ 8372 h 10000"/>
              <a:gd name="connsiteX217" fmla="*/ 5164 w 9991"/>
              <a:gd name="connsiteY217" fmla="*/ 8449 h 10000"/>
              <a:gd name="connsiteX218" fmla="*/ 5261 w 9991"/>
              <a:gd name="connsiteY218" fmla="*/ 8528 h 10000"/>
              <a:gd name="connsiteX219" fmla="*/ 5454 w 9991"/>
              <a:gd name="connsiteY219" fmla="*/ 8528 h 10000"/>
              <a:gd name="connsiteX220" fmla="*/ 5454 w 9991"/>
              <a:gd name="connsiteY220" fmla="*/ 8372 h 10000"/>
              <a:gd name="connsiteX221" fmla="*/ 5454 w 9991"/>
              <a:gd name="connsiteY221" fmla="*/ 8217 h 10000"/>
              <a:gd name="connsiteX222" fmla="*/ 5553 w 9991"/>
              <a:gd name="connsiteY222" fmla="*/ 8140 h 10000"/>
              <a:gd name="connsiteX223" fmla="*/ 5747 w 9991"/>
              <a:gd name="connsiteY223" fmla="*/ 8217 h 10000"/>
              <a:gd name="connsiteX224" fmla="*/ 5846 w 9991"/>
              <a:gd name="connsiteY224" fmla="*/ 8449 h 10000"/>
              <a:gd name="connsiteX225" fmla="*/ 5895 w 9991"/>
              <a:gd name="connsiteY225" fmla="*/ 8449 h 10000"/>
              <a:gd name="connsiteX226" fmla="*/ 5993 w 9991"/>
              <a:gd name="connsiteY226" fmla="*/ 8372 h 10000"/>
              <a:gd name="connsiteX227" fmla="*/ 6288 w 9991"/>
              <a:gd name="connsiteY227" fmla="*/ 8605 h 10000"/>
              <a:gd name="connsiteX228" fmla="*/ 6432 w 9991"/>
              <a:gd name="connsiteY228" fmla="*/ 8683 h 10000"/>
              <a:gd name="connsiteX229" fmla="*/ 6627 w 9991"/>
              <a:gd name="connsiteY229" fmla="*/ 8605 h 10000"/>
              <a:gd name="connsiteX230" fmla="*/ 6723 w 9991"/>
              <a:gd name="connsiteY230" fmla="*/ 8449 h 10000"/>
              <a:gd name="connsiteX231" fmla="*/ 6870 w 9991"/>
              <a:gd name="connsiteY231" fmla="*/ 8528 h 10000"/>
              <a:gd name="connsiteX232" fmla="*/ 6966 w 9991"/>
              <a:gd name="connsiteY232" fmla="*/ 8605 h 10000"/>
              <a:gd name="connsiteX233" fmla="*/ 8624 w 9991"/>
              <a:gd name="connsiteY233" fmla="*/ 7675 h 10000"/>
              <a:gd name="connsiteX234" fmla="*/ 8527 w 9991"/>
              <a:gd name="connsiteY234" fmla="*/ 7675 h 10000"/>
              <a:gd name="connsiteX235" fmla="*/ 8478 w 9991"/>
              <a:gd name="connsiteY235" fmla="*/ 7675 h 10000"/>
              <a:gd name="connsiteX236" fmla="*/ 8428 w 9991"/>
              <a:gd name="connsiteY236" fmla="*/ 7598 h 10000"/>
              <a:gd name="connsiteX237" fmla="*/ 8333 w 9991"/>
              <a:gd name="connsiteY237" fmla="*/ 7598 h 10000"/>
              <a:gd name="connsiteX238" fmla="*/ 8333 w 9991"/>
              <a:gd name="connsiteY238" fmla="*/ 7520 h 10000"/>
              <a:gd name="connsiteX239" fmla="*/ 8478 w 9991"/>
              <a:gd name="connsiteY239" fmla="*/ 7287 h 10000"/>
              <a:gd name="connsiteX240" fmla="*/ 8922 w 9991"/>
              <a:gd name="connsiteY240" fmla="*/ 6590 h 10000"/>
              <a:gd name="connsiteX241" fmla="*/ 9111 w 9991"/>
              <a:gd name="connsiteY241" fmla="*/ 6512 h 10000"/>
              <a:gd name="connsiteX242" fmla="*/ 9159 w 9991"/>
              <a:gd name="connsiteY242" fmla="*/ 6590 h 10000"/>
              <a:gd name="connsiteX243" fmla="*/ 9210 w 9991"/>
              <a:gd name="connsiteY243" fmla="*/ 6512 h 10000"/>
              <a:gd name="connsiteX244" fmla="*/ 9353 w 9991"/>
              <a:gd name="connsiteY244" fmla="*/ 6590 h 10000"/>
              <a:gd name="connsiteX245" fmla="*/ 9407 w 9991"/>
              <a:gd name="connsiteY245" fmla="*/ 6434 h 10000"/>
              <a:gd name="connsiteX246" fmla="*/ 9550 w 9991"/>
              <a:gd name="connsiteY246" fmla="*/ 6512 h 10000"/>
              <a:gd name="connsiteX247" fmla="*/ 9597 w 9991"/>
              <a:gd name="connsiteY247" fmla="*/ 6512 h 10000"/>
              <a:gd name="connsiteX248" fmla="*/ 9550 w 9991"/>
              <a:gd name="connsiteY248" fmla="*/ 6590 h 10000"/>
              <a:gd name="connsiteX249" fmla="*/ 9550 w 9991"/>
              <a:gd name="connsiteY249" fmla="*/ 6667 h 10000"/>
              <a:gd name="connsiteX250" fmla="*/ 9839 w 9991"/>
              <a:gd name="connsiteY250" fmla="*/ 6590 h 10000"/>
              <a:gd name="connsiteX251" fmla="*/ 9792 w 9991"/>
              <a:gd name="connsiteY251" fmla="*/ 6512 h 10000"/>
              <a:gd name="connsiteX252" fmla="*/ 9991 w 9991"/>
              <a:gd name="connsiteY252" fmla="*/ 5969 h 10000"/>
              <a:gd name="connsiteX253" fmla="*/ 9648 w 9991"/>
              <a:gd name="connsiteY253" fmla="*/ 3178 h 10000"/>
              <a:gd name="connsiteX254" fmla="*/ 9597 w 9991"/>
              <a:gd name="connsiteY254" fmla="*/ 2946 h 10000"/>
              <a:gd name="connsiteX255" fmla="*/ 9500 w 9991"/>
              <a:gd name="connsiteY255" fmla="*/ 2946 h 10000"/>
              <a:gd name="connsiteX256" fmla="*/ 9452 w 9991"/>
              <a:gd name="connsiteY256" fmla="*/ 2868 h 10000"/>
              <a:gd name="connsiteX257" fmla="*/ 9452 w 9991"/>
              <a:gd name="connsiteY257" fmla="*/ 2636 h 10000"/>
              <a:gd name="connsiteX258" fmla="*/ 9111 w 9991"/>
              <a:gd name="connsiteY258" fmla="*/ 2480 h 10000"/>
              <a:gd name="connsiteX259" fmla="*/ 8722 w 9991"/>
              <a:gd name="connsiteY259" fmla="*/ 2325 h 10000"/>
              <a:gd name="connsiteX260" fmla="*/ 8624 w 9991"/>
              <a:gd name="connsiteY260" fmla="*/ 2636 h 10000"/>
              <a:gd name="connsiteX261" fmla="*/ 8722 w 9991"/>
              <a:gd name="connsiteY261" fmla="*/ 2868 h 10000"/>
              <a:gd name="connsiteX262" fmla="*/ 8428 w 9991"/>
              <a:gd name="connsiteY262" fmla="*/ 2868 h 10000"/>
              <a:gd name="connsiteX263" fmla="*/ 8380 w 9991"/>
              <a:gd name="connsiteY263" fmla="*/ 2868 h 10000"/>
              <a:gd name="connsiteX264" fmla="*/ 8281 w 9991"/>
              <a:gd name="connsiteY264" fmla="*/ 2946 h 10000"/>
              <a:gd name="connsiteX265" fmla="*/ 8136 w 9991"/>
              <a:gd name="connsiteY265" fmla="*/ 2714 h 10000"/>
              <a:gd name="connsiteX266" fmla="*/ 8036 w 9991"/>
              <a:gd name="connsiteY266" fmla="*/ 3178 h 10000"/>
              <a:gd name="connsiteX267" fmla="*/ 7944 w 9991"/>
              <a:gd name="connsiteY267" fmla="*/ 3101 h 10000"/>
              <a:gd name="connsiteX268" fmla="*/ 7844 w 9991"/>
              <a:gd name="connsiteY268" fmla="*/ 2791 h 10000"/>
              <a:gd name="connsiteX269" fmla="*/ 7894 w 9991"/>
              <a:gd name="connsiteY269" fmla="*/ 2403 h 10000"/>
              <a:gd name="connsiteX270" fmla="*/ 7795 w 9991"/>
              <a:gd name="connsiteY270" fmla="*/ 2170 h 10000"/>
              <a:gd name="connsiteX271" fmla="*/ 7503 w 9991"/>
              <a:gd name="connsiteY271" fmla="*/ 2016 h 10000"/>
              <a:gd name="connsiteX272" fmla="*/ 7403 w 9991"/>
              <a:gd name="connsiteY272" fmla="*/ 2016 h 10000"/>
              <a:gd name="connsiteX273" fmla="*/ 7356 w 9991"/>
              <a:gd name="connsiteY273" fmla="*/ 2170 h 10000"/>
              <a:gd name="connsiteX274" fmla="*/ 7403 w 9991"/>
              <a:gd name="connsiteY274" fmla="*/ 2325 h 10000"/>
              <a:gd name="connsiteX275" fmla="*/ 7019 w 9991"/>
              <a:gd name="connsiteY275" fmla="*/ 2248 h 10000"/>
              <a:gd name="connsiteX276" fmla="*/ 7065 w 9991"/>
              <a:gd name="connsiteY276" fmla="*/ 2016 h 10000"/>
              <a:gd name="connsiteX277" fmla="*/ 6822 w 9991"/>
              <a:gd name="connsiteY277" fmla="*/ 1938 h 10000"/>
              <a:gd name="connsiteX278" fmla="*/ 6675 w 9991"/>
              <a:gd name="connsiteY278" fmla="*/ 2093 h 10000"/>
              <a:gd name="connsiteX279" fmla="*/ 6390 w 9991"/>
              <a:gd name="connsiteY279" fmla="*/ 1861 h 10000"/>
              <a:gd name="connsiteX0" fmla="*/ 6396 w 10000"/>
              <a:gd name="connsiteY0" fmla="*/ 1861 h 10000"/>
              <a:gd name="connsiteX1" fmla="*/ 6396 w 10000"/>
              <a:gd name="connsiteY1" fmla="*/ 1861 h 10000"/>
              <a:gd name="connsiteX2" fmla="*/ 6339 w 10000"/>
              <a:gd name="connsiteY2" fmla="*/ 1938 h 10000"/>
              <a:gd name="connsiteX3" fmla="*/ 6396 w 10000"/>
              <a:gd name="connsiteY3" fmla="*/ 2093 h 10000"/>
              <a:gd name="connsiteX4" fmla="*/ 6192 w 10000"/>
              <a:gd name="connsiteY4" fmla="*/ 2248 h 10000"/>
              <a:gd name="connsiteX5" fmla="*/ 6142 w 10000"/>
              <a:gd name="connsiteY5" fmla="*/ 2248 h 10000"/>
              <a:gd name="connsiteX6" fmla="*/ 6192 w 10000"/>
              <a:gd name="connsiteY6" fmla="*/ 2016 h 10000"/>
              <a:gd name="connsiteX7" fmla="*/ 6681 w 10000"/>
              <a:gd name="connsiteY7" fmla="*/ 1318 h 10000"/>
              <a:gd name="connsiteX8" fmla="*/ 6681 w 10000"/>
              <a:gd name="connsiteY8" fmla="*/ 853 h 10000"/>
              <a:gd name="connsiteX9" fmla="*/ 6488 w 10000"/>
              <a:gd name="connsiteY9" fmla="*/ 543 h 10000"/>
              <a:gd name="connsiteX10" fmla="*/ 6242 w 10000"/>
              <a:gd name="connsiteY10" fmla="*/ 543 h 10000"/>
              <a:gd name="connsiteX11" fmla="*/ 6242 w 10000"/>
              <a:gd name="connsiteY11" fmla="*/ 698 h 10000"/>
              <a:gd name="connsiteX12" fmla="*/ 6094 w 10000"/>
              <a:gd name="connsiteY12" fmla="*/ 698 h 10000"/>
              <a:gd name="connsiteX13" fmla="*/ 6192 w 10000"/>
              <a:gd name="connsiteY13" fmla="*/ 387 h 10000"/>
              <a:gd name="connsiteX14" fmla="*/ 5951 w 10000"/>
              <a:gd name="connsiteY14" fmla="*/ 310 h 10000"/>
              <a:gd name="connsiteX15" fmla="*/ 6094 w 10000"/>
              <a:gd name="connsiteY15" fmla="*/ 155 h 10000"/>
              <a:gd name="connsiteX16" fmla="*/ 5951 w 10000"/>
              <a:gd name="connsiteY16" fmla="*/ 0 h 10000"/>
              <a:gd name="connsiteX17" fmla="*/ 5707 w 10000"/>
              <a:gd name="connsiteY17" fmla="*/ 387 h 10000"/>
              <a:gd name="connsiteX18" fmla="*/ 5707 w 10000"/>
              <a:gd name="connsiteY18" fmla="*/ 698 h 10000"/>
              <a:gd name="connsiteX19" fmla="*/ 5558 w 10000"/>
              <a:gd name="connsiteY19" fmla="*/ 698 h 10000"/>
              <a:gd name="connsiteX20" fmla="*/ 5121 w 10000"/>
              <a:gd name="connsiteY20" fmla="*/ 853 h 10000"/>
              <a:gd name="connsiteX21" fmla="*/ 4729 w 10000"/>
              <a:gd name="connsiteY21" fmla="*/ 1240 h 10000"/>
              <a:gd name="connsiteX22" fmla="*/ 4583 w 10000"/>
              <a:gd name="connsiteY22" fmla="*/ 1551 h 10000"/>
              <a:gd name="connsiteX23" fmla="*/ 4633 w 10000"/>
              <a:gd name="connsiteY23" fmla="*/ 1938 h 10000"/>
              <a:gd name="connsiteX24" fmla="*/ 4096 w 10000"/>
              <a:gd name="connsiteY24" fmla="*/ 2093 h 10000"/>
              <a:gd name="connsiteX25" fmla="*/ 4147 w 10000"/>
              <a:gd name="connsiteY25" fmla="*/ 2559 h 10000"/>
              <a:gd name="connsiteX26" fmla="*/ 4293 w 10000"/>
              <a:gd name="connsiteY26" fmla="*/ 2791 h 10000"/>
              <a:gd name="connsiteX27" fmla="*/ 4194 w 10000"/>
              <a:gd name="connsiteY27" fmla="*/ 2868 h 10000"/>
              <a:gd name="connsiteX28" fmla="*/ 4049 w 10000"/>
              <a:gd name="connsiteY28" fmla="*/ 2559 h 10000"/>
              <a:gd name="connsiteX29" fmla="*/ 3905 w 10000"/>
              <a:gd name="connsiteY29" fmla="*/ 2480 h 10000"/>
              <a:gd name="connsiteX30" fmla="*/ 3851 w 10000"/>
              <a:gd name="connsiteY30" fmla="*/ 2559 h 10000"/>
              <a:gd name="connsiteX31" fmla="*/ 3753 w 10000"/>
              <a:gd name="connsiteY31" fmla="*/ 2403 h 10000"/>
              <a:gd name="connsiteX32" fmla="*/ 3657 w 10000"/>
              <a:gd name="connsiteY32" fmla="*/ 2248 h 10000"/>
              <a:gd name="connsiteX33" fmla="*/ 3657 w 10000"/>
              <a:gd name="connsiteY33" fmla="*/ 2325 h 10000"/>
              <a:gd name="connsiteX34" fmla="*/ 3710 w 10000"/>
              <a:gd name="connsiteY34" fmla="*/ 2559 h 10000"/>
              <a:gd name="connsiteX35" fmla="*/ 3559 w 10000"/>
              <a:gd name="connsiteY35" fmla="*/ 2946 h 10000"/>
              <a:gd name="connsiteX36" fmla="*/ 3657 w 10000"/>
              <a:gd name="connsiteY36" fmla="*/ 3256 h 10000"/>
              <a:gd name="connsiteX37" fmla="*/ 3606 w 10000"/>
              <a:gd name="connsiteY37" fmla="*/ 3566 h 10000"/>
              <a:gd name="connsiteX38" fmla="*/ 3606 w 10000"/>
              <a:gd name="connsiteY38" fmla="*/ 3799 h 10000"/>
              <a:gd name="connsiteX39" fmla="*/ 3753 w 10000"/>
              <a:gd name="connsiteY39" fmla="*/ 3799 h 10000"/>
              <a:gd name="connsiteX40" fmla="*/ 3657 w 10000"/>
              <a:gd name="connsiteY40" fmla="*/ 3876 h 10000"/>
              <a:gd name="connsiteX41" fmla="*/ 3710 w 10000"/>
              <a:gd name="connsiteY41" fmla="*/ 4263 h 10000"/>
              <a:gd name="connsiteX42" fmla="*/ 3414 w 10000"/>
              <a:gd name="connsiteY42" fmla="*/ 4652 h 10000"/>
              <a:gd name="connsiteX43" fmla="*/ 3362 w 10000"/>
              <a:gd name="connsiteY43" fmla="*/ 4574 h 10000"/>
              <a:gd name="connsiteX44" fmla="*/ 3559 w 10000"/>
              <a:gd name="connsiteY44" fmla="*/ 4186 h 10000"/>
              <a:gd name="connsiteX45" fmla="*/ 3606 w 10000"/>
              <a:gd name="connsiteY45" fmla="*/ 3954 h 10000"/>
              <a:gd name="connsiteX46" fmla="*/ 3505 w 10000"/>
              <a:gd name="connsiteY46" fmla="*/ 3799 h 10000"/>
              <a:gd name="connsiteX47" fmla="*/ 3505 w 10000"/>
              <a:gd name="connsiteY47" fmla="*/ 3023 h 10000"/>
              <a:gd name="connsiteX48" fmla="*/ 3462 w 10000"/>
              <a:gd name="connsiteY48" fmla="*/ 2868 h 10000"/>
              <a:gd name="connsiteX49" fmla="*/ 3505 w 10000"/>
              <a:gd name="connsiteY49" fmla="*/ 2403 h 10000"/>
              <a:gd name="connsiteX50" fmla="*/ 3414 w 10000"/>
              <a:gd name="connsiteY50" fmla="*/ 2325 h 10000"/>
              <a:gd name="connsiteX51" fmla="*/ 3462 w 10000"/>
              <a:gd name="connsiteY51" fmla="*/ 2248 h 10000"/>
              <a:gd name="connsiteX52" fmla="*/ 3414 w 10000"/>
              <a:gd name="connsiteY52" fmla="*/ 2093 h 10000"/>
              <a:gd name="connsiteX53" fmla="*/ 3312 w 10000"/>
              <a:gd name="connsiteY53" fmla="*/ 2170 h 10000"/>
              <a:gd name="connsiteX54" fmla="*/ 3071 w 10000"/>
              <a:gd name="connsiteY54" fmla="*/ 3178 h 10000"/>
              <a:gd name="connsiteX55" fmla="*/ 3071 w 10000"/>
              <a:gd name="connsiteY55" fmla="*/ 3566 h 10000"/>
              <a:gd name="connsiteX56" fmla="*/ 3218 w 10000"/>
              <a:gd name="connsiteY56" fmla="*/ 3876 h 10000"/>
              <a:gd name="connsiteX57" fmla="*/ 3218 w 10000"/>
              <a:gd name="connsiteY57" fmla="*/ 4031 h 10000"/>
              <a:gd name="connsiteX58" fmla="*/ 3071 w 10000"/>
              <a:gd name="connsiteY58" fmla="*/ 3876 h 10000"/>
              <a:gd name="connsiteX59" fmla="*/ 2489 w 10000"/>
              <a:gd name="connsiteY59" fmla="*/ 3256 h 10000"/>
              <a:gd name="connsiteX60" fmla="*/ 2439 w 10000"/>
              <a:gd name="connsiteY60" fmla="*/ 3411 h 10000"/>
              <a:gd name="connsiteX61" fmla="*/ 2633 w 10000"/>
              <a:gd name="connsiteY61" fmla="*/ 3799 h 10000"/>
              <a:gd name="connsiteX62" fmla="*/ 2534 w 10000"/>
              <a:gd name="connsiteY62" fmla="*/ 3876 h 10000"/>
              <a:gd name="connsiteX63" fmla="*/ 2489 w 10000"/>
              <a:gd name="connsiteY63" fmla="*/ 3799 h 10000"/>
              <a:gd name="connsiteX64" fmla="*/ 2196 w 10000"/>
              <a:gd name="connsiteY64" fmla="*/ 3954 h 10000"/>
              <a:gd name="connsiteX65" fmla="*/ 2147 w 10000"/>
              <a:gd name="connsiteY65" fmla="*/ 4109 h 10000"/>
              <a:gd name="connsiteX66" fmla="*/ 2098 w 10000"/>
              <a:gd name="connsiteY66" fmla="*/ 3954 h 10000"/>
              <a:gd name="connsiteX67" fmla="*/ 2098 w 10000"/>
              <a:gd name="connsiteY67" fmla="*/ 3799 h 10000"/>
              <a:gd name="connsiteX68" fmla="*/ 1607 w 10000"/>
              <a:gd name="connsiteY68" fmla="*/ 4263 h 10000"/>
              <a:gd name="connsiteX69" fmla="*/ 1607 w 10000"/>
              <a:gd name="connsiteY69" fmla="*/ 4418 h 10000"/>
              <a:gd name="connsiteX70" fmla="*/ 1513 w 10000"/>
              <a:gd name="connsiteY70" fmla="*/ 4496 h 10000"/>
              <a:gd name="connsiteX71" fmla="*/ 1365 w 10000"/>
              <a:gd name="connsiteY71" fmla="*/ 4341 h 10000"/>
              <a:gd name="connsiteX72" fmla="*/ 1513 w 10000"/>
              <a:gd name="connsiteY72" fmla="*/ 4186 h 10000"/>
              <a:gd name="connsiteX73" fmla="*/ 1463 w 10000"/>
              <a:gd name="connsiteY73" fmla="*/ 3954 h 10000"/>
              <a:gd name="connsiteX74" fmla="*/ 1269 w 10000"/>
              <a:gd name="connsiteY74" fmla="*/ 3876 h 10000"/>
              <a:gd name="connsiteX75" fmla="*/ 1318 w 10000"/>
              <a:gd name="connsiteY75" fmla="*/ 4031 h 10000"/>
              <a:gd name="connsiteX76" fmla="*/ 1318 w 10000"/>
              <a:gd name="connsiteY76" fmla="*/ 4418 h 10000"/>
              <a:gd name="connsiteX77" fmla="*/ 1365 w 10000"/>
              <a:gd name="connsiteY77" fmla="*/ 4574 h 10000"/>
              <a:gd name="connsiteX78" fmla="*/ 1318 w 10000"/>
              <a:gd name="connsiteY78" fmla="*/ 4729 h 10000"/>
              <a:gd name="connsiteX79" fmla="*/ 1169 w 10000"/>
              <a:gd name="connsiteY79" fmla="*/ 4652 h 10000"/>
              <a:gd name="connsiteX80" fmla="*/ 976 w 10000"/>
              <a:gd name="connsiteY80" fmla="*/ 4884 h 10000"/>
              <a:gd name="connsiteX81" fmla="*/ 1070 w 10000"/>
              <a:gd name="connsiteY81" fmla="*/ 5194 h 10000"/>
              <a:gd name="connsiteX82" fmla="*/ 779 w 10000"/>
              <a:gd name="connsiteY82" fmla="*/ 5039 h 10000"/>
              <a:gd name="connsiteX83" fmla="*/ 732 w 10000"/>
              <a:gd name="connsiteY83" fmla="*/ 5116 h 10000"/>
              <a:gd name="connsiteX84" fmla="*/ 830 w 10000"/>
              <a:gd name="connsiteY84" fmla="*/ 5349 h 10000"/>
              <a:gd name="connsiteX85" fmla="*/ 732 w 10000"/>
              <a:gd name="connsiteY85" fmla="*/ 5349 h 10000"/>
              <a:gd name="connsiteX86" fmla="*/ 587 w 10000"/>
              <a:gd name="connsiteY86" fmla="*/ 5194 h 10000"/>
              <a:gd name="connsiteX87" fmla="*/ 587 w 10000"/>
              <a:gd name="connsiteY87" fmla="*/ 4729 h 10000"/>
              <a:gd name="connsiteX88" fmla="*/ 442 w 10000"/>
              <a:gd name="connsiteY88" fmla="*/ 4574 h 10000"/>
              <a:gd name="connsiteX89" fmla="*/ 390 w 10000"/>
              <a:gd name="connsiteY89" fmla="*/ 4418 h 10000"/>
              <a:gd name="connsiteX90" fmla="*/ 487 w 10000"/>
              <a:gd name="connsiteY90" fmla="*/ 4496 h 10000"/>
              <a:gd name="connsiteX91" fmla="*/ 876 w 10000"/>
              <a:gd name="connsiteY91" fmla="*/ 4729 h 10000"/>
              <a:gd name="connsiteX92" fmla="*/ 1118 w 10000"/>
              <a:gd name="connsiteY92" fmla="*/ 4496 h 10000"/>
              <a:gd name="connsiteX93" fmla="*/ 1070 w 10000"/>
              <a:gd name="connsiteY93" fmla="*/ 4263 h 10000"/>
              <a:gd name="connsiteX94" fmla="*/ 779 w 10000"/>
              <a:gd name="connsiteY94" fmla="*/ 3799 h 10000"/>
              <a:gd name="connsiteX95" fmla="*/ 487 w 10000"/>
              <a:gd name="connsiteY95" fmla="*/ 3644 h 10000"/>
              <a:gd name="connsiteX96" fmla="*/ 487 w 10000"/>
              <a:gd name="connsiteY96" fmla="*/ 3566 h 10000"/>
              <a:gd name="connsiteX97" fmla="*/ 390 w 10000"/>
              <a:gd name="connsiteY97" fmla="*/ 3488 h 10000"/>
              <a:gd name="connsiteX98" fmla="*/ 290 w 10000"/>
              <a:gd name="connsiteY98" fmla="*/ 3566 h 10000"/>
              <a:gd name="connsiteX99" fmla="*/ 290 w 10000"/>
              <a:gd name="connsiteY99" fmla="*/ 3644 h 10000"/>
              <a:gd name="connsiteX100" fmla="*/ 243 w 10000"/>
              <a:gd name="connsiteY100" fmla="*/ 3644 h 10000"/>
              <a:gd name="connsiteX101" fmla="*/ 146 w 10000"/>
              <a:gd name="connsiteY101" fmla="*/ 3799 h 10000"/>
              <a:gd name="connsiteX102" fmla="*/ 146 w 10000"/>
              <a:gd name="connsiteY102" fmla="*/ 4031 h 10000"/>
              <a:gd name="connsiteX103" fmla="*/ 243 w 10000"/>
              <a:gd name="connsiteY103" fmla="*/ 4186 h 10000"/>
              <a:gd name="connsiteX104" fmla="*/ 196 w 10000"/>
              <a:gd name="connsiteY104" fmla="*/ 4418 h 10000"/>
              <a:gd name="connsiteX105" fmla="*/ 243 w 10000"/>
              <a:gd name="connsiteY105" fmla="*/ 4807 h 10000"/>
              <a:gd name="connsiteX106" fmla="*/ 196 w 10000"/>
              <a:gd name="connsiteY106" fmla="*/ 5039 h 10000"/>
              <a:gd name="connsiteX107" fmla="*/ 290 w 10000"/>
              <a:gd name="connsiteY107" fmla="*/ 5271 h 10000"/>
              <a:gd name="connsiteX108" fmla="*/ 243 w 10000"/>
              <a:gd name="connsiteY108" fmla="*/ 5426 h 10000"/>
              <a:gd name="connsiteX109" fmla="*/ 339 w 10000"/>
              <a:gd name="connsiteY109" fmla="*/ 5582 h 10000"/>
              <a:gd name="connsiteX110" fmla="*/ 339 w 10000"/>
              <a:gd name="connsiteY110" fmla="*/ 5659 h 10000"/>
              <a:gd name="connsiteX111" fmla="*/ 196 w 10000"/>
              <a:gd name="connsiteY111" fmla="*/ 6047 h 10000"/>
              <a:gd name="connsiteX112" fmla="*/ 45 w 10000"/>
              <a:gd name="connsiteY112" fmla="*/ 6202 h 10000"/>
              <a:gd name="connsiteX113" fmla="*/ 96 w 10000"/>
              <a:gd name="connsiteY113" fmla="*/ 6202 h 10000"/>
              <a:gd name="connsiteX114" fmla="*/ 196 w 10000"/>
              <a:gd name="connsiteY114" fmla="*/ 6356 h 10000"/>
              <a:gd name="connsiteX115" fmla="*/ 96 w 10000"/>
              <a:gd name="connsiteY115" fmla="*/ 6512 h 10000"/>
              <a:gd name="connsiteX116" fmla="*/ 45 w 10000"/>
              <a:gd name="connsiteY116" fmla="*/ 6590 h 10000"/>
              <a:gd name="connsiteX117" fmla="*/ 0 w 10000"/>
              <a:gd name="connsiteY117" fmla="*/ 6590 h 10000"/>
              <a:gd name="connsiteX118" fmla="*/ 45 w 10000"/>
              <a:gd name="connsiteY118" fmla="*/ 6822 h 10000"/>
              <a:gd name="connsiteX119" fmla="*/ 45 w 10000"/>
              <a:gd name="connsiteY119" fmla="*/ 6900 h 10000"/>
              <a:gd name="connsiteX120" fmla="*/ 45 w 10000"/>
              <a:gd name="connsiteY120" fmla="*/ 6977 h 10000"/>
              <a:gd name="connsiteX121" fmla="*/ 45 w 10000"/>
              <a:gd name="connsiteY121" fmla="*/ 7054 h 10000"/>
              <a:gd name="connsiteX122" fmla="*/ 96 w 10000"/>
              <a:gd name="connsiteY122" fmla="*/ 7209 h 10000"/>
              <a:gd name="connsiteX123" fmla="*/ 243 w 10000"/>
              <a:gd name="connsiteY123" fmla="*/ 7287 h 10000"/>
              <a:gd name="connsiteX124" fmla="*/ 290 w 10000"/>
              <a:gd name="connsiteY124" fmla="*/ 7364 h 10000"/>
              <a:gd name="connsiteX125" fmla="*/ 290 w 10000"/>
              <a:gd name="connsiteY125" fmla="*/ 7520 h 10000"/>
              <a:gd name="connsiteX126" fmla="*/ 390 w 10000"/>
              <a:gd name="connsiteY126" fmla="*/ 7752 h 10000"/>
              <a:gd name="connsiteX127" fmla="*/ 442 w 10000"/>
              <a:gd name="connsiteY127" fmla="*/ 7752 h 10000"/>
              <a:gd name="connsiteX128" fmla="*/ 390 w 10000"/>
              <a:gd name="connsiteY128" fmla="*/ 7907 h 10000"/>
              <a:gd name="connsiteX129" fmla="*/ 339 w 10000"/>
              <a:gd name="connsiteY129" fmla="*/ 7830 h 10000"/>
              <a:gd name="connsiteX130" fmla="*/ 339 w 10000"/>
              <a:gd name="connsiteY130" fmla="*/ 7907 h 10000"/>
              <a:gd name="connsiteX131" fmla="*/ 390 w 10000"/>
              <a:gd name="connsiteY131" fmla="*/ 8062 h 10000"/>
              <a:gd name="connsiteX132" fmla="*/ 538 w 10000"/>
              <a:gd name="connsiteY132" fmla="*/ 8062 h 10000"/>
              <a:gd name="connsiteX133" fmla="*/ 587 w 10000"/>
              <a:gd name="connsiteY133" fmla="*/ 8140 h 10000"/>
              <a:gd name="connsiteX134" fmla="*/ 538 w 10000"/>
              <a:gd name="connsiteY134" fmla="*/ 8140 h 10000"/>
              <a:gd name="connsiteX135" fmla="*/ 587 w 10000"/>
              <a:gd name="connsiteY135" fmla="*/ 8217 h 10000"/>
              <a:gd name="connsiteX136" fmla="*/ 633 w 10000"/>
              <a:gd name="connsiteY136" fmla="*/ 8217 h 10000"/>
              <a:gd name="connsiteX137" fmla="*/ 682 w 10000"/>
              <a:gd name="connsiteY137" fmla="*/ 8372 h 10000"/>
              <a:gd name="connsiteX138" fmla="*/ 732 w 10000"/>
              <a:gd name="connsiteY138" fmla="*/ 8449 h 10000"/>
              <a:gd name="connsiteX139" fmla="*/ 779 w 10000"/>
              <a:gd name="connsiteY139" fmla="*/ 8372 h 10000"/>
              <a:gd name="connsiteX140" fmla="*/ 1025 w 10000"/>
              <a:gd name="connsiteY140" fmla="*/ 8605 h 10000"/>
              <a:gd name="connsiteX141" fmla="*/ 976 w 10000"/>
              <a:gd name="connsiteY141" fmla="*/ 8915 h 10000"/>
              <a:gd name="connsiteX142" fmla="*/ 926 w 10000"/>
              <a:gd name="connsiteY142" fmla="*/ 8838 h 10000"/>
              <a:gd name="connsiteX143" fmla="*/ 876 w 10000"/>
              <a:gd name="connsiteY143" fmla="*/ 8915 h 10000"/>
              <a:gd name="connsiteX144" fmla="*/ 876 w 10000"/>
              <a:gd name="connsiteY144" fmla="*/ 9070 h 10000"/>
              <a:gd name="connsiteX145" fmla="*/ 926 w 10000"/>
              <a:gd name="connsiteY145" fmla="*/ 8993 h 10000"/>
              <a:gd name="connsiteX146" fmla="*/ 976 w 10000"/>
              <a:gd name="connsiteY146" fmla="*/ 9070 h 10000"/>
              <a:gd name="connsiteX147" fmla="*/ 830 w 10000"/>
              <a:gd name="connsiteY147" fmla="*/ 9147 h 10000"/>
              <a:gd name="connsiteX148" fmla="*/ 876 w 10000"/>
              <a:gd name="connsiteY148" fmla="*/ 9225 h 10000"/>
              <a:gd name="connsiteX149" fmla="*/ 779 w 10000"/>
              <a:gd name="connsiteY149" fmla="*/ 9380 h 10000"/>
              <a:gd name="connsiteX150" fmla="*/ 732 w 10000"/>
              <a:gd name="connsiteY150" fmla="*/ 9380 h 10000"/>
              <a:gd name="connsiteX151" fmla="*/ 779 w 10000"/>
              <a:gd name="connsiteY151" fmla="*/ 9380 h 10000"/>
              <a:gd name="connsiteX152" fmla="*/ 976 w 10000"/>
              <a:gd name="connsiteY152" fmla="*/ 9691 h 10000"/>
              <a:gd name="connsiteX153" fmla="*/ 1220 w 10000"/>
              <a:gd name="connsiteY153" fmla="*/ 9691 h 10000"/>
              <a:gd name="connsiteX154" fmla="*/ 1318 w 10000"/>
              <a:gd name="connsiteY154" fmla="*/ 9768 h 10000"/>
              <a:gd name="connsiteX155" fmla="*/ 1414 w 10000"/>
              <a:gd name="connsiteY155" fmla="*/ 9768 h 10000"/>
              <a:gd name="connsiteX156" fmla="*/ 1513 w 10000"/>
              <a:gd name="connsiteY156" fmla="*/ 9923 h 10000"/>
              <a:gd name="connsiteX157" fmla="*/ 1560 w 10000"/>
              <a:gd name="connsiteY157" fmla="*/ 10000 h 10000"/>
              <a:gd name="connsiteX158" fmla="*/ 1607 w 10000"/>
              <a:gd name="connsiteY158" fmla="*/ 10000 h 10000"/>
              <a:gd name="connsiteX159" fmla="*/ 1660 w 10000"/>
              <a:gd name="connsiteY159" fmla="*/ 9923 h 10000"/>
              <a:gd name="connsiteX160" fmla="*/ 1560 w 10000"/>
              <a:gd name="connsiteY160" fmla="*/ 9768 h 10000"/>
              <a:gd name="connsiteX161" fmla="*/ 1560 w 10000"/>
              <a:gd name="connsiteY161" fmla="*/ 9613 h 10000"/>
              <a:gd name="connsiteX162" fmla="*/ 1513 w 10000"/>
              <a:gd name="connsiteY162" fmla="*/ 9457 h 10000"/>
              <a:gd name="connsiteX163" fmla="*/ 1607 w 10000"/>
              <a:gd name="connsiteY163" fmla="*/ 9225 h 10000"/>
              <a:gd name="connsiteX164" fmla="*/ 1660 w 10000"/>
              <a:gd name="connsiteY164" fmla="*/ 9302 h 10000"/>
              <a:gd name="connsiteX165" fmla="*/ 1707 w 10000"/>
              <a:gd name="connsiteY165" fmla="*/ 9225 h 10000"/>
              <a:gd name="connsiteX166" fmla="*/ 1707 w 10000"/>
              <a:gd name="connsiteY166" fmla="*/ 9147 h 10000"/>
              <a:gd name="connsiteX167" fmla="*/ 1660 w 10000"/>
              <a:gd name="connsiteY167" fmla="*/ 9147 h 10000"/>
              <a:gd name="connsiteX168" fmla="*/ 1707 w 10000"/>
              <a:gd name="connsiteY168" fmla="*/ 9070 h 10000"/>
              <a:gd name="connsiteX169" fmla="*/ 1660 w 10000"/>
              <a:gd name="connsiteY169" fmla="*/ 8915 h 10000"/>
              <a:gd name="connsiteX170" fmla="*/ 1560 w 10000"/>
              <a:gd name="connsiteY170" fmla="*/ 8915 h 10000"/>
              <a:gd name="connsiteX171" fmla="*/ 1513 w 10000"/>
              <a:gd name="connsiteY171" fmla="*/ 8760 h 10000"/>
              <a:gd name="connsiteX172" fmla="*/ 1560 w 10000"/>
              <a:gd name="connsiteY172" fmla="*/ 8372 h 10000"/>
              <a:gd name="connsiteX173" fmla="*/ 1660 w 10000"/>
              <a:gd name="connsiteY173" fmla="*/ 8528 h 10000"/>
              <a:gd name="connsiteX174" fmla="*/ 1707 w 10000"/>
              <a:gd name="connsiteY174" fmla="*/ 8528 h 10000"/>
              <a:gd name="connsiteX175" fmla="*/ 1660 w 10000"/>
              <a:gd name="connsiteY175" fmla="*/ 8372 h 10000"/>
              <a:gd name="connsiteX176" fmla="*/ 1805 w 10000"/>
              <a:gd name="connsiteY176" fmla="*/ 8140 h 10000"/>
              <a:gd name="connsiteX177" fmla="*/ 1905 w 10000"/>
              <a:gd name="connsiteY177" fmla="*/ 8217 h 10000"/>
              <a:gd name="connsiteX178" fmla="*/ 1950 w 10000"/>
              <a:gd name="connsiteY178" fmla="*/ 8140 h 10000"/>
              <a:gd name="connsiteX179" fmla="*/ 2048 w 10000"/>
              <a:gd name="connsiteY179" fmla="*/ 8217 h 10000"/>
              <a:gd name="connsiteX180" fmla="*/ 2196 w 10000"/>
              <a:gd name="connsiteY180" fmla="*/ 8372 h 10000"/>
              <a:gd name="connsiteX181" fmla="*/ 2291 w 10000"/>
              <a:gd name="connsiteY181" fmla="*/ 8295 h 10000"/>
              <a:gd name="connsiteX182" fmla="*/ 2390 w 10000"/>
              <a:gd name="connsiteY182" fmla="*/ 8295 h 10000"/>
              <a:gd name="connsiteX183" fmla="*/ 2439 w 10000"/>
              <a:gd name="connsiteY183" fmla="*/ 8372 h 10000"/>
              <a:gd name="connsiteX184" fmla="*/ 2633 w 10000"/>
              <a:gd name="connsiteY184" fmla="*/ 8372 h 10000"/>
              <a:gd name="connsiteX185" fmla="*/ 2680 w 10000"/>
              <a:gd name="connsiteY185" fmla="*/ 8217 h 10000"/>
              <a:gd name="connsiteX186" fmla="*/ 2534 w 10000"/>
              <a:gd name="connsiteY186" fmla="*/ 8140 h 10000"/>
              <a:gd name="connsiteX187" fmla="*/ 2633 w 10000"/>
              <a:gd name="connsiteY187" fmla="*/ 8062 h 10000"/>
              <a:gd name="connsiteX188" fmla="*/ 2582 w 10000"/>
              <a:gd name="connsiteY188" fmla="*/ 7985 h 10000"/>
              <a:gd name="connsiteX189" fmla="*/ 2633 w 10000"/>
              <a:gd name="connsiteY189" fmla="*/ 7907 h 10000"/>
              <a:gd name="connsiteX190" fmla="*/ 2633 w 10000"/>
              <a:gd name="connsiteY190" fmla="*/ 7675 h 10000"/>
              <a:gd name="connsiteX191" fmla="*/ 2729 w 10000"/>
              <a:gd name="connsiteY191" fmla="*/ 7752 h 10000"/>
              <a:gd name="connsiteX192" fmla="*/ 3170 w 10000"/>
              <a:gd name="connsiteY192" fmla="*/ 7520 h 10000"/>
              <a:gd name="connsiteX193" fmla="*/ 3170 w 10000"/>
              <a:gd name="connsiteY193" fmla="*/ 7442 h 10000"/>
              <a:gd name="connsiteX194" fmla="*/ 3218 w 10000"/>
              <a:gd name="connsiteY194" fmla="*/ 7442 h 10000"/>
              <a:gd name="connsiteX195" fmla="*/ 3362 w 10000"/>
              <a:gd name="connsiteY195" fmla="*/ 7442 h 10000"/>
              <a:gd name="connsiteX196" fmla="*/ 3414 w 10000"/>
              <a:gd name="connsiteY196" fmla="*/ 7598 h 10000"/>
              <a:gd name="connsiteX197" fmla="*/ 3414 w 10000"/>
              <a:gd name="connsiteY197" fmla="*/ 7675 h 10000"/>
              <a:gd name="connsiteX198" fmla="*/ 3462 w 10000"/>
              <a:gd name="connsiteY198" fmla="*/ 7675 h 10000"/>
              <a:gd name="connsiteX199" fmla="*/ 3559 w 10000"/>
              <a:gd name="connsiteY199" fmla="*/ 7752 h 10000"/>
              <a:gd name="connsiteX200" fmla="*/ 3559 w 10000"/>
              <a:gd name="connsiteY200" fmla="*/ 7830 h 10000"/>
              <a:gd name="connsiteX201" fmla="*/ 3657 w 10000"/>
              <a:gd name="connsiteY201" fmla="*/ 7830 h 10000"/>
              <a:gd name="connsiteX202" fmla="*/ 3753 w 10000"/>
              <a:gd name="connsiteY202" fmla="*/ 7675 h 10000"/>
              <a:gd name="connsiteX203" fmla="*/ 3851 w 10000"/>
              <a:gd name="connsiteY203" fmla="*/ 7598 h 10000"/>
              <a:gd name="connsiteX204" fmla="*/ 3905 w 10000"/>
              <a:gd name="connsiteY204" fmla="*/ 7830 h 10000"/>
              <a:gd name="connsiteX205" fmla="*/ 4096 w 10000"/>
              <a:gd name="connsiteY205" fmla="*/ 8372 h 10000"/>
              <a:gd name="connsiteX206" fmla="*/ 4147 w 10000"/>
              <a:gd name="connsiteY206" fmla="*/ 8217 h 10000"/>
              <a:gd name="connsiteX207" fmla="*/ 4194 w 10000"/>
              <a:gd name="connsiteY207" fmla="*/ 8372 h 10000"/>
              <a:gd name="connsiteX208" fmla="*/ 4340 w 10000"/>
              <a:gd name="connsiteY208" fmla="*/ 8295 h 10000"/>
              <a:gd name="connsiteX209" fmla="*/ 4489 w 10000"/>
              <a:gd name="connsiteY209" fmla="*/ 8528 h 10000"/>
              <a:gd name="connsiteX210" fmla="*/ 4583 w 10000"/>
              <a:gd name="connsiteY210" fmla="*/ 8605 h 10000"/>
              <a:gd name="connsiteX211" fmla="*/ 4583 w 10000"/>
              <a:gd name="connsiteY211" fmla="*/ 8528 h 10000"/>
              <a:gd name="connsiteX212" fmla="*/ 4633 w 10000"/>
              <a:gd name="connsiteY212" fmla="*/ 8683 h 10000"/>
              <a:gd name="connsiteX213" fmla="*/ 4583 w 10000"/>
              <a:gd name="connsiteY213" fmla="*/ 8760 h 10000"/>
              <a:gd name="connsiteX214" fmla="*/ 4683 w 10000"/>
              <a:gd name="connsiteY214" fmla="*/ 8683 h 10000"/>
              <a:gd name="connsiteX215" fmla="*/ 4729 w 10000"/>
              <a:gd name="connsiteY215" fmla="*/ 8605 h 10000"/>
              <a:gd name="connsiteX216" fmla="*/ 4973 w 10000"/>
              <a:gd name="connsiteY216" fmla="*/ 8372 h 10000"/>
              <a:gd name="connsiteX217" fmla="*/ 5169 w 10000"/>
              <a:gd name="connsiteY217" fmla="*/ 8449 h 10000"/>
              <a:gd name="connsiteX218" fmla="*/ 5266 w 10000"/>
              <a:gd name="connsiteY218" fmla="*/ 8528 h 10000"/>
              <a:gd name="connsiteX219" fmla="*/ 5459 w 10000"/>
              <a:gd name="connsiteY219" fmla="*/ 8528 h 10000"/>
              <a:gd name="connsiteX220" fmla="*/ 5459 w 10000"/>
              <a:gd name="connsiteY220" fmla="*/ 8372 h 10000"/>
              <a:gd name="connsiteX221" fmla="*/ 5459 w 10000"/>
              <a:gd name="connsiteY221" fmla="*/ 8217 h 10000"/>
              <a:gd name="connsiteX222" fmla="*/ 5558 w 10000"/>
              <a:gd name="connsiteY222" fmla="*/ 8140 h 10000"/>
              <a:gd name="connsiteX223" fmla="*/ 5752 w 10000"/>
              <a:gd name="connsiteY223" fmla="*/ 8217 h 10000"/>
              <a:gd name="connsiteX224" fmla="*/ 5851 w 10000"/>
              <a:gd name="connsiteY224" fmla="*/ 8449 h 10000"/>
              <a:gd name="connsiteX225" fmla="*/ 5900 w 10000"/>
              <a:gd name="connsiteY225" fmla="*/ 8449 h 10000"/>
              <a:gd name="connsiteX226" fmla="*/ 5998 w 10000"/>
              <a:gd name="connsiteY226" fmla="*/ 8372 h 10000"/>
              <a:gd name="connsiteX227" fmla="*/ 6294 w 10000"/>
              <a:gd name="connsiteY227" fmla="*/ 8605 h 10000"/>
              <a:gd name="connsiteX228" fmla="*/ 6438 w 10000"/>
              <a:gd name="connsiteY228" fmla="*/ 8683 h 10000"/>
              <a:gd name="connsiteX229" fmla="*/ 6633 w 10000"/>
              <a:gd name="connsiteY229" fmla="*/ 8605 h 10000"/>
              <a:gd name="connsiteX230" fmla="*/ 6729 w 10000"/>
              <a:gd name="connsiteY230" fmla="*/ 8449 h 10000"/>
              <a:gd name="connsiteX231" fmla="*/ 6876 w 10000"/>
              <a:gd name="connsiteY231" fmla="*/ 8528 h 10000"/>
              <a:gd name="connsiteX232" fmla="*/ 6972 w 10000"/>
              <a:gd name="connsiteY232" fmla="*/ 8605 h 10000"/>
              <a:gd name="connsiteX233" fmla="*/ 8632 w 10000"/>
              <a:gd name="connsiteY233" fmla="*/ 7675 h 10000"/>
              <a:gd name="connsiteX234" fmla="*/ 8535 w 10000"/>
              <a:gd name="connsiteY234" fmla="*/ 7675 h 10000"/>
              <a:gd name="connsiteX235" fmla="*/ 8486 w 10000"/>
              <a:gd name="connsiteY235" fmla="*/ 7675 h 10000"/>
              <a:gd name="connsiteX236" fmla="*/ 8436 w 10000"/>
              <a:gd name="connsiteY236" fmla="*/ 7598 h 10000"/>
              <a:gd name="connsiteX237" fmla="*/ 8341 w 10000"/>
              <a:gd name="connsiteY237" fmla="*/ 7598 h 10000"/>
              <a:gd name="connsiteX238" fmla="*/ 8341 w 10000"/>
              <a:gd name="connsiteY238" fmla="*/ 7520 h 10000"/>
              <a:gd name="connsiteX239" fmla="*/ 8486 w 10000"/>
              <a:gd name="connsiteY239" fmla="*/ 7287 h 10000"/>
              <a:gd name="connsiteX240" fmla="*/ 8930 w 10000"/>
              <a:gd name="connsiteY240" fmla="*/ 6590 h 10000"/>
              <a:gd name="connsiteX241" fmla="*/ 9119 w 10000"/>
              <a:gd name="connsiteY241" fmla="*/ 6512 h 10000"/>
              <a:gd name="connsiteX242" fmla="*/ 9167 w 10000"/>
              <a:gd name="connsiteY242" fmla="*/ 6590 h 10000"/>
              <a:gd name="connsiteX243" fmla="*/ 9218 w 10000"/>
              <a:gd name="connsiteY243" fmla="*/ 6512 h 10000"/>
              <a:gd name="connsiteX244" fmla="*/ 9361 w 10000"/>
              <a:gd name="connsiteY244" fmla="*/ 6590 h 10000"/>
              <a:gd name="connsiteX245" fmla="*/ 9415 w 10000"/>
              <a:gd name="connsiteY245" fmla="*/ 6434 h 10000"/>
              <a:gd name="connsiteX246" fmla="*/ 9559 w 10000"/>
              <a:gd name="connsiteY246" fmla="*/ 6512 h 10000"/>
              <a:gd name="connsiteX247" fmla="*/ 9606 w 10000"/>
              <a:gd name="connsiteY247" fmla="*/ 6512 h 10000"/>
              <a:gd name="connsiteX248" fmla="*/ 9559 w 10000"/>
              <a:gd name="connsiteY248" fmla="*/ 6590 h 10000"/>
              <a:gd name="connsiteX249" fmla="*/ 9559 w 10000"/>
              <a:gd name="connsiteY249" fmla="*/ 6667 h 10000"/>
              <a:gd name="connsiteX250" fmla="*/ 9848 w 10000"/>
              <a:gd name="connsiteY250" fmla="*/ 6590 h 10000"/>
              <a:gd name="connsiteX251" fmla="*/ 9801 w 10000"/>
              <a:gd name="connsiteY251" fmla="*/ 6512 h 10000"/>
              <a:gd name="connsiteX252" fmla="*/ 10000 w 10000"/>
              <a:gd name="connsiteY252" fmla="*/ 5969 h 10000"/>
              <a:gd name="connsiteX253" fmla="*/ 9606 w 10000"/>
              <a:gd name="connsiteY253" fmla="*/ 2946 h 10000"/>
              <a:gd name="connsiteX254" fmla="*/ 9509 w 10000"/>
              <a:gd name="connsiteY254" fmla="*/ 2946 h 10000"/>
              <a:gd name="connsiteX255" fmla="*/ 9461 w 10000"/>
              <a:gd name="connsiteY255" fmla="*/ 2868 h 10000"/>
              <a:gd name="connsiteX256" fmla="*/ 9461 w 10000"/>
              <a:gd name="connsiteY256" fmla="*/ 2636 h 10000"/>
              <a:gd name="connsiteX257" fmla="*/ 9119 w 10000"/>
              <a:gd name="connsiteY257" fmla="*/ 2480 h 10000"/>
              <a:gd name="connsiteX258" fmla="*/ 8730 w 10000"/>
              <a:gd name="connsiteY258" fmla="*/ 2325 h 10000"/>
              <a:gd name="connsiteX259" fmla="*/ 8632 w 10000"/>
              <a:gd name="connsiteY259" fmla="*/ 2636 h 10000"/>
              <a:gd name="connsiteX260" fmla="*/ 8730 w 10000"/>
              <a:gd name="connsiteY260" fmla="*/ 2868 h 10000"/>
              <a:gd name="connsiteX261" fmla="*/ 8436 w 10000"/>
              <a:gd name="connsiteY261" fmla="*/ 2868 h 10000"/>
              <a:gd name="connsiteX262" fmla="*/ 8388 w 10000"/>
              <a:gd name="connsiteY262" fmla="*/ 2868 h 10000"/>
              <a:gd name="connsiteX263" fmla="*/ 8288 w 10000"/>
              <a:gd name="connsiteY263" fmla="*/ 2946 h 10000"/>
              <a:gd name="connsiteX264" fmla="*/ 8143 w 10000"/>
              <a:gd name="connsiteY264" fmla="*/ 2714 h 10000"/>
              <a:gd name="connsiteX265" fmla="*/ 8043 w 10000"/>
              <a:gd name="connsiteY265" fmla="*/ 3178 h 10000"/>
              <a:gd name="connsiteX266" fmla="*/ 7951 w 10000"/>
              <a:gd name="connsiteY266" fmla="*/ 3101 h 10000"/>
              <a:gd name="connsiteX267" fmla="*/ 7851 w 10000"/>
              <a:gd name="connsiteY267" fmla="*/ 2791 h 10000"/>
              <a:gd name="connsiteX268" fmla="*/ 7901 w 10000"/>
              <a:gd name="connsiteY268" fmla="*/ 2403 h 10000"/>
              <a:gd name="connsiteX269" fmla="*/ 7802 w 10000"/>
              <a:gd name="connsiteY269" fmla="*/ 2170 h 10000"/>
              <a:gd name="connsiteX270" fmla="*/ 7510 w 10000"/>
              <a:gd name="connsiteY270" fmla="*/ 2016 h 10000"/>
              <a:gd name="connsiteX271" fmla="*/ 7410 w 10000"/>
              <a:gd name="connsiteY271" fmla="*/ 2016 h 10000"/>
              <a:gd name="connsiteX272" fmla="*/ 7363 w 10000"/>
              <a:gd name="connsiteY272" fmla="*/ 2170 h 10000"/>
              <a:gd name="connsiteX273" fmla="*/ 7410 w 10000"/>
              <a:gd name="connsiteY273" fmla="*/ 2325 h 10000"/>
              <a:gd name="connsiteX274" fmla="*/ 7025 w 10000"/>
              <a:gd name="connsiteY274" fmla="*/ 2248 h 10000"/>
              <a:gd name="connsiteX275" fmla="*/ 7071 w 10000"/>
              <a:gd name="connsiteY275" fmla="*/ 2016 h 10000"/>
              <a:gd name="connsiteX276" fmla="*/ 6828 w 10000"/>
              <a:gd name="connsiteY276" fmla="*/ 1938 h 10000"/>
              <a:gd name="connsiteX277" fmla="*/ 6681 w 10000"/>
              <a:gd name="connsiteY277" fmla="*/ 2093 h 10000"/>
              <a:gd name="connsiteX278" fmla="*/ 6396 w 10000"/>
              <a:gd name="connsiteY278" fmla="*/ 1861 h 10000"/>
              <a:gd name="connsiteX0" fmla="*/ 6396 w 9848"/>
              <a:gd name="connsiteY0" fmla="*/ 1861 h 10000"/>
              <a:gd name="connsiteX1" fmla="*/ 6396 w 9848"/>
              <a:gd name="connsiteY1" fmla="*/ 1861 h 10000"/>
              <a:gd name="connsiteX2" fmla="*/ 6339 w 9848"/>
              <a:gd name="connsiteY2" fmla="*/ 1938 h 10000"/>
              <a:gd name="connsiteX3" fmla="*/ 6396 w 9848"/>
              <a:gd name="connsiteY3" fmla="*/ 2093 h 10000"/>
              <a:gd name="connsiteX4" fmla="*/ 6192 w 9848"/>
              <a:gd name="connsiteY4" fmla="*/ 2248 h 10000"/>
              <a:gd name="connsiteX5" fmla="*/ 6142 w 9848"/>
              <a:gd name="connsiteY5" fmla="*/ 2248 h 10000"/>
              <a:gd name="connsiteX6" fmla="*/ 6192 w 9848"/>
              <a:gd name="connsiteY6" fmla="*/ 2016 h 10000"/>
              <a:gd name="connsiteX7" fmla="*/ 6681 w 9848"/>
              <a:gd name="connsiteY7" fmla="*/ 1318 h 10000"/>
              <a:gd name="connsiteX8" fmla="*/ 6681 w 9848"/>
              <a:gd name="connsiteY8" fmla="*/ 853 h 10000"/>
              <a:gd name="connsiteX9" fmla="*/ 6488 w 9848"/>
              <a:gd name="connsiteY9" fmla="*/ 543 h 10000"/>
              <a:gd name="connsiteX10" fmla="*/ 6242 w 9848"/>
              <a:gd name="connsiteY10" fmla="*/ 543 h 10000"/>
              <a:gd name="connsiteX11" fmla="*/ 6242 w 9848"/>
              <a:gd name="connsiteY11" fmla="*/ 698 h 10000"/>
              <a:gd name="connsiteX12" fmla="*/ 6094 w 9848"/>
              <a:gd name="connsiteY12" fmla="*/ 698 h 10000"/>
              <a:gd name="connsiteX13" fmla="*/ 6192 w 9848"/>
              <a:gd name="connsiteY13" fmla="*/ 387 h 10000"/>
              <a:gd name="connsiteX14" fmla="*/ 5951 w 9848"/>
              <a:gd name="connsiteY14" fmla="*/ 310 h 10000"/>
              <a:gd name="connsiteX15" fmla="*/ 6094 w 9848"/>
              <a:gd name="connsiteY15" fmla="*/ 155 h 10000"/>
              <a:gd name="connsiteX16" fmla="*/ 5951 w 9848"/>
              <a:gd name="connsiteY16" fmla="*/ 0 h 10000"/>
              <a:gd name="connsiteX17" fmla="*/ 5707 w 9848"/>
              <a:gd name="connsiteY17" fmla="*/ 387 h 10000"/>
              <a:gd name="connsiteX18" fmla="*/ 5707 w 9848"/>
              <a:gd name="connsiteY18" fmla="*/ 698 h 10000"/>
              <a:gd name="connsiteX19" fmla="*/ 5558 w 9848"/>
              <a:gd name="connsiteY19" fmla="*/ 698 h 10000"/>
              <a:gd name="connsiteX20" fmla="*/ 5121 w 9848"/>
              <a:gd name="connsiteY20" fmla="*/ 853 h 10000"/>
              <a:gd name="connsiteX21" fmla="*/ 4729 w 9848"/>
              <a:gd name="connsiteY21" fmla="*/ 1240 h 10000"/>
              <a:gd name="connsiteX22" fmla="*/ 4583 w 9848"/>
              <a:gd name="connsiteY22" fmla="*/ 1551 h 10000"/>
              <a:gd name="connsiteX23" fmla="*/ 4633 w 9848"/>
              <a:gd name="connsiteY23" fmla="*/ 1938 h 10000"/>
              <a:gd name="connsiteX24" fmla="*/ 4096 w 9848"/>
              <a:gd name="connsiteY24" fmla="*/ 2093 h 10000"/>
              <a:gd name="connsiteX25" fmla="*/ 4147 w 9848"/>
              <a:gd name="connsiteY25" fmla="*/ 2559 h 10000"/>
              <a:gd name="connsiteX26" fmla="*/ 4293 w 9848"/>
              <a:gd name="connsiteY26" fmla="*/ 2791 h 10000"/>
              <a:gd name="connsiteX27" fmla="*/ 4194 w 9848"/>
              <a:gd name="connsiteY27" fmla="*/ 2868 h 10000"/>
              <a:gd name="connsiteX28" fmla="*/ 4049 w 9848"/>
              <a:gd name="connsiteY28" fmla="*/ 2559 h 10000"/>
              <a:gd name="connsiteX29" fmla="*/ 3905 w 9848"/>
              <a:gd name="connsiteY29" fmla="*/ 2480 h 10000"/>
              <a:gd name="connsiteX30" fmla="*/ 3851 w 9848"/>
              <a:gd name="connsiteY30" fmla="*/ 2559 h 10000"/>
              <a:gd name="connsiteX31" fmla="*/ 3753 w 9848"/>
              <a:gd name="connsiteY31" fmla="*/ 2403 h 10000"/>
              <a:gd name="connsiteX32" fmla="*/ 3657 w 9848"/>
              <a:gd name="connsiteY32" fmla="*/ 2248 h 10000"/>
              <a:gd name="connsiteX33" fmla="*/ 3657 w 9848"/>
              <a:gd name="connsiteY33" fmla="*/ 2325 h 10000"/>
              <a:gd name="connsiteX34" fmla="*/ 3710 w 9848"/>
              <a:gd name="connsiteY34" fmla="*/ 2559 h 10000"/>
              <a:gd name="connsiteX35" fmla="*/ 3559 w 9848"/>
              <a:gd name="connsiteY35" fmla="*/ 2946 h 10000"/>
              <a:gd name="connsiteX36" fmla="*/ 3657 w 9848"/>
              <a:gd name="connsiteY36" fmla="*/ 3256 h 10000"/>
              <a:gd name="connsiteX37" fmla="*/ 3606 w 9848"/>
              <a:gd name="connsiteY37" fmla="*/ 3566 h 10000"/>
              <a:gd name="connsiteX38" fmla="*/ 3606 w 9848"/>
              <a:gd name="connsiteY38" fmla="*/ 3799 h 10000"/>
              <a:gd name="connsiteX39" fmla="*/ 3753 w 9848"/>
              <a:gd name="connsiteY39" fmla="*/ 3799 h 10000"/>
              <a:gd name="connsiteX40" fmla="*/ 3657 w 9848"/>
              <a:gd name="connsiteY40" fmla="*/ 3876 h 10000"/>
              <a:gd name="connsiteX41" fmla="*/ 3710 w 9848"/>
              <a:gd name="connsiteY41" fmla="*/ 4263 h 10000"/>
              <a:gd name="connsiteX42" fmla="*/ 3414 w 9848"/>
              <a:gd name="connsiteY42" fmla="*/ 4652 h 10000"/>
              <a:gd name="connsiteX43" fmla="*/ 3362 w 9848"/>
              <a:gd name="connsiteY43" fmla="*/ 4574 h 10000"/>
              <a:gd name="connsiteX44" fmla="*/ 3559 w 9848"/>
              <a:gd name="connsiteY44" fmla="*/ 4186 h 10000"/>
              <a:gd name="connsiteX45" fmla="*/ 3606 w 9848"/>
              <a:gd name="connsiteY45" fmla="*/ 3954 h 10000"/>
              <a:gd name="connsiteX46" fmla="*/ 3505 w 9848"/>
              <a:gd name="connsiteY46" fmla="*/ 3799 h 10000"/>
              <a:gd name="connsiteX47" fmla="*/ 3505 w 9848"/>
              <a:gd name="connsiteY47" fmla="*/ 3023 h 10000"/>
              <a:gd name="connsiteX48" fmla="*/ 3462 w 9848"/>
              <a:gd name="connsiteY48" fmla="*/ 2868 h 10000"/>
              <a:gd name="connsiteX49" fmla="*/ 3505 w 9848"/>
              <a:gd name="connsiteY49" fmla="*/ 2403 h 10000"/>
              <a:gd name="connsiteX50" fmla="*/ 3414 w 9848"/>
              <a:gd name="connsiteY50" fmla="*/ 2325 h 10000"/>
              <a:gd name="connsiteX51" fmla="*/ 3462 w 9848"/>
              <a:gd name="connsiteY51" fmla="*/ 2248 h 10000"/>
              <a:gd name="connsiteX52" fmla="*/ 3414 w 9848"/>
              <a:gd name="connsiteY52" fmla="*/ 2093 h 10000"/>
              <a:gd name="connsiteX53" fmla="*/ 3312 w 9848"/>
              <a:gd name="connsiteY53" fmla="*/ 2170 h 10000"/>
              <a:gd name="connsiteX54" fmla="*/ 3071 w 9848"/>
              <a:gd name="connsiteY54" fmla="*/ 3178 h 10000"/>
              <a:gd name="connsiteX55" fmla="*/ 3071 w 9848"/>
              <a:gd name="connsiteY55" fmla="*/ 3566 h 10000"/>
              <a:gd name="connsiteX56" fmla="*/ 3218 w 9848"/>
              <a:gd name="connsiteY56" fmla="*/ 3876 h 10000"/>
              <a:gd name="connsiteX57" fmla="*/ 3218 w 9848"/>
              <a:gd name="connsiteY57" fmla="*/ 4031 h 10000"/>
              <a:gd name="connsiteX58" fmla="*/ 3071 w 9848"/>
              <a:gd name="connsiteY58" fmla="*/ 3876 h 10000"/>
              <a:gd name="connsiteX59" fmla="*/ 2489 w 9848"/>
              <a:gd name="connsiteY59" fmla="*/ 3256 h 10000"/>
              <a:gd name="connsiteX60" fmla="*/ 2439 w 9848"/>
              <a:gd name="connsiteY60" fmla="*/ 3411 h 10000"/>
              <a:gd name="connsiteX61" fmla="*/ 2633 w 9848"/>
              <a:gd name="connsiteY61" fmla="*/ 3799 h 10000"/>
              <a:gd name="connsiteX62" fmla="*/ 2534 w 9848"/>
              <a:gd name="connsiteY62" fmla="*/ 3876 h 10000"/>
              <a:gd name="connsiteX63" fmla="*/ 2489 w 9848"/>
              <a:gd name="connsiteY63" fmla="*/ 3799 h 10000"/>
              <a:gd name="connsiteX64" fmla="*/ 2196 w 9848"/>
              <a:gd name="connsiteY64" fmla="*/ 3954 h 10000"/>
              <a:gd name="connsiteX65" fmla="*/ 2147 w 9848"/>
              <a:gd name="connsiteY65" fmla="*/ 4109 h 10000"/>
              <a:gd name="connsiteX66" fmla="*/ 2098 w 9848"/>
              <a:gd name="connsiteY66" fmla="*/ 3954 h 10000"/>
              <a:gd name="connsiteX67" fmla="*/ 2098 w 9848"/>
              <a:gd name="connsiteY67" fmla="*/ 3799 h 10000"/>
              <a:gd name="connsiteX68" fmla="*/ 1607 w 9848"/>
              <a:gd name="connsiteY68" fmla="*/ 4263 h 10000"/>
              <a:gd name="connsiteX69" fmla="*/ 1607 w 9848"/>
              <a:gd name="connsiteY69" fmla="*/ 4418 h 10000"/>
              <a:gd name="connsiteX70" fmla="*/ 1513 w 9848"/>
              <a:gd name="connsiteY70" fmla="*/ 4496 h 10000"/>
              <a:gd name="connsiteX71" fmla="*/ 1365 w 9848"/>
              <a:gd name="connsiteY71" fmla="*/ 4341 h 10000"/>
              <a:gd name="connsiteX72" fmla="*/ 1513 w 9848"/>
              <a:gd name="connsiteY72" fmla="*/ 4186 h 10000"/>
              <a:gd name="connsiteX73" fmla="*/ 1463 w 9848"/>
              <a:gd name="connsiteY73" fmla="*/ 3954 h 10000"/>
              <a:gd name="connsiteX74" fmla="*/ 1269 w 9848"/>
              <a:gd name="connsiteY74" fmla="*/ 3876 h 10000"/>
              <a:gd name="connsiteX75" fmla="*/ 1318 w 9848"/>
              <a:gd name="connsiteY75" fmla="*/ 4031 h 10000"/>
              <a:gd name="connsiteX76" fmla="*/ 1318 w 9848"/>
              <a:gd name="connsiteY76" fmla="*/ 4418 h 10000"/>
              <a:gd name="connsiteX77" fmla="*/ 1365 w 9848"/>
              <a:gd name="connsiteY77" fmla="*/ 4574 h 10000"/>
              <a:gd name="connsiteX78" fmla="*/ 1318 w 9848"/>
              <a:gd name="connsiteY78" fmla="*/ 4729 h 10000"/>
              <a:gd name="connsiteX79" fmla="*/ 1169 w 9848"/>
              <a:gd name="connsiteY79" fmla="*/ 4652 h 10000"/>
              <a:gd name="connsiteX80" fmla="*/ 976 w 9848"/>
              <a:gd name="connsiteY80" fmla="*/ 4884 h 10000"/>
              <a:gd name="connsiteX81" fmla="*/ 1070 w 9848"/>
              <a:gd name="connsiteY81" fmla="*/ 5194 h 10000"/>
              <a:gd name="connsiteX82" fmla="*/ 779 w 9848"/>
              <a:gd name="connsiteY82" fmla="*/ 5039 h 10000"/>
              <a:gd name="connsiteX83" fmla="*/ 732 w 9848"/>
              <a:gd name="connsiteY83" fmla="*/ 5116 h 10000"/>
              <a:gd name="connsiteX84" fmla="*/ 830 w 9848"/>
              <a:gd name="connsiteY84" fmla="*/ 5349 h 10000"/>
              <a:gd name="connsiteX85" fmla="*/ 732 w 9848"/>
              <a:gd name="connsiteY85" fmla="*/ 5349 h 10000"/>
              <a:gd name="connsiteX86" fmla="*/ 587 w 9848"/>
              <a:gd name="connsiteY86" fmla="*/ 5194 h 10000"/>
              <a:gd name="connsiteX87" fmla="*/ 587 w 9848"/>
              <a:gd name="connsiteY87" fmla="*/ 4729 h 10000"/>
              <a:gd name="connsiteX88" fmla="*/ 442 w 9848"/>
              <a:gd name="connsiteY88" fmla="*/ 4574 h 10000"/>
              <a:gd name="connsiteX89" fmla="*/ 390 w 9848"/>
              <a:gd name="connsiteY89" fmla="*/ 4418 h 10000"/>
              <a:gd name="connsiteX90" fmla="*/ 487 w 9848"/>
              <a:gd name="connsiteY90" fmla="*/ 4496 h 10000"/>
              <a:gd name="connsiteX91" fmla="*/ 876 w 9848"/>
              <a:gd name="connsiteY91" fmla="*/ 4729 h 10000"/>
              <a:gd name="connsiteX92" fmla="*/ 1118 w 9848"/>
              <a:gd name="connsiteY92" fmla="*/ 4496 h 10000"/>
              <a:gd name="connsiteX93" fmla="*/ 1070 w 9848"/>
              <a:gd name="connsiteY93" fmla="*/ 4263 h 10000"/>
              <a:gd name="connsiteX94" fmla="*/ 779 w 9848"/>
              <a:gd name="connsiteY94" fmla="*/ 3799 h 10000"/>
              <a:gd name="connsiteX95" fmla="*/ 487 w 9848"/>
              <a:gd name="connsiteY95" fmla="*/ 3644 h 10000"/>
              <a:gd name="connsiteX96" fmla="*/ 487 w 9848"/>
              <a:gd name="connsiteY96" fmla="*/ 3566 h 10000"/>
              <a:gd name="connsiteX97" fmla="*/ 390 w 9848"/>
              <a:gd name="connsiteY97" fmla="*/ 3488 h 10000"/>
              <a:gd name="connsiteX98" fmla="*/ 290 w 9848"/>
              <a:gd name="connsiteY98" fmla="*/ 3566 h 10000"/>
              <a:gd name="connsiteX99" fmla="*/ 290 w 9848"/>
              <a:gd name="connsiteY99" fmla="*/ 3644 h 10000"/>
              <a:gd name="connsiteX100" fmla="*/ 243 w 9848"/>
              <a:gd name="connsiteY100" fmla="*/ 3644 h 10000"/>
              <a:gd name="connsiteX101" fmla="*/ 146 w 9848"/>
              <a:gd name="connsiteY101" fmla="*/ 3799 h 10000"/>
              <a:gd name="connsiteX102" fmla="*/ 146 w 9848"/>
              <a:gd name="connsiteY102" fmla="*/ 4031 h 10000"/>
              <a:gd name="connsiteX103" fmla="*/ 243 w 9848"/>
              <a:gd name="connsiteY103" fmla="*/ 4186 h 10000"/>
              <a:gd name="connsiteX104" fmla="*/ 196 w 9848"/>
              <a:gd name="connsiteY104" fmla="*/ 4418 h 10000"/>
              <a:gd name="connsiteX105" fmla="*/ 243 w 9848"/>
              <a:gd name="connsiteY105" fmla="*/ 4807 h 10000"/>
              <a:gd name="connsiteX106" fmla="*/ 196 w 9848"/>
              <a:gd name="connsiteY106" fmla="*/ 5039 h 10000"/>
              <a:gd name="connsiteX107" fmla="*/ 290 w 9848"/>
              <a:gd name="connsiteY107" fmla="*/ 5271 h 10000"/>
              <a:gd name="connsiteX108" fmla="*/ 243 w 9848"/>
              <a:gd name="connsiteY108" fmla="*/ 5426 h 10000"/>
              <a:gd name="connsiteX109" fmla="*/ 339 w 9848"/>
              <a:gd name="connsiteY109" fmla="*/ 5582 h 10000"/>
              <a:gd name="connsiteX110" fmla="*/ 339 w 9848"/>
              <a:gd name="connsiteY110" fmla="*/ 5659 h 10000"/>
              <a:gd name="connsiteX111" fmla="*/ 196 w 9848"/>
              <a:gd name="connsiteY111" fmla="*/ 6047 h 10000"/>
              <a:gd name="connsiteX112" fmla="*/ 45 w 9848"/>
              <a:gd name="connsiteY112" fmla="*/ 6202 h 10000"/>
              <a:gd name="connsiteX113" fmla="*/ 96 w 9848"/>
              <a:gd name="connsiteY113" fmla="*/ 6202 h 10000"/>
              <a:gd name="connsiteX114" fmla="*/ 196 w 9848"/>
              <a:gd name="connsiteY114" fmla="*/ 6356 h 10000"/>
              <a:gd name="connsiteX115" fmla="*/ 96 w 9848"/>
              <a:gd name="connsiteY115" fmla="*/ 6512 h 10000"/>
              <a:gd name="connsiteX116" fmla="*/ 45 w 9848"/>
              <a:gd name="connsiteY116" fmla="*/ 6590 h 10000"/>
              <a:gd name="connsiteX117" fmla="*/ 0 w 9848"/>
              <a:gd name="connsiteY117" fmla="*/ 6590 h 10000"/>
              <a:gd name="connsiteX118" fmla="*/ 45 w 9848"/>
              <a:gd name="connsiteY118" fmla="*/ 6822 h 10000"/>
              <a:gd name="connsiteX119" fmla="*/ 45 w 9848"/>
              <a:gd name="connsiteY119" fmla="*/ 6900 h 10000"/>
              <a:gd name="connsiteX120" fmla="*/ 45 w 9848"/>
              <a:gd name="connsiteY120" fmla="*/ 6977 h 10000"/>
              <a:gd name="connsiteX121" fmla="*/ 45 w 9848"/>
              <a:gd name="connsiteY121" fmla="*/ 7054 h 10000"/>
              <a:gd name="connsiteX122" fmla="*/ 96 w 9848"/>
              <a:gd name="connsiteY122" fmla="*/ 7209 h 10000"/>
              <a:gd name="connsiteX123" fmla="*/ 243 w 9848"/>
              <a:gd name="connsiteY123" fmla="*/ 7287 h 10000"/>
              <a:gd name="connsiteX124" fmla="*/ 290 w 9848"/>
              <a:gd name="connsiteY124" fmla="*/ 7364 h 10000"/>
              <a:gd name="connsiteX125" fmla="*/ 290 w 9848"/>
              <a:gd name="connsiteY125" fmla="*/ 7520 h 10000"/>
              <a:gd name="connsiteX126" fmla="*/ 390 w 9848"/>
              <a:gd name="connsiteY126" fmla="*/ 7752 h 10000"/>
              <a:gd name="connsiteX127" fmla="*/ 442 w 9848"/>
              <a:gd name="connsiteY127" fmla="*/ 7752 h 10000"/>
              <a:gd name="connsiteX128" fmla="*/ 390 w 9848"/>
              <a:gd name="connsiteY128" fmla="*/ 7907 h 10000"/>
              <a:gd name="connsiteX129" fmla="*/ 339 w 9848"/>
              <a:gd name="connsiteY129" fmla="*/ 7830 h 10000"/>
              <a:gd name="connsiteX130" fmla="*/ 339 w 9848"/>
              <a:gd name="connsiteY130" fmla="*/ 7907 h 10000"/>
              <a:gd name="connsiteX131" fmla="*/ 390 w 9848"/>
              <a:gd name="connsiteY131" fmla="*/ 8062 h 10000"/>
              <a:gd name="connsiteX132" fmla="*/ 538 w 9848"/>
              <a:gd name="connsiteY132" fmla="*/ 8062 h 10000"/>
              <a:gd name="connsiteX133" fmla="*/ 587 w 9848"/>
              <a:gd name="connsiteY133" fmla="*/ 8140 h 10000"/>
              <a:gd name="connsiteX134" fmla="*/ 538 w 9848"/>
              <a:gd name="connsiteY134" fmla="*/ 8140 h 10000"/>
              <a:gd name="connsiteX135" fmla="*/ 587 w 9848"/>
              <a:gd name="connsiteY135" fmla="*/ 8217 h 10000"/>
              <a:gd name="connsiteX136" fmla="*/ 633 w 9848"/>
              <a:gd name="connsiteY136" fmla="*/ 8217 h 10000"/>
              <a:gd name="connsiteX137" fmla="*/ 682 w 9848"/>
              <a:gd name="connsiteY137" fmla="*/ 8372 h 10000"/>
              <a:gd name="connsiteX138" fmla="*/ 732 w 9848"/>
              <a:gd name="connsiteY138" fmla="*/ 8449 h 10000"/>
              <a:gd name="connsiteX139" fmla="*/ 779 w 9848"/>
              <a:gd name="connsiteY139" fmla="*/ 8372 h 10000"/>
              <a:gd name="connsiteX140" fmla="*/ 1025 w 9848"/>
              <a:gd name="connsiteY140" fmla="*/ 8605 h 10000"/>
              <a:gd name="connsiteX141" fmla="*/ 976 w 9848"/>
              <a:gd name="connsiteY141" fmla="*/ 8915 h 10000"/>
              <a:gd name="connsiteX142" fmla="*/ 926 w 9848"/>
              <a:gd name="connsiteY142" fmla="*/ 8838 h 10000"/>
              <a:gd name="connsiteX143" fmla="*/ 876 w 9848"/>
              <a:gd name="connsiteY143" fmla="*/ 8915 h 10000"/>
              <a:gd name="connsiteX144" fmla="*/ 876 w 9848"/>
              <a:gd name="connsiteY144" fmla="*/ 9070 h 10000"/>
              <a:gd name="connsiteX145" fmla="*/ 926 w 9848"/>
              <a:gd name="connsiteY145" fmla="*/ 8993 h 10000"/>
              <a:gd name="connsiteX146" fmla="*/ 976 w 9848"/>
              <a:gd name="connsiteY146" fmla="*/ 9070 h 10000"/>
              <a:gd name="connsiteX147" fmla="*/ 830 w 9848"/>
              <a:gd name="connsiteY147" fmla="*/ 9147 h 10000"/>
              <a:gd name="connsiteX148" fmla="*/ 876 w 9848"/>
              <a:gd name="connsiteY148" fmla="*/ 9225 h 10000"/>
              <a:gd name="connsiteX149" fmla="*/ 779 w 9848"/>
              <a:gd name="connsiteY149" fmla="*/ 9380 h 10000"/>
              <a:gd name="connsiteX150" fmla="*/ 732 w 9848"/>
              <a:gd name="connsiteY150" fmla="*/ 9380 h 10000"/>
              <a:gd name="connsiteX151" fmla="*/ 779 w 9848"/>
              <a:gd name="connsiteY151" fmla="*/ 9380 h 10000"/>
              <a:gd name="connsiteX152" fmla="*/ 976 w 9848"/>
              <a:gd name="connsiteY152" fmla="*/ 9691 h 10000"/>
              <a:gd name="connsiteX153" fmla="*/ 1220 w 9848"/>
              <a:gd name="connsiteY153" fmla="*/ 9691 h 10000"/>
              <a:gd name="connsiteX154" fmla="*/ 1318 w 9848"/>
              <a:gd name="connsiteY154" fmla="*/ 9768 h 10000"/>
              <a:gd name="connsiteX155" fmla="*/ 1414 w 9848"/>
              <a:gd name="connsiteY155" fmla="*/ 9768 h 10000"/>
              <a:gd name="connsiteX156" fmla="*/ 1513 w 9848"/>
              <a:gd name="connsiteY156" fmla="*/ 9923 h 10000"/>
              <a:gd name="connsiteX157" fmla="*/ 1560 w 9848"/>
              <a:gd name="connsiteY157" fmla="*/ 10000 h 10000"/>
              <a:gd name="connsiteX158" fmla="*/ 1607 w 9848"/>
              <a:gd name="connsiteY158" fmla="*/ 10000 h 10000"/>
              <a:gd name="connsiteX159" fmla="*/ 1660 w 9848"/>
              <a:gd name="connsiteY159" fmla="*/ 9923 h 10000"/>
              <a:gd name="connsiteX160" fmla="*/ 1560 w 9848"/>
              <a:gd name="connsiteY160" fmla="*/ 9768 h 10000"/>
              <a:gd name="connsiteX161" fmla="*/ 1560 w 9848"/>
              <a:gd name="connsiteY161" fmla="*/ 9613 h 10000"/>
              <a:gd name="connsiteX162" fmla="*/ 1513 w 9848"/>
              <a:gd name="connsiteY162" fmla="*/ 9457 h 10000"/>
              <a:gd name="connsiteX163" fmla="*/ 1607 w 9848"/>
              <a:gd name="connsiteY163" fmla="*/ 9225 h 10000"/>
              <a:gd name="connsiteX164" fmla="*/ 1660 w 9848"/>
              <a:gd name="connsiteY164" fmla="*/ 9302 h 10000"/>
              <a:gd name="connsiteX165" fmla="*/ 1707 w 9848"/>
              <a:gd name="connsiteY165" fmla="*/ 9225 h 10000"/>
              <a:gd name="connsiteX166" fmla="*/ 1707 w 9848"/>
              <a:gd name="connsiteY166" fmla="*/ 9147 h 10000"/>
              <a:gd name="connsiteX167" fmla="*/ 1660 w 9848"/>
              <a:gd name="connsiteY167" fmla="*/ 9147 h 10000"/>
              <a:gd name="connsiteX168" fmla="*/ 1707 w 9848"/>
              <a:gd name="connsiteY168" fmla="*/ 9070 h 10000"/>
              <a:gd name="connsiteX169" fmla="*/ 1660 w 9848"/>
              <a:gd name="connsiteY169" fmla="*/ 8915 h 10000"/>
              <a:gd name="connsiteX170" fmla="*/ 1560 w 9848"/>
              <a:gd name="connsiteY170" fmla="*/ 8915 h 10000"/>
              <a:gd name="connsiteX171" fmla="*/ 1513 w 9848"/>
              <a:gd name="connsiteY171" fmla="*/ 8760 h 10000"/>
              <a:gd name="connsiteX172" fmla="*/ 1560 w 9848"/>
              <a:gd name="connsiteY172" fmla="*/ 8372 h 10000"/>
              <a:gd name="connsiteX173" fmla="*/ 1660 w 9848"/>
              <a:gd name="connsiteY173" fmla="*/ 8528 h 10000"/>
              <a:gd name="connsiteX174" fmla="*/ 1707 w 9848"/>
              <a:gd name="connsiteY174" fmla="*/ 8528 h 10000"/>
              <a:gd name="connsiteX175" fmla="*/ 1660 w 9848"/>
              <a:gd name="connsiteY175" fmla="*/ 8372 h 10000"/>
              <a:gd name="connsiteX176" fmla="*/ 1805 w 9848"/>
              <a:gd name="connsiteY176" fmla="*/ 8140 h 10000"/>
              <a:gd name="connsiteX177" fmla="*/ 1905 w 9848"/>
              <a:gd name="connsiteY177" fmla="*/ 8217 h 10000"/>
              <a:gd name="connsiteX178" fmla="*/ 1950 w 9848"/>
              <a:gd name="connsiteY178" fmla="*/ 8140 h 10000"/>
              <a:gd name="connsiteX179" fmla="*/ 2048 w 9848"/>
              <a:gd name="connsiteY179" fmla="*/ 8217 h 10000"/>
              <a:gd name="connsiteX180" fmla="*/ 2196 w 9848"/>
              <a:gd name="connsiteY180" fmla="*/ 8372 h 10000"/>
              <a:gd name="connsiteX181" fmla="*/ 2291 w 9848"/>
              <a:gd name="connsiteY181" fmla="*/ 8295 h 10000"/>
              <a:gd name="connsiteX182" fmla="*/ 2390 w 9848"/>
              <a:gd name="connsiteY182" fmla="*/ 8295 h 10000"/>
              <a:gd name="connsiteX183" fmla="*/ 2439 w 9848"/>
              <a:gd name="connsiteY183" fmla="*/ 8372 h 10000"/>
              <a:gd name="connsiteX184" fmla="*/ 2633 w 9848"/>
              <a:gd name="connsiteY184" fmla="*/ 8372 h 10000"/>
              <a:gd name="connsiteX185" fmla="*/ 2680 w 9848"/>
              <a:gd name="connsiteY185" fmla="*/ 8217 h 10000"/>
              <a:gd name="connsiteX186" fmla="*/ 2534 w 9848"/>
              <a:gd name="connsiteY186" fmla="*/ 8140 h 10000"/>
              <a:gd name="connsiteX187" fmla="*/ 2633 w 9848"/>
              <a:gd name="connsiteY187" fmla="*/ 8062 h 10000"/>
              <a:gd name="connsiteX188" fmla="*/ 2582 w 9848"/>
              <a:gd name="connsiteY188" fmla="*/ 7985 h 10000"/>
              <a:gd name="connsiteX189" fmla="*/ 2633 w 9848"/>
              <a:gd name="connsiteY189" fmla="*/ 7907 h 10000"/>
              <a:gd name="connsiteX190" fmla="*/ 2633 w 9848"/>
              <a:gd name="connsiteY190" fmla="*/ 7675 h 10000"/>
              <a:gd name="connsiteX191" fmla="*/ 2729 w 9848"/>
              <a:gd name="connsiteY191" fmla="*/ 7752 h 10000"/>
              <a:gd name="connsiteX192" fmla="*/ 3170 w 9848"/>
              <a:gd name="connsiteY192" fmla="*/ 7520 h 10000"/>
              <a:gd name="connsiteX193" fmla="*/ 3170 w 9848"/>
              <a:gd name="connsiteY193" fmla="*/ 7442 h 10000"/>
              <a:gd name="connsiteX194" fmla="*/ 3218 w 9848"/>
              <a:gd name="connsiteY194" fmla="*/ 7442 h 10000"/>
              <a:gd name="connsiteX195" fmla="*/ 3362 w 9848"/>
              <a:gd name="connsiteY195" fmla="*/ 7442 h 10000"/>
              <a:gd name="connsiteX196" fmla="*/ 3414 w 9848"/>
              <a:gd name="connsiteY196" fmla="*/ 7598 h 10000"/>
              <a:gd name="connsiteX197" fmla="*/ 3414 w 9848"/>
              <a:gd name="connsiteY197" fmla="*/ 7675 h 10000"/>
              <a:gd name="connsiteX198" fmla="*/ 3462 w 9848"/>
              <a:gd name="connsiteY198" fmla="*/ 7675 h 10000"/>
              <a:gd name="connsiteX199" fmla="*/ 3559 w 9848"/>
              <a:gd name="connsiteY199" fmla="*/ 7752 h 10000"/>
              <a:gd name="connsiteX200" fmla="*/ 3559 w 9848"/>
              <a:gd name="connsiteY200" fmla="*/ 7830 h 10000"/>
              <a:gd name="connsiteX201" fmla="*/ 3657 w 9848"/>
              <a:gd name="connsiteY201" fmla="*/ 7830 h 10000"/>
              <a:gd name="connsiteX202" fmla="*/ 3753 w 9848"/>
              <a:gd name="connsiteY202" fmla="*/ 7675 h 10000"/>
              <a:gd name="connsiteX203" fmla="*/ 3851 w 9848"/>
              <a:gd name="connsiteY203" fmla="*/ 7598 h 10000"/>
              <a:gd name="connsiteX204" fmla="*/ 3905 w 9848"/>
              <a:gd name="connsiteY204" fmla="*/ 7830 h 10000"/>
              <a:gd name="connsiteX205" fmla="*/ 4096 w 9848"/>
              <a:gd name="connsiteY205" fmla="*/ 8372 h 10000"/>
              <a:gd name="connsiteX206" fmla="*/ 4147 w 9848"/>
              <a:gd name="connsiteY206" fmla="*/ 8217 h 10000"/>
              <a:gd name="connsiteX207" fmla="*/ 4194 w 9848"/>
              <a:gd name="connsiteY207" fmla="*/ 8372 h 10000"/>
              <a:gd name="connsiteX208" fmla="*/ 4340 w 9848"/>
              <a:gd name="connsiteY208" fmla="*/ 8295 h 10000"/>
              <a:gd name="connsiteX209" fmla="*/ 4489 w 9848"/>
              <a:gd name="connsiteY209" fmla="*/ 8528 h 10000"/>
              <a:gd name="connsiteX210" fmla="*/ 4583 w 9848"/>
              <a:gd name="connsiteY210" fmla="*/ 8605 h 10000"/>
              <a:gd name="connsiteX211" fmla="*/ 4583 w 9848"/>
              <a:gd name="connsiteY211" fmla="*/ 8528 h 10000"/>
              <a:gd name="connsiteX212" fmla="*/ 4633 w 9848"/>
              <a:gd name="connsiteY212" fmla="*/ 8683 h 10000"/>
              <a:gd name="connsiteX213" fmla="*/ 4583 w 9848"/>
              <a:gd name="connsiteY213" fmla="*/ 8760 h 10000"/>
              <a:gd name="connsiteX214" fmla="*/ 4683 w 9848"/>
              <a:gd name="connsiteY214" fmla="*/ 8683 h 10000"/>
              <a:gd name="connsiteX215" fmla="*/ 4729 w 9848"/>
              <a:gd name="connsiteY215" fmla="*/ 8605 h 10000"/>
              <a:gd name="connsiteX216" fmla="*/ 4973 w 9848"/>
              <a:gd name="connsiteY216" fmla="*/ 8372 h 10000"/>
              <a:gd name="connsiteX217" fmla="*/ 5169 w 9848"/>
              <a:gd name="connsiteY217" fmla="*/ 8449 h 10000"/>
              <a:gd name="connsiteX218" fmla="*/ 5266 w 9848"/>
              <a:gd name="connsiteY218" fmla="*/ 8528 h 10000"/>
              <a:gd name="connsiteX219" fmla="*/ 5459 w 9848"/>
              <a:gd name="connsiteY219" fmla="*/ 8528 h 10000"/>
              <a:gd name="connsiteX220" fmla="*/ 5459 w 9848"/>
              <a:gd name="connsiteY220" fmla="*/ 8372 h 10000"/>
              <a:gd name="connsiteX221" fmla="*/ 5459 w 9848"/>
              <a:gd name="connsiteY221" fmla="*/ 8217 h 10000"/>
              <a:gd name="connsiteX222" fmla="*/ 5558 w 9848"/>
              <a:gd name="connsiteY222" fmla="*/ 8140 h 10000"/>
              <a:gd name="connsiteX223" fmla="*/ 5752 w 9848"/>
              <a:gd name="connsiteY223" fmla="*/ 8217 h 10000"/>
              <a:gd name="connsiteX224" fmla="*/ 5851 w 9848"/>
              <a:gd name="connsiteY224" fmla="*/ 8449 h 10000"/>
              <a:gd name="connsiteX225" fmla="*/ 5900 w 9848"/>
              <a:gd name="connsiteY225" fmla="*/ 8449 h 10000"/>
              <a:gd name="connsiteX226" fmla="*/ 5998 w 9848"/>
              <a:gd name="connsiteY226" fmla="*/ 8372 h 10000"/>
              <a:gd name="connsiteX227" fmla="*/ 6294 w 9848"/>
              <a:gd name="connsiteY227" fmla="*/ 8605 h 10000"/>
              <a:gd name="connsiteX228" fmla="*/ 6438 w 9848"/>
              <a:gd name="connsiteY228" fmla="*/ 8683 h 10000"/>
              <a:gd name="connsiteX229" fmla="*/ 6633 w 9848"/>
              <a:gd name="connsiteY229" fmla="*/ 8605 h 10000"/>
              <a:gd name="connsiteX230" fmla="*/ 6729 w 9848"/>
              <a:gd name="connsiteY230" fmla="*/ 8449 h 10000"/>
              <a:gd name="connsiteX231" fmla="*/ 6876 w 9848"/>
              <a:gd name="connsiteY231" fmla="*/ 8528 h 10000"/>
              <a:gd name="connsiteX232" fmla="*/ 6972 w 9848"/>
              <a:gd name="connsiteY232" fmla="*/ 8605 h 10000"/>
              <a:gd name="connsiteX233" fmla="*/ 8632 w 9848"/>
              <a:gd name="connsiteY233" fmla="*/ 7675 h 10000"/>
              <a:gd name="connsiteX234" fmla="*/ 8535 w 9848"/>
              <a:gd name="connsiteY234" fmla="*/ 7675 h 10000"/>
              <a:gd name="connsiteX235" fmla="*/ 8486 w 9848"/>
              <a:gd name="connsiteY235" fmla="*/ 7675 h 10000"/>
              <a:gd name="connsiteX236" fmla="*/ 8436 w 9848"/>
              <a:gd name="connsiteY236" fmla="*/ 7598 h 10000"/>
              <a:gd name="connsiteX237" fmla="*/ 8341 w 9848"/>
              <a:gd name="connsiteY237" fmla="*/ 7598 h 10000"/>
              <a:gd name="connsiteX238" fmla="*/ 8341 w 9848"/>
              <a:gd name="connsiteY238" fmla="*/ 7520 h 10000"/>
              <a:gd name="connsiteX239" fmla="*/ 8486 w 9848"/>
              <a:gd name="connsiteY239" fmla="*/ 7287 h 10000"/>
              <a:gd name="connsiteX240" fmla="*/ 8930 w 9848"/>
              <a:gd name="connsiteY240" fmla="*/ 6590 h 10000"/>
              <a:gd name="connsiteX241" fmla="*/ 9119 w 9848"/>
              <a:gd name="connsiteY241" fmla="*/ 6512 h 10000"/>
              <a:gd name="connsiteX242" fmla="*/ 9167 w 9848"/>
              <a:gd name="connsiteY242" fmla="*/ 6590 h 10000"/>
              <a:gd name="connsiteX243" fmla="*/ 9218 w 9848"/>
              <a:gd name="connsiteY243" fmla="*/ 6512 h 10000"/>
              <a:gd name="connsiteX244" fmla="*/ 9361 w 9848"/>
              <a:gd name="connsiteY244" fmla="*/ 6590 h 10000"/>
              <a:gd name="connsiteX245" fmla="*/ 9415 w 9848"/>
              <a:gd name="connsiteY245" fmla="*/ 6434 h 10000"/>
              <a:gd name="connsiteX246" fmla="*/ 9559 w 9848"/>
              <a:gd name="connsiteY246" fmla="*/ 6512 h 10000"/>
              <a:gd name="connsiteX247" fmla="*/ 9606 w 9848"/>
              <a:gd name="connsiteY247" fmla="*/ 6512 h 10000"/>
              <a:gd name="connsiteX248" fmla="*/ 9559 w 9848"/>
              <a:gd name="connsiteY248" fmla="*/ 6590 h 10000"/>
              <a:gd name="connsiteX249" fmla="*/ 9559 w 9848"/>
              <a:gd name="connsiteY249" fmla="*/ 6667 h 10000"/>
              <a:gd name="connsiteX250" fmla="*/ 9848 w 9848"/>
              <a:gd name="connsiteY250" fmla="*/ 6590 h 10000"/>
              <a:gd name="connsiteX251" fmla="*/ 9801 w 9848"/>
              <a:gd name="connsiteY251" fmla="*/ 6512 h 10000"/>
              <a:gd name="connsiteX252" fmla="*/ 9606 w 9848"/>
              <a:gd name="connsiteY252" fmla="*/ 2946 h 10000"/>
              <a:gd name="connsiteX253" fmla="*/ 9509 w 9848"/>
              <a:gd name="connsiteY253" fmla="*/ 2946 h 10000"/>
              <a:gd name="connsiteX254" fmla="*/ 9461 w 9848"/>
              <a:gd name="connsiteY254" fmla="*/ 2868 h 10000"/>
              <a:gd name="connsiteX255" fmla="*/ 9461 w 9848"/>
              <a:gd name="connsiteY255" fmla="*/ 2636 h 10000"/>
              <a:gd name="connsiteX256" fmla="*/ 9119 w 9848"/>
              <a:gd name="connsiteY256" fmla="*/ 2480 h 10000"/>
              <a:gd name="connsiteX257" fmla="*/ 8730 w 9848"/>
              <a:gd name="connsiteY257" fmla="*/ 2325 h 10000"/>
              <a:gd name="connsiteX258" fmla="*/ 8632 w 9848"/>
              <a:gd name="connsiteY258" fmla="*/ 2636 h 10000"/>
              <a:gd name="connsiteX259" fmla="*/ 8730 w 9848"/>
              <a:gd name="connsiteY259" fmla="*/ 2868 h 10000"/>
              <a:gd name="connsiteX260" fmla="*/ 8436 w 9848"/>
              <a:gd name="connsiteY260" fmla="*/ 2868 h 10000"/>
              <a:gd name="connsiteX261" fmla="*/ 8388 w 9848"/>
              <a:gd name="connsiteY261" fmla="*/ 2868 h 10000"/>
              <a:gd name="connsiteX262" fmla="*/ 8288 w 9848"/>
              <a:gd name="connsiteY262" fmla="*/ 2946 h 10000"/>
              <a:gd name="connsiteX263" fmla="*/ 8143 w 9848"/>
              <a:gd name="connsiteY263" fmla="*/ 2714 h 10000"/>
              <a:gd name="connsiteX264" fmla="*/ 8043 w 9848"/>
              <a:gd name="connsiteY264" fmla="*/ 3178 h 10000"/>
              <a:gd name="connsiteX265" fmla="*/ 7951 w 9848"/>
              <a:gd name="connsiteY265" fmla="*/ 3101 h 10000"/>
              <a:gd name="connsiteX266" fmla="*/ 7851 w 9848"/>
              <a:gd name="connsiteY266" fmla="*/ 2791 h 10000"/>
              <a:gd name="connsiteX267" fmla="*/ 7901 w 9848"/>
              <a:gd name="connsiteY267" fmla="*/ 2403 h 10000"/>
              <a:gd name="connsiteX268" fmla="*/ 7802 w 9848"/>
              <a:gd name="connsiteY268" fmla="*/ 2170 h 10000"/>
              <a:gd name="connsiteX269" fmla="*/ 7510 w 9848"/>
              <a:gd name="connsiteY269" fmla="*/ 2016 h 10000"/>
              <a:gd name="connsiteX270" fmla="*/ 7410 w 9848"/>
              <a:gd name="connsiteY270" fmla="*/ 2016 h 10000"/>
              <a:gd name="connsiteX271" fmla="*/ 7363 w 9848"/>
              <a:gd name="connsiteY271" fmla="*/ 2170 h 10000"/>
              <a:gd name="connsiteX272" fmla="*/ 7410 w 9848"/>
              <a:gd name="connsiteY272" fmla="*/ 2325 h 10000"/>
              <a:gd name="connsiteX273" fmla="*/ 7025 w 9848"/>
              <a:gd name="connsiteY273" fmla="*/ 2248 h 10000"/>
              <a:gd name="connsiteX274" fmla="*/ 7071 w 9848"/>
              <a:gd name="connsiteY274" fmla="*/ 2016 h 10000"/>
              <a:gd name="connsiteX275" fmla="*/ 6828 w 9848"/>
              <a:gd name="connsiteY275" fmla="*/ 1938 h 10000"/>
              <a:gd name="connsiteX276" fmla="*/ 6681 w 9848"/>
              <a:gd name="connsiteY276" fmla="*/ 2093 h 10000"/>
              <a:gd name="connsiteX277" fmla="*/ 6396 w 9848"/>
              <a:gd name="connsiteY277" fmla="*/ 1861 h 10000"/>
              <a:gd name="connsiteX0" fmla="*/ 6495 w 9952"/>
              <a:gd name="connsiteY0" fmla="*/ 1861 h 10000"/>
              <a:gd name="connsiteX1" fmla="*/ 6495 w 9952"/>
              <a:gd name="connsiteY1" fmla="*/ 1861 h 10000"/>
              <a:gd name="connsiteX2" fmla="*/ 6437 w 9952"/>
              <a:gd name="connsiteY2" fmla="*/ 1938 h 10000"/>
              <a:gd name="connsiteX3" fmla="*/ 6495 w 9952"/>
              <a:gd name="connsiteY3" fmla="*/ 2093 h 10000"/>
              <a:gd name="connsiteX4" fmla="*/ 6288 w 9952"/>
              <a:gd name="connsiteY4" fmla="*/ 2248 h 10000"/>
              <a:gd name="connsiteX5" fmla="*/ 6237 w 9952"/>
              <a:gd name="connsiteY5" fmla="*/ 2248 h 10000"/>
              <a:gd name="connsiteX6" fmla="*/ 6288 w 9952"/>
              <a:gd name="connsiteY6" fmla="*/ 2016 h 10000"/>
              <a:gd name="connsiteX7" fmla="*/ 6784 w 9952"/>
              <a:gd name="connsiteY7" fmla="*/ 1318 h 10000"/>
              <a:gd name="connsiteX8" fmla="*/ 6784 w 9952"/>
              <a:gd name="connsiteY8" fmla="*/ 853 h 10000"/>
              <a:gd name="connsiteX9" fmla="*/ 6588 w 9952"/>
              <a:gd name="connsiteY9" fmla="*/ 543 h 10000"/>
              <a:gd name="connsiteX10" fmla="*/ 6338 w 9952"/>
              <a:gd name="connsiteY10" fmla="*/ 543 h 10000"/>
              <a:gd name="connsiteX11" fmla="*/ 6338 w 9952"/>
              <a:gd name="connsiteY11" fmla="*/ 698 h 10000"/>
              <a:gd name="connsiteX12" fmla="*/ 6188 w 9952"/>
              <a:gd name="connsiteY12" fmla="*/ 698 h 10000"/>
              <a:gd name="connsiteX13" fmla="*/ 6288 w 9952"/>
              <a:gd name="connsiteY13" fmla="*/ 387 h 10000"/>
              <a:gd name="connsiteX14" fmla="*/ 6043 w 9952"/>
              <a:gd name="connsiteY14" fmla="*/ 310 h 10000"/>
              <a:gd name="connsiteX15" fmla="*/ 6188 w 9952"/>
              <a:gd name="connsiteY15" fmla="*/ 155 h 10000"/>
              <a:gd name="connsiteX16" fmla="*/ 6043 w 9952"/>
              <a:gd name="connsiteY16" fmla="*/ 0 h 10000"/>
              <a:gd name="connsiteX17" fmla="*/ 5795 w 9952"/>
              <a:gd name="connsiteY17" fmla="*/ 387 h 10000"/>
              <a:gd name="connsiteX18" fmla="*/ 5795 w 9952"/>
              <a:gd name="connsiteY18" fmla="*/ 698 h 10000"/>
              <a:gd name="connsiteX19" fmla="*/ 5644 w 9952"/>
              <a:gd name="connsiteY19" fmla="*/ 698 h 10000"/>
              <a:gd name="connsiteX20" fmla="*/ 5200 w 9952"/>
              <a:gd name="connsiteY20" fmla="*/ 853 h 10000"/>
              <a:gd name="connsiteX21" fmla="*/ 4802 w 9952"/>
              <a:gd name="connsiteY21" fmla="*/ 1240 h 10000"/>
              <a:gd name="connsiteX22" fmla="*/ 4654 w 9952"/>
              <a:gd name="connsiteY22" fmla="*/ 1551 h 10000"/>
              <a:gd name="connsiteX23" fmla="*/ 4705 w 9952"/>
              <a:gd name="connsiteY23" fmla="*/ 1938 h 10000"/>
              <a:gd name="connsiteX24" fmla="*/ 4159 w 9952"/>
              <a:gd name="connsiteY24" fmla="*/ 2093 h 10000"/>
              <a:gd name="connsiteX25" fmla="*/ 4211 w 9952"/>
              <a:gd name="connsiteY25" fmla="*/ 2559 h 10000"/>
              <a:gd name="connsiteX26" fmla="*/ 4359 w 9952"/>
              <a:gd name="connsiteY26" fmla="*/ 2791 h 10000"/>
              <a:gd name="connsiteX27" fmla="*/ 4259 w 9952"/>
              <a:gd name="connsiteY27" fmla="*/ 2868 h 10000"/>
              <a:gd name="connsiteX28" fmla="*/ 4111 w 9952"/>
              <a:gd name="connsiteY28" fmla="*/ 2559 h 10000"/>
              <a:gd name="connsiteX29" fmla="*/ 3965 w 9952"/>
              <a:gd name="connsiteY29" fmla="*/ 2480 h 10000"/>
              <a:gd name="connsiteX30" fmla="*/ 3910 w 9952"/>
              <a:gd name="connsiteY30" fmla="*/ 2559 h 10000"/>
              <a:gd name="connsiteX31" fmla="*/ 3811 w 9952"/>
              <a:gd name="connsiteY31" fmla="*/ 2403 h 10000"/>
              <a:gd name="connsiteX32" fmla="*/ 3713 w 9952"/>
              <a:gd name="connsiteY32" fmla="*/ 2248 h 10000"/>
              <a:gd name="connsiteX33" fmla="*/ 3713 w 9952"/>
              <a:gd name="connsiteY33" fmla="*/ 2325 h 10000"/>
              <a:gd name="connsiteX34" fmla="*/ 3767 w 9952"/>
              <a:gd name="connsiteY34" fmla="*/ 2559 h 10000"/>
              <a:gd name="connsiteX35" fmla="*/ 3614 w 9952"/>
              <a:gd name="connsiteY35" fmla="*/ 2946 h 10000"/>
              <a:gd name="connsiteX36" fmla="*/ 3713 w 9952"/>
              <a:gd name="connsiteY36" fmla="*/ 3256 h 10000"/>
              <a:gd name="connsiteX37" fmla="*/ 3662 w 9952"/>
              <a:gd name="connsiteY37" fmla="*/ 3566 h 10000"/>
              <a:gd name="connsiteX38" fmla="*/ 3662 w 9952"/>
              <a:gd name="connsiteY38" fmla="*/ 3799 h 10000"/>
              <a:gd name="connsiteX39" fmla="*/ 3811 w 9952"/>
              <a:gd name="connsiteY39" fmla="*/ 3799 h 10000"/>
              <a:gd name="connsiteX40" fmla="*/ 3713 w 9952"/>
              <a:gd name="connsiteY40" fmla="*/ 3876 h 10000"/>
              <a:gd name="connsiteX41" fmla="*/ 3767 w 9952"/>
              <a:gd name="connsiteY41" fmla="*/ 4263 h 10000"/>
              <a:gd name="connsiteX42" fmla="*/ 3467 w 9952"/>
              <a:gd name="connsiteY42" fmla="*/ 4652 h 10000"/>
              <a:gd name="connsiteX43" fmla="*/ 3414 w 9952"/>
              <a:gd name="connsiteY43" fmla="*/ 4574 h 10000"/>
              <a:gd name="connsiteX44" fmla="*/ 3614 w 9952"/>
              <a:gd name="connsiteY44" fmla="*/ 4186 h 10000"/>
              <a:gd name="connsiteX45" fmla="*/ 3662 w 9952"/>
              <a:gd name="connsiteY45" fmla="*/ 3954 h 10000"/>
              <a:gd name="connsiteX46" fmla="*/ 3559 w 9952"/>
              <a:gd name="connsiteY46" fmla="*/ 3799 h 10000"/>
              <a:gd name="connsiteX47" fmla="*/ 3559 w 9952"/>
              <a:gd name="connsiteY47" fmla="*/ 3023 h 10000"/>
              <a:gd name="connsiteX48" fmla="*/ 3515 w 9952"/>
              <a:gd name="connsiteY48" fmla="*/ 2868 h 10000"/>
              <a:gd name="connsiteX49" fmla="*/ 3559 w 9952"/>
              <a:gd name="connsiteY49" fmla="*/ 2403 h 10000"/>
              <a:gd name="connsiteX50" fmla="*/ 3467 w 9952"/>
              <a:gd name="connsiteY50" fmla="*/ 2325 h 10000"/>
              <a:gd name="connsiteX51" fmla="*/ 3515 w 9952"/>
              <a:gd name="connsiteY51" fmla="*/ 2248 h 10000"/>
              <a:gd name="connsiteX52" fmla="*/ 3467 w 9952"/>
              <a:gd name="connsiteY52" fmla="*/ 2093 h 10000"/>
              <a:gd name="connsiteX53" fmla="*/ 3363 w 9952"/>
              <a:gd name="connsiteY53" fmla="*/ 2170 h 10000"/>
              <a:gd name="connsiteX54" fmla="*/ 3118 w 9952"/>
              <a:gd name="connsiteY54" fmla="*/ 3178 h 10000"/>
              <a:gd name="connsiteX55" fmla="*/ 3118 w 9952"/>
              <a:gd name="connsiteY55" fmla="*/ 3566 h 10000"/>
              <a:gd name="connsiteX56" fmla="*/ 3268 w 9952"/>
              <a:gd name="connsiteY56" fmla="*/ 3876 h 10000"/>
              <a:gd name="connsiteX57" fmla="*/ 3268 w 9952"/>
              <a:gd name="connsiteY57" fmla="*/ 4031 h 10000"/>
              <a:gd name="connsiteX58" fmla="*/ 3118 w 9952"/>
              <a:gd name="connsiteY58" fmla="*/ 3876 h 10000"/>
              <a:gd name="connsiteX59" fmla="*/ 2527 w 9952"/>
              <a:gd name="connsiteY59" fmla="*/ 3256 h 10000"/>
              <a:gd name="connsiteX60" fmla="*/ 2477 w 9952"/>
              <a:gd name="connsiteY60" fmla="*/ 3411 h 10000"/>
              <a:gd name="connsiteX61" fmla="*/ 2674 w 9952"/>
              <a:gd name="connsiteY61" fmla="*/ 3799 h 10000"/>
              <a:gd name="connsiteX62" fmla="*/ 2573 w 9952"/>
              <a:gd name="connsiteY62" fmla="*/ 3876 h 10000"/>
              <a:gd name="connsiteX63" fmla="*/ 2527 w 9952"/>
              <a:gd name="connsiteY63" fmla="*/ 3799 h 10000"/>
              <a:gd name="connsiteX64" fmla="*/ 2230 w 9952"/>
              <a:gd name="connsiteY64" fmla="*/ 3954 h 10000"/>
              <a:gd name="connsiteX65" fmla="*/ 2180 w 9952"/>
              <a:gd name="connsiteY65" fmla="*/ 4109 h 10000"/>
              <a:gd name="connsiteX66" fmla="*/ 2130 w 9952"/>
              <a:gd name="connsiteY66" fmla="*/ 3954 h 10000"/>
              <a:gd name="connsiteX67" fmla="*/ 2130 w 9952"/>
              <a:gd name="connsiteY67" fmla="*/ 3799 h 10000"/>
              <a:gd name="connsiteX68" fmla="*/ 1632 w 9952"/>
              <a:gd name="connsiteY68" fmla="*/ 4263 h 10000"/>
              <a:gd name="connsiteX69" fmla="*/ 1632 w 9952"/>
              <a:gd name="connsiteY69" fmla="*/ 4418 h 10000"/>
              <a:gd name="connsiteX70" fmla="*/ 1536 w 9952"/>
              <a:gd name="connsiteY70" fmla="*/ 4496 h 10000"/>
              <a:gd name="connsiteX71" fmla="*/ 1386 w 9952"/>
              <a:gd name="connsiteY71" fmla="*/ 4341 h 10000"/>
              <a:gd name="connsiteX72" fmla="*/ 1536 w 9952"/>
              <a:gd name="connsiteY72" fmla="*/ 4186 h 10000"/>
              <a:gd name="connsiteX73" fmla="*/ 1486 w 9952"/>
              <a:gd name="connsiteY73" fmla="*/ 3954 h 10000"/>
              <a:gd name="connsiteX74" fmla="*/ 1289 w 9952"/>
              <a:gd name="connsiteY74" fmla="*/ 3876 h 10000"/>
              <a:gd name="connsiteX75" fmla="*/ 1338 w 9952"/>
              <a:gd name="connsiteY75" fmla="*/ 4031 h 10000"/>
              <a:gd name="connsiteX76" fmla="*/ 1338 w 9952"/>
              <a:gd name="connsiteY76" fmla="*/ 4418 h 10000"/>
              <a:gd name="connsiteX77" fmla="*/ 1386 w 9952"/>
              <a:gd name="connsiteY77" fmla="*/ 4574 h 10000"/>
              <a:gd name="connsiteX78" fmla="*/ 1338 w 9952"/>
              <a:gd name="connsiteY78" fmla="*/ 4729 h 10000"/>
              <a:gd name="connsiteX79" fmla="*/ 1187 w 9952"/>
              <a:gd name="connsiteY79" fmla="*/ 4652 h 10000"/>
              <a:gd name="connsiteX80" fmla="*/ 991 w 9952"/>
              <a:gd name="connsiteY80" fmla="*/ 4884 h 10000"/>
              <a:gd name="connsiteX81" fmla="*/ 1087 w 9952"/>
              <a:gd name="connsiteY81" fmla="*/ 5194 h 10000"/>
              <a:gd name="connsiteX82" fmla="*/ 791 w 9952"/>
              <a:gd name="connsiteY82" fmla="*/ 5039 h 10000"/>
              <a:gd name="connsiteX83" fmla="*/ 743 w 9952"/>
              <a:gd name="connsiteY83" fmla="*/ 5116 h 10000"/>
              <a:gd name="connsiteX84" fmla="*/ 843 w 9952"/>
              <a:gd name="connsiteY84" fmla="*/ 5349 h 10000"/>
              <a:gd name="connsiteX85" fmla="*/ 743 w 9952"/>
              <a:gd name="connsiteY85" fmla="*/ 5349 h 10000"/>
              <a:gd name="connsiteX86" fmla="*/ 596 w 9952"/>
              <a:gd name="connsiteY86" fmla="*/ 5194 h 10000"/>
              <a:gd name="connsiteX87" fmla="*/ 596 w 9952"/>
              <a:gd name="connsiteY87" fmla="*/ 4729 h 10000"/>
              <a:gd name="connsiteX88" fmla="*/ 449 w 9952"/>
              <a:gd name="connsiteY88" fmla="*/ 4574 h 10000"/>
              <a:gd name="connsiteX89" fmla="*/ 396 w 9952"/>
              <a:gd name="connsiteY89" fmla="*/ 4418 h 10000"/>
              <a:gd name="connsiteX90" fmla="*/ 495 w 9952"/>
              <a:gd name="connsiteY90" fmla="*/ 4496 h 10000"/>
              <a:gd name="connsiteX91" fmla="*/ 890 w 9952"/>
              <a:gd name="connsiteY91" fmla="*/ 4729 h 10000"/>
              <a:gd name="connsiteX92" fmla="*/ 1135 w 9952"/>
              <a:gd name="connsiteY92" fmla="*/ 4496 h 10000"/>
              <a:gd name="connsiteX93" fmla="*/ 1087 w 9952"/>
              <a:gd name="connsiteY93" fmla="*/ 4263 h 10000"/>
              <a:gd name="connsiteX94" fmla="*/ 791 w 9952"/>
              <a:gd name="connsiteY94" fmla="*/ 3799 h 10000"/>
              <a:gd name="connsiteX95" fmla="*/ 495 w 9952"/>
              <a:gd name="connsiteY95" fmla="*/ 3644 h 10000"/>
              <a:gd name="connsiteX96" fmla="*/ 495 w 9952"/>
              <a:gd name="connsiteY96" fmla="*/ 3566 h 10000"/>
              <a:gd name="connsiteX97" fmla="*/ 396 w 9952"/>
              <a:gd name="connsiteY97" fmla="*/ 3488 h 10000"/>
              <a:gd name="connsiteX98" fmla="*/ 294 w 9952"/>
              <a:gd name="connsiteY98" fmla="*/ 3566 h 10000"/>
              <a:gd name="connsiteX99" fmla="*/ 294 w 9952"/>
              <a:gd name="connsiteY99" fmla="*/ 3644 h 10000"/>
              <a:gd name="connsiteX100" fmla="*/ 247 w 9952"/>
              <a:gd name="connsiteY100" fmla="*/ 3644 h 10000"/>
              <a:gd name="connsiteX101" fmla="*/ 148 w 9952"/>
              <a:gd name="connsiteY101" fmla="*/ 3799 h 10000"/>
              <a:gd name="connsiteX102" fmla="*/ 148 w 9952"/>
              <a:gd name="connsiteY102" fmla="*/ 4031 h 10000"/>
              <a:gd name="connsiteX103" fmla="*/ 247 w 9952"/>
              <a:gd name="connsiteY103" fmla="*/ 4186 h 10000"/>
              <a:gd name="connsiteX104" fmla="*/ 199 w 9952"/>
              <a:gd name="connsiteY104" fmla="*/ 4418 h 10000"/>
              <a:gd name="connsiteX105" fmla="*/ 247 w 9952"/>
              <a:gd name="connsiteY105" fmla="*/ 4807 h 10000"/>
              <a:gd name="connsiteX106" fmla="*/ 199 w 9952"/>
              <a:gd name="connsiteY106" fmla="*/ 5039 h 10000"/>
              <a:gd name="connsiteX107" fmla="*/ 294 w 9952"/>
              <a:gd name="connsiteY107" fmla="*/ 5271 h 10000"/>
              <a:gd name="connsiteX108" fmla="*/ 247 w 9952"/>
              <a:gd name="connsiteY108" fmla="*/ 5426 h 10000"/>
              <a:gd name="connsiteX109" fmla="*/ 344 w 9952"/>
              <a:gd name="connsiteY109" fmla="*/ 5582 h 10000"/>
              <a:gd name="connsiteX110" fmla="*/ 344 w 9952"/>
              <a:gd name="connsiteY110" fmla="*/ 5659 h 10000"/>
              <a:gd name="connsiteX111" fmla="*/ 199 w 9952"/>
              <a:gd name="connsiteY111" fmla="*/ 6047 h 10000"/>
              <a:gd name="connsiteX112" fmla="*/ 46 w 9952"/>
              <a:gd name="connsiteY112" fmla="*/ 6202 h 10000"/>
              <a:gd name="connsiteX113" fmla="*/ 97 w 9952"/>
              <a:gd name="connsiteY113" fmla="*/ 6202 h 10000"/>
              <a:gd name="connsiteX114" fmla="*/ 199 w 9952"/>
              <a:gd name="connsiteY114" fmla="*/ 6356 h 10000"/>
              <a:gd name="connsiteX115" fmla="*/ 97 w 9952"/>
              <a:gd name="connsiteY115" fmla="*/ 6512 h 10000"/>
              <a:gd name="connsiteX116" fmla="*/ 46 w 9952"/>
              <a:gd name="connsiteY116" fmla="*/ 6590 h 10000"/>
              <a:gd name="connsiteX117" fmla="*/ 0 w 9952"/>
              <a:gd name="connsiteY117" fmla="*/ 6590 h 10000"/>
              <a:gd name="connsiteX118" fmla="*/ 46 w 9952"/>
              <a:gd name="connsiteY118" fmla="*/ 6822 h 10000"/>
              <a:gd name="connsiteX119" fmla="*/ 46 w 9952"/>
              <a:gd name="connsiteY119" fmla="*/ 6900 h 10000"/>
              <a:gd name="connsiteX120" fmla="*/ 46 w 9952"/>
              <a:gd name="connsiteY120" fmla="*/ 6977 h 10000"/>
              <a:gd name="connsiteX121" fmla="*/ 46 w 9952"/>
              <a:gd name="connsiteY121" fmla="*/ 7054 h 10000"/>
              <a:gd name="connsiteX122" fmla="*/ 97 w 9952"/>
              <a:gd name="connsiteY122" fmla="*/ 7209 h 10000"/>
              <a:gd name="connsiteX123" fmla="*/ 247 w 9952"/>
              <a:gd name="connsiteY123" fmla="*/ 7287 h 10000"/>
              <a:gd name="connsiteX124" fmla="*/ 294 w 9952"/>
              <a:gd name="connsiteY124" fmla="*/ 7364 h 10000"/>
              <a:gd name="connsiteX125" fmla="*/ 294 w 9952"/>
              <a:gd name="connsiteY125" fmla="*/ 7520 h 10000"/>
              <a:gd name="connsiteX126" fmla="*/ 396 w 9952"/>
              <a:gd name="connsiteY126" fmla="*/ 7752 h 10000"/>
              <a:gd name="connsiteX127" fmla="*/ 449 w 9952"/>
              <a:gd name="connsiteY127" fmla="*/ 7752 h 10000"/>
              <a:gd name="connsiteX128" fmla="*/ 396 w 9952"/>
              <a:gd name="connsiteY128" fmla="*/ 7907 h 10000"/>
              <a:gd name="connsiteX129" fmla="*/ 344 w 9952"/>
              <a:gd name="connsiteY129" fmla="*/ 7830 h 10000"/>
              <a:gd name="connsiteX130" fmla="*/ 344 w 9952"/>
              <a:gd name="connsiteY130" fmla="*/ 7907 h 10000"/>
              <a:gd name="connsiteX131" fmla="*/ 396 w 9952"/>
              <a:gd name="connsiteY131" fmla="*/ 8062 h 10000"/>
              <a:gd name="connsiteX132" fmla="*/ 546 w 9952"/>
              <a:gd name="connsiteY132" fmla="*/ 8062 h 10000"/>
              <a:gd name="connsiteX133" fmla="*/ 596 w 9952"/>
              <a:gd name="connsiteY133" fmla="*/ 8140 h 10000"/>
              <a:gd name="connsiteX134" fmla="*/ 546 w 9952"/>
              <a:gd name="connsiteY134" fmla="*/ 8140 h 10000"/>
              <a:gd name="connsiteX135" fmla="*/ 596 w 9952"/>
              <a:gd name="connsiteY135" fmla="*/ 8217 h 10000"/>
              <a:gd name="connsiteX136" fmla="*/ 643 w 9952"/>
              <a:gd name="connsiteY136" fmla="*/ 8217 h 10000"/>
              <a:gd name="connsiteX137" fmla="*/ 693 w 9952"/>
              <a:gd name="connsiteY137" fmla="*/ 8372 h 10000"/>
              <a:gd name="connsiteX138" fmla="*/ 743 w 9952"/>
              <a:gd name="connsiteY138" fmla="*/ 8449 h 10000"/>
              <a:gd name="connsiteX139" fmla="*/ 791 w 9952"/>
              <a:gd name="connsiteY139" fmla="*/ 8372 h 10000"/>
              <a:gd name="connsiteX140" fmla="*/ 1041 w 9952"/>
              <a:gd name="connsiteY140" fmla="*/ 8605 h 10000"/>
              <a:gd name="connsiteX141" fmla="*/ 991 w 9952"/>
              <a:gd name="connsiteY141" fmla="*/ 8915 h 10000"/>
              <a:gd name="connsiteX142" fmla="*/ 940 w 9952"/>
              <a:gd name="connsiteY142" fmla="*/ 8838 h 10000"/>
              <a:gd name="connsiteX143" fmla="*/ 890 w 9952"/>
              <a:gd name="connsiteY143" fmla="*/ 8915 h 10000"/>
              <a:gd name="connsiteX144" fmla="*/ 890 w 9952"/>
              <a:gd name="connsiteY144" fmla="*/ 9070 h 10000"/>
              <a:gd name="connsiteX145" fmla="*/ 940 w 9952"/>
              <a:gd name="connsiteY145" fmla="*/ 8993 h 10000"/>
              <a:gd name="connsiteX146" fmla="*/ 991 w 9952"/>
              <a:gd name="connsiteY146" fmla="*/ 9070 h 10000"/>
              <a:gd name="connsiteX147" fmla="*/ 843 w 9952"/>
              <a:gd name="connsiteY147" fmla="*/ 9147 h 10000"/>
              <a:gd name="connsiteX148" fmla="*/ 890 w 9952"/>
              <a:gd name="connsiteY148" fmla="*/ 9225 h 10000"/>
              <a:gd name="connsiteX149" fmla="*/ 791 w 9952"/>
              <a:gd name="connsiteY149" fmla="*/ 9380 h 10000"/>
              <a:gd name="connsiteX150" fmla="*/ 743 w 9952"/>
              <a:gd name="connsiteY150" fmla="*/ 9380 h 10000"/>
              <a:gd name="connsiteX151" fmla="*/ 791 w 9952"/>
              <a:gd name="connsiteY151" fmla="*/ 9380 h 10000"/>
              <a:gd name="connsiteX152" fmla="*/ 991 w 9952"/>
              <a:gd name="connsiteY152" fmla="*/ 9691 h 10000"/>
              <a:gd name="connsiteX153" fmla="*/ 1239 w 9952"/>
              <a:gd name="connsiteY153" fmla="*/ 9691 h 10000"/>
              <a:gd name="connsiteX154" fmla="*/ 1338 w 9952"/>
              <a:gd name="connsiteY154" fmla="*/ 9768 h 10000"/>
              <a:gd name="connsiteX155" fmla="*/ 1436 w 9952"/>
              <a:gd name="connsiteY155" fmla="*/ 9768 h 10000"/>
              <a:gd name="connsiteX156" fmla="*/ 1536 w 9952"/>
              <a:gd name="connsiteY156" fmla="*/ 9923 h 10000"/>
              <a:gd name="connsiteX157" fmla="*/ 1584 w 9952"/>
              <a:gd name="connsiteY157" fmla="*/ 10000 h 10000"/>
              <a:gd name="connsiteX158" fmla="*/ 1632 w 9952"/>
              <a:gd name="connsiteY158" fmla="*/ 10000 h 10000"/>
              <a:gd name="connsiteX159" fmla="*/ 1686 w 9952"/>
              <a:gd name="connsiteY159" fmla="*/ 9923 h 10000"/>
              <a:gd name="connsiteX160" fmla="*/ 1584 w 9952"/>
              <a:gd name="connsiteY160" fmla="*/ 9768 h 10000"/>
              <a:gd name="connsiteX161" fmla="*/ 1584 w 9952"/>
              <a:gd name="connsiteY161" fmla="*/ 9613 h 10000"/>
              <a:gd name="connsiteX162" fmla="*/ 1536 w 9952"/>
              <a:gd name="connsiteY162" fmla="*/ 9457 h 10000"/>
              <a:gd name="connsiteX163" fmla="*/ 1632 w 9952"/>
              <a:gd name="connsiteY163" fmla="*/ 9225 h 10000"/>
              <a:gd name="connsiteX164" fmla="*/ 1686 w 9952"/>
              <a:gd name="connsiteY164" fmla="*/ 9302 h 10000"/>
              <a:gd name="connsiteX165" fmla="*/ 1733 w 9952"/>
              <a:gd name="connsiteY165" fmla="*/ 9225 h 10000"/>
              <a:gd name="connsiteX166" fmla="*/ 1733 w 9952"/>
              <a:gd name="connsiteY166" fmla="*/ 9147 h 10000"/>
              <a:gd name="connsiteX167" fmla="*/ 1686 w 9952"/>
              <a:gd name="connsiteY167" fmla="*/ 9147 h 10000"/>
              <a:gd name="connsiteX168" fmla="*/ 1733 w 9952"/>
              <a:gd name="connsiteY168" fmla="*/ 9070 h 10000"/>
              <a:gd name="connsiteX169" fmla="*/ 1686 w 9952"/>
              <a:gd name="connsiteY169" fmla="*/ 8915 h 10000"/>
              <a:gd name="connsiteX170" fmla="*/ 1584 w 9952"/>
              <a:gd name="connsiteY170" fmla="*/ 8915 h 10000"/>
              <a:gd name="connsiteX171" fmla="*/ 1536 w 9952"/>
              <a:gd name="connsiteY171" fmla="*/ 8760 h 10000"/>
              <a:gd name="connsiteX172" fmla="*/ 1584 w 9952"/>
              <a:gd name="connsiteY172" fmla="*/ 8372 h 10000"/>
              <a:gd name="connsiteX173" fmla="*/ 1686 w 9952"/>
              <a:gd name="connsiteY173" fmla="*/ 8528 h 10000"/>
              <a:gd name="connsiteX174" fmla="*/ 1733 w 9952"/>
              <a:gd name="connsiteY174" fmla="*/ 8528 h 10000"/>
              <a:gd name="connsiteX175" fmla="*/ 1686 w 9952"/>
              <a:gd name="connsiteY175" fmla="*/ 8372 h 10000"/>
              <a:gd name="connsiteX176" fmla="*/ 1833 w 9952"/>
              <a:gd name="connsiteY176" fmla="*/ 8140 h 10000"/>
              <a:gd name="connsiteX177" fmla="*/ 1934 w 9952"/>
              <a:gd name="connsiteY177" fmla="*/ 8217 h 10000"/>
              <a:gd name="connsiteX178" fmla="*/ 1980 w 9952"/>
              <a:gd name="connsiteY178" fmla="*/ 8140 h 10000"/>
              <a:gd name="connsiteX179" fmla="*/ 2080 w 9952"/>
              <a:gd name="connsiteY179" fmla="*/ 8217 h 10000"/>
              <a:gd name="connsiteX180" fmla="*/ 2230 w 9952"/>
              <a:gd name="connsiteY180" fmla="*/ 8372 h 10000"/>
              <a:gd name="connsiteX181" fmla="*/ 2326 w 9952"/>
              <a:gd name="connsiteY181" fmla="*/ 8295 h 10000"/>
              <a:gd name="connsiteX182" fmla="*/ 2427 w 9952"/>
              <a:gd name="connsiteY182" fmla="*/ 8295 h 10000"/>
              <a:gd name="connsiteX183" fmla="*/ 2477 w 9952"/>
              <a:gd name="connsiteY183" fmla="*/ 8372 h 10000"/>
              <a:gd name="connsiteX184" fmla="*/ 2674 w 9952"/>
              <a:gd name="connsiteY184" fmla="*/ 8372 h 10000"/>
              <a:gd name="connsiteX185" fmla="*/ 2721 w 9952"/>
              <a:gd name="connsiteY185" fmla="*/ 8217 h 10000"/>
              <a:gd name="connsiteX186" fmla="*/ 2573 w 9952"/>
              <a:gd name="connsiteY186" fmla="*/ 8140 h 10000"/>
              <a:gd name="connsiteX187" fmla="*/ 2674 w 9952"/>
              <a:gd name="connsiteY187" fmla="*/ 8062 h 10000"/>
              <a:gd name="connsiteX188" fmla="*/ 2622 w 9952"/>
              <a:gd name="connsiteY188" fmla="*/ 7985 h 10000"/>
              <a:gd name="connsiteX189" fmla="*/ 2674 w 9952"/>
              <a:gd name="connsiteY189" fmla="*/ 7907 h 10000"/>
              <a:gd name="connsiteX190" fmla="*/ 2674 w 9952"/>
              <a:gd name="connsiteY190" fmla="*/ 7675 h 10000"/>
              <a:gd name="connsiteX191" fmla="*/ 2771 w 9952"/>
              <a:gd name="connsiteY191" fmla="*/ 7752 h 10000"/>
              <a:gd name="connsiteX192" fmla="*/ 3219 w 9952"/>
              <a:gd name="connsiteY192" fmla="*/ 7520 h 10000"/>
              <a:gd name="connsiteX193" fmla="*/ 3219 w 9952"/>
              <a:gd name="connsiteY193" fmla="*/ 7442 h 10000"/>
              <a:gd name="connsiteX194" fmla="*/ 3268 w 9952"/>
              <a:gd name="connsiteY194" fmla="*/ 7442 h 10000"/>
              <a:gd name="connsiteX195" fmla="*/ 3414 w 9952"/>
              <a:gd name="connsiteY195" fmla="*/ 7442 h 10000"/>
              <a:gd name="connsiteX196" fmla="*/ 3467 w 9952"/>
              <a:gd name="connsiteY196" fmla="*/ 7598 h 10000"/>
              <a:gd name="connsiteX197" fmla="*/ 3467 w 9952"/>
              <a:gd name="connsiteY197" fmla="*/ 7675 h 10000"/>
              <a:gd name="connsiteX198" fmla="*/ 3515 w 9952"/>
              <a:gd name="connsiteY198" fmla="*/ 7675 h 10000"/>
              <a:gd name="connsiteX199" fmla="*/ 3614 w 9952"/>
              <a:gd name="connsiteY199" fmla="*/ 7752 h 10000"/>
              <a:gd name="connsiteX200" fmla="*/ 3614 w 9952"/>
              <a:gd name="connsiteY200" fmla="*/ 7830 h 10000"/>
              <a:gd name="connsiteX201" fmla="*/ 3713 w 9952"/>
              <a:gd name="connsiteY201" fmla="*/ 7830 h 10000"/>
              <a:gd name="connsiteX202" fmla="*/ 3811 w 9952"/>
              <a:gd name="connsiteY202" fmla="*/ 7675 h 10000"/>
              <a:gd name="connsiteX203" fmla="*/ 3910 w 9952"/>
              <a:gd name="connsiteY203" fmla="*/ 7598 h 10000"/>
              <a:gd name="connsiteX204" fmla="*/ 3965 w 9952"/>
              <a:gd name="connsiteY204" fmla="*/ 7830 h 10000"/>
              <a:gd name="connsiteX205" fmla="*/ 4159 w 9952"/>
              <a:gd name="connsiteY205" fmla="*/ 8372 h 10000"/>
              <a:gd name="connsiteX206" fmla="*/ 4211 w 9952"/>
              <a:gd name="connsiteY206" fmla="*/ 8217 h 10000"/>
              <a:gd name="connsiteX207" fmla="*/ 4259 w 9952"/>
              <a:gd name="connsiteY207" fmla="*/ 8372 h 10000"/>
              <a:gd name="connsiteX208" fmla="*/ 4407 w 9952"/>
              <a:gd name="connsiteY208" fmla="*/ 8295 h 10000"/>
              <a:gd name="connsiteX209" fmla="*/ 4558 w 9952"/>
              <a:gd name="connsiteY209" fmla="*/ 8528 h 10000"/>
              <a:gd name="connsiteX210" fmla="*/ 4654 w 9952"/>
              <a:gd name="connsiteY210" fmla="*/ 8605 h 10000"/>
              <a:gd name="connsiteX211" fmla="*/ 4654 w 9952"/>
              <a:gd name="connsiteY211" fmla="*/ 8528 h 10000"/>
              <a:gd name="connsiteX212" fmla="*/ 4705 w 9952"/>
              <a:gd name="connsiteY212" fmla="*/ 8683 h 10000"/>
              <a:gd name="connsiteX213" fmla="*/ 4654 w 9952"/>
              <a:gd name="connsiteY213" fmla="*/ 8760 h 10000"/>
              <a:gd name="connsiteX214" fmla="*/ 4755 w 9952"/>
              <a:gd name="connsiteY214" fmla="*/ 8683 h 10000"/>
              <a:gd name="connsiteX215" fmla="*/ 4802 w 9952"/>
              <a:gd name="connsiteY215" fmla="*/ 8605 h 10000"/>
              <a:gd name="connsiteX216" fmla="*/ 5050 w 9952"/>
              <a:gd name="connsiteY216" fmla="*/ 8372 h 10000"/>
              <a:gd name="connsiteX217" fmla="*/ 5249 w 9952"/>
              <a:gd name="connsiteY217" fmla="*/ 8449 h 10000"/>
              <a:gd name="connsiteX218" fmla="*/ 5347 w 9952"/>
              <a:gd name="connsiteY218" fmla="*/ 8528 h 10000"/>
              <a:gd name="connsiteX219" fmla="*/ 5543 w 9952"/>
              <a:gd name="connsiteY219" fmla="*/ 8528 h 10000"/>
              <a:gd name="connsiteX220" fmla="*/ 5543 w 9952"/>
              <a:gd name="connsiteY220" fmla="*/ 8372 h 10000"/>
              <a:gd name="connsiteX221" fmla="*/ 5543 w 9952"/>
              <a:gd name="connsiteY221" fmla="*/ 8217 h 10000"/>
              <a:gd name="connsiteX222" fmla="*/ 5644 w 9952"/>
              <a:gd name="connsiteY222" fmla="*/ 8140 h 10000"/>
              <a:gd name="connsiteX223" fmla="*/ 5841 w 9952"/>
              <a:gd name="connsiteY223" fmla="*/ 8217 h 10000"/>
              <a:gd name="connsiteX224" fmla="*/ 5941 w 9952"/>
              <a:gd name="connsiteY224" fmla="*/ 8449 h 10000"/>
              <a:gd name="connsiteX225" fmla="*/ 5991 w 9952"/>
              <a:gd name="connsiteY225" fmla="*/ 8449 h 10000"/>
              <a:gd name="connsiteX226" fmla="*/ 6091 w 9952"/>
              <a:gd name="connsiteY226" fmla="*/ 8372 h 10000"/>
              <a:gd name="connsiteX227" fmla="*/ 6391 w 9952"/>
              <a:gd name="connsiteY227" fmla="*/ 8605 h 10000"/>
              <a:gd name="connsiteX228" fmla="*/ 6537 w 9952"/>
              <a:gd name="connsiteY228" fmla="*/ 8683 h 10000"/>
              <a:gd name="connsiteX229" fmla="*/ 6735 w 9952"/>
              <a:gd name="connsiteY229" fmla="*/ 8605 h 10000"/>
              <a:gd name="connsiteX230" fmla="*/ 6833 w 9952"/>
              <a:gd name="connsiteY230" fmla="*/ 8449 h 10000"/>
              <a:gd name="connsiteX231" fmla="*/ 6982 w 9952"/>
              <a:gd name="connsiteY231" fmla="*/ 8528 h 10000"/>
              <a:gd name="connsiteX232" fmla="*/ 7080 w 9952"/>
              <a:gd name="connsiteY232" fmla="*/ 8605 h 10000"/>
              <a:gd name="connsiteX233" fmla="*/ 8765 w 9952"/>
              <a:gd name="connsiteY233" fmla="*/ 7675 h 10000"/>
              <a:gd name="connsiteX234" fmla="*/ 8667 w 9952"/>
              <a:gd name="connsiteY234" fmla="*/ 7675 h 10000"/>
              <a:gd name="connsiteX235" fmla="*/ 8617 w 9952"/>
              <a:gd name="connsiteY235" fmla="*/ 7675 h 10000"/>
              <a:gd name="connsiteX236" fmla="*/ 8566 w 9952"/>
              <a:gd name="connsiteY236" fmla="*/ 7598 h 10000"/>
              <a:gd name="connsiteX237" fmla="*/ 8470 w 9952"/>
              <a:gd name="connsiteY237" fmla="*/ 7598 h 10000"/>
              <a:gd name="connsiteX238" fmla="*/ 8470 w 9952"/>
              <a:gd name="connsiteY238" fmla="*/ 7520 h 10000"/>
              <a:gd name="connsiteX239" fmla="*/ 8617 w 9952"/>
              <a:gd name="connsiteY239" fmla="*/ 7287 h 10000"/>
              <a:gd name="connsiteX240" fmla="*/ 9068 w 9952"/>
              <a:gd name="connsiteY240" fmla="*/ 6590 h 10000"/>
              <a:gd name="connsiteX241" fmla="*/ 9260 w 9952"/>
              <a:gd name="connsiteY241" fmla="*/ 6512 h 10000"/>
              <a:gd name="connsiteX242" fmla="*/ 9308 w 9952"/>
              <a:gd name="connsiteY242" fmla="*/ 6590 h 10000"/>
              <a:gd name="connsiteX243" fmla="*/ 9360 w 9952"/>
              <a:gd name="connsiteY243" fmla="*/ 6512 h 10000"/>
              <a:gd name="connsiteX244" fmla="*/ 9505 w 9952"/>
              <a:gd name="connsiteY244" fmla="*/ 6590 h 10000"/>
              <a:gd name="connsiteX245" fmla="*/ 9560 w 9952"/>
              <a:gd name="connsiteY245" fmla="*/ 6434 h 10000"/>
              <a:gd name="connsiteX246" fmla="*/ 9707 w 9952"/>
              <a:gd name="connsiteY246" fmla="*/ 6512 h 10000"/>
              <a:gd name="connsiteX247" fmla="*/ 9754 w 9952"/>
              <a:gd name="connsiteY247" fmla="*/ 6512 h 10000"/>
              <a:gd name="connsiteX248" fmla="*/ 9707 w 9952"/>
              <a:gd name="connsiteY248" fmla="*/ 6590 h 10000"/>
              <a:gd name="connsiteX249" fmla="*/ 9707 w 9952"/>
              <a:gd name="connsiteY249" fmla="*/ 6667 h 10000"/>
              <a:gd name="connsiteX250" fmla="*/ 9952 w 9952"/>
              <a:gd name="connsiteY250" fmla="*/ 6512 h 10000"/>
              <a:gd name="connsiteX251" fmla="*/ 9754 w 9952"/>
              <a:gd name="connsiteY251" fmla="*/ 2946 h 10000"/>
              <a:gd name="connsiteX252" fmla="*/ 9656 w 9952"/>
              <a:gd name="connsiteY252" fmla="*/ 2946 h 10000"/>
              <a:gd name="connsiteX253" fmla="*/ 9607 w 9952"/>
              <a:gd name="connsiteY253" fmla="*/ 2868 h 10000"/>
              <a:gd name="connsiteX254" fmla="*/ 9607 w 9952"/>
              <a:gd name="connsiteY254" fmla="*/ 2636 h 10000"/>
              <a:gd name="connsiteX255" fmla="*/ 9260 w 9952"/>
              <a:gd name="connsiteY255" fmla="*/ 2480 h 10000"/>
              <a:gd name="connsiteX256" fmla="*/ 8865 w 9952"/>
              <a:gd name="connsiteY256" fmla="*/ 2325 h 10000"/>
              <a:gd name="connsiteX257" fmla="*/ 8765 w 9952"/>
              <a:gd name="connsiteY257" fmla="*/ 2636 h 10000"/>
              <a:gd name="connsiteX258" fmla="*/ 8865 w 9952"/>
              <a:gd name="connsiteY258" fmla="*/ 2868 h 10000"/>
              <a:gd name="connsiteX259" fmla="*/ 8566 w 9952"/>
              <a:gd name="connsiteY259" fmla="*/ 2868 h 10000"/>
              <a:gd name="connsiteX260" fmla="*/ 8517 w 9952"/>
              <a:gd name="connsiteY260" fmla="*/ 2868 h 10000"/>
              <a:gd name="connsiteX261" fmla="*/ 8416 w 9952"/>
              <a:gd name="connsiteY261" fmla="*/ 2946 h 10000"/>
              <a:gd name="connsiteX262" fmla="*/ 8269 w 9952"/>
              <a:gd name="connsiteY262" fmla="*/ 2714 h 10000"/>
              <a:gd name="connsiteX263" fmla="*/ 8167 w 9952"/>
              <a:gd name="connsiteY263" fmla="*/ 3178 h 10000"/>
              <a:gd name="connsiteX264" fmla="*/ 8074 w 9952"/>
              <a:gd name="connsiteY264" fmla="*/ 3101 h 10000"/>
              <a:gd name="connsiteX265" fmla="*/ 7972 w 9952"/>
              <a:gd name="connsiteY265" fmla="*/ 2791 h 10000"/>
              <a:gd name="connsiteX266" fmla="*/ 8023 w 9952"/>
              <a:gd name="connsiteY266" fmla="*/ 2403 h 10000"/>
              <a:gd name="connsiteX267" fmla="*/ 7922 w 9952"/>
              <a:gd name="connsiteY267" fmla="*/ 2170 h 10000"/>
              <a:gd name="connsiteX268" fmla="*/ 7626 w 9952"/>
              <a:gd name="connsiteY268" fmla="*/ 2016 h 10000"/>
              <a:gd name="connsiteX269" fmla="*/ 7524 w 9952"/>
              <a:gd name="connsiteY269" fmla="*/ 2016 h 10000"/>
              <a:gd name="connsiteX270" fmla="*/ 7477 w 9952"/>
              <a:gd name="connsiteY270" fmla="*/ 2170 h 10000"/>
              <a:gd name="connsiteX271" fmla="*/ 7524 w 9952"/>
              <a:gd name="connsiteY271" fmla="*/ 2325 h 10000"/>
              <a:gd name="connsiteX272" fmla="*/ 7133 w 9952"/>
              <a:gd name="connsiteY272" fmla="*/ 2248 h 10000"/>
              <a:gd name="connsiteX273" fmla="*/ 7180 w 9952"/>
              <a:gd name="connsiteY273" fmla="*/ 2016 h 10000"/>
              <a:gd name="connsiteX274" fmla="*/ 6933 w 9952"/>
              <a:gd name="connsiteY274" fmla="*/ 1938 h 10000"/>
              <a:gd name="connsiteX275" fmla="*/ 6784 w 9952"/>
              <a:gd name="connsiteY275" fmla="*/ 2093 h 10000"/>
              <a:gd name="connsiteX276" fmla="*/ 6495 w 9952"/>
              <a:gd name="connsiteY276" fmla="*/ 1861 h 10000"/>
              <a:gd name="connsiteX0" fmla="*/ 6526 w 9801"/>
              <a:gd name="connsiteY0" fmla="*/ 1861 h 10000"/>
              <a:gd name="connsiteX1" fmla="*/ 6526 w 9801"/>
              <a:gd name="connsiteY1" fmla="*/ 1861 h 10000"/>
              <a:gd name="connsiteX2" fmla="*/ 6468 w 9801"/>
              <a:gd name="connsiteY2" fmla="*/ 1938 h 10000"/>
              <a:gd name="connsiteX3" fmla="*/ 6526 w 9801"/>
              <a:gd name="connsiteY3" fmla="*/ 2093 h 10000"/>
              <a:gd name="connsiteX4" fmla="*/ 6318 w 9801"/>
              <a:gd name="connsiteY4" fmla="*/ 2248 h 10000"/>
              <a:gd name="connsiteX5" fmla="*/ 6267 w 9801"/>
              <a:gd name="connsiteY5" fmla="*/ 2248 h 10000"/>
              <a:gd name="connsiteX6" fmla="*/ 6318 w 9801"/>
              <a:gd name="connsiteY6" fmla="*/ 2016 h 10000"/>
              <a:gd name="connsiteX7" fmla="*/ 6817 w 9801"/>
              <a:gd name="connsiteY7" fmla="*/ 1318 h 10000"/>
              <a:gd name="connsiteX8" fmla="*/ 6817 w 9801"/>
              <a:gd name="connsiteY8" fmla="*/ 853 h 10000"/>
              <a:gd name="connsiteX9" fmla="*/ 6620 w 9801"/>
              <a:gd name="connsiteY9" fmla="*/ 543 h 10000"/>
              <a:gd name="connsiteX10" fmla="*/ 6369 w 9801"/>
              <a:gd name="connsiteY10" fmla="*/ 543 h 10000"/>
              <a:gd name="connsiteX11" fmla="*/ 6369 w 9801"/>
              <a:gd name="connsiteY11" fmla="*/ 698 h 10000"/>
              <a:gd name="connsiteX12" fmla="*/ 6218 w 9801"/>
              <a:gd name="connsiteY12" fmla="*/ 698 h 10000"/>
              <a:gd name="connsiteX13" fmla="*/ 6318 w 9801"/>
              <a:gd name="connsiteY13" fmla="*/ 387 h 10000"/>
              <a:gd name="connsiteX14" fmla="*/ 6072 w 9801"/>
              <a:gd name="connsiteY14" fmla="*/ 310 h 10000"/>
              <a:gd name="connsiteX15" fmla="*/ 6218 w 9801"/>
              <a:gd name="connsiteY15" fmla="*/ 155 h 10000"/>
              <a:gd name="connsiteX16" fmla="*/ 6072 w 9801"/>
              <a:gd name="connsiteY16" fmla="*/ 0 h 10000"/>
              <a:gd name="connsiteX17" fmla="*/ 5823 w 9801"/>
              <a:gd name="connsiteY17" fmla="*/ 387 h 10000"/>
              <a:gd name="connsiteX18" fmla="*/ 5823 w 9801"/>
              <a:gd name="connsiteY18" fmla="*/ 698 h 10000"/>
              <a:gd name="connsiteX19" fmla="*/ 5671 w 9801"/>
              <a:gd name="connsiteY19" fmla="*/ 698 h 10000"/>
              <a:gd name="connsiteX20" fmla="*/ 5225 w 9801"/>
              <a:gd name="connsiteY20" fmla="*/ 853 h 10000"/>
              <a:gd name="connsiteX21" fmla="*/ 4825 w 9801"/>
              <a:gd name="connsiteY21" fmla="*/ 1240 h 10000"/>
              <a:gd name="connsiteX22" fmla="*/ 4676 w 9801"/>
              <a:gd name="connsiteY22" fmla="*/ 1551 h 10000"/>
              <a:gd name="connsiteX23" fmla="*/ 4728 w 9801"/>
              <a:gd name="connsiteY23" fmla="*/ 1938 h 10000"/>
              <a:gd name="connsiteX24" fmla="*/ 4179 w 9801"/>
              <a:gd name="connsiteY24" fmla="*/ 2093 h 10000"/>
              <a:gd name="connsiteX25" fmla="*/ 4231 w 9801"/>
              <a:gd name="connsiteY25" fmla="*/ 2559 h 10000"/>
              <a:gd name="connsiteX26" fmla="*/ 4380 w 9801"/>
              <a:gd name="connsiteY26" fmla="*/ 2791 h 10000"/>
              <a:gd name="connsiteX27" fmla="*/ 4280 w 9801"/>
              <a:gd name="connsiteY27" fmla="*/ 2868 h 10000"/>
              <a:gd name="connsiteX28" fmla="*/ 4131 w 9801"/>
              <a:gd name="connsiteY28" fmla="*/ 2559 h 10000"/>
              <a:gd name="connsiteX29" fmla="*/ 3984 w 9801"/>
              <a:gd name="connsiteY29" fmla="*/ 2480 h 10000"/>
              <a:gd name="connsiteX30" fmla="*/ 3929 w 9801"/>
              <a:gd name="connsiteY30" fmla="*/ 2559 h 10000"/>
              <a:gd name="connsiteX31" fmla="*/ 3829 w 9801"/>
              <a:gd name="connsiteY31" fmla="*/ 2403 h 10000"/>
              <a:gd name="connsiteX32" fmla="*/ 3731 w 9801"/>
              <a:gd name="connsiteY32" fmla="*/ 2248 h 10000"/>
              <a:gd name="connsiteX33" fmla="*/ 3731 w 9801"/>
              <a:gd name="connsiteY33" fmla="*/ 2325 h 10000"/>
              <a:gd name="connsiteX34" fmla="*/ 3785 w 9801"/>
              <a:gd name="connsiteY34" fmla="*/ 2559 h 10000"/>
              <a:gd name="connsiteX35" fmla="*/ 3631 w 9801"/>
              <a:gd name="connsiteY35" fmla="*/ 2946 h 10000"/>
              <a:gd name="connsiteX36" fmla="*/ 3731 w 9801"/>
              <a:gd name="connsiteY36" fmla="*/ 3256 h 10000"/>
              <a:gd name="connsiteX37" fmla="*/ 3680 w 9801"/>
              <a:gd name="connsiteY37" fmla="*/ 3566 h 10000"/>
              <a:gd name="connsiteX38" fmla="*/ 3680 w 9801"/>
              <a:gd name="connsiteY38" fmla="*/ 3799 h 10000"/>
              <a:gd name="connsiteX39" fmla="*/ 3829 w 9801"/>
              <a:gd name="connsiteY39" fmla="*/ 3799 h 10000"/>
              <a:gd name="connsiteX40" fmla="*/ 3731 w 9801"/>
              <a:gd name="connsiteY40" fmla="*/ 3876 h 10000"/>
              <a:gd name="connsiteX41" fmla="*/ 3785 w 9801"/>
              <a:gd name="connsiteY41" fmla="*/ 4263 h 10000"/>
              <a:gd name="connsiteX42" fmla="*/ 3484 w 9801"/>
              <a:gd name="connsiteY42" fmla="*/ 4652 h 10000"/>
              <a:gd name="connsiteX43" fmla="*/ 3430 w 9801"/>
              <a:gd name="connsiteY43" fmla="*/ 4574 h 10000"/>
              <a:gd name="connsiteX44" fmla="*/ 3631 w 9801"/>
              <a:gd name="connsiteY44" fmla="*/ 4186 h 10000"/>
              <a:gd name="connsiteX45" fmla="*/ 3680 w 9801"/>
              <a:gd name="connsiteY45" fmla="*/ 3954 h 10000"/>
              <a:gd name="connsiteX46" fmla="*/ 3576 w 9801"/>
              <a:gd name="connsiteY46" fmla="*/ 3799 h 10000"/>
              <a:gd name="connsiteX47" fmla="*/ 3576 w 9801"/>
              <a:gd name="connsiteY47" fmla="*/ 3023 h 10000"/>
              <a:gd name="connsiteX48" fmla="*/ 3532 w 9801"/>
              <a:gd name="connsiteY48" fmla="*/ 2868 h 10000"/>
              <a:gd name="connsiteX49" fmla="*/ 3576 w 9801"/>
              <a:gd name="connsiteY49" fmla="*/ 2403 h 10000"/>
              <a:gd name="connsiteX50" fmla="*/ 3484 w 9801"/>
              <a:gd name="connsiteY50" fmla="*/ 2325 h 10000"/>
              <a:gd name="connsiteX51" fmla="*/ 3532 w 9801"/>
              <a:gd name="connsiteY51" fmla="*/ 2248 h 10000"/>
              <a:gd name="connsiteX52" fmla="*/ 3484 w 9801"/>
              <a:gd name="connsiteY52" fmla="*/ 2093 h 10000"/>
              <a:gd name="connsiteX53" fmla="*/ 3379 w 9801"/>
              <a:gd name="connsiteY53" fmla="*/ 2170 h 10000"/>
              <a:gd name="connsiteX54" fmla="*/ 3133 w 9801"/>
              <a:gd name="connsiteY54" fmla="*/ 3178 h 10000"/>
              <a:gd name="connsiteX55" fmla="*/ 3133 w 9801"/>
              <a:gd name="connsiteY55" fmla="*/ 3566 h 10000"/>
              <a:gd name="connsiteX56" fmla="*/ 3284 w 9801"/>
              <a:gd name="connsiteY56" fmla="*/ 3876 h 10000"/>
              <a:gd name="connsiteX57" fmla="*/ 3284 w 9801"/>
              <a:gd name="connsiteY57" fmla="*/ 4031 h 10000"/>
              <a:gd name="connsiteX58" fmla="*/ 3133 w 9801"/>
              <a:gd name="connsiteY58" fmla="*/ 3876 h 10000"/>
              <a:gd name="connsiteX59" fmla="*/ 2539 w 9801"/>
              <a:gd name="connsiteY59" fmla="*/ 3256 h 10000"/>
              <a:gd name="connsiteX60" fmla="*/ 2489 w 9801"/>
              <a:gd name="connsiteY60" fmla="*/ 3411 h 10000"/>
              <a:gd name="connsiteX61" fmla="*/ 2687 w 9801"/>
              <a:gd name="connsiteY61" fmla="*/ 3799 h 10000"/>
              <a:gd name="connsiteX62" fmla="*/ 2585 w 9801"/>
              <a:gd name="connsiteY62" fmla="*/ 3876 h 10000"/>
              <a:gd name="connsiteX63" fmla="*/ 2539 w 9801"/>
              <a:gd name="connsiteY63" fmla="*/ 3799 h 10000"/>
              <a:gd name="connsiteX64" fmla="*/ 2241 w 9801"/>
              <a:gd name="connsiteY64" fmla="*/ 3954 h 10000"/>
              <a:gd name="connsiteX65" fmla="*/ 2191 w 9801"/>
              <a:gd name="connsiteY65" fmla="*/ 4109 h 10000"/>
              <a:gd name="connsiteX66" fmla="*/ 2140 w 9801"/>
              <a:gd name="connsiteY66" fmla="*/ 3954 h 10000"/>
              <a:gd name="connsiteX67" fmla="*/ 2140 w 9801"/>
              <a:gd name="connsiteY67" fmla="*/ 3799 h 10000"/>
              <a:gd name="connsiteX68" fmla="*/ 1640 w 9801"/>
              <a:gd name="connsiteY68" fmla="*/ 4263 h 10000"/>
              <a:gd name="connsiteX69" fmla="*/ 1640 w 9801"/>
              <a:gd name="connsiteY69" fmla="*/ 4418 h 10000"/>
              <a:gd name="connsiteX70" fmla="*/ 1543 w 9801"/>
              <a:gd name="connsiteY70" fmla="*/ 4496 h 10000"/>
              <a:gd name="connsiteX71" fmla="*/ 1393 w 9801"/>
              <a:gd name="connsiteY71" fmla="*/ 4341 h 10000"/>
              <a:gd name="connsiteX72" fmla="*/ 1543 w 9801"/>
              <a:gd name="connsiteY72" fmla="*/ 4186 h 10000"/>
              <a:gd name="connsiteX73" fmla="*/ 1493 w 9801"/>
              <a:gd name="connsiteY73" fmla="*/ 3954 h 10000"/>
              <a:gd name="connsiteX74" fmla="*/ 1295 w 9801"/>
              <a:gd name="connsiteY74" fmla="*/ 3876 h 10000"/>
              <a:gd name="connsiteX75" fmla="*/ 1344 w 9801"/>
              <a:gd name="connsiteY75" fmla="*/ 4031 h 10000"/>
              <a:gd name="connsiteX76" fmla="*/ 1344 w 9801"/>
              <a:gd name="connsiteY76" fmla="*/ 4418 h 10000"/>
              <a:gd name="connsiteX77" fmla="*/ 1393 w 9801"/>
              <a:gd name="connsiteY77" fmla="*/ 4574 h 10000"/>
              <a:gd name="connsiteX78" fmla="*/ 1344 w 9801"/>
              <a:gd name="connsiteY78" fmla="*/ 4729 h 10000"/>
              <a:gd name="connsiteX79" fmla="*/ 1193 w 9801"/>
              <a:gd name="connsiteY79" fmla="*/ 4652 h 10000"/>
              <a:gd name="connsiteX80" fmla="*/ 996 w 9801"/>
              <a:gd name="connsiteY80" fmla="*/ 4884 h 10000"/>
              <a:gd name="connsiteX81" fmla="*/ 1092 w 9801"/>
              <a:gd name="connsiteY81" fmla="*/ 5194 h 10000"/>
              <a:gd name="connsiteX82" fmla="*/ 795 w 9801"/>
              <a:gd name="connsiteY82" fmla="*/ 5039 h 10000"/>
              <a:gd name="connsiteX83" fmla="*/ 747 w 9801"/>
              <a:gd name="connsiteY83" fmla="*/ 5116 h 10000"/>
              <a:gd name="connsiteX84" fmla="*/ 847 w 9801"/>
              <a:gd name="connsiteY84" fmla="*/ 5349 h 10000"/>
              <a:gd name="connsiteX85" fmla="*/ 747 w 9801"/>
              <a:gd name="connsiteY85" fmla="*/ 5349 h 10000"/>
              <a:gd name="connsiteX86" fmla="*/ 599 w 9801"/>
              <a:gd name="connsiteY86" fmla="*/ 5194 h 10000"/>
              <a:gd name="connsiteX87" fmla="*/ 599 w 9801"/>
              <a:gd name="connsiteY87" fmla="*/ 4729 h 10000"/>
              <a:gd name="connsiteX88" fmla="*/ 451 w 9801"/>
              <a:gd name="connsiteY88" fmla="*/ 4574 h 10000"/>
              <a:gd name="connsiteX89" fmla="*/ 398 w 9801"/>
              <a:gd name="connsiteY89" fmla="*/ 4418 h 10000"/>
              <a:gd name="connsiteX90" fmla="*/ 497 w 9801"/>
              <a:gd name="connsiteY90" fmla="*/ 4496 h 10000"/>
              <a:gd name="connsiteX91" fmla="*/ 894 w 9801"/>
              <a:gd name="connsiteY91" fmla="*/ 4729 h 10000"/>
              <a:gd name="connsiteX92" fmla="*/ 1140 w 9801"/>
              <a:gd name="connsiteY92" fmla="*/ 4496 h 10000"/>
              <a:gd name="connsiteX93" fmla="*/ 1092 w 9801"/>
              <a:gd name="connsiteY93" fmla="*/ 4263 h 10000"/>
              <a:gd name="connsiteX94" fmla="*/ 795 w 9801"/>
              <a:gd name="connsiteY94" fmla="*/ 3799 h 10000"/>
              <a:gd name="connsiteX95" fmla="*/ 497 w 9801"/>
              <a:gd name="connsiteY95" fmla="*/ 3644 h 10000"/>
              <a:gd name="connsiteX96" fmla="*/ 497 w 9801"/>
              <a:gd name="connsiteY96" fmla="*/ 3566 h 10000"/>
              <a:gd name="connsiteX97" fmla="*/ 398 w 9801"/>
              <a:gd name="connsiteY97" fmla="*/ 3488 h 10000"/>
              <a:gd name="connsiteX98" fmla="*/ 295 w 9801"/>
              <a:gd name="connsiteY98" fmla="*/ 3566 h 10000"/>
              <a:gd name="connsiteX99" fmla="*/ 295 w 9801"/>
              <a:gd name="connsiteY99" fmla="*/ 3644 h 10000"/>
              <a:gd name="connsiteX100" fmla="*/ 248 w 9801"/>
              <a:gd name="connsiteY100" fmla="*/ 3644 h 10000"/>
              <a:gd name="connsiteX101" fmla="*/ 149 w 9801"/>
              <a:gd name="connsiteY101" fmla="*/ 3799 h 10000"/>
              <a:gd name="connsiteX102" fmla="*/ 149 w 9801"/>
              <a:gd name="connsiteY102" fmla="*/ 4031 h 10000"/>
              <a:gd name="connsiteX103" fmla="*/ 248 w 9801"/>
              <a:gd name="connsiteY103" fmla="*/ 4186 h 10000"/>
              <a:gd name="connsiteX104" fmla="*/ 200 w 9801"/>
              <a:gd name="connsiteY104" fmla="*/ 4418 h 10000"/>
              <a:gd name="connsiteX105" fmla="*/ 248 w 9801"/>
              <a:gd name="connsiteY105" fmla="*/ 4807 h 10000"/>
              <a:gd name="connsiteX106" fmla="*/ 200 w 9801"/>
              <a:gd name="connsiteY106" fmla="*/ 5039 h 10000"/>
              <a:gd name="connsiteX107" fmla="*/ 295 w 9801"/>
              <a:gd name="connsiteY107" fmla="*/ 5271 h 10000"/>
              <a:gd name="connsiteX108" fmla="*/ 248 w 9801"/>
              <a:gd name="connsiteY108" fmla="*/ 5426 h 10000"/>
              <a:gd name="connsiteX109" fmla="*/ 346 w 9801"/>
              <a:gd name="connsiteY109" fmla="*/ 5582 h 10000"/>
              <a:gd name="connsiteX110" fmla="*/ 346 w 9801"/>
              <a:gd name="connsiteY110" fmla="*/ 5659 h 10000"/>
              <a:gd name="connsiteX111" fmla="*/ 200 w 9801"/>
              <a:gd name="connsiteY111" fmla="*/ 6047 h 10000"/>
              <a:gd name="connsiteX112" fmla="*/ 46 w 9801"/>
              <a:gd name="connsiteY112" fmla="*/ 6202 h 10000"/>
              <a:gd name="connsiteX113" fmla="*/ 97 w 9801"/>
              <a:gd name="connsiteY113" fmla="*/ 6202 h 10000"/>
              <a:gd name="connsiteX114" fmla="*/ 200 w 9801"/>
              <a:gd name="connsiteY114" fmla="*/ 6356 h 10000"/>
              <a:gd name="connsiteX115" fmla="*/ 97 w 9801"/>
              <a:gd name="connsiteY115" fmla="*/ 6512 h 10000"/>
              <a:gd name="connsiteX116" fmla="*/ 46 w 9801"/>
              <a:gd name="connsiteY116" fmla="*/ 6590 h 10000"/>
              <a:gd name="connsiteX117" fmla="*/ 0 w 9801"/>
              <a:gd name="connsiteY117" fmla="*/ 6590 h 10000"/>
              <a:gd name="connsiteX118" fmla="*/ 46 w 9801"/>
              <a:gd name="connsiteY118" fmla="*/ 6822 h 10000"/>
              <a:gd name="connsiteX119" fmla="*/ 46 w 9801"/>
              <a:gd name="connsiteY119" fmla="*/ 6900 h 10000"/>
              <a:gd name="connsiteX120" fmla="*/ 46 w 9801"/>
              <a:gd name="connsiteY120" fmla="*/ 6977 h 10000"/>
              <a:gd name="connsiteX121" fmla="*/ 46 w 9801"/>
              <a:gd name="connsiteY121" fmla="*/ 7054 h 10000"/>
              <a:gd name="connsiteX122" fmla="*/ 97 w 9801"/>
              <a:gd name="connsiteY122" fmla="*/ 7209 h 10000"/>
              <a:gd name="connsiteX123" fmla="*/ 248 w 9801"/>
              <a:gd name="connsiteY123" fmla="*/ 7287 h 10000"/>
              <a:gd name="connsiteX124" fmla="*/ 295 w 9801"/>
              <a:gd name="connsiteY124" fmla="*/ 7364 h 10000"/>
              <a:gd name="connsiteX125" fmla="*/ 295 w 9801"/>
              <a:gd name="connsiteY125" fmla="*/ 7520 h 10000"/>
              <a:gd name="connsiteX126" fmla="*/ 398 w 9801"/>
              <a:gd name="connsiteY126" fmla="*/ 7752 h 10000"/>
              <a:gd name="connsiteX127" fmla="*/ 451 w 9801"/>
              <a:gd name="connsiteY127" fmla="*/ 7752 h 10000"/>
              <a:gd name="connsiteX128" fmla="*/ 398 w 9801"/>
              <a:gd name="connsiteY128" fmla="*/ 7907 h 10000"/>
              <a:gd name="connsiteX129" fmla="*/ 346 w 9801"/>
              <a:gd name="connsiteY129" fmla="*/ 7830 h 10000"/>
              <a:gd name="connsiteX130" fmla="*/ 346 w 9801"/>
              <a:gd name="connsiteY130" fmla="*/ 7907 h 10000"/>
              <a:gd name="connsiteX131" fmla="*/ 398 w 9801"/>
              <a:gd name="connsiteY131" fmla="*/ 8062 h 10000"/>
              <a:gd name="connsiteX132" fmla="*/ 549 w 9801"/>
              <a:gd name="connsiteY132" fmla="*/ 8062 h 10000"/>
              <a:gd name="connsiteX133" fmla="*/ 599 w 9801"/>
              <a:gd name="connsiteY133" fmla="*/ 8140 h 10000"/>
              <a:gd name="connsiteX134" fmla="*/ 549 w 9801"/>
              <a:gd name="connsiteY134" fmla="*/ 8140 h 10000"/>
              <a:gd name="connsiteX135" fmla="*/ 599 w 9801"/>
              <a:gd name="connsiteY135" fmla="*/ 8217 h 10000"/>
              <a:gd name="connsiteX136" fmla="*/ 646 w 9801"/>
              <a:gd name="connsiteY136" fmla="*/ 8217 h 10000"/>
              <a:gd name="connsiteX137" fmla="*/ 696 w 9801"/>
              <a:gd name="connsiteY137" fmla="*/ 8372 h 10000"/>
              <a:gd name="connsiteX138" fmla="*/ 747 w 9801"/>
              <a:gd name="connsiteY138" fmla="*/ 8449 h 10000"/>
              <a:gd name="connsiteX139" fmla="*/ 795 w 9801"/>
              <a:gd name="connsiteY139" fmla="*/ 8372 h 10000"/>
              <a:gd name="connsiteX140" fmla="*/ 1046 w 9801"/>
              <a:gd name="connsiteY140" fmla="*/ 8605 h 10000"/>
              <a:gd name="connsiteX141" fmla="*/ 996 w 9801"/>
              <a:gd name="connsiteY141" fmla="*/ 8915 h 10000"/>
              <a:gd name="connsiteX142" fmla="*/ 945 w 9801"/>
              <a:gd name="connsiteY142" fmla="*/ 8838 h 10000"/>
              <a:gd name="connsiteX143" fmla="*/ 894 w 9801"/>
              <a:gd name="connsiteY143" fmla="*/ 8915 h 10000"/>
              <a:gd name="connsiteX144" fmla="*/ 894 w 9801"/>
              <a:gd name="connsiteY144" fmla="*/ 9070 h 10000"/>
              <a:gd name="connsiteX145" fmla="*/ 945 w 9801"/>
              <a:gd name="connsiteY145" fmla="*/ 8993 h 10000"/>
              <a:gd name="connsiteX146" fmla="*/ 996 w 9801"/>
              <a:gd name="connsiteY146" fmla="*/ 9070 h 10000"/>
              <a:gd name="connsiteX147" fmla="*/ 847 w 9801"/>
              <a:gd name="connsiteY147" fmla="*/ 9147 h 10000"/>
              <a:gd name="connsiteX148" fmla="*/ 894 w 9801"/>
              <a:gd name="connsiteY148" fmla="*/ 9225 h 10000"/>
              <a:gd name="connsiteX149" fmla="*/ 795 w 9801"/>
              <a:gd name="connsiteY149" fmla="*/ 9380 h 10000"/>
              <a:gd name="connsiteX150" fmla="*/ 747 w 9801"/>
              <a:gd name="connsiteY150" fmla="*/ 9380 h 10000"/>
              <a:gd name="connsiteX151" fmla="*/ 795 w 9801"/>
              <a:gd name="connsiteY151" fmla="*/ 9380 h 10000"/>
              <a:gd name="connsiteX152" fmla="*/ 996 w 9801"/>
              <a:gd name="connsiteY152" fmla="*/ 9691 h 10000"/>
              <a:gd name="connsiteX153" fmla="*/ 1245 w 9801"/>
              <a:gd name="connsiteY153" fmla="*/ 9691 h 10000"/>
              <a:gd name="connsiteX154" fmla="*/ 1344 w 9801"/>
              <a:gd name="connsiteY154" fmla="*/ 9768 h 10000"/>
              <a:gd name="connsiteX155" fmla="*/ 1443 w 9801"/>
              <a:gd name="connsiteY155" fmla="*/ 9768 h 10000"/>
              <a:gd name="connsiteX156" fmla="*/ 1543 w 9801"/>
              <a:gd name="connsiteY156" fmla="*/ 9923 h 10000"/>
              <a:gd name="connsiteX157" fmla="*/ 1592 w 9801"/>
              <a:gd name="connsiteY157" fmla="*/ 10000 h 10000"/>
              <a:gd name="connsiteX158" fmla="*/ 1640 w 9801"/>
              <a:gd name="connsiteY158" fmla="*/ 10000 h 10000"/>
              <a:gd name="connsiteX159" fmla="*/ 1694 w 9801"/>
              <a:gd name="connsiteY159" fmla="*/ 9923 h 10000"/>
              <a:gd name="connsiteX160" fmla="*/ 1592 w 9801"/>
              <a:gd name="connsiteY160" fmla="*/ 9768 h 10000"/>
              <a:gd name="connsiteX161" fmla="*/ 1592 w 9801"/>
              <a:gd name="connsiteY161" fmla="*/ 9613 h 10000"/>
              <a:gd name="connsiteX162" fmla="*/ 1543 w 9801"/>
              <a:gd name="connsiteY162" fmla="*/ 9457 h 10000"/>
              <a:gd name="connsiteX163" fmla="*/ 1640 w 9801"/>
              <a:gd name="connsiteY163" fmla="*/ 9225 h 10000"/>
              <a:gd name="connsiteX164" fmla="*/ 1694 w 9801"/>
              <a:gd name="connsiteY164" fmla="*/ 9302 h 10000"/>
              <a:gd name="connsiteX165" fmla="*/ 1741 w 9801"/>
              <a:gd name="connsiteY165" fmla="*/ 9225 h 10000"/>
              <a:gd name="connsiteX166" fmla="*/ 1741 w 9801"/>
              <a:gd name="connsiteY166" fmla="*/ 9147 h 10000"/>
              <a:gd name="connsiteX167" fmla="*/ 1694 w 9801"/>
              <a:gd name="connsiteY167" fmla="*/ 9147 h 10000"/>
              <a:gd name="connsiteX168" fmla="*/ 1741 w 9801"/>
              <a:gd name="connsiteY168" fmla="*/ 9070 h 10000"/>
              <a:gd name="connsiteX169" fmla="*/ 1694 w 9801"/>
              <a:gd name="connsiteY169" fmla="*/ 8915 h 10000"/>
              <a:gd name="connsiteX170" fmla="*/ 1592 w 9801"/>
              <a:gd name="connsiteY170" fmla="*/ 8915 h 10000"/>
              <a:gd name="connsiteX171" fmla="*/ 1543 w 9801"/>
              <a:gd name="connsiteY171" fmla="*/ 8760 h 10000"/>
              <a:gd name="connsiteX172" fmla="*/ 1592 w 9801"/>
              <a:gd name="connsiteY172" fmla="*/ 8372 h 10000"/>
              <a:gd name="connsiteX173" fmla="*/ 1694 w 9801"/>
              <a:gd name="connsiteY173" fmla="*/ 8528 h 10000"/>
              <a:gd name="connsiteX174" fmla="*/ 1741 w 9801"/>
              <a:gd name="connsiteY174" fmla="*/ 8528 h 10000"/>
              <a:gd name="connsiteX175" fmla="*/ 1694 w 9801"/>
              <a:gd name="connsiteY175" fmla="*/ 8372 h 10000"/>
              <a:gd name="connsiteX176" fmla="*/ 1842 w 9801"/>
              <a:gd name="connsiteY176" fmla="*/ 8140 h 10000"/>
              <a:gd name="connsiteX177" fmla="*/ 1943 w 9801"/>
              <a:gd name="connsiteY177" fmla="*/ 8217 h 10000"/>
              <a:gd name="connsiteX178" fmla="*/ 1990 w 9801"/>
              <a:gd name="connsiteY178" fmla="*/ 8140 h 10000"/>
              <a:gd name="connsiteX179" fmla="*/ 2090 w 9801"/>
              <a:gd name="connsiteY179" fmla="*/ 8217 h 10000"/>
              <a:gd name="connsiteX180" fmla="*/ 2241 w 9801"/>
              <a:gd name="connsiteY180" fmla="*/ 8372 h 10000"/>
              <a:gd name="connsiteX181" fmla="*/ 2337 w 9801"/>
              <a:gd name="connsiteY181" fmla="*/ 8295 h 10000"/>
              <a:gd name="connsiteX182" fmla="*/ 2439 w 9801"/>
              <a:gd name="connsiteY182" fmla="*/ 8295 h 10000"/>
              <a:gd name="connsiteX183" fmla="*/ 2489 w 9801"/>
              <a:gd name="connsiteY183" fmla="*/ 8372 h 10000"/>
              <a:gd name="connsiteX184" fmla="*/ 2687 w 9801"/>
              <a:gd name="connsiteY184" fmla="*/ 8372 h 10000"/>
              <a:gd name="connsiteX185" fmla="*/ 2734 w 9801"/>
              <a:gd name="connsiteY185" fmla="*/ 8217 h 10000"/>
              <a:gd name="connsiteX186" fmla="*/ 2585 w 9801"/>
              <a:gd name="connsiteY186" fmla="*/ 8140 h 10000"/>
              <a:gd name="connsiteX187" fmla="*/ 2687 w 9801"/>
              <a:gd name="connsiteY187" fmla="*/ 8062 h 10000"/>
              <a:gd name="connsiteX188" fmla="*/ 2635 w 9801"/>
              <a:gd name="connsiteY188" fmla="*/ 7985 h 10000"/>
              <a:gd name="connsiteX189" fmla="*/ 2687 w 9801"/>
              <a:gd name="connsiteY189" fmla="*/ 7907 h 10000"/>
              <a:gd name="connsiteX190" fmla="*/ 2687 w 9801"/>
              <a:gd name="connsiteY190" fmla="*/ 7675 h 10000"/>
              <a:gd name="connsiteX191" fmla="*/ 2784 w 9801"/>
              <a:gd name="connsiteY191" fmla="*/ 7752 h 10000"/>
              <a:gd name="connsiteX192" fmla="*/ 3235 w 9801"/>
              <a:gd name="connsiteY192" fmla="*/ 7520 h 10000"/>
              <a:gd name="connsiteX193" fmla="*/ 3235 w 9801"/>
              <a:gd name="connsiteY193" fmla="*/ 7442 h 10000"/>
              <a:gd name="connsiteX194" fmla="*/ 3284 w 9801"/>
              <a:gd name="connsiteY194" fmla="*/ 7442 h 10000"/>
              <a:gd name="connsiteX195" fmla="*/ 3430 w 9801"/>
              <a:gd name="connsiteY195" fmla="*/ 7442 h 10000"/>
              <a:gd name="connsiteX196" fmla="*/ 3484 w 9801"/>
              <a:gd name="connsiteY196" fmla="*/ 7598 h 10000"/>
              <a:gd name="connsiteX197" fmla="*/ 3484 w 9801"/>
              <a:gd name="connsiteY197" fmla="*/ 7675 h 10000"/>
              <a:gd name="connsiteX198" fmla="*/ 3532 w 9801"/>
              <a:gd name="connsiteY198" fmla="*/ 7675 h 10000"/>
              <a:gd name="connsiteX199" fmla="*/ 3631 w 9801"/>
              <a:gd name="connsiteY199" fmla="*/ 7752 h 10000"/>
              <a:gd name="connsiteX200" fmla="*/ 3631 w 9801"/>
              <a:gd name="connsiteY200" fmla="*/ 7830 h 10000"/>
              <a:gd name="connsiteX201" fmla="*/ 3731 w 9801"/>
              <a:gd name="connsiteY201" fmla="*/ 7830 h 10000"/>
              <a:gd name="connsiteX202" fmla="*/ 3829 w 9801"/>
              <a:gd name="connsiteY202" fmla="*/ 7675 h 10000"/>
              <a:gd name="connsiteX203" fmla="*/ 3929 w 9801"/>
              <a:gd name="connsiteY203" fmla="*/ 7598 h 10000"/>
              <a:gd name="connsiteX204" fmla="*/ 3984 w 9801"/>
              <a:gd name="connsiteY204" fmla="*/ 7830 h 10000"/>
              <a:gd name="connsiteX205" fmla="*/ 4179 w 9801"/>
              <a:gd name="connsiteY205" fmla="*/ 8372 h 10000"/>
              <a:gd name="connsiteX206" fmla="*/ 4231 w 9801"/>
              <a:gd name="connsiteY206" fmla="*/ 8217 h 10000"/>
              <a:gd name="connsiteX207" fmla="*/ 4280 w 9801"/>
              <a:gd name="connsiteY207" fmla="*/ 8372 h 10000"/>
              <a:gd name="connsiteX208" fmla="*/ 4428 w 9801"/>
              <a:gd name="connsiteY208" fmla="*/ 8295 h 10000"/>
              <a:gd name="connsiteX209" fmla="*/ 4580 w 9801"/>
              <a:gd name="connsiteY209" fmla="*/ 8528 h 10000"/>
              <a:gd name="connsiteX210" fmla="*/ 4676 w 9801"/>
              <a:gd name="connsiteY210" fmla="*/ 8605 h 10000"/>
              <a:gd name="connsiteX211" fmla="*/ 4676 w 9801"/>
              <a:gd name="connsiteY211" fmla="*/ 8528 h 10000"/>
              <a:gd name="connsiteX212" fmla="*/ 4728 w 9801"/>
              <a:gd name="connsiteY212" fmla="*/ 8683 h 10000"/>
              <a:gd name="connsiteX213" fmla="*/ 4676 w 9801"/>
              <a:gd name="connsiteY213" fmla="*/ 8760 h 10000"/>
              <a:gd name="connsiteX214" fmla="*/ 4778 w 9801"/>
              <a:gd name="connsiteY214" fmla="*/ 8683 h 10000"/>
              <a:gd name="connsiteX215" fmla="*/ 4825 w 9801"/>
              <a:gd name="connsiteY215" fmla="*/ 8605 h 10000"/>
              <a:gd name="connsiteX216" fmla="*/ 5074 w 9801"/>
              <a:gd name="connsiteY216" fmla="*/ 8372 h 10000"/>
              <a:gd name="connsiteX217" fmla="*/ 5274 w 9801"/>
              <a:gd name="connsiteY217" fmla="*/ 8449 h 10000"/>
              <a:gd name="connsiteX218" fmla="*/ 5373 w 9801"/>
              <a:gd name="connsiteY218" fmla="*/ 8528 h 10000"/>
              <a:gd name="connsiteX219" fmla="*/ 5570 w 9801"/>
              <a:gd name="connsiteY219" fmla="*/ 8528 h 10000"/>
              <a:gd name="connsiteX220" fmla="*/ 5570 w 9801"/>
              <a:gd name="connsiteY220" fmla="*/ 8372 h 10000"/>
              <a:gd name="connsiteX221" fmla="*/ 5570 w 9801"/>
              <a:gd name="connsiteY221" fmla="*/ 8217 h 10000"/>
              <a:gd name="connsiteX222" fmla="*/ 5671 w 9801"/>
              <a:gd name="connsiteY222" fmla="*/ 8140 h 10000"/>
              <a:gd name="connsiteX223" fmla="*/ 5869 w 9801"/>
              <a:gd name="connsiteY223" fmla="*/ 8217 h 10000"/>
              <a:gd name="connsiteX224" fmla="*/ 5970 w 9801"/>
              <a:gd name="connsiteY224" fmla="*/ 8449 h 10000"/>
              <a:gd name="connsiteX225" fmla="*/ 6020 w 9801"/>
              <a:gd name="connsiteY225" fmla="*/ 8449 h 10000"/>
              <a:gd name="connsiteX226" fmla="*/ 6120 w 9801"/>
              <a:gd name="connsiteY226" fmla="*/ 8372 h 10000"/>
              <a:gd name="connsiteX227" fmla="*/ 6422 w 9801"/>
              <a:gd name="connsiteY227" fmla="*/ 8605 h 10000"/>
              <a:gd name="connsiteX228" fmla="*/ 6569 w 9801"/>
              <a:gd name="connsiteY228" fmla="*/ 8683 h 10000"/>
              <a:gd name="connsiteX229" fmla="*/ 6767 w 9801"/>
              <a:gd name="connsiteY229" fmla="*/ 8605 h 10000"/>
              <a:gd name="connsiteX230" fmla="*/ 6866 w 9801"/>
              <a:gd name="connsiteY230" fmla="*/ 8449 h 10000"/>
              <a:gd name="connsiteX231" fmla="*/ 7016 w 9801"/>
              <a:gd name="connsiteY231" fmla="*/ 8528 h 10000"/>
              <a:gd name="connsiteX232" fmla="*/ 7114 w 9801"/>
              <a:gd name="connsiteY232" fmla="*/ 8605 h 10000"/>
              <a:gd name="connsiteX233" fmla="*/ 8807 w 9801"/>
              <a:gd name="connsiteY233" fmla="*/ 7675 h 10000"/>
              <a:gd name="connsiteX234" fmla="*/ 8709 w 9801"/>
              <a:gd name="connsiteY234" fmla="*/ 7675 h 10000"/>
              <a:gd name="connsiteX235" fmla="*/ 8659 w 9801"/>
              <a:gd name="connsiteY235" fmla="*/ 7675 h 10000"/>
              <a:gd name="connsiteX236" fmla="*/ 8607 w 9801"/>
              <a:gd name="connsiteY236" fmla="*/ 7598 h 10000"/>
              <a:gd name="connsiteX237" fmla="*/ 8511 w 9801"/>
              <a:gd name="connsiteY237" fmla="*/ 7598 h 10000"/>
              <a:gd name="connsiteX238" fmla="*/ 8511 w 9801"/>
              <a:gd name="connsiteY238" fmla="*/ 7520 h 10000"/>
              <a:gd name="connsiteX239" fmla="*/ 8659 w 9801"/>
              <a:gd name="connsiteY239" fmla="*/ 7287 h 10000"/>
              <a:gd name="connsiteX240" fmla="*/ 9112 w 9801"/>
              <a:gd name="connsiteY240" fmla="*/ 6590 h 10000"/>
              <a:gd name="connsiteX241" fmla="*/ 9305 w 9801"/>
              <a:gd name="connsiteY241" fmla="*/ 6512 h 10000"/>
              <a:gd name="connsiteX242" fmla="*/ 9353 w 9801"/>
              <a:gd name="connsiteY242" fmla="*/ 6590 h 10000"/>
              <a:gd name="connsiteX243" fmla="*/ 9405 w 9801"/>
              <a:gd name="connsiteY243" fmla="*/ 6512 h 10000"/>
              <a:gd name="connsiteX244" fmla="*/ 9551 w 9801"/>
              <a:gd name="connsiteY244" fmla="*/ 6590 h 10000"/>
              <a:gd name="connsiteX245" fmla="*/ 9606 w 9801"/>
              <a:gd name="connsiteY245" fmla="*/ 6434 h 10000"/>
              <a:gd name="connsiteX246" fmla="*/ 9754 w 9801"/>
              <a:gd name="connsiteY246" fmla="*/ 6512 h 10000"/>
              <a:gd name="connsiteX247" fmla="*/ 9801 w 9801"/>
              <a:gd name="connsiteY247" fmla="*/ 6512 h 10000"/>
              <a:gd name="connsiteX248" fmla="*/ 9754 w 9801"/>
              <a:gd name="connsiteY248" fmla="*/ 6590 h 10000"/>
              <a:gd name="connsiteX249" fmla="*/ 9754 w 9801"/>
              <a:gd name="connsiteY249" fmla="*/ 6667 h 10000"/>
              <a:gd name="connsiteX250" fmla="*/ 9801 w 9801"/>
              <a:gd name="connsiteY250" fmla="*/ 2946 h 10000"/>
              <a:gd name="connsiteX251" fmla="*/ 9703 w 9801"/>
              <a:gd name="connsiteY251" fmla="*/ 2946 h 10000"/>
              <a:gd name="connsiteX252" fmla="*/ 9653 w 9801"/>
              <a:gd name="connsiteY252" fmla="*/ 2868 h 10000"/>
              <a:gd name="connsiteX253" fmla="*/ 9653 w 9801"/>
              <a:gd name="connsiteY253" fmla="*/ 2636 h 10000"/>
              <a:gd name="connsiteX254" fmla="*/ 9305 w 9801"/>
              <a:gd name="connsiteY254" fmla="*/ 2480 h 10000"/>
              <a:gd name="connsiteX255" fmla="*/ 8908 w 9801"/>
              <a:gd name="connsiteY255" fmla="*/ 2325 h 10000"/>
              <a:gd name="connsiteX256" fmla="*/ 8807 w 9801"/>
              <a:gd name="connsiteY256" fmla="*/ 2636 h 10000"/>
              <a:gd name="connsiteX257" fmla="*/ 8908 w 9801"/>
              <a:gd name="connsiteY257" fmla="*/ 2868 h 10000"/>
              <a:gd name="connsiteX258" fmla="*/ 8607 w 9801"/>
              <a:gd name="connsiteY258" fmla="*/ 2868 h 10000"/>
              <a:gd name="connsiteX259" fmla="*/ 8558 w 9801"/>
              <a:gd name="connsiteY259" fmla="*/ 2868 h 10000"/>
              <a:gd name="connsiteX260" fmla="*/ 8457 w 9801"/>
              <a:gd name="connsiteY260" fmla="*/ 2946 h 10000"/>
              <a:gd name="connsiteX261" fmla="*/ 8309 w 9801"/>
              <a:gd name="connsiteY261" fmla="*/ 2714 h 10000"/>
              <a:gd name="connsiteX262" fmla="*/ 8206 w 9801"/>
              <a:gd name="connsiteY262" fmla="*/ 3178 h 10000"/>
              <a:gd name="connsiteX263" fmla="*/ 8113 w 9801"/>
              <a:gd name="connsiteY263" fmla="*/ 3101 h 10000"/>
              <a:gd name="connsiteX264" fmla="*/ 8010 w 9801"/>
              <a:gd name="connsiteY264" fmla="*/ 2791 h 10000"/>
              <a:gd name="connsiteX265" fmla="*/ 8062 w 9801"/>
              <a:gd name="connsiteY265" fmla="*/ 2403 h 10000"/>
              <a:gd name="connsiteX266" fmla="*/ 7960 w 9801"/>
              <a:gd name="connsiteY266" fmla="*/ 2170 h 10000"/>
              <a:gd name="connsiteX267" fmla="*/ 7663 w 9801"/>
              <a:gd name="connsiteY267" fmla="*/ 2016 h 10000"/>
              <a:gd name="connsiteX268" fmla="*/ 7560 w 9801"/>
              <a:gd name="connsiteY268" fmla="*/ 2016 h 10000"/>
              <a:gd name="connsiteX269" fmla="*/ 7513 w 9801"/>
              <a:gd name="connsiteY269" fmla="*/ 2170 h 10000"/>
              <a:gd name="connsiteX270" fmla="*/ 7560 w 9801"/>
              <a:gd name="connsiteY270" fmla="*/ 2325 h 10000"/>
              <a:gd name="connsiteX271" fmla="*/ 7167 w 9801"/>
              <a:gd name="connsiteY271" fmla="*/ 2248 h 10000"/>
              <a:gd name="connsiteX272" fmla="*/ 7215 w 9801"/>
              <a:gd name="connsiteY272" fmla="*/ 2016 h 10000"/>
              <a:gd name="connsiteX273" fmla="*/ 6966 w 9801"/>
              <a:gd name="connsiteY273" fmla="*/ 1938 h 10000"/>
              <a:gd name="connsiteX274" fmla="*/ 6817 w 9801"/>
              <a:gd name="connsiteY274" fmla="*/ 2093 h 10000"/>
              <a:gd name="connsiteX275" fmla="*/ 6526 w 9801"/>
              <a:gd name="connsiteY275" fmla="*/ 1861 h 10000"/>
              <a:gd name="connsiteX0" fmla="*/ 6659 w 10000"/>
              <a:gd name="connsiteY0" fmla="*/ 1861 h 10000"/>
              <a:gd name="connsiteX1" fmla="*/ 6659 w 10000"/>
              <a:gd name="connsiteY1" fmla="*/ 1861 h 10000"/>
              <a:gd name="connsiteX2" fmla="*/ 6599 w 10000"/>
              <a:gd name="connsiteY2" fmla="*/ 1938 h 10000"/>
              <a:gd name="connsiteX3" fmla="*/ 6659 w 10000"/>
              <a:gd name="connsiteY3" fmla="*/ 2093 h 10000"/>
              <a:gd name="connsiteX4" fmla="*/ 6446 w 10000"/>
              <a:gd name="connsiteY4" fmla="*/ 2248 h 10000"/>
              <a:gd name="connsiteX5" fmla="*/ 6394 w 10000"/>
              <a:gd name="connsiteY5" fmla="*/ 2248 h 10000"/>
              <a:gd name="connsiteX6" fmla="*/ 6446 w 10000"/>
              <a:gd name="connsiteY6" fmla="*/ 2016 h 10000"/>
              <a:gd name="connsiteX7" fmla="*/ 6955 w 10000"/>
              <a:gd name="connsiteY7" fmla="*/ 1318 h 10000"/>
              <a:gd name="connsiteX8" fmla="*/ 6955 w 10000"/>
              <a:gd name="connsiteY8" fmla="*/ 853 h 10000"/>
              <a:gd name="connsiteX9" fmla="*/ 6754 w 10000"/>
              <a:gd name="connsiteY9" fmla="*/ 543 h 10000"/>
              <a:gd name="connsiteX10" fmla="*/ 6498 w 10000"/>
              <a:gd name="connsiteY10" fmla="*/ 543 h 10000"/>
              <a:gd name="connsiteX11" fmla="*/ 6498 w 10000"/>
              <a:gd name="connsiteY11" fmla="*/ 698 h 10000"/>
              <a:gd name="connsiteX12" fmla="*/ 6344 w 10000"/>
              <a:gd name="connsiteY12" fmla="*/ 698 h 10000"/>
              <a:gd name="connsiteX13" fmla="*/ 6446 w 10000"/>
              <a:gd name="connsiteY13" fmla="*/ 387 h 10000"/>
              <a:gd name="connsiteX14" fmla="*/ 6195 w 10000"/>
              <a:gd name="connsiteY14" fmla="*/ 310 h 10000"/>
              <a:gd name="connsiteX15" fmla="*/ 6344 w 10000"/>
              <a:gd name="connsiteY15" fmla="*/ 155 h 10000"/>
              <a:gd name="connsiteX16" fmla="*/ 6195 w 10000"/>
              <a:gd name="connsiteY16" fmla="*/ 0 h 10000"/>
              <a:gd name="connsiteX17" fmla="*/ 5941 w 10000"/>
              <a:gd name="connsiteY17" fmla="*/ 387 h 10000"/>
              <a:gd name="connsiteX18" fmla="*/ 5941 w 10000"/>
              <a:gd name="connsiteY18" fmla="*/ 698 h 10000"/>
              <a:gd name="connsiteX19" fmla="*/ 5786 w 10000"/>
              <a:gd name="connsiteY19" fmla="*/ 698 h 10000"/>
              <a:gd name="connsiteX20" fmla="*/ 5331 w 10000"/>
              <a:gd name="connsiteY20" fmla="*/ 853 h 10000"/>
              <a:gd name="connsiteX21" fmla="*/ 4923 w 10000"/>
              <a:gd name="connsiteY21" fmla="*/ 1240 h 10000"/>
              <a:gd name="connsiteX22" fmla="*/ 4771 w 10000"/>
              <a:gd name="connsiteY22" fmla="*/ 1551 h 10000"/>
              <a:gd name="connsiteX23" fmla="*/ 4824 w 10000"/>
              <a:gd name="connsiteY23" fmla="*/ 1938 h 10000"/>
              <a:gd name="connsiteX24" fmla="*/ 4264 w 10000"/>
              <a:gd name="connsiteY24" fmla="*/ 2093 h 10000"/>
              <a:gd name="connsiteX25" fmla="*/ 4317 w 10000"/>
              <a:gd name="connsiteY25" fmla="*/ 2559 h 10000"/>
              <a:gd name="connsiteX26" fmla="*/ 4469 w 10000"/>
              <a:gd name="connsiteY26" fmla="*/ 2791 h 10000"/>
              <a:gd name="connsiteX27" fmla="*/ 4367 w 10000"/>
              <a:gd name="connsiteY27" fmla="*/ 2868 h 10000"/>
              <a:gd name="connsiteX28" fmla="*/ 4215 w 10000"/>
              <a:gd name="connsiteY28" fmla="*/ 2559 h 10000"/>
              <a:gd name="connsiteX29" fmla="*/ 4065 w 10000"/>
              <a:gd name="connsiteY29" fmla="*/ 2480 h 10000"/>
              <a:gd name="connsiteX30" fmla="*/ 4009 w 10000"/>
              <a:gd name="connsiteY30" fmla="*/ 2559 h 10000"/>
              <a:gd name="connsiteX31" fmla="*/ 3907 w 10000"/>
              <a:gd name="connsiteY31" fmla="*/ 2403 h 10000"/>
              <a:gd name="connsiteX32" fmla="*/ 3807 w 10000"/>
              <a:gd name="connsiteY32" fmla="*/ 2248 h 10000"/>
              <a:gd name="connsiteX33" fmla="*/ 3807 w 10000"/>
              <a:gd name="connsiteY33" fmla="*/ 2325 h 10000"/>
              <a:gd name="connsiteX34" fmla="*/ 3862 w 10000"/>
              <a:gd name="connsiteY34" fmla="*/ 2559 h 10000"/>
              <a:gd name="connsiteX35" fmla="*/ 3705 w 10000"/>
              <a:gd name="connsiteY35" fmla="*/ 2946 h 10000"/>
              <a:gd name="connsiteX36" fmla="*/ 3807 w 10000"/>
              <a:gd name="connsiteY36" fmla="*/ 3256 h 10000"/>
              <a:gd name="connsiteX37" fmla="*/ 3755 w 10000"/>
              <a:gd name="connsiteY37" fmla="*/ 3566 h 10000"/>
              <a:gd name="connsiteX38" fmla="*/ 3755 w 10000"/>
              <a:gd name="connsiteY38" fmla="*/ 3799 h 10000"/>
              <a:gd name="connsiteX39" fmla="*/ 3907 w 10000"/>
              <a:gd name="connsiteY39" fmla="*/ 3799 h 10000"/>
              <a:gd name="connsiteX40" fmla="*/ 3807 w 10000"/>
              <a:gd name="connsiteY40" fmla="*/ 3876 h 10000"/>
              <a:gd name="connsiteX41" fmla="*/ 3862 w 10000"/>
              <a:gd name="connsiteY41" fmla="*/ 4263 h 10000"/>
              <a:gd name="connsiteX42" fmla="*/ 3555 w 10000"/>
              <a:gd name="connsiteY42" fmla="*/ 4652 h 10000"/>
              <a:gd name="connsiteX43" fmla="*/ 3500 w 10000"/>
              <a:gd name="connsiteY43" fmla="*/ 4574 h 10000"/>
              <a:gd name="connsiteX44" fmla="*/ 3705 w 10000"/>
              <a:gd name="connsiteY44" fmla="*/ 4186 h 10000"/>
              <a:gd name="connsiteX45" fmla="*/ 3755 w 10000"/>
              <a:gd name="connsiteY45" fmla="*/ 3954 h 10000"/>
              <a:gd name="connsiteX46" fmla="*/ 3649 w 10000"/>
              <a:gd name="connsiteY46" fmla="*/ 3799 h 10000"/>
              <a:gd name="connsiteX47" fmla="*/ 3649 w 10000"/>
              <a:gd name="connsiteY47" fmla="*/ 3023 h 10000"/>
              <a:gd name="connsiteX48" fmla="*/ 3604 w 10000"/>
              <a:gd name="connsiteY48" fmla="*/ 2868 h 10000"/>
              <a:gd name="connsiteX49" fmla="*/ 3649 w 10000"/>
              <a:gd name="connsiteY49" fmla="*/ 2403 h 10000"/>
              <a:gd name="connsiteX50" fmla="*/ 3555 w 10000"/>
              <a:gd name="connsiteY50" fmla="*/ 2325 h 10000"/>
              <a:gd name="connsiteX51" fmla="*/ 3604 w 10000"/>
              <a:gd name="connsiteY51" fmla="*/ 2248 h 10000"/>
              <a:gd name="connsiteX52" fmla="*/ 3555 w 10000"/>
              <a:gd name="connsiteY52" fmla="*/ 2093 h 10000"/>
              <a:gd name="connsiteX53" fmla="*/ 3448 w 10000"/>
              <a:gd name="connsiteY53" fmla="*/ 2170 h 10000"/>
              <a:gd name="connsiteX54" fmla="*/ 3197 w 10000"/>
              <a:gd name="connsiteY54" fmla="*/ 3178 h 10000"/>
              <a:gd name="connsiteX55" fmla="*/ 3197 w 10000"/>
              <a:gd name="connsiteY55" fmla="*/ 3566 h 10000"/>
              <a:gd name="connsiteX56" fmla="*/ 3351 w 10000"/>
              <a:gd name="connsiteY56" fmla="*/ 3876 h 10000"/>
              <a:gd name="connsiteX57" fmla="*/ 3351 w 10000"/>
              <a:gd name="connsiteY57" fmla="*/ 4031 h 10000"/>
              <a:gd name="connsiteX58" fmla="*/ 3197 w 10000"/>
              <a:gd name="connsiteY58" fmla="*/ 3876 h 10000"/>
              <a:gd name="connsiteX59" fmla="*/ 2591 w 10000"/>
              <a:gd name="connsiteY59" fmla="*/ 3256 h 10000"/>
              <a:gd name="connsiteX60" fmla="*/ 2540 w 10000"/>
              <a:gd name="connsiteY60" fmla="*/ 3411 h 10000"/>
              <a:gd name="connsiteX61" fmla="*/ 2742 w 10000"/>
              <a:gd name="connsiteY61" fmla="*/ 3799 h 10000"/>
              <a:gd name="connsiteX62" fmla="*/ 2637 w 10000"/>
              <a:gd name="connsiteY62" fmla="*/ 3876 h 10000"/>
              <a:gd name="connsiteX63" fmla="*/ 2591 w 10000"/>
              <a:gd name="connsiteY63" fmla="*/ 3799 h 10000"/>
              <a:gd name="connsiteX64" fmla="*/ 2287 w 10000"/>
              <a:gd name="connsiteY64" fmla="*/ 3954 h 10000"/>
              <a:gd name="connsiteX65" fmla="*/ 2235 w 10000"/>
              <a:gd name="connsiteY65" fmla="*/ 4109 h 10000"/>
              <a:gd name="connsiteX66" fmla="*/ 2183 w 10000"/>
              <a:gd name="connsiteY66" fmla="*/ 3954 h 10000"/>
              <a:gd name="connsiteX67" fmla="*/ 2183 w 10000"/>
              <a:gd name="connsiteY67" fmla="*/ 3799 h 10000"/>
              <a:gd name="connsiteX68" fmla="*/ 1673 w 10000"/>
              <a:gd name="connsiteY68" fmla="*/ 4263 h 10000"/>
              <a:gd name="connsiteX69" fmla="*/ 1673 w 10000"/>
              <a:gd name="connsiteY69" fmla="*/ 4418 h 10000"/>
              <a:gd name="connsiteX70" fmla="*/ 1574 w 10000"/>
              <a:gd name="connsiteY70" fmla="*/ 4496 h 10000"/>
              <a:gd name="connsiteX71" fmla="*/ 1421 w 10000"/>
              <a:gd name="connsiteY71" fmla="*/ 4341 h 10000"/>
              <a:gd name="connsiteX72" fmla="*/ 1574 w 10000"/>
              <a:gd name="connsiteY72" fmla="*/ 4186 h 10000"/>
              <a:gd name="connsiteX73" fmla="*/ 1523 w 10000"/>
              <a:gd name="connsiteY73" fmla="*/ 3954 h 10000"/>
              <a:gd name="connsiteX74" fmla="*/ 1321 w 10000"/>
              <a:gd name="connsiteY74" fmla="*/ 3876 h 10000"/>
              <a:gd name="connsiteX75" fmla="*/ 1371 w 10000"/>
              <a:gd name="connsiteY75" fmla="*/ 4031 h 10000"/>
              <a:gd name="connsiteX76" fmla="*/ 1371 w 10000"/>
              <a:gd name="connsiteY76" fmla="*/ 4418 h 10000"/>
              <a:gd name="connsiteX77" fmla="*/ 1421 w 10000"/>
              <a:gd name="connsiteY77" fmla="*/ 4574 h 10000"/>
              <a:gd name="connsiteX78" fmla="*/ 1371 w 10000"/>
              <a:gd name="connsiteY78" fmla="*/ 4729 h 10000"/>
              <a:gd name="connsiteX79" fmla="*/ 1217 w 10000"/>
              <a:gd name="connsiteY79" fmla="*/ 4652 h 10000"/>
              <a:gd name="connsiteX80" fmla="*/ 1016 w 10000"/>
              <a:gd name="connsiteY80" fmla="*/ 4884 h 10000"/>
              <a:gd name="connsiteX81" fmla="*/ 1114 w 10000"/>
              <a:gd name="connsiteY81" fmla="*/ 5194 h 10000"/>
              <a:gd name="connsiteX82" fmla="*/ 811 w 10000"/>
              <a:gd name="connsiteY82" fmla="*/ 5039 h 10000"/>
              <a:gd name="connsiteX83" fmla="*/ 762 w 10000"/>
              <a:gd name="connsiteY83" fmla="*/ 5116 h 10000"/>
              <a:gd name="connsiteX84" fmla="*/ 864 w 10000"/>
              <a:gd name="connsiteY84" fmla="*/ 5349 h 10000"/>
              <a:gd name="connsiteX85" fmla="*/ 762 w 10000"/>
              <a:gd name="connsiteY85" fmla="*/ 5349 h 10000"/>
              <a:gd name="connsiteX86" fmla="*/ 611 w 10000"/>
              <a:gd name="connsiteY86" fmla="*/ 5194 h 10000"/>
              <a:gd name="connsiteX87" fmla="*/ 611 w 10000"/>
              <a:gd name="connsiteY87" fmla="*/ 4729 h 10000"/>
              <a:gd name="connsiteX88" fmla="*/ 460 w 10000"/>
              <a:gd name="connsiteY88" fmla="*/ 4574 h 10000"/>
              <a:gd name="connsiteX89" fmla="*/ 406 w 10000"/>
              <a:gd name="connsiteY89" fmla="*/ 4418 h 10000"/>
              <a:gd name="connsiteX90" fmla="*/ 507 w 10000"/>
              <a:gd name="connsiteY90" fmla="*/ 4496 h 10000"/>
              <a:gd name="connsiteX91" fmla="*/ 912 w 10000"/>
              <a:gd name="connsiteY91" fmla="*/ 4729 h 10000"/>
              <a:gd name="connsiteX92" fmla="*/ 1163 w 10000"/>
              <a:gd name="connsiteY92" fmla="*/ 4496 h 10000"/>
              <a:gd name="connsiteX93" fmla="*/ 1114 w 10000"/>
              <a:gd name="connsiteY93" fmla="*/ 4263 h 10000"/>
              <a:gd name="connsiteX94" fmla="*/ 811 w 10000"/>
              <a:gd name="connsiteY94" fmla="*/ 3799 h 10000"/>
              <a:gd name="connsiteX95" fmla="*/ 507 w 10000"/>
              <a:gd name="connsiteY95" fmla="*/ 3644 h 10000"/>
              <a:gd name="connsiteX96" fmla="*/ 507 w 10000"/>
              <a:gd name="connsiteY96" fmla="*/ 3566 h 10000"/>
              <a:gd name="connsiteX97" fmla="*/ 406 w 10000"/>
              <a:gd name="connsiteY97" fmla="*/ 3488 h 10000"/>
              <a:gd name="connsiteX98" fmla="*/ 301 w 10000"/>
              <a:gd name="connsiteY98" fmla="*/ 3566 h 10000"/>
              <a:gd name="connsiteX99" fmla="*/ 301 w 10000"/>
              <a:gd name="connsiteY99" fmla="*/ 3644 h 10000"/>
              <a:gd name="connsiteX100" fmla="*/ 253 w 10000"/>
              <a:gd name="connsiteY100" fmla="*/ 3644 h 10000"/>
              <a:gd name="connsiteX101" fmla="*/ 152 w 10000"/>
              <a:gd name="connsiteY101" fmla="*/ 3799 h 10000"/>
              <a:gd name="connsiteX102" fmla="*/ 152 w 10000"/>
              <a:gd name="connsiteY102" fmla="*/ 4031 h 10000"/>
              <a:gd name="connsiteX103" fmla="*/ 253 w 10000"/>
              <a:gd name="connsiteY103" fmla="*/ 4186 h 10000"/>
              <a:gd name="connsiteX104" fmla="*/ 204 w 10000"/>
              <a:gd name="connsiteY104" fmla="*/ 4418 h 10000"/>
              <a:gd name="connsiteX105" fmla="*/ 253 w 10000"/>
              <a:gd name="connsiteY105" fmla="*/ 4807 h 10000"/>
              <a:gd name="connsiteX106" fmla="*/ 204 w 10000"/>
              <a:gd name="connsiteY106" fmla="*/ 5039 h 10000"/>
              <a:gd name="connsiteX107" fmla="*/ 301 w 10000"/>
              <a:gd name="connsiteY107" fmla="*/ 5271 h 10000"/>
              <a:gd name="connsiteX108" fmla="*/ 253 w 10000"/>
              <a:gd name="connsiteY108" fmla="*/ 5426 h 10000"/>
              <a:gd name="connsiteX109" fmla="*/ 353 w 10000"/>
              <a:gd name="connsiteY109" fmla="*/ 5582 h 10000"/>
              <a:gd name="connsiteX110" fmla="*/ 353 w 10000"/>
              <a:gd name="connsiteY110" fmla="*/ 5659 h 10000"/>
              <a:gd name="connsiteX111" fmla="*/ 204 w 10000"/>
              <a:gd name="connsiteY111" fmla="*/ 6047 h 10000"/>
              <a:gd name="connsiteX112" fmla="*/ 47 w 10000"/>
              <a:gd name="connsiteY112" fmla="*/ 6202 h 10000"/>
              <a:gd name="connsiteX113" fmla="*/ 99 w 10000"/>
              <a:gd name="connsiteY113" fmla="*/ 6202 h 10000"/>
              <a:gd name="connsiteX114" fmla="*/ 204 w 10000"/>
              <a:gd name="connsiteY114" fmla="*/ 6356 h 10000"/>
              <a:gd name="connsiteX115" fmla="*/ 99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99 w 10000"/>
              <a:gd name="connsiteY122" fmla="*/ 7209 h 10000"/>
              <a:gd name="connsiteX123" fmla="*/ 253 w 10000"/>
              <a:gd name="connsiteY123" fmla="*/ 7287 h 10000"/>
              <a:gd name="connsiteX124" fmla="*/ 301 w 10000"/>
              <a:gd name="connsiteY124" fmla="*/ 7364 h 10000"/>
              <a:gd name="connsiteX125" fmla="*/ 301 w 10000"/>
              <a:gd name="connsiteY125" fmla="*/ 7520 h 10000"/>
              <a:gd name="connsiteX126" fmla="*/ 406 w 10000"/>
              <a:gd name="connsiteY126" fmla="*/ 7752 h 10000"/>
              <a:gd name="connsiteX127" fmla="*/ 460 w 10000"/>
              <a:gd name="connsiteY127" fmla="*/ 7752 h 10000"/>
              <a:gd name="connsiteX128" fmla="*/ 406 w 10000"/>
              <a:gd name="connsiteY128" fmla="*/ 7907 h 10000"/>
              <a:gd name="connsiteX129" fmla="*/ 353 w 10000"/>
              <a:gd name="connsiteY129" fmla="*/ 7830 h 10000"/>
              <a:gd name="connsiteX130" fmla="*/ 353 w 10000"/>
              <a:gd name="connsiteY130" fmla="*/ 7907 h 10000"/>
              <a:gd name="connsiteX131" fmla="*/ 406 w 10000"/>
              <a:gd name="connsiteY131" fmla="*/ 8062 h 10000"/>
              <a:gd name="connsiteX132" fmla="*/ 560 w 10000"/>
              <a:gd name="connsiteY132" fmla="*/ 8062 h 10000"/>
              <a:gd name="connsiteX133" fmla="*/ 611 w 10000"/>
              <a:gd name="connsiteY133" fmla="*/ 8140 h 10000"/>
              <a:gd name="connsiteX134" fmla="*/ 560 w 10000"/>
              <a:gd name="connsiteY134" fmla="*/ 8140 h 10000"/>
              <a:gd name="connsiteX135" fmla="*/ 611 w 10000"/>
              <a:gd name="connsiteY135" fmla="*/ 8217 h 10000"/>
              <a:gd name="connsiteX136" fmla="*/ 659 w 10000"/>
              <a:gd name="connsiteY136" fmla="*/ 8217 h 10000"/>
              <a:gd name="connsiteX137" fmla="*/ 710 w 10000"/>
              <a:gd name="connsiteY137" fmla="*/ 8372 h 10000"/>
              <a:gd name="connsiteX138" fmla="*/ 762 w 10000"/>
              <a:gd name="connsiteY138" fmla="*/ 8449 h 10000"/>
              <a:gd name="connsiteX139" fmla="*/ 811 w 10000"/>
              <a:gd name="connsiteY139" fmla="*/ 8372 h 10000"/>
              <a:gd name="connsiteX140" fmla="*/ 1067 w 10000"/>
              <a:gd name="connsiteY140" fmla="*/ 8605 h 10000"/>
              <a:gd name="connsiteX141" fmla="*/ 1016 w 10000"/>
              <a:gd name="connsiteY141" fmla="*/ 8915 h 10000"/>
              <a:gd name="connsiteX142" fmla="*/ 964 w 10000"/>
              <a:gd name="connsiteY142" fmla="*/ 8838 h 10000"/>
              <a:gd name="connsiteX143" fmla="*/ 912 w 10000"/>
              <a:gd name="connsiteY143" fmla="*/ 8915 h 10000"/>
              <a:gd name="connsiteX144" fmla="*/ 912 w 10000"/>
              <a:gd name="connsiteY144" fmla="*/ 9070 h 10000"/>
              <a:gd name="connsiteX145" fmla="*/ 964 w 10000"/>
              <a:gd name="connsiteY145" fmla="*/ 8993 h 10000"/>
              <a:gd name="connsiteX146" fmla="*/ 1016 w 10000"/>
              <a:gd name="connsiteY146" fmla="*/ 9070 h 10000"/>
              <a:gd name="connsiteX147" fmla="*/ 864 w 10000"/>
              <a:gd name="connsiteY147" fmla="*/ 9147 h 10000"/>
              <a:gd name="connsiteX148" fmla="*/ 912 w 10000"/>
              <a:gd name="connsiteY148" fmla="*/ 9225 h 10000"/>
              <a:gd name="connsiteX149" fmla="*/ 811 w 10000"/>
              <a:gd name="connsiteY149" fmla="*/ 9380 h 10000"/>
              <a:gd name="connsiteX150" fmla="*/ 762 w 10000"/>
              <a:gd name="connsiteY150" fmla="*/ 9380 h 10000"/>
              <a:gd name="connsiteX151" fmla="*/ 811 w 10000"/>
              <a:gd name="connsiteY151" fmla="*/ 9380 h 10000"/>
              <a:gd name="connsiteX152" fmla="*/ 1016 w 10000"/>
              <a:gd name="connsiteY152" fmla="*/ 9691 h 10000"/>
              <a:gd name="connsiteX153" fmla="*/ 1270 w 10000"/>
              <a:gd name="connsiteY153" fmla="*/ 9691 h 10000"/>
              <a:gd name="connsiteX154" fmla="*/ 1371 w 10000"/>
              <a:gd name="connsiteY154" fmla="*/ 9768 h 10000"/>
              <a:gd name="connsiteX155" fmla="*/ 1472 w 10000"/>
              <a:gd name="connsiteY155" fmla="*/ 9768 h 10000"/>
              <a:gd name="connsiteX156" fmla="*/ 1574 w 10000"/>
              <a:gd name="connsiteY156" fmla="*/ 9923 h 10000"/>
              <a:gd name="connsiteX157" fmla="*/ 1624 w 10000"/>
              <a:gd name="connsiteY157" fmla="*/ 10000 h 10000"/>
              <a:gd name="connsiteX158" fmla="*/ 1673 w 10000"/>
              <a:gd name="connsiteY158" fmla="*/ 10000 h 10000"/>
              <a:gd name="connsiteX159" fmla="*/ 1728 w 10000"/>
              <a:gd name="connsiteY159" fmla="*/ 9923 h 10000"/>
              <a:gd name="connsiteX160" fmla="*/ 1624 w 10000"/>
              <a:gd name="connsiteY160" fmla="*/ 9768 h 10000"/>
              <a:gd name="connsiteX161" fmla="*/ 1624 w 10000"/>
              <a:gd name="connsiteY161" fmla="*/ 9613 h 10000"/>
              <a:gd name="connsiteX162" fmla="*/ 1574 w 10000"/>
              <a:gd name="connsiteY162" fmla="*/ 9457 h 10000"/>
              <a:gd name="connsiteX163" fmla="*/ 1673 w 10000"/>
              <a:gd name="connsiteY163" fmla="*/ 9225 h 10000"/>
              <a:gd name="connsiteX164" fmla="*/ 1728 w 10000"/>
              <a:gd name="connsiteY164" fmla="*/ 9302 h 10000"/>
              <a:gd name="connsiteX165" fmla="*/ 1776 w 10000"/>
              <a:gd name="connsiteY165" fmla="*/ 9225 h 10000"/>
              <a:gd name="connsiteX166" fmla="*/ 1776 w 10000"/>
              <a:gd name="connsiteY166" fmla="*/ 9147 h 10000"/>
              <a:gd name="connsiteX167" fmla="*/ 1728 w 10000"/>
              <a:gd name="connsiteY167" fmla="*/ 9147 h 10000"/>
              <a:gd name="connsiteX168" fmla="*/ 1776 w 10000"/>
              <a:gd name="connsiteY168" fmla="*/ 9070 h 10000"/>
              <a:gd name="connsiteX169" fmla="*/ 1728 w 10000"/>
              <a:gd name="connsiteY169" fmla="*/ 8915 h 10000"/>
              <a:gd name="connsiteX170" fmla="*/ 1624 w 10000"/>
              <a:gd name="connsiteY170" fmla="*/ 8915 h 10000"/>
              <a:gd name="connsiteX171" fmla="*/ 1574 w 10000"/>
              <a:gd name="connsiteY171" fmla="*/ 8760 h 10000"/>
              <a:gd name="connsiteX172" fmla="*/ 1624 w 10000"/>
              <a:gd name="connsiteY172" fmla="*/ 8372 h 10000"/>
              <a:gd name="connsiteX173" fmla="*/ 1728 w 10000"/>
              <a:gd name="connsiteY173" fmla="*/ 8528 h 10000"/>
              <a:gd name="connsiteX174" fmla="*/ 1776 w 10000"/>
              <a:gd name="connsiteY174" fmla="*/ 8528 h 10000"/>
              <a:gd name="connsiteX175" fmla="*/ 1728 w 10000"/>
              <a:gd name="connsiteY175" fmla="*/ 8372 h 10000"/>
              <a:gd name="connsiteX176" fmla="*/ 1879 w 10000"/>
              <a:gd name="connsiteY176" fmla="*/ 8140 h 10000"/>
              <a:gd name="connsiteX177" fmla="*/ 1982 w 10000"/>
              <a:gd name="connsiteY177" fmla="*/ 8217 h 10000"/>
              <a:gd name="connsiteX178" fmla="*/ 2030 w 10000"/>
              <a:gd name="connsiteY178" fmla="*/ 8140 h 10000"/>
              <a:gd name="connsiteX179" fmla="*/ 2132 w 10000"/>
              <a:gd name="connsiteY179" fmla="*/ 8217 h 10000"/>
              <a:gd name="connsiteX180" fmla="*/ 2287 w 10000"/>
              <a:gd name="connsiteY180" fmla="*/ 8372 h 10000"/>
              <a:gd name="connsiteX181" fmla="*/ 2384 w 10000"/>
              <a:gd name="connsiteY181" fmla="*/ 8295 h 10000"/>
              <a:gd name="connsiteX182" fmla="*/ 2489 w 10000"/>
              <a:gd name="connsiteY182" fmla="*/ 8295 h 10000"/>
              <a:gd name="connsiteX183" fmla="*/ 2540 w 10000"/>
              <a:gd name="connsiteY183" fmla="*/ 8372 h 10000"/>
              <a:gd name="connsiteX184" fmla="*/ 2742 w 10000"/>
              <a:gd name="connsiteY184" fmla="*/ 8372 h 10000"/>
              <a:gd name="connsiteX185" fmla="*/ 2790 w 10000"/>
              <a:gd name="connsiteY185" fmla="*/ 8217 h 10000"/>
              <a:gd name="connsiteX186" fmla="*/ 2637 w 10000"/>
              <a:gd name="connsiteY186" fmla="*/ 8140 h 10000"/>
              <a:gd name="connsiteX187" fmla="*/ 2742 w 10000"/>
              <a:gd name="connsiteY187" fmla="*/ 8062 h 10000"/>
              <a:gd name="connsiteX188" fmla="*/ 2689 w 10000"/>
              <a:gd name="connsiteY188" fmla="*/ 7985 h 10000"/>
              <a:gd name="connsiteX189" fmla="*/ 2742 w 10000"/>
              <a:gd name="connsiteY189" fmla="*/ 7907 h 10000"/>
              <a:gd name="connsiteX190" fmla="*/ 2742 w 10000"/>
              <a:gd name="connsiteY190" fmla="*/ 7675 h 10000"/>
              <a:gd name="connsiteX191" fmla="*/ 2841 w 10000"/>
              <a:gd name="connsiteY191" fmla="*/ 7752 h 10000"/>
              <a:gd name="connsiteX192" fmla="*/ 3301 w 10000"/>
              <a:gd name="connsiteY192" fmla="*/ 7520 h 10000"/>
              <a:gd name="connsiteX193" fmla="*/ 3301 w 10000"/>
              <a:gd name="connsiteY193" fmla="*/ 7442 h 10000"/>
              <a:gd name="connsiteX194" fmla="*/ 3351 w 10000"/>
              <a:gd name="connsiteY194" fmla="*/ 7442 h 10000"/>
              <a:gd name="connsiteX195" fmla="*/ 3500 w 10000"/>
              <a:gd name="connsiteY195" fmla="*/ 7442 h 10000"/>
              <a:gd name="connsiteX196" fmla="*/ 3555 w 10000"/>
              <a:gd name="connsiteY196" fmla="*/ 7598 h 10000"/>
              <a:gd name="connsiteX197" fmla="*/ 3555 w 10000"/>
              <a:gd name="connsiteY197" fmla="*/ 7675 h 10000"/>
              <a:gd name="connsiteX198" fmla="*/ 3604 w 10000"/>
              <a:gd name="connsiteY198" fmla="*/ 7675 h 10000"/>
              <a:gd name="connsiteX199" fmla="*/ 3705 w 10000"/>
              <a:gd name="connsiteY199" fmla="*/ 7752 h 10000"/>
              <a:gd name="connsiteX200" fmla="*/ 3705 w 10000"/>
              <a:gd name="connsiteY200" fmla="*/ 7830 h 10000"/>
              <a:gd name="connsiteX201" fmla="*/ 3807 w 10000"/>
              <a:gd name="connsiteY201" fmla="*/ 7830 h 10000"/>
              <a:gd name="connsiteX202" fmla="*/ 3907 w 10000"/>
              <a:gd name="connsiteY202" fmla="*/ 7675 h 10000"/>
              <a:gd name="connsiteX203" fmla="*/ 4009 w 10000"/>
              <a:gd name="connsiteY203" fmla="*/ 7598 h 10000"/>
              <a:gd name="connsiteX204" fmla="*/ 4065 w 10000"/>
              <a:gd name="connsiteY204" fmla="*/ 7830 h 10000"/>
              <a:gd name="connsiteX205" fmla="*/ 4264 w 10000"/>
              <a:gd name="connsiteY205" fmla="*/ 8372 h 10000"/>
              <a:gd name="connsiteX206" fmla="*/ 4317 w 10000"/>
              <a:gd name="connsiteY206" fmla="*/ 8217 h 10000"/>
              <a:gd name="connsiteX207" fmla="*/ 4367 w 10000"/>
              <a:gd name="connsiteY207" fmla="*/ 8372 h 10000"/>
              <a:gd name="connsiteX208" fmla="*/ 4518 w 10000"/>
              <a:gd name="connsiteY208" fmla="*/ 8295 h 10000"/>
              <a:gd name="connsiteX209" fmla="*/ 4673 w 10000"/>
              <a:gd name="connsiteY209" fmla="*/ 8528 h 10000"/>
              <a:gd name="connsiteX210" fmla="*/ 4771 w 10000"/>
              <a:gd name="connsiteY210" fmla="*/ 8605 h 10000"/>
              <a:gd name="connsiteX211" fmla="*/ 4771 w 10000"/>
              <a:gd name="connsiteY211" fmla="*/ 8528 h 10000"/>
              <a:gd name="connsiteX212" fmla="*/ 4824 w 10000"/>
              <a:gd name="connsiteY212" fmla="*/ 8683 h 10000"/>
              <a:gd name="connsiteX213" fmla="*/ 4771 w 10000"/>
              <a:gd name="connsiteY213" fmla="*/ 8760 h 10000"/>
              <a:gd name="connsiteX214" fmla="*/ 4875 w 10000"/>
              <a:gd name="connsiteY214" fmla="*/ 8683 h 10000"/>
              <a:gd name="connsiteX215" fmla="*/ 4923 w 10000"/>
              <a:gd name="connsiteY215" fmla="*/ 8605 h 10000"/>
              <a:gd name="connsiteX216" fmla="*/ 5177 w 10000"/>
              <a:gd name="connsiteY216" fmla="*/ 8372 h 10000"/>
              <a:gd name="connsiteX217" fmla="*/ 5381 w 10000"/>
              <a:gd name="connsiteY217" fmla="*/ 8449 h 10000"/>
              <a:gd name="connsiteX218" fmla="*/ 5482 w 10000"/>
              <a:gd name="connsiteY218" fmla="*/ 8528 h 10000"/>
              <a:gd name="connsiteX219" fmla="*/ 5683 w 10000"/>
              <a:gd name="connsiteY219" fmla="*/ 8528 h 10000"/>
              <a:gd name="connsiteX220" fmla="*/ 5683 w 10000"/>
              <a:gd name="connsiteY220" fmla="*/ 8372 h 10000"/>
              <a:gd name="connsiteX221" fmla="*/ 5683 w 10000"/>
              <a:gd name="connsiteY221" fmla="*/ 8217 h 10000"/>
              <a:gd name="connsiteX222" fmla="*/ 5786 w 10000"/>
              <a:gd name="connsiteY222" fmla="*/ 8140 h 10000"/>
              <a:gd name="connsiteX223" fmla="*/ 5988 w 10000"/>
              <a:gd name="connsiteY223" fmla="*/ 8217 h 10000"/>
              <a:gd name="connsiteX224" fmla="*/ 6091 w 10000"/>
              <a:gd name="connsiteY224" fmla="*/ 8449 h 10000"/>
              <a:gd name="connsiteX225" fmla="*/ 6142 w 10000"/>
              <a:gd name="connsiteY225" fmla="*/ 8449 h 10000"/>
              <a:gd name="connsiteX226" fmla="*/ 6244 w 10000"/>
              <a:gd name="connsiteY226" fmla="*/ 8372 h 10000"/>
              <a:gd name="connsiteX227" fmla="*/ 6552 w 10000"/>
              <a:gd name="connsiteY227" fmla="*/ 8605 h 10000"/>
              <a:gd name="connsiteX228" fmla="*/ 6702 w 10000"/>
              <a:gd name="connsiteY228" fmla="*/ 8683 h 10000"/>
              <a:gd name="connsiteX229" fmla="*/ 6904 w 10000"/>
              <a:gd name="connsiteY229" fmla="*/ 8605 h 10000"/>
              <a:gd name="connsiteX230" fmla="*/ 7005 w 10000"/>
              <a:gd name="connsiteY230" fmla="*/ 8449 h 10000"/>
              <a:gd name="connsiteX231" fmla="*/ 7158 w 10000"/>
              <a:gd name="connsiteY231" fmla="*/ 8528 h 10000"/>
              <a:gd name="connsiteX232" fmla="*/ 7258 w 10000"/>
              <a:gd name="connsiteY232" fmla="*/ 8605 h 10000"/>
              <a:gd name="connsiteX233" fmla="*/ 8986 w 10000"/>
              <a:gd name="connsiteY233" fmla="*/ 7675 h 10000"/>
              <a:gd name="connsiteX234" fmla="*/ 8886 w 10000"/>
              <a:gd name="connsiteY234" fmla="*/ 7675 h 10000"/>
              <a:gd name="connsiteX235" fmla="*/ 8835 w 10000"/>
              <a:gd name="connsiteY235" fmla="*/ 7675 h 10000"/>
              <a:gd name="connsiteX236" fmla="*/ 8782 w 10000"/>
              <a:gd name="connsiteY236" fmla="*/ 7598 h 10000"/>
              <a:gd name="connsiteX237" fmla="*/ 8684 w 10000"/>
              <a:gd name="connsiteY237" fmla="*/ 7598 h 10000"/>
              <a:gd name="connsiteX238" fmla="*/ 8684 w 10000"/>
              <a:gd name="connsiteY238" fmla="*/ 7520 h 10000"/>
              <a:gd name="connsiteX239" fmla="*/ 8835 w 10000"/>
              <a:gd name="connsiteY239" fmla="*/ 7287 h 10000"/>
              <a:gd name="connsiteX240" fmla="*/ 9297 w 10000"/>
              <a:gd name="connsiteY240" fmla="*/ 6590 h 10000"/>
              <a:gd name="connsiteX241" fmla="*/ 9494 w 10000"/>
              <a:gd name="connsiteY241" fmla="*/ 6512 h 10000"/>
              <a:gd name="connsiteX242" fmla="*/ 9543 w 10000"/>
              <a:gd name="connsiteY242" fmla="*/ 6590 h 10000"/>
              <a:gd name="connsiteX243" fmla="*/ 9596 w 10000"/>
              <a:gd name="connsiteY243" fmla="*/ 6512 h 10000"/>
              <a:gd name="connsiteX244" fmla="*/ 9745 w 10000"/>
              <a:gd name="connsiteY244" fmla="*/ 6590 h 10000"/>
              <a:gd name="connsiteX245" fmla="*/ 9801 w 10000"/>
              <a:gd name="connsiteY245" fmla="*/ 6434 h 10000"/>
              <a:gd name="connsiteX246" fmla="*/ 9952 w 10000"/>
              <a:gd name="connsiteY246" fmla="*/ 6512 h 10000"/>
              <a:gd name="connsiteX247" fmla="*/ 10000 w 10000"/>
              <a:gd name="connsiteY247" fmla="*/ 6512 h 10000"/>
              <a:gd name="connsiteX248" fmla="*/ 9952 w 10000"/>
              <a:gd name="connsiteY248" fmla="*/ 6590 h 10000"/>
              <a:gd name="connsiteX249" fmla="*/ 10000 w 10000"/>
              <a:gd name="connsiteY249" fmla="*/ 2946 h 10000"/>
              <a:gd name="connsiteX250" fmla="*/ 9900 w 10000"/>
              <a:gd name="connsiteY250" fmla="*/ 2946 h 10000"/>
              <a:gd name="connsiteX251" fmla="*/ 9849 w 10000"/>
              <a:gd name="connsiteY251" fmla="*/ 2868 h 10000"/>
              <a:gd name="connsiteX252" fmla="*/ 9849 w 10000"/>
              <a:gd name="connsiteY252" fmla="*/ 2636 h 10000"/>
              <a:gd name="connsiteX253" fmla="*/ 9494 w 10000"/>
              <a:gd name="connsiteY253" fmla="*/ 2480 h 10000"/>
              <a:gd name="connsiteX254" fmla="*/ 9089 w 10000"/>
              <a:gd name="connsiteY254" fmla="*/ 2325 h 10000"/>
              <a:gd name="connsiteX255" fmla="*/ 8986 w 10000"/>
              <a:gd name="connsiteY255" fmla="*/ 2636 h 10000"/>
              <a:gd name="connsiteX256" fmla="*/ 9089 w 10000"/>
              <a:gd name="connsiteY256" fmla="*/ 2868 h 10000"/>
              <a:gd name="connsiteX257" fmla="*/ 8782 w 10000"/>
              <a:gd name="connsiteY257" fmla="*/ 2868 h 10000"/>
              <a:gd name="connsiteX258" fmla="*/ 8732 w 10000"/>
              <a:gd name="connsiteY258" fmla="*/ 2868 h 10000"/>
              <a:gd name="connsiteX259" fmla="*/ 8629 w 10000"/>
              <a:gd name="connsiteY259" fmla="*/ 2946 h 10000"/>
              <a:gd name="connsiteX260" fmla="*/ 8478 w 10000"/>
              <a:gd name="connsiteY260" fmla="*/ 2714 h 10000"/>
              <a:gd name="connsiteX261" fmla="*/ 8373 w 10000"/>
              <a:gd name="connsiteY261" fmla="*/ 3178 h 10000"/>
              <a:gd name="connsiteX262" fmla="*/ 8278 w 10000"/>
              <a:gd name="connsiteY262" fmla="*/ 3101 h 10000"/>
              <a:gd name="connsiteX263" fmla="*/ 8173 w 10000"/>
              <a:gd name="connsiteY263" fmla="*/ 2791 h 10000"/>
              <a:gd name="connsiteX264" fmla="*/ 8226 w 10000"/>
              <a:gd name="connsiteY264" fmla="*/ 2403 h 10000"/>
              <a:gd name="connsiteX265" fmla="*/ 8122 w 10000"/>
              <a:gd name="connsiteY265" fmla="*/ 2170 h 10000"/>
              <a:gd name="connsiteX266" fmla="*/ 7819 w 10000"/>
              <a:gd name="connsiteY266" fmla="*/ 2016 h 10000"/>
              <a:gd name="connsiteX267" fmla="*/ 7713 w 10000"/>
              <a:gd name="connsiteY267" fmla="*/ 2016 h 10000"/>
              <a:gd name="connsiteX268" fmla="*/ 7666 w 10000"/>
              <a:gd name="connsiteY268" fmla="*/ 2170 h 10000"/>
              <a:gd name="connsiteX269" fmla="*/ 7713 w 10000"/>
              <a:gd name="connsiteY269" fmla="*/ 2325 h 10000"/>
              <a:gd name="connsiteX270" fmla="*/ 7313 w 10000"/>
              <a:gd name="connsiteY270" fmla="*/ 2248 h 10000"/>
              <a:gd name="connsiteX271" fmla="*/ 7361 w 10000"/>
              <a:gd name="connsiteY271" fmla="*/ 2016 h 10000"/>
              <a:gd name="connsiteX272" fmla="*/ 7107 w 10000"/>
              <a:gd name="connsiteY272" fmla="*/ 1938 h 10000"/>
              <a:gd name="connsiteX273" fmla="*/ 6955 w 10000"/>
              <a:gd name="connsiteY273" fmla="*/ 2093 h 10000"/>
              <a:gd name="connsiteX274" fmla="*/ 6659 w 10000"/>
              <a:gd name="connsiteY274" fmla="*/ 1861 h 10000"/>
              <a:gd name="connsiteX0" fmla="*/ 6659 w 10009"/>
              <a:gd name="connsiteY0" fmla="*/ 1861 h 10000"/>
              <a:gd name="connsiteX1" fmla="*/ 6659 w 10009"/>
              <a:gd name="connsiteY1" fmla="*/ 1861 h 10000"/>
              <a:gd name="connsiteX2" fmla="*/ 6599 w 10009"/>
              <a:gd name="connsiteY2" fmla="*/ 1938 h 10000"/>
              <a:gd name="connsiteX3" fmla="*/ 6659 w 10009"/>
              <a:gd name="connsiteY3" fmla="*/ 2093 h 10000"/>
              <a:gd name="connsiteX4" fmla="*/ 6446 w 10009"/>
              <a:gd name="connsiteY4" fmla="*/ 2248 h 10000"/>
              <a:gd name="connsiteX5" fmla="*/ 6394 w 10009"/>
              <a:gd name="connsiteY5" fmla="*/ 2248 h 10000"/>
              <a:gd name="connsiteX6" fmla="*/ 6446 w 10009"/>
              <a:gd name="connsiteY6" fmla="*/ 2016 h 10000"/>
              <a:gd name="connsiteX7" fmla="*/ 6955 w 10009"/>
              <a:gd name="connsiteY7" fmla="*/ 1318 h 10000"/>
              <a:gd name="connsiteX8" fmla="*/ 6955 w 10009"/>
              <a:gd name="connsiteY8" fmla="*/ 853 h 10000"/>
              <a:gd name="connsiteX9" fmla="*/ 6754 w 10009"/>
              <a:gd name="connsiteY9" fmla="*/ 543 h 10000"/>
              <a:gd name="connsiteX10" fmla="*/ 6498 w 10009"/>
              <a:gd name="connsiteY10" fmla="*/ 543 h 10000"/>
              <a:gd name="connsiteX11" fmla="*/ 6498 w 10009"/>
              <a:gd name="connsiteY11" fmla="*/ 698 h 10000"/>
              <a:gd name="connsiteX12" fmla="*/ 6344 w 10009"/>
              <a:gd name="connsiteY12" fmla="*/ 698 h 10000"/>
              <a:gd name="connsiteX13" fmla="*/ 6446 w 10009"/>
              <a:gd name="connsiteY13" fmla="*/ 387 h 10000"/>
              <a:gd name="connsiteX14" fmla="*/ 6195 w 10009"/>
              <a:gd name="connsiteY14" fmla="*/ 310 h 10000"/>
              <a:gd name="connsiteX15" fmla="*/ 6344 w 10009"/>
              <a:gd name="connsiteY15" fmla="*/ 155 h 10000"/>
              <a:gd name="connsiteX16" fmla="*/ 6195 w 10009"/>
              <a:gd name="connsiteY16" fmla="*/ 0 h 10000"/>
              <a:gd name="connsiteX17" fmla="*/ 5941 w 10009"/>
              <a:gd name="connsiteY17" fmla="*/ 387 h 10000"/>
              <a:gd name="connsiteX18" fmla="*/ 5941 w 10009"/>
              <a:gd name="connsiteY18" fmla="*/ 698 h 10000"/>
              <a:gd name="connsiteX19" fmla="*/ 5786 w 10009"/>
              <a:gd name="connsiteY19" fmla="*/ 698 h 10000"/>
              <a:gd name="connsiteX20" fmla="*/ 5331 w 10009"/>
              <a:gd name="connsiteY20" fmla="*/ 853 h 10000"/>
              <a:gd name="connsiteX21" fmla="*/ 4923 w 10009"/>
              <a:gd name="connsiteY21" fmla="*/ 1240 h 10000"/>
              <a:gd name="connsiteX22" fmla="*/ 4771 w 10009"/>
              <a:gd name="connsiteY22" fmla="*/ 1551 h 10000"/>
              <a:gd name="connsiteX23" fmla="*/ 4824 w 10009"/>
              <a:gd name="connsiteY23" fmla="*/ 1938 h 10000"/>
              <a:gd name="connsiteX24" fmla="*/ 4264 w 10009"/>
              <a:gd name="connsiteY24" fmla="*/ 2093 h 10000"/>
              <a:gd name="connsiteX25" fmla="*/ 4317 w 10009"/>
              <a:gd name="connsiteY25" fmla="*/ 2559 h 10000"/>
              <a:gd name="connsiteX26" fmla="*/ 4469 w 10009"/>
              <a:gd name="connsiteY26" fmla="*/ 2791 h 10000"/>
              <a:gd name="connsiteX27" fmla="*/ 4367 w 10009"/>
              <a:gd name="connsiteY27" fmla="*/ 2868 h 10000"/>
              <a:gd name="connsiteX28" fmla="*/ 4215 w 10009"/>
              <a:gd name="connsiteY28" fmla="*/ 2559 h 10000"/>
              <a:gd name="connsiteX29" fmla="*/ 4065 w 10009"/>
              <a:gd name="connsiteY29" fmla="*/ 2480 h 10000"/>
              <a:gd name="connsiteX30" fmla="*/ 4009 w 10009"/>
              <a:gd name="connsiteY30" fmla="*/ 2559 h 10000"/>
              <a:gd name="connsiteX31" fmla="*/ 3907 w 10009"/>
              <a:gd name="connsiteY31" fmla="*/ 2403 h 10000"/>
              <a:gd name="connsiteX32" fmla="*/ 3807 w 10009"/>
              <a:gd name="connsiteY32" fmla="*/ 2248 h 10000"/>
              <a:gd name="connsiteX33" fmla="*/ 3807 w 10009"/>
              <a:gd name="connsiteY33" fmla="*/ 2325 h 10000"/>
              <a:gd name="connsiteX34" fmla="*/ 3862 w 10009"/>
              <a:gd name="connsiteY34" fmla="*/ 2559 h 10000"/>
              <a:gd name="connsiteX35" fmla="*/ 3705 w 10009"/>
              <a:gd name="connsiteY35" fmla="*/ 2946 h 10000"/>
              <a:gd name="connsiteX36" fmla="*/ 3807 w 10009"/>
              <a:gd name="connsiteY36" fmla="*/ 3256 h 10000"/>
              <a:gd name="connsiteX37" fmla="*/ 3755 w 10009"/>
              <a:gd name="connsiteY37" fmla="*/ 3566 h 10000"/>
              <a:gd name="connsiteX38" fmla="*/ 3755 w 10009"/>
              <a:gd name="connsiteY38" fmla="*/ 3799 h 10000"/>
              <a:gd name="connsiteX39" fmla="*/ 3907 w 10009"/>
              <a:gd name="connsiteY39" fmla="*/ 3799 h 10000"/>
              <a:gd name="connsiteX40" fmla="*/ 3807 w 10009"/>
              <a:gd name="connsiteY40" fmla="*/ 3876 h 10000"/>
              <a:gd name="connsiteX41" fmla="*/ 3862 w 10009"/>
              <a:gd name="connsiteY41" fmla="*/ 4263 h 10000"/>
              <a:gd name="connsiteX42" fmla="*/ 3555 w 10009"/>
              <a:gd name="connsiteY42" fmla="*/ 4652 h 10000"/>
              <a:gd name="connsiteX43" fmla="*/ 3500 w 10009"/>
              <a:gd name="connsiteY43" fmla="*/ 4574 h 10000"/>
              <a:gd name="connsiteX44" fmla="*/ 3705 w 10009"/>
              <a:gd name="connsiteY44" fmla="*/ 4186 h 10000"/>
              <a:gd name="connsiteX45" fmla="*/ 3755 w 10009"/>
              <a:gd name="connsiteY45" fmla="*/ 3954 h 10000"/>
              <a:gd name="connsiteX46" fmla="*/ 3649 w 10009"/>
              <a:gd name="connsiteY46" fmla="*/ 3799 h 10000"/>
              <a:gd name="connsiteX47" fmla="*/ 3649 w 10009"/>
              <a:gd name="connsiteY47" fmla="*/ 3023 h 10000"/>
              <a:gd name="connsiteX48" fmla="*/ 3604 w 10009"/>
              <a:gd name="connsiteY48" fmla="*/ 2868 h 10000"/>
              <a:gd name="connsiteX49" fmla="*/ 3649 w 10009"/>
              <a:gd name="connsiteY49" fmla="*/ 2403 h 10000"/>
              <a:gd name="connsiteX50" fmla="*/ 3555 w 10009"/>
              <a:gd name="connsiteY50" fmla="*/ 2325 h 10000"/>
              <a:gd name="connsiteX51" fmla="*/ 3604 w 10009"/>
              <a:gd name="connsiteY51" fmla="*/ 2248 h 10000"/>
              <a:gd name="connsiteX52" fmla="*/ 3555 w 10009"/>
              <a:gd name="connsiteY52" fmla="*/ 2093 h 10000"/>
              <a:gd name="connsiteX53" fmla="*/ 3448 w 10009"/>
              <a:gd name="connsiteY53" fmla="*/ 2170 h 10000"/>
              <a:gd name="connsiteX54" fmla="*/ 3197 w 10009"/>
              <a:gd name="connsiteY54" fmla="*/ 3178 h 10000"/>
              <a:gd name="connsiteX55" fmla="*/ 3197 w 10009"/>
              <a:gd name="connsiteY55" fmla="*/ 3566 h 10000"/>
              <a:gd name="connsiteX56" fmla="*/ 3351 w 10009"/>
              <a:gd name="connsiteY56" fmla="*/ 3876 h 10000"/>
              <a:gd name="connsiteX57" fmla="*/ 3351 w 10009"/>
              <a:gd name="connsiteY57" fmla="*/ 4031 h 10000"/>
              <a:gd name="connsiteX58" fmla="*/ 3197 w 10009"/>
              <a:gd name="connsiteY58" fmla="*/ 3876 h 10000"/>
              <a:gd name="connsiteX59" fmla="*/ 2591 w 10009"/>
              <a:gd name="connsiteY59" fmla="*/ 3256 h 10000"/>
              <a:gd name="connsiteX60" fmla="*/ 2540 w 10009"/>
              <a:gd name="connsiteY60" fmla="*/ 3411 h 10000"/>
              <a:gd name="connsiteX61" fmla="*/ 2742 w 10009"/>
              <a:gd name="connsiteY61" fmla="*/ 3799 h 10000"/>
              <a:gd name="connsiteX62" fmla="*/ 2637 w 10009"/>
              <a:gd name="connsiteY62" fmla="*/ 3876 h 10000"/>
              <a:gd name="connsiteX63" fmla="*/ 2591 w 10009"/>
              <a:gd name="connsiteY63" fmla="*/ 3799 h 10000"/>
              <a:gd name="connsiteX64" fmla="*/ 2287 w 10009"/>
              <a:gd name="connsiteY64" fmla="*/ 3954 h 10000"/>
              <a:gd name="connsiteX65" fmla="*/ 2235 w 10009"/>
              <a:gd name="connsiteY65" fmla="*/ 4109 h 10000"/>
              <a:gd name="connsiteX66" fmla="*/ 2183 w 10009"/>
              <a:gd name="connsiteY66" fmla="*/ 3954 h 10000"/>
              <a:gd name="connsiteX67" fmla="*/ 2183 w 10009"/>
              <a:gd name="connsiteY67" fmla="*/ 3799 h 10000"/>
              <a:gd name="connsiteX68" fmla="*/ 1673 w 10009"/>
              <a:gd name="connsiteY68" fmla="*/ 4263 h 10000"/>
              <a:gd name="connsiteX69" fmla="*/ 1673 w 10009"/>
              <a:gd name="connsiteY69" fmla="*/ 4418 h 10000"/>
              <a:gd name="connsiteX70" fmla="*/ 1574 w 10009"/>
              <a:gd name="connsiteY70" fmla="*/ 4496 h 10000"/>
              <a:gd name="connsiteX71" fmla="*/ 1421 w 10009"/>
              <a:gd name="connsiteY71" fmla="*/ 4341 h 10000"/>
              <a:gd name="connsiteX72" fmla="*/ 1574 w 10009"/>
              <a:gd name="connsiteY72" fmla="*/ 4186 h 10000"/>
              <a:gd name="connsiteX73" fmla="*/ 1523 w 10009"/>
              <a:gd name="connsiteY73" fmla="*/ 3954 h 10000"/>
              <a:gd name="connsiteX74" fmla="*/ 1321 w 10009"/>
              <a:gd name="connsiteY74" fmla="*/ 3876 h 10000"/>
              <a:gd name="connsiteX75" fmla="*/ 1371 w 10009"/>
              <a:gd name="connsiteY75" fmla="*/ 4031 h 10000"/>
              <a:gd name="connsiteX76" fmla="*/ 1371 w 10009"/>
              <a:gd name="connsiteY76" fmla="*/ 4418 h 10000"/>
              <a:gd name="connsiteX77" fmla="*/ 1421 w 10009"/>
              <a:gd name="connsiteY77" fmla="*/ 4574 h 10000"/>
              <a:gd name="connsiteX78" fmla="*/ 1371 w 10009"/>
              <a:gd name="connsiteY78" fmla="*/ 4729 h 10000"/>
              <a:gd name="connsiteX79" fmla="*/ 1217 w 10009"/>
              <a:gd name="connsiteY79" fmla="*/ 4652 h 10000"/>
              <a:gd name="connsiteX80" fmla="*/ 1016 w 10009"/>
              <a:gd name="connsiteY80" fmla="*/ 4884 h 10000"/>
              <a:gd name="connsiteX81" fmla="*/ 1114 w 10009"/>
              <a:gd name="connsiteY81" fmla="*/ 5194 h 10000"/>
              <a:gd name="connsiteX82" fmla="*/ 811 w 10009"/>
              <a:gd name="connsiteY82" fmla="*/ 5039 h 10000"/>
              <a:gd name="connsiteX83" fmla="*/ 762 w 10009"/>
              <a:gd name="connsiteY83" fmla="*/ 5116 h 10000"/>
              <a:gd name="connsiteX84" fmla="*/ 864 w 10009"/>
              <a:gd name="connsiteY84" fmla="*/ 5349 h 10000"/>
              <a:gd name="connsiteX85" fmla="*/ 762 w 10009"/>
              <a:gd name="connsiteY85" fmla="*/ 5349 h 10000"/>
              <a:gd name="connsiteX86" fmla="*/ 611 w 10009"/>
              <a:gd name="connsiteY86" fmla="*/ 5194 h 10000"/>
              <a:gd name="connsiteX87" fmla="*/ 611 w 10009"/>
              <a:gd name="connsiteY87" fmla="*/ 4729 h 10000"/>
              <a:gd name="connsiteX88" fmla="*/ 460 w 10009"/>
              <a:gd name="connsiteY88" fmla="*/ 4574 h 10000"/>
              <a:gd name="connsiteX89" fmla="*/ 406 w 10009"/>
              <a:gd name="connsiteY89" fmla="*/ 4418 h 10000"/>
              <a:gd name="connsiteX90" fmla="*/ 507 w 10009"/>
              <a:gd name="connsiteY90" fmla="*/ 4496 h 10000"/>
              <a:gd name="connsiteX91" fmla="*/ 912 w 10009"/>
              <a:gd name="connsiteY91" fmla="*/ 4729 h 10000"/>
              <a:gd name="connsiteX92" fmla="*/ 1163 w 10009"/>
              <a:gd name="connsiteY92" fmla="*/ 4496 h 10000"/>
              <a:gd name="connsiteX93" fmla="*/ 1114 w 10009"/>
              <a:gd name="connsiteY93" fmla="*/ 4263 h 10000"/>
              <a:gd name="connsiteX94" fmla="*/ 811 w 10009"/>
              <a:gd name="connsiteY94" fmla="*/ 3799 h 10000"/>
              <a:gd name="connsiteX95" fmla="*/ 507 w 10009"/>
              <a:gd name="connsiteY95" fmla="*/ 3644 h 10000"/>
              <a:gd name="connsiteX96" fmla="*/ 507 w 10009"/>
              <a:gd name="connsiteY96" fmla="*/ 3566 h 10000"/>
              <a:gd name="connsiteX97" fmla="*/ 406 w 10009"/>
              <a:gd name="connsiteY97" fmla="*/ 3488 h 10000"/>
              <a:gd name="connsiteX98" fmla="*/ 301 w 10009"/>
              <a:gd name="connsiteY98" fmla="*/ 3566 h 10000"/>
              <a:gd name="connsiteX99" fmla="*/ 301 w 10009"/>
              <a:gd name="connsiteY99" fmla="*/ 3644 h 10000"/>
              <a:gd name="connsiteX100" fmla="*/ 253 w 10009"/>
              <a:gd name="connsiteY100" fmla="*/ 3644 h 10000"/>
              <a:gd name="connsiteX101" fmla="*/ 152 w 10009"/>
              <a:gd name="connsiteY101" fmla="*/ 3799 h 10000"/>
              <a:gd name="connsiteX102" fmla="*/ 152 w 10009"/>
              <a:gd name="connsiteY102" fmla="*/ 4031 h 10000"/>
              <a:gd name="connsiteX103" fmla="*/ 253 w 10009"/>
              <a:gd name="connsiteY103" fmla="*/ 4186 h 10000"/>
              <a:gd name="connsiteX104" fmla="*/ 204 w 10009"/>
              <a:gd name="connsiteY104" fmla="*/ 4418 h 10000"/>
              <a:gd name="connsiteX105" fmla="*/ 253 w 10009"/>
              <a:gd name="connsiteY105" fmla="*/ 4807 h 10000"/>
              <a:gd name="connsiteX106" fmla="*/ 204 w 10009"/>
              <a:gd name="connsiteY106" fmla="*/ 5039 h 10000"/>
              <a:gd name="connsiteX107" fmla="*/ 301 w 10009"/>
              <a:gd name="connsiteY107" fmla="*/ 5271 h 10000"/>
              <a:gd name="connsiteX108" fmla="*/ 253 w 10009"/>
              <a:gd name="connsiteY108" fmla="*/ 5426 h 10000"/>
              <a:gd name="connsiteX109" fmla="*/ 353 w 10009"/>
              <a:gd name="connsiteY109" fmla="*/ 5582 h 10000"/>
              <a:gd name="connsiteX110" fmla="*/ 353 w 10009"/>
              <a:gd name="connsiteY110" fmla="*/ 5659 h 10000"/>
              <a:gd name="connsiteX111" fmla="*/ 204 w 10009"/>
              <a:gd name="connsiteY111" fmla="*/ 6047 h 10000"/>
              <a:gd name="connsiteX112" fmla="*/ 47 w 10009"/>
              <a:gd name="connsiteY112" fmla="*/ 6202 h 10000"/>
              <a:gd name="connsiteX113" fmla="*/ 99 w 10009"/>
              <a:gd name="connsiteY113" fmla="*/ 6202 h 10000"/>
              <a:gd name="connsiteX114" fmla="*/ 204 w 10009"/>
              <a:gd name="connsiteY114" fmla="*/ 6356 h 10000"/>
              <a:gd name="connsiteX115" fmla="*/ 99 w 10009"/>
              <a:gd name="connsiteY115" fmla="*/ 6512 h 10000"/>
              <a:gd name="connsiteX116" fmla="*/ 47 w 10009"/>
              <a:gd name="connsiteY116" fmla="*/ 6590 h 10000"/>
              <a:gd name="connsiteX117" fmla="*/ 0 w 10009"/>
              <a:gd name="connsiteY117" fmla="*/ 6590 h 10000"/>
              <a:gd name="connsiteX118" fmla="*/ 47 w 10009"/>
              <a:gd name="connsiteY118" fmla="*/ 6822 h 10000"/>
              <a:gd name="connsiteX119" fmla="*/ 47 w 10009"/>
              <a:gd name="connsiteY119" fmla="*/ 6900 h 10000"/>
              <a:gd name="connsiteX120" fmla="*/ 47 w 10009"/>
              <a:gd name="connsiteY120" fmla="*/ 6977 h 10000"/>
              <a:gd name="connsiteX121" fmla="*/ 47 w 10009"/>
              <a:gd name="connsiteY121" fmla="*/ 7054 h 10000"/>
              <a:gd name="connsiteX122" fmla="*/ 99 w 10009"/>
              <a:gd name="connsiteY122" fmla="*/ 7209 h 10000"/>
              <a:gd name="connsiteX123" fmla="*/ 253 w 10009"/>
              <a:gd name="connsiteY123" fmla="*/ 7287 h 10000"/>
              <a:gd name="connsiteX124" fmla="*/ 301 w 10009"/>
              <a:gd name="connsiteY124" fmla="*/ 7364 h 10000"/>
              <a:gd name="connsiteX125" fmla="*/ 301 w 10009"/>
              <a:gd name="connsiteY125" fmla="*/ 7520 h 10000"/>
              <a:gd name="connsiteX126" fmla="*/ 406 w 10009"/>
              <a:gd name="connsiteY126" fmla="*/ 7752 h 10000"/>
              <a:gd name="connsiteX127" fmla="*/ 460 w 10009"/>
              <a:gd name="connsiteY127" fmla="*/ 7752 h 10000"/>
              <a:gd name="connsiteX128" fmla="*/ 406 w 10009"/>
              <a:gd name="connsiteY128" fmla="*/ 7907 h 10000"/>
              <a:gd name="connsiteX129" fmla="*/ 353 w 10009"/>
              <a:gd name="connsiteY129" fmla="*/ 7830 h 10000"/>
              <a:gd name="connsiteX130" fmla="*/ 353 w 10009"/>
              <a:gd name="connsiteY130" fmla="*/ 7907 h 10000"/>
              <a:gd name="connsiteX131" fmla="*/ 406 w 10009"/>
              <a:gd name="connsiteY131" fmla="*/ 8062 h 10000"/>
              <a:gd name="connsiteX132" fmla="*/ 560 w 10009"/>
              <a:gd name="connsiteY132" fmla="*/ 8062 h 10000"/>
              <a:gd name="connsiteX133" fmla="*/ 611 w 10009"/>
              <a:gd name="connsiteY133" fmla="*/ 8140 h 10000"/>
              <a:gd name="connsiteX134" fmla="*/ 560 w 10009"/>
              <a:gd name="connsiteY134" fmla="*/ 8140 h 10000"/>
              <a:gd name="connsiteX135" fmla="*/ 611 w 10009"/>
              <a:gd name="connsiteY135" fmla="*/ 8217 h 10000"/>
              <a:gd name="connsiteX136" fmla="*/ 659 w 10009"/>
              <a:gd name="connsiteY136" fmla="*/ 8217 h 10000"/>
              <a:gd name="connsiteX137" fmla="*/ 710 w 10009"/>
              <a:gd name="connsiteY137" fmla="*/ 8372 h 10000"/>
              <a:gd name="connsiteX138" fmla="*/ 762 w 10009"/>
              <a:gd name="connsiteY138" fmla="*/ 8449 h 10000"/>
              <a:gd name="connsiteX139" fmla="*/ 811 w 10009"/>
              <a:gd name="connsiteY139" fmla="*/ 8372 h 10000"/>
              <a:gd name="connsiteX140" fmla="*/ 1067 w 10009"/>
              <a:gd name="connsiteY140" fmla="*/ 8605 h 10000"/>
              <a:gd name="connsiteX141" fmla="*/ 1016 w 10009"/>
              <a:gd name="connsiteY141" fmla="*/ 8915 h 10000"/>
              <a:gd name="connsiteX142" fmla="*/ 964 w 10009"/>
              <a:gd name="connsiteY142" fmla="*/ 8838 h 10000"/>
              <a:gd name="connsiteX143" fmla="*/ 912 w 10009"/>
              <a:gd name="connsiteY143" fmla="*/ 8915 h 10000"/>
              <a:gd name="connsiteX144" fmla="*/ 912 w 10009"/>
              <a:gd name="connsiteY144" fmla="*/ 9070 h 10000"/>
              <a:gd name="connsiteX145" fmla="*/ 964 w 10009"/>
              <a:gd name="connsiteY145" fmla="*/ 8993 h 10000"/>
              <a:gd name="connsiteX146" fmla="*/ 1016 w 10009"/>
              <a:gd name="connsiteY146" fmla="*/ 9070 h 10000"/>
              <a:gd name="connsiteX147" fmla="*/ 864 w 10009"/>
              <a:gd name="connsiteY147" fmla="*/ 9147 h 10000"/>
              <a:gd name="connsiteX148" fmla="*/ 912 w 10009"/>
              <a:gd name="connsiteY148" fmla="*/ 9225 h 10000"/>
              <a:gd name="connsiteX149" fmla="*/ 811 w 10009"/>
              <a:gd name="connsiteY149" fmla="*/ 9380 h 10000"/>
              <a:gd name="connsiteX150" fmla="*/ 762 w 10009"/>
              <a:gd name="connsiteY150" fmla="*/ 9380 h 10000"/>
              <a:gd name="connsiteX151" fmla="*/ 811 w 10009"/>
              <a:gd name="connsiteY151" fmla="*/ 9380 h 10000"/>
              <a:gd name="connsiteX152" fmla="*/ 1016 w 10009"/>
              <a:gd name="connsiteY152" fmla="*/ 9691 h 10000"/>
              <a:gd name="connsiteX153" fmla="*/ 1270 w 10009"/>
              <a:gd name="connsiteY153" fmla="*/ 9691 h 10000"/>
              <a:gd name="connsiteX154" fmla="*/ 1371 w 10009"/>
              <a:gd name="connsiteY154" fmla="*/ 9768 h 10000"/>
              <a:gd name="connsiteX155" fmla="*/ 1472 w 10009"/>
              <a:gd name="connsiteY155" fmla="*/ 9768 h 10000"/>
              <a:gd name="connsiteX156" fmla="*/ 1574 w 10009"/>
              <a:gd name="connsiteY156" fmla="*/ 9923 h 10000"/>
              <a:gd name="connsiteX157" fmla="*/ 1624 w 10009"/>
              <a:gd name="connsiteY157" fmla="*/ 10000 h 10000"/>
              <a:gd name="connsiteX158" fmla="*/ 1673 w 10009"/>
              <a:gd name="connsiteY158" fmla="*/ 10000 h 10000"/>
              <a:gd name="connsiteX159" fmla="*/ 1728 w 10009"/>
              <a:gd name="connsiteY159" fmla="*/ 9923 h 10000"/>
              <a:gd name="connsiteX160" fmla="*/ 1624 w 10009"/>
              <a:gd name="connsiteY160" fmla="*/ 9768 h 10000"/>
              <a:gd name="connsiteX161" fmla="*/ 1624 w 10009"/>
              <a:gd name="connsiteY161" fmla="*/ 9613 h 10000"/>
              <a:gd name="connsiteX162" fmla="*/ 1574 w 10009"/>
              <a:gd name="connsiteY162" fmla="*/ 9457 h 10000"/>
              <a:gd name="connsiteX163" fmla="*/ 1673 w 10009"/>
              <a:gd name="connsiteY163" fmla="*/ 9225 h 10000"/>
              <a:gd name="connsiteX164" fmla="*/ 1728 w 10009"/>
              <a:gd name="connsiteY164" fmla="*/ 9302 h 10000"/>
              <a:gd name="connsiteX165" fmla="*/ 1776 w 10009"/>
              <a:gd name="connsiteY165" fmla="*/ 9225 h 10000"/>
              <a:gd name="connsiteX166" fmla="*/ 1776 w 10009"/>
              <a:gd name="connsiteY166" fmla="*/ 9147 h 10000"/>
              <a:gd name="connsiteX167" fmla="*/ 1728 w 10009"/>
              <a:gd name="connsiteY167" fmla="*/ 9147 h 10000"/>
              <a:gd name="connsiteX168" fmla="*/ 1776 w 10009"/>
              <a:gd name="connsiteY168" fmla="*/ 9070 h 10000"/>
              <a:gd name="connsiteX169" fmla="*/ 1728 w 10009"/>
              <a:gd name="connsiteY169" fmla="*/ 8915 h 10000"/>
              <a:gd name="connsiteX170" fmla="*/ 1624 w 10009"/>
              <a:gd name="connsiteY170" fmla="*/ 8915 h 10000"/>
              <a:gd name="connsiteX171" fmla="*/ 1574 w 10009"/>
              <a:gd name="connsiteY171" fmla="*/ 8760 h 10000"/>
              <a:gd name="connsiteX172" fmla="*/ 1624 w 10009"/>
              <a:gd name="connsiteY172" fmla="*/ 8372 h 10000"/>
              <a:gd name="connsiteX173" fmla="*/ 1728 w 10009"/>
              <a:gd name="connsiteY173" fmla="*/ 8528 h 10000"/>
              <a:gd name="connsiteX174" fmla="*/ 1776 w 10009"/>
              <a:gd name="connsiteY174" fmla="*/ 8528 h 10000"/>
              <a:gd name="connsiteX175" fmla="*/ 1728 w 10009"/>
              <a:gd name="connsiteY175" fmla="*/ 8372 h 10000"/>
              <a:gd name="connsiteX176" fmla="*/ 1879 w 10009"/>
              <a:gd name="connsiteY176" fmla="*/ 8140 h 10000"/>
              <a:gd name="connsiteX177" fmla="*/ 1982 w 10009"/>
              <a:gd name="connsiteY177" fmla="*/ 8217 h 10000"/>
              <a:gd name="connsiteX178" fmla="*/ 2030 w 10009"/>
              <a:gd name="connsiteY178" fmla="*/ 8140 h 10000"/>
              <a:gd name="connsiteX179" fmla="*/ 2132 w 10009"/>
              <a:gd name="connsiteY179" fmla="*/ 8217 h 10000"/>
              <a:gd name="connsiteX180" fmla="*/ 2287 w 10009"/>
              <a:gd name="connsiteY180" fmla="*/ 8372 h 10000"/>
              <a:gd name="connsiteX181" fmla="*/ 2384 w 10009"/>
              <a:gd name="connsiteY181" fmla="*/ 8295 h 10000"/>
              <a:gd name="connsiteX182" fmla="*/ 2489 w 10009"/>
              <a:gd name="connsiteY182" fmla="*/ 8295 h 10000"/>
              <a:gd name="connsiteX183" fmla="*/ 2540 w 10009"/>
              <a:gd name="connsiteY183" fmla="*/ 8372 h 10000"/>
              <a:gd name="connsiteX184" fmla="*/ 2742 w 10009"/>
              <a:gd name="connsiteY184" fmla="*/ 8372 h 10000"/>
              <a:gd name="connsiteX185" fmla="*/ 2790 w 10009"/>
              <a:gd name="connsiteY185" fmla="*/ 8217 h 10000"/>
              <a:gd name="connsiteX186" fmla="*/ 2637 w 10009"/>
              <a:gd name="connsiteY186" fmla="*/ 8140 h 10000"/>
              <a:gd name="connsiteX187" fmla="*/ 2742 w 10009"/>
              <a:gd name="connsiteY187" fmla="*/ 8062 h 10000"/>
              <a:gd name="connsiteX188" fmla="*/ 2689 w 10009"/>
              <a:gd name="connsiteY188" fmla="*/ 7985 h 10000"/>
              <a:gd name="connsiteX189" fmla="*/ 2742 w 10009"/>
              <a:gd name="connsiteY189" fmla="*/ 7907 h 10000"/>
              <a:gd name="connsiteX190" fmla="*/ 2742 w 10009"/>
              <a:gd name="connsiteY190" fmla="*/ 7675 h 10000"/>
              <a:gd name="connsiteX191" fmla="*/ 2841 w 10009"/>
              <a:gd name="connsiteY191" fmla="*/ 7752 h 10000"/>
              <a:gd name="connsiteX192" fmla="*/ 3301 w 10009"/>
              <a:gd name="connsiteY192" fmla="*/ 7520 h 10000"/>
              <a:gd name="connsiteX193" fmla="*/ 3301 w 10009"/>
              <a:gd name="connsiteY193" fmla="*/ 7442 h 10000"/>
              <a:gd name="connsiteX194" fmla="*/ 3351 w 10009"/>
              <a:gd name="connsiteY194" fmla="*/ 7442 h 10000"/>
              <a:gd name="connsiteX195" fmla="*/ 3500 w 10009"/>
              <a:gd name="connsiteY195" fmla="*/ 7442 h 10000"/>
              <a:gd name="connsiteX196" fmla="*/ 3555 w 10009"/>
              <a:gd name="connsiteY196" fmla="*/ 7598 h 10000"/>
              <a:gd name="connsiteX197" fmla="*/ 3555 w 10009"/>
              <a:gd name="connsiteY197" fmla="*/ 7675 h 10000"/>
              <a:gd name="connsiteX198" fmla="*/ 3604 w 10009"/>
              <a:gd name="connsiteY198" fmla="*/ 7675 h 10000"/>
              <a:gd name="connsiteX199" fmla="*/ 3705 w 10009"/>
              <a:gd name="connsiteY199" fmla="*/ 7752 h 10000"/>
              <a:gd name="connsiteX200" fmla="*/ 3705 w 10009"/>
              <a:gd name="connsiteY200" fmla="*/ 7830 h 10000"/>
              <a:gd name="connsiteX201" fmla="*/ 3807 w 10009"/>
              <a:gd name="connsiteY201" fmla="*/ 7830 h 10000"/>
              <a:gd name="connsiteX202" fmla="*/ 3907 w 10009"/>
              <a:gd name="connsiteY202" fmla="*/ 7675 h 10000"/>
              <a:gd name="connsiteX203" fmla="*/ 4009 w 10009"/>
              <a:gd name="connsiteY203" fmla="*/ 7598 h 10000"/>
              <a:gd name="connsiteX204" fmla="*/ 4065 w 10009"/>
              <a:gd name="connsiteY204" fmla="*/ 7830 h 10000"/>
              <a:gd name="connsiteX205" fmla="*/ 4264 w 10009"/>
              <a:gd name="connsiteY205" fmla="*/ 8372 h 10000"/>
              <a:gd name="connsiteX206" fmla="*/ 4317 w 10009"/>
              <a:gd name="connsiteY206" fmla="*/ 8217 h 10000"/>
              <a:gd name="connsiteX207" fmla="*/ 4367 w 10009"/>
              <a:gd name="connsiteY207" fmla="*/ 8372 h 10000"/>
              <a:gd name="connsiteX208" fmla="*/ 4518 w 10009"/>
              <a:gd name="connsiteY208" fmla="*/ 8295 h 10000"/>
              <a:gd name="connsiteX209" fmla="*/ 4673 w 10009"/>
              <a:gd name="connsiteY209" fmla="*/ 8528 h 10000"/>
              <a:gd name="connsiteX210" fmla="*/ 4771 w 10009"/>
              <a:gd name="connsiteY210" fmla="*/ 8605 h 10000"/>
              <a:gd name="connsiteX211" fmla="*/ 4771 w 10009"/>
              <a:gd name="connsiteY211" fmla="*/ 8528 h 10000"/>
              <a:gd name="connsiteX212" fmla="*/ 4824 w 10009"/>
              <a:gd name="connsiteY212" fmla="*/ 8683 h 10000"/>
              <a:gd name="connsiteX213" fmla="*/ 4771 w 10009"/>
              <a:gd name="connsiteY213" fmla="*/ 8760 h 10000"/>
              <a:gd name="connsiteX214" fmla="*/ 4875 w 10009"/>
              <a:gd name="connsiteY214" fmla="*/ 8683 h 10000"/>
              <a:gd name="connsiteX215" fmla="*/ 4923 w 10009"/>
              <a:gd name="connsiteY215" fmla="*/ 8605 h 10000"/>
              <a:gd name="connsiteX216" fmla="*/ 5177 w 10009"/>
              <a:gd name="connsiteY216" fmla="*/ 8372 h 10000"/>
              <a:gd name="connsiteX217" fmla="*/ 5381 w 10009"/>
              <a:gd name="connsiteY217" fmla="*/ 8449 h 10000"/>
              <a:gd name="connsiteX218" fmla="*/ 5482 w 10009"/>
              <a:gd name="connsiteY218" fmla="*/ 8528 h 10000"/>
              <a:gd name="connsiteX219" fmla="*/ 5683 w 10009"/>
              <a:gd name="connsiteY219" fmla="*/ 8528 h 10000"/>
              <a:gd name="connsiteX220" fmla="*/ 5683 w 10009"/>
              <a:gd name="connsiteY220" fmla="*/ 8372 h 10000"/>
              <a:gd name="connsiteX221" fmla="*/ 5683 w 10009"/>
              <a:gd name="connsiteY221" fmla="*/ 8217 h 10000"/>
              <a:gd name="connsiteX222" fmla="*/ 5786 w 10009"/>
              <a:gd name="connsiteY222" fmla="*/ 8140 h 10000"/>
              <a:gd name="connsiteX223" fmla="*/ 5988 w 10009"/>
              <a:gd name="connsiteY223" fmla="*/ 8217 h 10000"/>
              <a:gd name="connsiteX224" fmla="*/ 6091 w 10009"/>
              <a:gd name="connsiteY224" fmla="*/ 8449 h 10000"/>
              <a:gd name="connsiteX225" fmla="*/ 6142 w 10009"/>
              <a:gd name="connsiteY225" fmla="*/ 8449 h 10000"/>
              <a:gd name="connsiteX226" fmla="*/ 6244 w 10009"/>
              <a:gd name="connsiteY226" fmla="*/ 8372 h 10000"/>
              <a:gd name="connsiteX227" fmla="*/ 6552 w 10009"/>
              <a:gd name="connsiteY227" fmla="*/ 8605 h 10000"/>
              <a:gd name="connsiteX228" fmla="*/ 6702 w 10009"/>
              <a:gd name="connsiteY228" fmla="*/ 8683 h 10000"/>
              <a:gd name="connsiteX229" fmla="*/ 6904 w 10009"/>
              <a:gd name="connsiteY229" fmla="*/ 8605 h 10000"/>
              <a:gd name="connsiteX230" fmla="*/ 7005 w 10009"/>
              <a:gd name="connsiteY230" fmla="*/ 8449 h 10000"/>
              <a:gd name="connsiteX231" fmla="*/ 7158 w 10009"/>
              <a:gd name="connsiteY231" fmla="*/ 8528 h 10000"/>
              <a:gd name="connsiteX232" fmla="*/ 7258 w 10009"/>
              <a:gd name="connsiteY232" fmla="*/ 8605 h 10000"/>
              <a:gd name="connsiteX233" fmla="*/ 8986 w 10009"/>
              <a:gd name="connsiteY233" fmla="*/ 7675 h 10000"/>
              <a:gd name="connsiteX234" fmla="*/ 8886 w 10009"/>
              <a:gd name="connsiteY234" fmla="*/ 7675 h 10000"/>
              <a:gd name="connsiteX235" fmla="*/ 8835 w 10009"/>
              <a:gd name="connsiteY235" fmla="*/ 7675 h 10000"/>
              <a:gd name="connsiteX236" fmla="*/ 8782 w 10009"/>
              <a:gd name="connsiteY236" fmla="*/ 7598 h 10000"/>
              <a:gd name="connsiteX237" fmla="*/ 8684 w 10009"/>
              <a:gd name="connsiteY237" fmla="*/ 7598 h 10000"/>
              <a:gd name="connsiteX238" fmla="*/ 8684 w 10009"/>
              <a:gd name="connsiteY238" fmla="*/ 7520 h 10000"/>
              <a:gd name="connsiteX239" fmla="*/ 8835 w 10009"/>
              <a:gd name="connsiteY239" fmla="*/ 7287 h 10000"/>
              <a:gd name="connsiteX240" fmla="*/ 9297 w 10009"/>
              <a:gd name="connsiteY240" fmla="*/ 6590 h 10000"/>
              <a:gd name="connsiteX241" fmla="*/ 9494 w 10009"/>
              <a:gd name="connsiteY241" fmla="*/ 6512 h 10000"/>
              <a:gd name="connsiteX242" fmla="*/ 9543 w 10009"/>
              <a:gd name="connsiteY242" fmla="*/ 6590 h 10000"/>
              <a:gd name="connsiteX243" fmla="*/ 9596 w 10009"/>
              <a:gd name="connsiteY243" fmla="*/ 6512 h 10000"/>
              <a:gd name="connsiteX244" fmla="*/ 9745 w 10009"/>
              <a:gd name="connsiteY244" fmla="*/ 6590 h 10000"/>
              <a:gd name="connsiteX245" fmla="*/ 9801 w 10009"/>
              <a:gd name="connsiteY245" fmla="*/ 6434 h 10000"/>
              <a:gd name="connsiteX246" fmla="*/ 9952 w 10009"/>
              <a:gd name="connsiteY246" fmla="*/ 6512 h 10000"/>
              <a:gd name="connsiteX247" fmla="*/ 10000 w 10009"/>
              <a:gd name="connsiteY247" fmla="*/ 6512 h 10000"/>
              <a:gd name="connsiteX248" fmla="*/ 10000 w 10009"/>
              <a:gd name="connsiteY248" fmla="*/ 2946 h 10000"/>
              <a:gd name="connsiteX249" fmla="*/ 9900 w 10009"/>
              <a:gd name="connsiteY249" fmla="*/ 2946 h 10000"/>
              <a:gd name="connsiteX250" fmla="*/ 9849 w 10009"/>
              <a:gd name="connsiteY250" fmla="*/ 2868 h 10000"/>
              <a:gd name="connsiteX251" fmla="*/ 9849 w 10009"/>
              <a:gd name="connsiteY251" fmla="*/ 2636 h 10000"/>
              <a:gd name="connsiteX252" fmla="*/ 9494 w 10009"/>
              <a:gd name="connsiteY252" fmla="*/ 2480 h 10000"/>
              <a:gd name="connsiteX253" fmla="*/ 9089 w 10009"/>
              <a:gd name="connsiteY253" fmla="*/ 2325 h 10000"/>
              <a:gd name="connsiteX254" fmla="*/ 8986 w 10009"/>
              <a:gd name="connsiteY254" fmla="*/ 2636 h 10000"/>
              <a:gd name="connsiteX255" fmla="*/ 9089 w 10009"/>
              <a:gd name="connsiteY255" fmla="*/ 2868 h 10000"/>
              <a:gd name="connsiteX256" fmla="*/ 8782 w 10009"/>
              <a:gd name="connsiteY256" fmla="*/ 2868 h 10000"/>
              <a:gd name="connsiteX257" fmla="*/ 8732 w 10009"/>
              <a:gd name="connsiteY257" fmla="*/ 2868 h 10000"/>
              <a:gd name="connsiteX258" fmla="*/ 8629 w 10009"/>
              <a:gd name="connsiteY258" fmla="*/ 2946 h 10000"/>
              <a:gd name="connsiteX259" fmla="*/ 8478 w 10009"/>
              <a:gd name="connsiteY259" fmla="*/ 2714 h 10000"/>
              <a:gd name="connsiteX260" fmla="*/ 8373 w 10009"/>
              <a:gd name="connsiteY260" fmla="*/ 3178 h 10000"/>
              <a:gd name="connsiteX261" fmla="*/ 8278 w 10009"/>
              <a:gd name="connsiteY261" fmla="*/ 3101 h 10000"/>
              <a:gd name="connsiteX262" fmla="*/ 8173 w 10009"/>
              <a:gd name="connsiteY262" fmla="*/ 2791 h 10000"/>
              <a:gd name="connsiteX263" fmla="*/ 8226 w 10009"/>
              <a:gd name="connsiteY263" fmla="*/ 2403 h 10000"/>
              <a:gd name="connsiteX264" fmla="*/ 8122 w 10009"/>
              <a:gd name="connsiteY264" fmla="*/ 2170 h 10000"/>
              <a:gd name="connsiteX265" fmla="*/ 7819 w 10009"/>
              <a:gd name="connsiteY265" fmla="*/ 2016 h 10000"/>
              <a:gd name="connsiteX266" fmla="*/ 7713 w 10009"/>
              <a:gd name="connsiteY266" fmla="*/ 2016 h 10000"/>
              <a:gd name="connsiteX267" fmla="*/ 7666 w 10009"/>
              <a:gd name="connsiteY267" fmla="*/ 2170 h 10000"/>
              <a:gd name="connsiteX268" fmla="*/ 7713 w 10009"/>
              <a:gd name="connsiteY268" fmla="*/ 2325 h 10000"/>
              <a:gd name="connsiteX269" fmla="*/ 7313 w 10009"/>
              <a:gd name="connsiteY269" fmla="*/ 2248 h 10000"/>
              <a:gd name="connsiteX270" fmla="*/ 7361 w 10009"/>
              <a:gd name="connsiteY270" fmla="*/ 2016 h 10000"/>
              <a:gd name="connsiteX271" fmla="*/ 7107 w 10009"/>
              <a:gd name="connsiteY271" fmla="*/ 1938 h 10000"/>
              <a:gd name="connsiteX272" fmla="*/ 6955 w 10009"/>
              <a:gd name="connsiteY272" fmla="*/ 2093 h 10000"/>
              <a:gd name="connsiteX273" fmla="*/ 6659 w 10009"/>
              <a:gd name="connsiteY273" fmla="*/ 1861 h 10000"/>
              <a:gd name="connsiteX0" fmla="*/ 6659 w 10000"/>
              <a:gd name="connsiteY0" fmla="*/ 1861 h 10000"/>
              <a:gd name="connsiteX1" fmla="*/ 6659 w 10000"/>
              <a:gd name="connsiteY1" fmla="*/ 1861 h 10000"/>
              <a:gd name="connsiteX2" fmla="*/ 6599 w 10000"/>
              <a:gd name="connsiteY2" fmla="*/ 1938 h 10000"/>
              <a:gd name="connsiteX3" fmla="*/ 6659 w 10000"/>
              <a:gd name="connsiteY3" fmla="*/ 2093 h 10000"/>
              <a:gd name="connsiteX4" fmla="*/ 6446 w 10000"/>
              <a:gd name="connsiteY4" fmla="*/ 2248 h 10000"/>
              <a:gd name="connsiteX5" fmla="*/ 6394 w 10000"/>
              <a:gd name="connsiteY5" fmla="*/ 2248 h 10000"/>
              <a:gd name="connsiteX6" fmla="*/ 6446 w 10000"/>
              <a:gd name="connsiteY6" fmla="*/ 2016 h 10000"/>
              <a:gd name="connsiteX7" fmla="*/ 6955 w 10000"/>
              <a:gd name="connsiteY7" fmla="*/ 1318 h 10000"/>
              <a:gd name="connsiteX8" fmla="*/ 6955 w 10000"/>
              <a:gd name="connsiteY8" fmla="*/ 853 h 10000"/>
              <a:gd name="connsiteX9" fmla="*/ 6754 w 10000"/>
              <a:gd name="connsiteY9" fmla="*/ 543 h 10000"/>
              <a:gd name="connsiteX10" fmla="*/ 6498 w 10000"/>
              <a:gd name="connsiteY10" fmla="*/ 543 h 10000"/>
              <a:gd name="connsiteX11" fmla="*/ 6498 w 10000"/>
              <a:gd name="connsiteY11" fmla="*/ 698 h 10000"/>
              <a:gd name="connsiteX12" fmla="*/ 6344 w 10000"/>
              <a:gd name="connsiteY12" fmla="*/ 698 h 10000"/>
              <a:gd name="connsiteX13" fmla="*/ 6446 w 10000"/>
              <a:gd name="connsiteY13" fmla="*/ 387 h 10000"/>
              <a:gd name="connsiteX14" fmla="*/ 6195 w 10000"/>
              <a:gd name="connsiteY14" fmla="*/ 310 h 10000"/>
              <a:gd name="connsiteX15" fmla="*/ 6344 w 10000"/>
              <a:gd name="connsiteY15" fmla="*/ 155 h 10000"/>
              <a:gd name="connsiteX16" fmla="*/ 6195 w 10000"/>
              <a:gd name="connsiteY16" fmla="*/ 0 h 10000"/>
              <a:gd name="connsiteX17" fmla="*/ 5941 w 10000"/>
              <a:gd name="connsiteY17" fmla="*/ 387 h 10000"/>
              <a:gd name="connsiteX18" fmla="*/ 5941 w 10000"/>
              <a:gd name="connsiteY18" fmla="*/ 698 h 10000"/>
              <a:gd name="connsiteX19" fmla="*/ 5786 w 10000"/>
              <a:gd name="connsiteY19" fmla="*/ 698 h 10000"/>
              <a:gd name="connsiteX20" fmla="*/ 5331 w 10000"/>
              <a:gd name="connsiteY20" fmla="*/ 853 h 10000"/>
              <a:gd name="connsiteX21" fmla="*/ 4923 w 10000"/>
              <a:gd name="connsiteY21" fmla="*/ 1240 h 10000"/>
              <a:gd name="connsiteX22" fmla="*/ 4771 w 10000"/>
              <a:gd name="connsiteY22" fmla="*/ 1551 h 10000"/>
              <a:gd name="connsiteX23" fmla="*/ 4824 w 10000"/>
              <a:gd name="connsiteY23" fmla="*/ 1938 h 10000"/>
              <a:gd name="connsiteX24" fmla="*/ 4264 w 10000"/>
              <a:gd name="connsiteY24" fmla="*/ 2093 h 10000"/>
              <a:gd name="connsiteX25" fmla="*/ 4317 w 10000"/>
              <a:gd name="connsiteY25" fmla="*/ 2559 h 10000"/>
              <a:gd name="connsiteX26" fmla="*/ 4469 w 10000"/>
              <a:gd name="connsiteY26" fmla="*/ 2791 h 10000"/>
              <a:gd name="connsiteX27" fmla="*/ 4367 w 10000"/>
              <a:gd name="connsiteY27" fmla="*/ 2868 h 10000"/>
              <a:gd name="connsiteX28" fmla="*/ 4215 w 10000"/>
              <a:gd name="connsiteY28" fmla="*/ 2559 h 10000"/>
              <a:gd name="connsiteX29" fmla="*/ 4065 w 10000"/>
              <a:gd name="connsiteY29" fmla="*/ 2480 h 10000"/>
              <a:gd name="connsiteX30" fmla="*/ 4009 w 10000"/>
              <a:gd name="connsiteY30" fmla="*/ 2559 h 10000"/>
              <a:gd name="connsiteX31" fmla="*/ 3907 w 10000"/>
              <a:gd name="connsiteY31" fmla="*/ 2403 h 10000"/>
              <a:gd name="connsiteX32" fmla="*/ 3807 w 10000"/>
              <a:gd name="connsiteY32" fmla="*/ 2248 h 10000"/>
              <a:gd name="connsiteX33" fmla="*/ 3807 w 10000"/>
              <a:gd name="connsiteY33" fmla="*/ 2325 h 10000"/>
              <a:gd name="connsiteX34" fmla="*/ 3862 w 10000"/>
              <a:gd name="connsiteY34" fmla="*/ 2559 h 10000"/>
              <a:gd name="connsiteX35" fmla="*/ 3705 w 10000"/>
              <a:gd name="connsiteY35" fmla="*/ 2946 h 10000"/>
              <a:gd name="connsiteX36" fmla="*/ 3807 w 10000"/>
              <a:gd name="connsiteY36" fmla="*/ 3256 h 10000"/>
              <a:gd name="connsiteX37" fmla="*/ 3755 w 10000"/>
              <a:gd name="connsiteY37" fmla="*/ 3566 h 10000"/>
              <a:gd name="connsiteX38" fmla="*/ 3755 w 10000"/>
              <a:gd name="connsiteY38" fmla="*/ 3799 h 10000"/>
              <a:gd name="connsiteX39" fmla="*/ 3907 w 10000"/>
              <a:gd name="connsiteY39" fmla="*/ 3799 h 10000"/>
              <a:gd name="connsiteX40" fmla="*/ 3807 w 10000"/>
              <a:gd name="connsiteY40" fmla="*/ 3876 h 10000"/>
              <a:gd name="connsiteX41" fmla="*/ 3862 w 10000"/>
              <a:gd name="connsiteY41" fmla="*/ 4263 h 10000"/>
              <a:gd name="connsiteX42" fmla="*/ 3555 w 10000"/>
              <a:gd name="connsiteY42" fmla="*/ 4652 h 10000"/>
              <a:gd name="connsiteX43" fmla="*/ 3500 w 10000"/>
              <a:gd name="connsiteY43" fmla="*/ 4574 h 10000"/>
              <a:gd name="connsiteX44" fmla="*/ 3705 w 10000"/>
              <a:gd name="connsiteY44" fmla="*/ 4186 h 10000"/>
              <a:gd name="connsiteX45" fmla="*/ 3755 w 10000"/>
              <a:gd name="connsiteY45" fmla="*/ 3954 h 10000"/>
              <a:gd name="connsiteX46" fmla="*/ 3649 w 10000"/>
              <a:gd name="connsiteY46" fmla="*/ 3799 h 10000"/>
              <a:gd name="connsiteX47" fmla="*/ 3649 w 10000"/>
              <a:gd name="connsiteY47" fmla="*/ 3023 h 10000"/>
              <a:gd name="connsiteX48" fmla="*/ 3604 w 10000"/>
              <a:gd name="connsiteY48" fmla="*/ 2868 h 10000"/>
              <a:gd name="connsiteX49" fmla="*/ 3649 w 10000"/>
              <a:gd name="connsiteY49" fmla="*/ 2403 h 10000"/>
              <a:gd name="connsiteX50" fmla="*/ 3555 w 10000"/>
              <a:gd name="connsiteY50" fmla="*/ 2325 h 10000"/>
              <a:gd name="connsiteX51" fmla="*/ 3604 w 10000"/>
              <a:gd name="connsiteY51" fmla="*/ 2248 h 10000"/>
              <a:gd name="connsiteX52" fmla="*/ 3555 w 10000"/>
              <a:gd name="connsiteY52" fmla="*/ 2093 h 10000"/>
              <a:gd name="connsiteX53" fmla="*/ 3448 w 10000"/>
              <a:gd name="connsiteY53" fmla="*/ 2170 h 10000"/>
              <a:gd name="connsiteX54" fmla="*/ 3197 w 10000"/>
              <a:gd name="connsiteY54" fmla="*/ 3178 h 10000"/>
              <a:gd name="connsiteX55" fmla="*/ 3197 w 10000"/>
              <a:gd name="connsiteY55" fmla="*/ 3566 h 10000"/>
              <a:gd name="connsiteX56" fmla="*/ 3351 w 10000"/>
              <a:gd name="connsiteY56" fmla="*/ 3876 h 10000"/>
              <a:gd name="connsiteX57" fmla="*/ 3351 w 10000"/>
              <a:gd name="connsiteY57" fmla="*/ 4031 h 10000"/>
              <a:gd name="connsiteX58" fmla="*/ 3197 w 10000"/>
              <a:gd name="connsiteY58" fmla="*/ 3876 h 10000"/>
              <a:gd name="connsiteX59" fmla="*/ 2591 w 10000"/>
              <a:gd name="connsiteY59" fmla="*/ 3256 h 10000"/>
              <a:gd name="connsiteX60" fmla="*/ 2540 w 10000"/>
              <a:gd name="connsiteY60" fmla="*/ 3411 h 10000"/>
              <a:gd name="connsiteX61" fmla="*/ 2742 w 10000"/>
              <a:gd name="connsiteY61" fmla="*/ 3799 h 10000"/>
              <a:gd name="connsiteX62" fmla="*/ 2637 w 10000"/>
              <a:gd name="connsiteY62" fmla="*/ 3876 h 10000"/>
              <a:gd name="connsiteX63" fmla="*/ 2591 w 10000"/>
              <a:gd name="connsiteY63" fmla="*/ 3799 h 10000"/>
              <a:gd name="connsiteX64" fmla="*/ 2287 w 10000"/>
              <a:gd name="connsiteY64" fmla="*/ 3954 h 10000"/>
              <a:gd name="connsiteX65" fmla="*/ 2235 w 10000"/>
              <a:gd name="connsiteY65" fmla="*/ 4109 h 10000"/>
              <a:gd name="connsiteX66" fmla="*/ 2183 w 10000"/>
              <a:gd name="connsiteY66" fmla="*/ 3954 h 10000"/>
              <a:gd name="connsiteX67" fmla="*/ 2183 w 10000"/>
              <a:gd name="connsiteY67" fmla="*/ 3799 h 10000"/>
              <a:gd name="connsiteX68" fmla="*/ 1673 w 10000"/>
              <a:gd name="connsiteY68" fmla="*/ 4263 h 10000"/>
              <a:gd name="connsiteX69" fmla="*/ 1673 w 10000"/>
              <a:gd name="connsiteY69" fmla="*/ 4418 h 10000"/>
              <a:gd name="connsiteX70" fmla="*/ 1574 w 10000"/>
              <a:gd name="connsiteY70" fmla="*/ 4496 h 10000"/>
              <a:gd name="connsiteX71" fmla="*/ 1421 w 10000"/>
              <a:gd name="connsiteY71" fmla="*/ 4341 h 10000"/>
              <a:gd name="connsiteX72" fmla="*/ 1574 w 10000"/>
              <a:gd name="connsiteY72" fmla="*/ 4186 h 10000"/>
              <a:gd name="connsiteX73" fmla="*/ 1523 w 10000"/>
              <a:gd name="connsiteY73" fmla="*/ 3954 h 10000"/>
              <a:gd name="connsiteX74" fmla="*/ 1321 w 10000"/>
              <a:gd name="connsiteY74" fmla="*/ 3876 h 10000"/>
              <a:gd name="connsiteX75" fmla="*/ 1371 w 10000"/>
              <a:gd name="connsiteY75" fmla="*/ 4031 h 10000"/>
              <a:gd name="connsiteX76" fmla="*/ 1371 w 10000"/>
              <a:gd name="connsiteY76" fmla="*/ 4418 h 10000"/>
              <a:gd name="connsiteX77" fmla="*/ 1421 w 10000"/>
              <a:gd name="connsiteY77" fmla="*/ 4574 h 10000"/>
              <a:gd name="connsiteX78" fmla="*/ 1371 w 10000"/>
              <a:gd name="connsiteY78" fmla="*/ 4729 h 10000"/>
              <a:gd name="connsiteX79" fmla="*/ 1217 w 10000"/>
              <a:gd name="connsiteY79" fmla="*/ 4652 h 10000"/>
              <a:gd name="connsiteX80" fmla="*/ 1016 w 10000"/>
              <a:gd name="connsiteY80" fmla="*/ 4884 h 10000"/>
              <a:gd name="connsiteX81" fmla="*/ 1114 w 10000"/>
              <a:gd name="connsiteY81" fmla="*/ 5194 h 10000"/>
              <a:gd name="connsiteX82" fmla="*/ 811 w 10000"/>
              <a:gd name="connsiteY82" fmla="*/ 5039 h 10000"/>
              <a:gd name="connsiteX83" fmla="*/ 762 w 10000"/>
              <a:gd name="connsiteY83" fmla="*/ 5116 h 10000"/>
              <a:gd name="connsiteX84" fmla="*/ 864 w 10000"/>
              <a:gd name="connsiteY84" fmla="*/ 5349 h 10000"/>
              <a:gd name="connsiteX85" fmla="*/ 762 w 10000"/>
              <a:gd name="connsiteY85" fmla="*/ 5349 h 10000"/>
              <a:gd name="connsiteX86" fmla="*/ 611 w 10000"/>
              <a:gd name="connsiteY86" fmla="*/ 5194 h 10000"/>
              <a:gd name="connsiteX87" fmla="*/ 611 w 10000"/>
              <a:gd name="connsiteY87" fmla="*/ 4729 h 10000"/>
              <a:gd name="connsiteX88" fmla="*/ 460 w 10000"/>
              <a:gd name="connsiteY88" fmla="*/ 4574 h 10000"/>
              <a:gd name="connsiteX89" fmla="*/ 406 w 10000"/>
              <a:gd name="connsiteY89" fmla="*/ 4418 h 10000"/>
              <a:gd name="connsiteX90" fmla="*/ 507 w 10000"/>
              <a:gd name="connsiteY90" fmla="*/ 4496 h 10000"/>
              <a:gd name="connsiteX91" fmla="*/ 912 w 10000"/>
              <a:gd name="connsiteY91" fmla="*/ 4729 h 10000"/>
              <a:gd name="connsiteX92" fmla="*/ 1163 w 10000"/>
              <a:gd name="connsiteY92" fmla="*/ 4496 h 10000"/>
              <a:gd name="connsiteX93" fmla="*/ 1114 w 10000"/>
              <a:gd name="connsiteY93" fmla="*/ 4263 h 10000"/>
              <a:gd name="connsiteX94" fmla="*/ 811 w 10000"/>
              <a:gd name="connsiteY94" fmla="*/ 3799 h 10000"/>
              <a:gd name="connsiteX95" fmla="*/ 507 w 10000"/>
              <a:gd name="connsiteY95" fmla="*/ 3644 h 10000"/>
              <a:gd name="connsiteX96" fmla="*/ 507 w 10000"/>
              <a:gd name="connsiteY96" fmla="*/ 3566 h 10000"/>
              <a:gd name="connsiteX97" fmla="*/ 406 w 10000"/>
              <a:gd name="connsiteY97" fmla="*/ 3488 h 10000"/>
              <a:gd name="connsiteX98" fmla="*/ 301 w 10000"/>
              <a:gd name="connsiteY98" fmla="*/ 3566 h 10000"/>
              <a:gd name="connsiteX99" fmla="*/ 301 w 10000"/>
              <a:gd name="connsiteY99" fmla="*/ 3644 h 10000"/>
              <a:gd name="connsiteX100" fmla="*/ 253 w 10000"/>
              <a:gd name="connsiteY100" fmla="*/ 3644 h 10000"/>
              <a:gd name="connsiteX101" fmla="*/ 152 w 10000"/>
              <a:gd name="connsiteY101" fmla="*/ 3799 h 10000"/>
              <a:gd name="connsiteX102" fmla="*/ 152 w 10000"/>
              <a:gd name="connsiteY102" fmla="*/ 4031 h 10000"/>
              <a:gd name="connsiteX103" fmla="*/ 253 w 10000"/>
              <a:gd name="connsiteY103" fmla="*/ 4186 h 10000"/>
              <a:gd name="connsiteX104" fmla="*/ 204 w 10000"/>
              <a:gd name="connsiteY104" fmla="*/ 4418 h 10000"/>
              <a:gd name="connsiteX105" fmla="*/ 253 w 10000"/>
              <a:gd name="connsiteY105" fmla="*/ 4807 h 10000"/>
              <a:gd name="connsiteX106" fmla="*/ 204 w 10000"/>
              <a:gd name="connsiteY106" fmla="*/ 5039 h 10000"/>
              <a:gd name="connsiteX107" fmla="*/ 301 w 10000"/>
              <a:gd name="connsiteY107" fmla="*/ 5271 h 10000"/>
              <a:gd name="connsiteX108" fmla="*/ 253 w 10000"/>
              <a:gd name="connsiteY108" fmla="*/ 5426 h 10000"/>
              <a:gd name="connsiteX109" fmla="*/ 353 w 10000"/>
              <a:gd name="connsiteY109" fmla="*/ 5582 h 10000"/>
              <a:gd name="connsiteX110" fmla="*/ 353 w 10000"/>
              <a:gd name="connsiteY110" fmla="*/ 5659 h 10000"/>
              <a:gd name="connsiteX111" fmla="*/ 204 w 10000"/>
              <a:gd name="connsiteY111" fmla="*/ 6047 h 10000"/>
              <a:gd name="connsiteX112" fmla="*/ 47 w 10000"/>
              <a:gd name="connsiteY112" fmla="*/ 6202 h 10000"/>
              <a:gd name="connsiteX113" fmla="*/ 99 w 10000"/>
              <a:gd name="connsiteY113" fmla="*/ 6202 h 10000"/>
              <a:gd name="connsiteX114" fmla="*/ 204 w 10000"/>
              <a:gd name="connsiteY114" fmla="*/ 6356 h 10000"/>
              <a:gd name="connsiteX115" fmla="*/ 99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99 w 10000"/>
              <a:gd name="connsiteY122" fmla="*/ 7209 h 10000"/>
              <a:gd name="connsiteX123" fmla="*/ 253 w 10000"/>
              <a:gd name="connsiteY123" fmla="*/ 7287 h 10000"/>
              <a:gd name="connsiteX124" fmla="*/ 301 w 10000"/>
              <a:gd name="connsiteY124" fmla="*/ 7364 h 10000"/>
              <a:gd name="connsiteX125" fmla="*/ 301 w 10000"/>
              <a:gd name="connsiteY125" fmla="*/ 7520 h 10000"/>
              <a:gd name="connsiteX126" fmla="*/ 406 w 10000"/>
              <a:gd name="connsiteY126" fmla="*/ 7752 h 10000"/>
              <a:gd name="connsiteX127" fmla="*/ 460 w 10000"/>
              <a:gd name="connsiteY127" fmla="*/ 7752 h 10000"/>
              <a:gd name="connsiteX128" fmla="*/ 406 w 10000"/>
              <a:gd name="connsiteY128" fmla="*/ 7907 h 10000"/>
              <a:gd name="connsiteX129" fmla="*/ 353 w 10000"/>
              <a:gd name="connsiteY129" fmla="*/ 7830 h 10000"/>
              <a:gd name="connsiteX130" fmla="*/ 353 w 10000"/>
              <a:gd name="connsiteY130" fmla="*/ 7907 h 10000"/>
              <a:gd name="connsiteX131" fmla="*/ 406 w 10000"/>
              <a:gd name="connsiteY131" fmla="*/ 8062 h 10000"/>
              <a:gd name="connsiteX132" fmla="*/ 560 w 10000"/>
              <a:gd name="connsiteY132" fmla="*/ 8062 h 10000"/>
              <a:gd name="connsiteX133" fmla="*/ 611 w 10000"/>
              <a:gd name="connsiteY133" fmla="*/ 8140 h 10000"/>
              <a:gd name="connsiteX134" fmla="*/ 560 w 10000"/>
              <a:gd name="connsiteY134" fmla="*/ 8140 h 10000"/>
              <a:gd name="connsiteX135" fmla="*/ 611 w 10000"/>
              <a:gd name="connsiteY135" fmla="*/ 8217 h 10000"/>
              <a:gd name="connsiteX136" fmla="*/ 659 w 10000"/>
              <a:gd name="connsiteY136" fmla="*/ 8217 h 10000"/>
              <a:gd name="connsiteX137" fmla="*/ 710 w 10000"/>
              <a:gd name="connsiteY137" fmla="*/ 8372 h 10000"/>
              <a:gd name="connsiteX138" fmla="*/ 762 w 10000"/>
              <a:gd name="connsiteY138" fmla="*/ 8449 h 10000"/>
              <a:gd name="connsiteX139" fmla="*/ 811 w 10000"/>
              <a:gd name="connsiteY139" fmla="*/ 8372 h 10000"/>
              <a:gd name="connsiteX140" fmla="*/ 1067 w 10000"/>
              <a:gd name="connsiteY140" fmla="*/ 8605 h 10000"/>
              <a:gd name="connsiteX141" fmla="*/ 1016 w 10000"/>
              <a:gd name="connsiteY141" fmla="*/ 8915 h 10000"/>
              <a:gd name="connsiteX142" fmla="*/ 964 w 10000"/>
              <a:gd name="connsiteY142" fmla="*/ 8838 h 10000"/>
              <a:gd name="connsiteX143" fmla="*/ 912 w 10000"/>
              <a:gd name="connsiteY143" fmla="*/ 8915 h 10000"/>
              <a:gd name="connsiteX144" fmla="*/ 912 w 10000"/>
              <a:gd name="connsiteY144" fmla="*/ 9070 h 10000"/>
              <a:gd name="connsiteX145" fmla="*/ 964 w 10000"/>
              <a:gd name="connsiteY145" fmla="*/ 8993 h 10000"/>
              <a:gd name="connsiteX146" fmla="*/ 1016 w 10000"/>
              <a:gd name="connsiteY146" fmla="*/ 9070 h 10000"/>
              <a:gd name="connsiteX147" fmla="*/ 864 w 10000"/>
              <a:gd name="connsiteY147" fmla="*/ 9147 h 10000"/>
              <a:gd name="connsiteX148" fmla="*/ 912 w 10000"/>
              <a:gd name="connsiteY148" fmla="*/ 9225 h 10000"/>
              <a:gd name="connsiteX149" fmla="*/ 811 w 10000"/>
              <a:gd name="connsiteY149" fmla="*/ 9380 h 10000"/>
              <a:gd name="connsiteX150" fmla="*/ 762 w 10000"/>
              <a:gd name="connsiteY150" fmla="*/ 9380 h 10000"/>
              <a:gd name="connsiteX151" fmla="*/ 811 w 10000"/>
              <a:gd name="connsiteY151" fmla="*/ 9380 h 10000"/>
              <a:gd name="connsiteX152" fmla="*/ 1016 w 10000"/>
              <a:gd name="connsiteY152" fmla="*/ 9691 h 10000"/>
              <a:gd name="connsiteX153" fmla="*/ 1270 w 10000"/>
              <a:gd name="connsiteY153" fmla="*/ 9691 h 10000"/>
              <a:gd name="connsiteX154" fmla="*/ 1371 w 10000"/>
              <a:gd name="connsiteY154" fmla="*/ 9768 h 10000"/>
              <a:gd name="connsiteX155" fmla="*/ 1472 w 10000"/>
              <a:gd name="connsiteY155" fmla="*/ 9768 h 10000"/>
              <a:gd name="connsiteX156" fmla="*/ 1574 w 10000"/>
              <a:gd name="connsiteY156" fmla="*/ 9923 h 10000"/>
              <a:gd name="connsiteX157" fmla="*/ 1624 w 10000"/>
              <a:gd name="connsiteY157" fmla="*/ 10000 h 10000"/>
              <a:gd name="connsiteX158" fmla="*/ 1673 w 10000"/>
              <a:gd name="connsiteY158" fmla="*/ 10000 h 10000"/>
              <a:gd name="connsiteX159" fmla="*/ 1728 w 10000"/>
              <a:gd name="connsiteY159" fmla="*/ 9923 h 10000"/>
              <a:gd name="connsiteX160" fmla="*/ 1624 w 10000"/>
              <a:gd name="connsiteY160" fmla="*/ 9768 h 10000"/>
              <a:gd name="connsiteX161" fmla="*/ 1624 w 10000"/>
              <a:gd name="connsiteY161" fmla="*/ 9613 h 10000"/>
              <a:gd name="connsiteX162" fmla="*/ 1574 w 10000"/>
              <a:gd name="connsiteY162" fmla="*/ 9457 h 10000"/>
              <a:gd name="connsiteX163" fmla="*/ 1673 w 10000"/>
              <a:gd name="connsiteY163" fmla="*/ 9225 h 10000"/>
              <a:gd name="connsiteX164" fmla="*/ 1728 w 10000"/>
              <a:gd name="connsiteY164" fmla="*/ 9302 h 10000"/>
              <a:gd name="connsiteX165" fmla="*/ 1776 w 10000"/>
              <a:gd name="connsiteY165" fmla="*/ 9225 h 10000"/>
              <a:gd name="connsiteX166" fmla="*/ 1776 w 10000"/>
              <a:gd name="connsiteY166" fmla="*/ 9147 h 10000"/>
              <a:gd name="connsiteX167" fmla="*/ 1728 w 10000"/>
              <a:gd name="connsiteY167" fmla="*/ 9147 h 10000"/>
              <a:gd name="connsiteX168" fmla="*/ 1776 w 10000"/>
              <a:gd name="connsiteY168" fmla="*/ 9070 h 10000"/>
              <a:gd name="connsiteX169" fmla="*/ 1728 w 10000"/>
              <a:gd name="connsiteY169" fmla="*/ 8915 h 10000"/>
              <a:gd name="connsiteX170" fmla="*/ 1624 w 10000"/>
              <a:gd name="connsiteY170" fmla="*/ 8915 h 10000"/>
              <a:gd name="connsiteX171" fmla="*/ 1574 w 10000"/>
              <a:gd name="connsiteY171" fmla="*/ 8760 h 10000"/>
              <a:gd name="connsiteX172" fmla="*/ 1624 w 10000"/>
              <a:gd name="connsiteY172" fmla="*/ 8372 h 10000"/>
              <a:gd name="connsiteX173" fmla="*/ 1728 w 10000"/>
              <a:gd name="connsiteY173" fmla="*/ 8528 h 10000"/>
              <a:gd name="connsiteX174" fmla="*/ 1776 w 10000"/>
              <a:gd name="connsiteY174" fmla="*/ 8528 h 10000"/>
              <a:gd name="connsiteX175" fmla="*/ 1728 w 10000"/>
              <a:gd name="connsiteY175" fmla="*/ 8372 h 10000"/>
              <a:gd name="connsiteX176" fmla="*/ 1879 w 10000"/>
              <a:gd name="connsiteY176" fmla="*/ 8140 h 10000"/>
              <a:gd name="connsiteX177" fmla="*/ 1982 w 10000"/>
              <a:gd name="connsiteY177" fmla="*/ 8217 h 10000"/>
              <a:gd name="connsiteX178" fmla="*/ 2030 w 10000"/>
              <a:gd name="connsiteY178" fmla="*/ 8140 h 10000"/>
              <a:gd name="connsiteX179" fmla="*/ 2132 w 10000"/>
              <a:gd name="connsiteY179" fmla="*/ 8217 h 10000"/>
              <a:gd name="connsiteX180" fmla="*/ 2287 w 10000"/>
              <a:gd name="connsiteY180" fmla="*/ 8372 h 10000"/>
              <a:gd name="connsiteX181" fmla="*/ 2384 w 10000"/>
              <a:gd name="connsiteY181" fmla="*/ 8295 h 10000"/>
              <a:gd name="connsiteX182" fmla="*/ 2489 w 10000"/>
              <a:gd name="connsiteY182" fmla="*/ 8295 h 10000"/>
              <a:gd name="connsiteX183" fmla="*/ 2540 w 10000"/>
              <a:gd name="connsiteY183" fmla="*/ 8372 h 10000"/>
              <a:gd name="connsiteX184" fmla="*/ 2742 w 10000"/>
              <a:gd name="connsiteY184" fmla="*/ 8372 h 10000"/>
              <a:gd name="connsiteX185" fmla="*/ 2790 w 10000"/>
              <a:gd name="connsiteY185" fmla="*/ 8217 h 10000"/>
              <a:gd name="connsiteX186" fmla="*/ 2637 w 10000"/>
              <a:gd name="connsiteY186" fmla="*/ 8140 h 10000"/>
              <a:gd name="connsiteX187" fmla="*/ 2742 w 10000"/>
              <a:gd name="connsiteY187" fmla="*/ 8062 h 10000"/>
              <a:gd name="connsiteX188" fmla="*/ 2689 w 10000"/>
              <a:gd name="connsiteY188" fmla="*/ 7985 h 10000"/>
              <a:gd name="connsiteX189" fmla="*/ 2742 w 10000"/>
              <a:gd name="connsiteY189" fmla="*/ 7907 h 10000"/>
              <a:gd name="connsiteX190" fmla="*/ 2742 w 10000"/>
              <a:gd name="connsiteY190" fmla="*/ 7675 h 10000"/>
              <a:gd name="connsiteX191" fmla="*/ 2841 w 10000"/>
              <a:gd name="connsiteY191" fmla="*/ 7752 h 10000"/>
              <a:gd name="connsiteX192" fmla="*/ 3301 w 10000"/>
              <a:gd name="connsiteY192" fmla="*/ 7520 h 10000"/>
              <a:gd name="connsiteX193" fmla="*/ 3301 w 10000"/>
              <a:gd name="connsiteY193" fmla="*/ 7442 h 10000"/>
              <a:gd name="connsiteX194" fmla="*/ 3351 w 10000"/>
              <a:gd name="connsiteY194" fmla="*/ 7442 h 10000"/>
              <a:gd name="connsiteX195" fmla="*/ 3500 w 10000"/>
              <a:gd name="connsiteY195" fmla="*/ 7442 h 10000"/>
              <a:gd name="connsiteX196" fmla="*/ 3555 w 10000"/>
              <a:gd name="connsiteY196" fmla="*/ 7598 h 10000"/>
              <a:gd name="connsiteX197" fmla="*/ 3555 w 10000"/>
              <a:gd name="connsiteY197" fmla="*/ 7675 h 10000"/>
              <a:gd name="connsiteX198" fmla="*/ 3604 w 10000"/>
              <a:gd name="connsiteY198" fmla="*/ 7675 h 10000"/>
              <a:gd name="connsiteX199" fmla="*/ 3705 w 10000"/>
              <a:gd name="connsiteY199" fmla="*/ 7752 h 10000"/>
              <a:gd name="connsiteX200" fmla="*/ 3705 w 10000"/>
              <a:gd name="connsiteY200" fmla="*/ 7830 h 10000"/>
              <a:gd name="connsiteX201" fmla="*/ 3807 w 10000"/>
              <a:gd name="connsiteY201" fmla="*/ 7830 h 10000"/>
              <a:gd name="connsiteX202" fmla="*/ 3907 w 10000"/>
              <a:gd name="connsiteY202" fmla="*/ 7675 h 10000"/>
              <a:gd name="connsiteX203" fmla="*/ 4009 w 10000"/>
              <a:gd name="connsiteY203" fmla="*/ 7598 h 10000"/>
              <a:gd name="connsiteX204" fmla="*/ 4065 w 10000"/>
              <a:gd name="connsiteY204" fmla="*/ 7830 h 10000"/>
              <a:gd name="connsiteX205" fmla="*/ 4264 w 10000"/>
              <a:gd name="connsiteY205" fmla="*/ 8372 h 10000"/>
              <a:gd name="connsiteX206" fmla="*/ 4317 w 10000"/>
              <a:gd name="connsiteY206" fmla="*/ 8217 h 10000"/>
              <a:gd name="connsiteX207" fmla="*/ 4367 w 10000"/>
              <a:gd name="connsiteY207" fmla="*/ 8372 h 10000"/>
              <a:gd name="connsiteX208" fmla="*/ 4518 w 10000"/>
              <a:gd name="connsiteY208" fmla="*/ 8295 h 10000"/>
              <a:gd name="connsiteX209" fmla="*/ 4673 w 10000"/>
              <a:gd name="connsiteY209" fmla="*/ 8528 h 10000"/>
              <a:gd name="connsiteX210" fmla="*/ 4771 w 10000"/>
              <a:gd name="connsiteY210" fmla="*/ 8605 h 10000"/>
              <a:gd name="connsiteX211" fmla="*/ 4771 w 10000"/>
              <a:gd name="connsiteY211" fmla="*/ 8528 h 10000"/>
              <a:gd name="connsiteX212" fmla="*/ 4824 w 10000"/>
              <a:gd name="connsiteY212" fmla="*/ 8683 h 10000"/>
              <a:gd name="connsiteX213" fmla="*/ 4771 w 10000"/>
              <a:gd name="connsiteY213" fmla="*/ 8760 h 10000"/>
              <a:gd name="connsiteX214" fmla="*/ 4875 w 10000"/>
              <a:gd name="connsiteY214" fmla="*/ 8683 h 10000"/>
              <a:gd name="connsiteX215" fmla="*/ 4923 w 10000"/>
              <a:gd name="connsiteY215" fmla="*/ 8605 h 10000"/>
              <a:gd name="connsiteX216" fmla="*/ 5177 w 10000"/>
              <a:gd name="connsiteY216" fmla="*/ 8372 h 10000"/>
              <a:gd name="connsiteX217" fmla="*/ 5381 w 10000"/>
              <a:gd name="connsiteY217" fmla="*/ 8449 h 10000"/>
              <a:gd name="connsiteX218" fmla="*/ 5482 w 10000"/>
              <a:gd name="connsiteY218" fmla="*/ 8528 h 10000"/>
              <a:gd name="connsiteX219" fmla="*/ 5683 w 10000"/>
              <a:gd name="connsiteY219" fmla="*/ 8528 h 10000"/>
              <a:gd name="connsiteX220" fmla="*/ 5683 w 10000"/>
              <a:gd name="connsiteY220" fmla="*/ 8372 h 10000"/>
              <a:gd name="connsiteX221" fmla="*/ 5683 w 10000"/>
              <a:gd name="connsiteY221" fmla="*/ 8217 h 10000"/>
              <a:gd name="connsiteX222" fmla="*/ 5786 w 10000"/>
              <a:gd name="connsiteY222" fmla="*/ 8140 h 10000"/>
              <a:gd name="connsiteX223" fmla="*/ 5988 w 10000"/>
              <a:gd name="connsiteY223" fmla="*/ 8217 h 10000"/>
              <a:gd name="connsiteX224" fmla="*/ 6091 w 10000"/>
              <a:gd name="connsiteY224" fmla="*/ 8449 h 10000"/>
              <a:gd name="connsiteX225" fmla="*/ 6142 w 10000"/>
              <a:gd name="connsiteY225" fmla="*/ 8449 h 10000"/>
              <a:gd name="connsiteX226" fmla="*/ 6244 w 10000"/>
              <a:gd name="connsiteY226" fmla="*/ 8372 h 10000"/>
              <a:gd name="connsiteX227" fmla="*/ 6552 w 10000"/>
              <a:gd name="connsiteY227" fmla="*/ 8605 h 10000"/>
              <a:gd name="connsiteX228" fmla="*/ 6702 w 10000"/>
              <a:gd name="connsiteY228" fmla="*/ 8683 h 10000"/>
              <a:gd name="connsiteX229" fmla="*/ 6904 w 10000"/>
              <a:gd name="connsiteY229" fmla="*/ 8605 h 10000"/>
              <a:gd name="connsiteX230" fmla="*/ 7005 w 10000"/>
              <a:gd name="connsiteY230" fmla="*/ 8449 h 10000"/>
              <a:gd name="connsiteX231" fmla="*/ 7158 w 10000"/>
              <a:gd name="connsiteY231" fmla="*/ 8528 h 10000"/>
              <a:gd name="connsiteX232" fmla="*/ 7258 w 10000"/>
              <a:gd name="connsiteY232" fmla="*/ 8605 h 10000"/>
              <a:gd name="connsiteX233" fmla="*/ 8986 w 10000"/>
              <a:gd name="connsiteY233" fmla="*/ 7675 h 10000"/>
              <a:gd name="connsiteX234" fmla="*/ 8886 w 10000"/>
              <a:gd name="connsiteY234" fmla="*/ 7675 h 10000"/>
              <a:gd name="connsiteX235" fmla="*/ 8835 w 10000"/>
              <a:gd name="connsiteY235" fmla="*/ 7675 h 10000"/>
              <a:gd name="connsiteX236" fmla="*/ 8782 w 10000"/>
              <a:gd name="connsiteY236" fmla="*/ 7598 h 10000"/>
              <a:gd name="connsiteX237" fmla="*/ 8684 w 10000"/>
              <a:gd name="connsiteY237" fmla="*/ 7598 h 10000"/>
              <a:gd name="connsiteX238" fmla="*/ 8684 w 10000"/>
              <a:gd name="connsiteY238" fmla="*/ 7520 h 10000"/>
              <a:gd name="connsiteX239" fmla="*/ 8835 w 10000"/>
              <a:gd name="connsiteY239" fmla="*/ 7287 h 10000"/>
              <a:gd name="connsiteX240" fmla="*/ 9297 w 10000"/>
              <a:gd name="connsiteY240" fmla="*/ 6590 h 10000"/>
              <a:gd name="connsiteX241" fmla="*/ 9494 w 10000"/>
              <a:gd name="connsiteY241" fmla="*/ 6512 h 10000"/>
              <a:gd name="connsiteX242" fmla="*/ 9543 w 10000"/>
              <a:gd name="connsiteY242" fmla="*/ 6590 h 10000"/>
              <a:gd name="connsiteX243" fmla="*/ 9596 w 10000"/>
              <a:gd name="connsiteY243" fmla="*/ 6512 h 10000"/>
              <a:gd name="connsiteX244" fmla="*/ 9745 w 10000"/>
              <a:gd name="connsiteY244" fmla="*/ 6590 h 10000"/>
              <a:gd name="connsiteX245" fmla="*/ 9801 w 10000"/>
              <a:gd name="connsiteY245" fmla="*/ 6434 h 10000"/>
              <a:gd name="connsiteX246" fmla="*/ 9952 w 10000"/>
              <a:gd name="connsiteY246" fmla="*/ 6512 h 10000"/>
              <a:gd name="connsiteX247" fmla="*/ 10000 w 10000"/>
              <a:gd name="connsiteY247" fmla="*/ 2946 h 10000"/>
              <a:gd name="connsiteX248" fmla="*/ 9900 w 10000"/>
              <a:gd name="connsiteY248" fmla="*/ 2946 h 10000"/>
              <a:gd name="connsiteX249" fmla="*/ 9849 w 10000"/>
              <a:gd name="connsiteY249" fmla="*/ 2868 h 10000"/>
              <a:gd name="connsiteX250" fmla="*/ 9849 w 10000"/>
              <a:gd name="connsiteY250" fmla="*/ 2636 h 10000"/>
              <a:gd name="connsiteX251" fmla="*/ 9494 w 10000"/>
              <a:gd name="connsiteY251" fmla="*/ 2480 h 10000"/>
              <a:gd name="connsiteX252" fmla="*/ 9089 w 10000"/>
              <a:gd name="connsiteY252" fmla="*/ 2325 h 10000"/>
              <a:gd name="connsiteX253" fmla="*/ 8986 w 10000"/>
              <a:gd name="connsiteY253" fmla="*/ 2636 h 10000"/>
              <a:gd name="connsiteX254" fmla="*/ 9089 w 10000"/>
              <a:gd name="connsiteY254" fmla="*/ 2868 h 10000"/>
              <a:gd name="connsiteX255" fmla="*/ 8782 w 10000"/>
              <a:gd name="connsiteY255" fmla="*/ 2868 h 10000"/>
              <a:gd name="connsiteX256" fmla="*/ 8732 w 10000"/>
              <a:gd name="connsiteY256" fmla="*/ 2868 h 10000"/>
              <a:gd name="connsiteX257" fmla="*/ 8629 w 10000"/>
              <a:gd name="connsiteY257" fmla="*/ 2946 h 10000"/>
              <a:gd name="connsiteX258" fmla="*/ 8478 w 10000"/>
              <a:gd name="connsiteY258" fmla="*/ 2714 h 10000"/>
              <a:gd name="connsiteX259" fmla="*/ 8373 w 10000"/>
              <a:gd name="connsiteY259" fmla="*/ 3178 h 10000"/>
              <a:gd name="connsiteX260" fmla="*/ 8278 w 10000"/>
              <a:gd name="connsiteY260" fmla="*/ 3101 h 10000"/>
              <a:gd name="connsiteX261" fmla="*/ 8173 w 10000"/>
              <a:gd name="connsiteY261" fmla="*/ 2791 h 10000"/>
              <a:gd name="connsiteX262" fmla="*/ 8226 w 10000"/>
              <a:gd name="connsiteY262" fmla="*/ 2403 h 10000"/>
              <a:gd name="connsiteX263" fmla="*/ 8122 w 10000"/>
              <a:gd name="connsiteY263" fmla="*/ 2170 h 10000"/>
              <a:gd name="connsiteX264" fmla="*/ 7819 w 10000"/>
              <a:gd name="connsiteY264" fmla="*/ 2016 h 10000"/>
              <a:gd name="connsiteX265" fmla="*/ 7713 w 10000"/>
              <a:gd name="connsiteY265" fmla="*/ 2016 h 10000"/>
              <a:gd name="connsiteX266" fmla="*/ 7666 w 10000"/>
              <a:gd name="connsiteY266" fmla="*/ 2170 h 10000"/>
              <a:gd name="connsiteX267" fmla="*/ 7713 w 10000"/>
              <a:gd name="connsiteY267" fmla="*/ 2325 h 10000"/>
              <a:gd name="connsiteX268" fmla="*/ 7313 w 10000"/>
              <a:gd name="connsiteY268" fmla="*/ 2248 h 10000"/>
              <a:gd name="connsiteX269" fmla="*/ 7361 w 10000"/>
              <a:gd name="connsiteY269" fmla="*/ 2016 h 10000"/>
              <a:gd name="connsiteX270" fmla="*/ 7107 w 10000"/>
              <a:gd name="connsiteY270" fmla="*/ 1938 h 10000"/>
              <a:gd name="connsiteX271" fmla="*/ 6955 w 10000"/>
              <a:gd name="connsiteY271" fmla="*/ 2093 h 10000"/>
              <a:gd name="connsiteX272" fmla="*/ 6659 w 10000"/>
              <a:gd name="connsiteY272" fmla="*/ 1861 h 10000"/>
              <a:gd name="connsiteX0" fmla="*/ 6659 w 10000"/>
              <a:gd name="connsiteY0" fmla="*/ 1861 h 10000"/>
              <a:gd name="connsiteX1" fmla="*/ 6659 w 10000"/>
              <a:gd name="connsiteY1" fmla="*/ 1861 h 10000"/>
              <a:gd name="connsiteX2" fmla="*/ 6599 w 10000"/>
              <a:gd name="connsiteY2" fmla="*/ 1938 h 10000"/>
              <a:gd name="connsiteX3" fmla="*/ 6659 w 10000"/>
              <a:gd name="connsiteY3" fmla="*/ 2093 h 10000"/>
              <a:gd name="connsiteX4" fmla="*/ 6446 w 10000"/>
              <a:gd name="connsiteY4" fmla="*/ 2248 h 10000"/>
              <a:gd name="connsiteX5" fmla="*/ 6394 w 10000"/>
              <a:gd name="connsiteY5" fmla="*/ 2248 h 10000"/>
              <a:gd name="connsiteX6" fmla="*/ 6446 w 10000"/>
              <a:gd name="connsiteY6" fmla="*/ 2016 h 10000"/>
              <a:gd name="connsiteX7" fmla="*/ 6955 w 10000"/>
              <a:gd name="connsiteY7" fmla="*/ 1318 h 10000"/>
              <a:gd name="connsiteX8" fmla="*/ 6955 w 10000"/>
              <a:gd name="connsiteY8" fmla="*/ 853 h 10000"/>
              <a:gd name="connsiteX9" fmla="*/ 6754 w 10000"/>
              <a:gd name="connsiteY9" fmla="*/ 543 h 10000"/>
              <a:gd name="connsiteX10" fmla="*/ 6498 w 10000"/>
              <a:gd name="connsiteY10" fmla="*/ 543 h 10000"/>
              <a:gd name="connsiteX11" fmla="*/ 6498 w 10000"/>
              <a:gd name="connsiteY11" fmla="*/ 698 h 10000"/>
              <a:gd name="connsiteX12" fmla="*/ 6344 w 10000"/>
              <a:gd name="connsiteY12" fmla="*/ 698 h 10000"/>
              <a:gd name="connsiteX13" fmla="*/ 6446 w 10000"/>
              <a:gd name="connsiteY13" fmla="*/ 387 h 10000"/>
              <a:gd name="connsiteX14" fmla="*/ 6195 w 10000"/>
              <a:gd name="connsiteY14" fmla="*/ 310 h 10000"/>
              <a:gd name="connsiteX15" fmla="*/ 6344 w 10000"/>
              <a:gd name="connsiteY15" fmla="*/ 155 h 10000"/>
              <a:gd name="connsiteX16" fmla="*/ 6195 w 10000"/>
              <a:gd name="connsiteY16" fmla="*/ 0 h 10000"/>
              <a:gd name="connsiteX17" fmla="*/ 5941 w 10000"/>
              <a:gd name="connsiteY17" fmla="*/ 387 h 10000"/>
              <a:gd name="connsiteX18" fmla="*/ 5941 w 10000"/>
              <a:gd name="connsiteY18" fmla="*/ 698 h 10000"/>
              <a:gd name="connsiteX19" fmla="*/ 5786 w 10000"/>
              <a:gd name="connsiteY19" fmla="*/ 698 h 10000"/>
              <a:gd name="connsiteX20" fmla="*/ 5331 w 10000"/>
              <a:gd name="connsiteY20" fmla="*/ 853 h 10000"/>
              <a:gd name="connsiteX21" fmla="*/ 4923 w 10000"/>
              <a:gd name="connsiteY21" fmla="*/ 1240 h 10000"/>
              <a:gd name="connsiteX22" fmla="*/ 4771 w 10000"/>
              <a:gd name="connsiteY22" fmla="*/ 1551 h 10000"/>
              <a:gd name="connsiteX23" fmla="*/ 4824 w 10000"/>
              <a:gd name="connsiteY23" fmla="*/ 1938 h 10000"/>
              <a:gd name="connsiteX24" fmla="*/ 4264 w 10000"/>
              <a:gd name="connsiteY24" fmla="*/ 2093 h 10000"/>
              <a:gd name="connsiteX25" fmla="*/ 4317 w 10000"/>
              <a:gd name="connsiteY25" fmla="*/ 2559 h 10000"/>
              <a:gd name="connsiteX26" fmla="*/ 4469 w 10000"/>
              <a:gd name="connsiteY26" fmla="*/ 2791 h 10000"/>
              <a:gd name="connsiteX27" fmla="*/ 4367 w 10000"/>
              <a:gd name="connsiteY27" fmla="*/ 2868 h 10000"/>
              <a:gd name="connsiteX28" fmla="*/ 4215 w 10000"/>
              <a:gd name="connsiteY28" fmla="*/ 2559 h 10000"/>
              <a:gd name="connsiteX29" fmla="*/ 4065 w 10000"/>
              <a:gd name="connsiteY29" fmla="*/ 2480 h 10000"/>
              <a:gd name="connsiteX30" fmla="*/ 4009 w 10000"/>
              <a:gd name="connsiteY30" fmla="*/ 2559 h 10000"/>
              <a:gd name="connsiteX31" fmla="*/ 3907 w 10000"/>
              <a:gd name="connsiteY31" fmla="*/ 2403 h 10000"/>
              <a:gd name="connsiteX32" fmla="*/ 3807 w 10000"/>
              <a:gd name="connsiteY32" fmla="*/ 2248 h 10000"/>
              <a:gd name="connsiteX33" fmla="*/ 3807 w 10000"/>
              <a:gd name="connsiteY33" fmla="*/ 2325 h 10000"/>
              <a:gd name="connsiteX34" fmla="*/ 3862 w 10000"/>
              <a:gd name="connsiteY34" fmla="*/ 2559 h 10000"/>
              <a:gd name="connsiteX35" fmla="*/ 3705 w 10000"/>
              <a:gd name="connsiteY35" fmla="*/ 2946 h 10000"/>
              <a:gd name="connsiteX36" fmla="*/ 3807 w 10000"/>
              <a:gd name="connsiteY36" fmla="*/ 3256 h 10000"/>
              <a:gd name="connsiteX37" fmla="*/ 3755 w 10000"/>
              <a:gd name="connsiteY37" fmla="*/ 3566 h 10000"/>
              <a:gd name="connsiteX38" fmla="*/ 3755 w 10000"/>
              <a:gd name="connsiteY38" fmla="*/ 3799 h 10000"/>
              <a:gd name="connsiteX39" fmla="*/ 3907 w 10000"/>
              <a:gd name="connsiteY39" fmla="*/ 3799 h 10000"/>
              <a:gd name="connsiteX40" fmla="*/ 3807 w 10000"/>
              <a:gd name="connsiteY40" fmla="*/ 3876 h 10000"/>
              <a:gd name="connsiteX41" fmla="*/ 3862 w 10000"/>
              <a:gd name="connsiteY41" fmla="*/ 4263 h 10000"/>
              <a:gd name="connsiteX42" fmla="*/ 3555 w 10000"/>
              <a:gd name="connsiteY42" fmla="*/ 4652 h 10000"/>
              <a:gd name="connsiteX43" fmla="*/ 3500 w 10000"/>
              <a:gd name="connsiteY43" fmla="*/ 4574 h 10000"/>
              <a:gd name="connsiteX44" fmla="*/ 3705 w 10000"/>
              <a:gd name="connsiteY44" fmla="*/ 4186 h 10000"/>
              <a:gd name="connsiteX45" fmla="*/ 3755 w 10000"/>
              <a:gd name="connsiteY45" fmla="*/ 3954 h 10000"/>
              <a:gd name="connsiteX46" fmla="*/ 3649 w 10000"/>
              <a:gd name="connsiteY46" fmla="*/ 3799 h 10000"/>
              <a:gd name="connsiteX47" fmla="*/ 3649 w 10000"/>
              <a:gd name="connsiteY47" fmla="*/ 3023 h 10000"/>
              <a:gd name="connsiteX48" fmla="*/ 3604 w 10000"/>
              <a:gd name="connsiteY48" fmla="*/ 2868 h 10000"/>
              <a:gd name="connsiteX49" fmla="*/ 3649 w 10000"/>
              <a:gd name="connsiteY49" fmla="*/ 2403 h 10000"/>
              <a:gd name="connsiteX50" fmla="*/ 3555 w 10000"/>
              <a:gd name="connsiteY50" fmla="*/ 2325 h 10000"/>
              <a:gd name="connsiteX51" fmla="*/ 3604 w 10000"/>
              <a:gd name="connsiteY51" fmla="*/ 2248 h 10000"/>
              <a:gd name="connsiteX52" fmla="*/ 3555 w 10000"/>
              <a:gd name="connsiteY52" fmla="*/ 2093 h 10000"/>
              <a:gd name="connsiteX53" fmla="*/ 3448 w 10000"/>
              <a:gd name="connsiteY53" fmla="*/ 2170 h 10000"/>
              <a:gd name="connsiteX54" fmla="*/ 3197 w 10000"/>
              <a:gd name="connsiteY54" fmla="*/ 3178 h 10000"/>
              <a:gd name="connsiteX55" fmla="*/ 3197 w 10000"/>
              <a:gd name="connsiteY55" fmla="*/ 3566 h 10000"/>
              <a:gd name="connsiteX56" fmla="*/ 3351 w 10000"/>
              <a:gd name="connsiteY56" fmla="*/ 3876 h 10000"/>
              <a:gd name="connsiteX57" fmla="*/ 3351 w 10000"/>
              <a:gd name="connsiteY57" fmla="*/ 4031 h 10000"/>
              <a:gd name="connsiteX58" fmla="*/ 3197 w 10000"/>
              <a:gd name="connsiteY58" fmla="*/ 3876 h 10000"/>
              <a:gd name="connsiteX59" fmla="*/ 2591 w 10000"/>
              <a:gd name="connsiteY59" fmla="*/ 3256 h 10000"/>
              <a:gd name="connsiteX60" fmla="*/ 2540 w 10000"/>
              <a:gd name="connsiteY60" fmla="*/ 3411 h 10000"/>
              <a:gd name="connsiteX61" fmla="*/ 2742 w 10000"/>
              <a:gd name="connsiteY61" fmla="*/ 3799 h 10000"/>
              <a:gd name="connsiteX62" fmla="*/ 2637 w 10000"/>
              <a:gd name="connsiteY62" fmla="*/ 3876 h 10000"/>
              <a:gd name="connsiteX63" fmla="*/ 2591 w 10000"/>
              <a:gd name="connsiteY63" fmla="*/ 3799 h 10000"/>
              <a:gd name="connsiteX64" fmla="*/ 2287 w 10000"/>
              <a:gd name="connsiteY64" fmla="*/ 3954 h 10000"/>
              <a:gd name="connsiteX65" fmla="*/ 2235 w 10000"/>
              <a:gd name="connsiteY65" fmla="*/ 4109 h 10000"/>
              <a:gd name="connsiteX66" fmla="*/ 2183 w 10000"/>
              <a:gd name="connsiteY66" fmla="*/ 3954 h 10000"/>
              <a:gd name="connsiteX67" fmla="*/ 2183 w 10000"/>
              <a:gd name="connsiteY67" fmla="*/ 3799 h 10000"/>
              <a:gd name="connsiteX68" fmla="*/ 1673 w 10000"/>
              <a:gd name="connsiteY68" fmla="*/ 4263 h 10000"/>
              <a:gd name="connsiteX69" fmla="*/ 1673 w 10000"/>
              <a:gd name="connsiteY69" fmla="*/ 4418 h 10000"/>
              <a:gd name="connsiteX70" fmla="*/ 1574 w 10000"/>
              <a:gd name="connsiteY70" fmla="*/ 4496 h 10000"/>
              <a:gd name="connsiteX71" fmla="*/ 1421 w 10000"/>
              <a:gd name="connsiteY71" fmla="*/ 4341 h 10000"/>
              <a:gd name="connsiteX72" fmla="*/ 1574 w 10000"/>
              <a:gd name="connsiteY72" fmla="*/ 4186 h 10000"/>
              <a:gd name="connsiteX73" fmla="*/ 1523 w 10000"/>
              <a:gd name="connsiteY73" fmla="*/ 3954 h 10000"/>
              <a:gd name="connsiteX74" fmla="*/ 1321 w 10000"/>
              <a:gd name="connsiteY74" fmla="*/ 3876 h 10000"/>
              <a:gd name="connsiteX75" fmla="*/ 1371 w 10000"/>
              <a:gd name="connsiteY75" fmla="*/ 4031 h 10000"/>
              <a:gd name="connsiteX76" fmla="*/ 1371 w 10000"/>
              <a:gd name="connsiteY76" fmla="*/ 4418 h 10000"/>
              <a:gd name="connsiteX77" fmla="*/ 1421 w 10000"/>
              <a:gd name="connsiteY77" fmla="*/ 4574 h 10000"/>
              <a:gd name="connsiteX78" fmla="*/ 1371 w 10000"/>
              <a:gd name="connsiteY78" fmla="*/ 4729 h 10000"/>
              <a:gd name="connsiteX79" fmla="*/ 1217 w 10000"/>
              <a:gd name="connsiteY79" fmla="*/ 4652 h 10000"/>
              <a:gd name="connsiteX80" fmla="*/ 1016 w 10000"/>
              <a:gd name="connsiteY80" fmla="*/ 4884 h 10000"/>
              <a:gd name="connsiteX81" fmla="*/ 1114 w 10000"/>
              <a:gd name="connsiteY81" fmla="*/ 5194 h 10000"/>
              <a:gd name="connsiteX82" fmla="*/ 811 w 10000"/>
              <a:gd name="connsiteY82" fmla="*/ 5039 h 10000"/>
              <a:gd name="connsiteX83" fmla="*/ 762 w 10000"/>
              <a:gd name="connsiteY83" fmla="*/ 5116 h 10000"/>
              <a:gd name="connsiteX84" fmla="*/ 864 w 10000"/>
              <a:gd name="connsiteY84" fmla="*/ 5349 h 10000"/>
              <a:gd name="connsiteX85" fmla="*/ 762 w 10000"/>
              <a:gd name="connsiteY85" fmla="*/ 5349 h 10000"/>
              <a:gd name="connsiteX86" fmla="*/ 611 w 10000"/>
              <a:gd name="connsiteY86" fmla="*/ 5194 h 10000"/>
              <a:gd name="connsiteX87" fmla="*/ 611 w 10000"/>
              <a:gd name="connsiteY87" fmla="*/ 4729 h 10000"/>
              <a:gd name="connsiteX88" fmla="*/ 460 w 10000"/>
              <a:gd name="connsiteY88" fmla="*/ 4574 h 10000"/>
              <a:gd name="connsiteX89" fmla="*/ 406 w 10000"/>
              <a:gd name="connsiteY89" fmla="*/ 4418 h 10000"/>
              <a:gd name="connsiteX90" fmla="*/ 507 w 10000"/>
              <a:gd name="connsiteY90" fmla="*/ 4496 h 10000"/>
              <a:gd name="connsiteX91" fmla="*/ 912 w 10000"/>
              <a:gd name="connsiteY91" fmla="*/ 4729 h 10000"/>
              <a:gd name="connsiteX92" fmla="*/ 1163 w 10000"/>
              <a:gd name="connsiteY92" fmla="*/ 4496 h 10000"/>
              <a:gd name="connsiteX93" fmla="*/ 1114 w 10000"/>
              <a:gd name="connsiteY93" fmla="*/ 4263 h 10000"/>
              <a:gd name="connsiteX94" fmla="*/ 811 w 10000"/>
              <a:gd name="connsiteY94" fmla="*/ 3799 h 10000"/>
              <a:gd name="connsiteX95" fmla="*/ 507 w 10000"/>
              <a:gd name="connsiteY95" fmla="*/ 3644 h 10000"/>
              <a:gd name="connsiteX96" fmla="*/ 507 w 10000"/>
              <a:gd name="connsiteY96" fmla="*/ 3566 h 10000"/>
              <a:gd name="connsiteX97" fmla="*/ 406 w 10000"/>
              <a:gd name="connsiteY97" fmla="*/ 3488 h 10000"/>
              <a:gd name="connsiteX98" fmla="*/ 301 w 10000"/>
              <a:gd name="connsiteY98" fmla="*/ 3566 h 10000"/>
              <a:gd name="connsiteX99" fmla="*/ 301 w 10000"/>
              <a:gd name="connsiteY99" fmla="*/ 3644 h 10000"/>
              <a:gd name="connsiteX100" fmla="*/ 253 w 10000"/>
              <a:gd name="connsiteY100" fmla="*/ 3644 h 10000"/>
              <a:gd name="connsiteX101" fmla="*/ 152 w 10000"/>
              <a:gd name="connsiteY101" fmla="*/ 3799 h 10000"/>
              <a:gd name="connsiteX102" fmla="*/ 152 w 10000"/>
              <a:gd name="connsiteY102" fmla="*/ 4031 h 10000"/>
              <a:gd name="connsiteX103" fmla="*/ 253 w 10000"/>
              <a:gd name="connsiteY103" fmla="*/ 4186 h 10000"/>
              <a:gd name="connsiteX104" fmla="*/ 204 w 10000"/>
              <a:gd name="connsiteY104" fmla="*/ 4418 h 10000"/>
              <a:gd name="connsiteX105" fmla="*/ 253 w 10000"/>
              <a:gd name="connsiteY105" fmla="*/ 4807 h 10000"/>
              <a:gd name="connsiteX106" fmla="*/ 204 w 10000"/>
              <a:gd name="connsiteY106" fmla="*/ 5039 h 10000"/>
              <a:gd name="connsiteX107" fmla="*/ 301 w 10000"/>
              <a:gd name="connsiteY107" fmla="*/ 5271 h 10000"/>
              <a:gd name="connsiteX108" fmla="*/ 253 w 10000"/>
              <a:gd name="connsiteY108" fmla="*/ 5426 h 10000"/>
              <a:gd name="connsiteX109" fmla="*/ 353 w 10000"/>
              <a:gd name="connsiteY109" fmla="*/ 5582 h 10000"/>
              <a:gd name="connsiteX110" fmla="*/ 353 w 10000"/>
              <a:gd name="connsiteY110" fmla="*/ 5659 h 10000"/>
              <a:gd name="connsiteX111" fmla="*/ 204 w 10000"/>
              <a:gd name="connsiteY111" fmla="*/ 6047 h 10000"/>
              <a:gd name="connsiteX112" fmla="*/ 47 w 10000"/>
              <a:gd name="connsiteY112" fmla="*/ 6202 h 10000"/>
              <a:gd name="connsiteX113" fmla="*/ 99 w 10000"/>
              <a:gd name="connsiteY113" fmla="*/ 6202 h 10000"/>
              <a:gd name="connsiteX114" fmla="*/ 204 w 10000"/>
              <a:gd name="connsiteY114" fmla="*/ 6356 h 10000"/>
              <a:gd name="connsiteX115" fmla="*/ 99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99 w 10000"/>
              <a:gd name="connsiteY122" fmla="*/ 7209 h 10000"/>
              <a:gd name="connsiteX123" fmla="*/ 253 w 10000"/>
              <a:gd name="connsiteY123" fmla="*/ 7287 h 10000"/>
              <a:gd name="connsiteX124" fmla="*/ 301 w 10000"/>
              <a:gd name="connsiteY124" fmla="*/ 7364 h 10000"/>
              <a:gd name="connsiteX125" fmla="*/ 301 w 10000"/>
              <a:gd name="connsiteY125" fmla="*/ 7520 h 10000"/>
              <a:gd name="connsiteX126" fmla="*/ 406 w 10000"/>
              <a:gd name="connsiteY126" fmla="*/ 7752 h 10000"/>
              <a:gd name="connsiteX127" fmla="*/ 460 w 10000"/>
              <a:gd name="connsiteY127" fmla="*/ 7752 h 10000"/>
              <a:gd name="connsiteX128" fmla="*/ 406 w 10000"/>
              <a:gd name="connsiteY128" fmla="*/ 7907 h 10000"/>
              <a:gd name="connsiteX129" fmla="*/ 353 w 10000"/>
              <a:gd name="connsiteY129" fmla="*/ 7830 h 10000"/>
              <a:gd name="connsiteX130" fmla="*/ 353 w 10000"/>
              <a:gd name="connsiteY130" fmla="*/ 7907 h 10000"/>
              <a:gd name="connsiteX131" fmla="*/ 406 w 10000"/>
              <a:gd name="connsiteY131" fmla="*/ 8062 h 10000"/>
              <a:gd name="connsiteX132" fmla="*/ 560 w 10000"/>
              <a:gd name="connsiteY132" fmla="*/ 8062 h 10000"/>
              <a:gd name="connsiteX133" fmla="*/ 611 w 10000"/>
              <a:gd name="connsiteY133" fmla="*/ 8140 h 10000"/>
              <a:gd name="connsiteX134" fmla="*/ 560 w 10000"/>
              <a:gd name="connsiteY134" fmla="*/ 8140 h 10000"/>
              <a:gd name="connsiteX135" fmla="*/ 611 w 10000"/>
              <a:gd name="connsiteY135" fmla="*/ 8217 h 10000"/>
              <a:gd name="connsiteX136" fmla="*/ 659 w 10000"/>
              <a:gd name="connsiteY136" fmla="*/ 8217 h 10000"/>
              <a:gd name="connsiteX137" fmla="*/ 710 w 10000"/>
              <a:gd name="connsiteY137" fmla="*/ 8372 h 10000"/>
              <a:gd name="connsiteX138" fmla="*/ 762 w 10000"/>
              <a:gd name="connsiteY138" fmla="*/ 8449 h 10000"/>
              <a:gd name="connsiteX139" fmla="*/ 811 w 10000"/>
              <a:gd name="connsiteY139" fmla="*/ 8372 h 10000"/>
              <a:gd name="connsiteX140" fmla="*/ 1067 w 10000"/>
              <a:gd name="connsiteY140" fmla="*/ 8605 h 10000"/>
              <a:gd name="connsiteX141" fmla="*/ 1016 w 10000"/>
              <a:gd name="connsiteY141" fmla="*/ 8915 h 10000"/>
              <a:gd name="connsiteX142" fmla="*/ 964 w 10000"/>
              <a:gd name="connsiteY142" fmla="*/ 8838 h 10000"/>
              <a:gd name="connsiteX143" fmla="*/ 912 w 10000"/>
              <a:gd name="connsiteY143" fmla="*/ 8915 h 10000"/>
              <a:gd name="connsiteX144" fmla="*/ 912 w 10000"/>
              <a:gd name="connsiteY144" fmla="*/ 9070 h 10000"/>
              <a:gd name="connsiteX145" fmla="*/ 964 w 10000"/>
              <a:gd name="connsiteY145" fmla="*/ 8993 h 10000"/>
              <a:gd name="connsiteX146" fmla="*/ 1016 w 10000"/>
              <a:gd name="connsiteY146" fmla="*/ 9070 h 10000"/>
              <a:gd name="connsiteX147" fmla="*/ 864 w 10000"/>
              <a:gd name="connsiteY147" fmla="*/ 9147 h 10000"/>
              <a:gd name="connsiteX148" fmla="*/ 912 w 10000"/>
              <a:gd name="connsiteY148" fmla="*/ 9225 h 10000"/>
              <a:gd name="connsiteX149" fmla="*/ 811 w 10000"/>
              <a:gd name="connsiteY149" fmla="*/ 9380 h 10000"/>
              <a:gd name="connsiteX150" fmla="*/ 762 w 10000"/>
              <a:gd name="connsiteY150" fmla="*/ 9380 h 10000"/>
              <a:gd name="connsiteX151" fmla="*/ 811 w 10000"/>
              <a:gd name="connsiteY151" fmla="*/ 9380 h 10000"/>
              <a:gd name="connsiteX152" fmla="*/ 1016 w 10000"/>
              <a:gd name="connsiteY152" fmla="*/ 9691 h 10000"/>
              <a:gd name="connsiteX153" fmla="*/ 1270 w 10000"/>
              <a:gd name="connsiteY153" fmla="*/ 9691 h 10000"/>
              <a:gd name="connsiteX154" fmla="*/ 1371 w 10000"/>
              <a:gd name="connsiteY154" fmla="*/ 9768 h 10000"/>
              <a:gd name="connsiteX155" fmla="*/ 1472 w 10000"/>
              <a:gd name="connsiteY155" fmla="*/ 9768 h 10000"/>
              <a:gd name="connsiteX156" fmla="*/ 1574 w 10000"/>
              <a:gd name="connsiteY156" fmla="*/ 9923 h 10000"/>
              <a:gd name="connsiteX157" fmla="*/ 1624 w 10000"/>
              <a:gd name="connsiteY157" fmla="*/ 10000 h 10000"/>
              <a:gd name="connsiteX158" fmla="*/ 1673 w 10000"/>
              <a:gd name="connsiteY158" fmla="*/ 10000 h 10000"/>
              <a:gd name="connsiteX159" fmla="*/ 1728 w 10000"/>
              <a:gd name="connsiteY159" fmla="*/ 9923 h 10000"/>
              <a:gd name="connsiteX160" fmla="*/ 1624 w 10000"/>
              <a:gd name="connsiteY160" fmla="*/ 9768 h 10000"/>
              <a:gd name="connsiteX161" fmla="*/ 1624 w 10000"/>
              <a:gd name="connsiteY161" fmla="*/ 9613 h 10000"/>
              <a:gd name="connsiteX162" fmla="*/ 1574 w 10000"/>
              <a:gd name="connsiteY162" fmla="*/ 9457 h 10000"/>
              <a:gd name="connsiteX163" fmla="*/ 1673 w 10000"/>
              <a:gd name="connsiteY163" fmla="*/ 9225 h 10000"/>
              <a:gd name="connsiteX164" fmla="*/ 1728 w 10000"/>
              <a:gd name="connsiteY164" fmla="*/ 9302 h 10000"/>
              <a:gd name="connsiteX165" fmla="*/ 1776 w 10000"/>
              <a:gd name="connsiteY165" fmla="*/ 9225 h 10000"/>
              <a:gd name="connsiteX166" fmla="*/ 1776 w 10000"/>
              <a:gd name="connsiteY166" fmla="*/ 9147 h 10000"/>
              <a:gd name="connsiteX167" fmla="*/ 1728 w 10000"/>
              <a:gd name="connsiteY167" fmla="*/ 9147 h 10000"/>
              <a:gd name="connsiteX168" fmla="*/ 1776 w 10000"/>
              <a:gd name="connsiteY168" fmla="*/ 9070 h 10000"/>
              <a:gd name="connsiteX169" fmla="*/ 1728 w 10000"/>
              <a:gd name="connsiteY169" fmla="*/ 8915 h 10000"/>
              <a:gd name="connsiteX170" fmla="*/ 1624 w 10000"/>
              <a:gd name="connsiteY170" fmla="*/ 8915 h 10000"/>
              <a:gd name="connsiteX171" fmla="*/ 1574 w 10000"/>
              <a:gd name="connsiteY171" fmla="*/ 8760 h 10000"/>
              <a:gd name="connsiteX172" fmla="*/ 1624 w 10000"/>
              <a:gd name="connsiteY172" fmla="*/ 8372 h 10000"/>
              <a:gd name="connsiteX173" fmla="*/ 1728 w 10000"/>
              <a:gd name="connsiteY173" fmla="*/ 8528 h 10000"/>
              <a:gd name="connsiteX174" fmla="*/ 1776 w 10000"/>
              <a:gd name="connsiteY174" fmla="*/ 8528 h 10000"/>
              <a:gd name="connsiteX175" fmla="*/ 1728 w 10000"/>
              <a:gd name="connsiteY175" fmla="*/ 8372 h 10000"/>
              <a:gd name="connsiteX176" fmla="*/ 1879 w 10000"/>
              <a:gd name="connsiteY176" fmla="*/ 8140 h 10000"/>
              <a:gd name="connsiteX177" fmla="*/ 1982 w 10000"/>
              <a:gd name="connsiteY177" fmla="*/ 8217 h 10000"/>
              <a:gd name="connsiteX178" fmla="*/ 2030 w 10000"/>
              <a:gd name="connsiteY178" fmla="*/ 8140 h 10000"/>
              <a:gd name="connsiteX179" fmla="*/ 2132 w 10000"/>
              <a:gd name="connsiteY179" fmla="*/ 8217 h 10000"/>
              <a:gd name="connsiteX180" fmla="*/ 2287 w 10000"/>
              <a:gd name="connsiteY180" fmla="*/ 8372 h 10000"/>
              <a:gd name="connsiteX181" fmla="*/ 2384 w 10000"/>
              <a:gd name="connsiteY181" fmla="*/ 8295 h 10000"/>
              <a:gd name="connsiteX182" fmla="*/ 2489 w 10000"/>
              <a:gd name="connsiteY182" fmla="*/ 8295 h 10000"/>
              <a:gd name="connsiteX183" fmla="*/ 2540 w 10000"/>
              <a:gd name="connsiteY183" fmla="*/ 8372 h 10000"/>
              <a:gd name="connsiteX184" fmla="*/ 2742 w 10000"/>
              <a:gd name="connsiteY184" fmla="*/ 8372 h 10000"/>
              <a:gd name="connsiteX185" fmla="*/ 2790 w 10000"/>
              <a:gd name="connsiteY185" fmla="*/ 8217 h 10000"/>
              <a:gd name="connsiteX186" fmla="*/ 2637 w 10000"/>
              <a:gd name="connsiteY186" fmla="*/ 8140 h 10000"/>
              <a:gd name="connsiteX187" fmla="*/ 2742 w 10000"/>
              <a:gd name="connsiteY187" fmla="*/ 8062 h 10000"/>
              <a:gd name="connsiteX188" fmla="*/ 2689 w 10000"/>
              <a:gd name="connsiteY188" fmla="*/ 7985 h 10000"/>
              <a:gd name="connsiteX189" fmla="*/ 2742 w 10000"/>
              <a:gd name="connsiteY189" fmla="*/ 7907 h 10000"/>
              <a:gd name="connsiteX190" fmla="*/ 2742 w 10000"/>
              <a:gd name="connsiteY190" fmla="*/ 7675 h 10000"/>
              <a:gd name="connsiteX191" fmla="*/ 2841 w 10000"/>
              <a:gd name="connsiteY191" fmla="*/ 7752 h 10000"/>
              <a:gd name="connsiteX192" fmla="*/ 3301 w 10000"/>
              <a:gd name="connsiteY192" fmla="*/ 7520 h 10000"/>
              <a:gd name="connsiteX193" fmla="*/ 3301 w 10000"/>
              <a:gd name="connsiteY193" fmla="*/ 7442 h 10000"/>
              <a:gd name="connsiteX194" fmla="*/ 3351 w 10000"/>
              <a:gd name="connsiteY194" fmla="*/ 7442 h 10000"/>
              <a:gd name="connsiteX195" fmla="*/ 3500 w 10000"/>
              <a:gd name="connsiteY195" fmla="*/ 7442 h 10000"/>
              <a:gd name="connsiteX196" fmla="*/ 3555 w 10000"/>
              <a:gd name="connsiteY196" fmla="*/ 7598 h 10000"/>
              <a:gd name="connsiteX197" fmla="*/ 3555 w 10000"/>
              <a:gd name="connsiteY197" fmla="*/ 7675 h 10000"/>
              <a:gd name="connsiteX198" fmla="*/ 3604 w 10000"/>
              <a:gd name="connsiteY198" fmla="*/ 7675 h 10000"/>
              <a:gd name="connsiteX199" fmla="*/ 3705 w 10000"/>
              <a:gd name="connsiteY199" fmla="*/ 7752 h 10000"/>
              <a:gd name="connsiteX200" fmla="*/ 3705 w 10000"/>
              <a:gd name="connsiteY200" fmla="*/ 7830 h 10000"/>
              <a:gd name="connsiteX201" fmla="*/ 3807 w 10000"/>
              <a:gd name="connsiteY201" fmla="*/ 7830 h 10000"/>
              <a:gd name="connsiteX202" fmla="*/ 3907 w 10000"/>
              <a:gd name="connsiteY202" fmla="*/ 7675 h 10000"/>
              <a:gd name="connsiteX203" fmla="*/ 4009 w 10000"/>
              <a:gd name="connsiteY203" fmla="*/ 7598 h 10000"/>
              <a:gd name="connsiteX204" fmla="*/ 4065 w 10000"/>
              <a:gd name="connsiteY204" fmla="*/ 7830 h 10000"/>
              <a:gd name="connsiteX205" fmla="*/ 4264 w 10000"/>
              <a:gd name="connsiteY205" fmla="*/ 8372 h 10000"/>
              <a:gd name="connsiteX206" fmla="*/ 4317 w 10000"/>
              <a:gd name="connsiteY206" fmla="*/ 8217 h 10000"/>
              <a:gd name="connsiteX207" fmla="*/ 4367 w 10000"/>
              <a:gd name="connsiteY207" fmla="*/ 8372 h 10000"/>
              <a:gd name="connsiteX208" fmla="*/ 4518 w 10000"/>
              <a:gd name="connsiteY208" fmla="*/ 8295 h 10000"/>
              <a:gd name="connsiteX209" fmla="*/ 4673 w 10000"/>
              <a:gd name="connsiteY209" fmla="*/ 8528 h 10000"/>
              <a:gd name="connsiteX210" fmla="*/ 4771 w 10000"/>
              <a:gd name="connsiteY210" fmla="*/ 8605 h 10000"/>
              <a:gd name="connsiteX211" fmla="*/ 4771 w 10000"/>
              <a:gd name="connsiteY211" fmla="*/ 8528 h 10000"/>
              <a:gd name="connsiteX212" fmla="*/ 4824 w 10000"/>
              <a:gd name="connsiteY212" fmla="*/ 8683 h 10000"/>
              <a:gd name="connsiteX213" fmla="*/ 4771 w 10000"/>
              <a:gd name="connsiteY213" fmla="*/ 8760 h 10000"/>
              <a:gd name="connsiteX214" fmla="*/ 4875 w 10000"/>
              <a:gd name="connsiteY214" fmla="*/ 8683 h 10000"/>
              <a:gd name="connsiteX215" fmla="*/ 4923 w 10000"/>
              <a:gd name="connsiteY215" fmla="*/ 8605 h 10000"/>
              <a:gd name="connsiteX216" fmla="*/ 5177 w 10000"/>
              <a:gd name="connsiteY216" fmla="*/ 8372 h 10000"/>
              <a:gd name="connsiteX217" fmla="*/ 5381 w 10000"/>
              <a:gd name="connsiteY217" fmla="*/ 8449 h 10000"/>
              <a:gd name="connsiteX218" fmla="*/ 5482 w 10000"/>
              <a:gd name="connsiteY218" fmla="*/ 8528 h 10000"/>
              <a:gd name="connsiteX219" fmla="*/ 5683 w 10000"/>
              <a:gd name="connsiteY219" fmla="*/ 8528 h 10000"/>
              <a:gd name="connsiteX220" fmla="*/ 5683 w 10000"/>
              <a:gd name="connsiteY220" fmla="*/ 8372 h 10000"/>
              <a:gd name="connsiteX221" fmla="*/ 5683 w 10000"/>
              <a:gd name="connsiteY221" fmla="*/ 8217 h 10000"/>
              <a:gd name="connsiteX222" fmla="*/ 5786 w 10000"/>
              <a:gd name="connsiteY222" fmla="*/ 8140 h 10000"/>
              <a:gd name="connsiteX223" fmla="*/ 5988 w 10000"/>
              <a:gd name="connsiteY223" fmla="*/ 8217 h 10000"/>
              <a:gd name="connsiteX224" fmla="*/ 6091 w 10000"/>
              <a:gd name="connsiteY224" fmla="*/ 8449 h 10000"/>
              <a:gd name="connsiteX225" fmla="*/ 6142 w 10000"/>
              <a:gd name="connsiteY225" fmla="*/ 8449 h 10000"/>
              <a:gd name="connsiteX226" fmla="*/ 6244 w 10000"/>
              <a:gd name="connsiteY226" fmla="*/ 8372 h 10000"/>
              <a:gd name="connsiteX227" fmla="*/ 6552 w 10000"/>
              <a:gd name="connsiteY227" fmla="*/ 8605 h 10000"/>
              <a:gd name="connsiteX228" fmla="*/ 6702 w 10000"/>
              <a:gd name="connsiteY228" fmla="*/ 8683 h 10000"/>
              <a:gd name="connsiteX229" fmla="*/ 6904 w 10000"/>
              <a:gd name="connsiteY229" fmla="*/ 8605 h 10000"/>
              <a:gd name="connsiteX230" fmla="*/ 7005 w 10000"/>
              <a:gd name="connsiteY230" fmla="*/ 8449 h 10000"/>
              <a:gd name="connsiteX231" fmla="*/ 7158 w 10000"/>
              <a:gd name="connsiteY231" fmla="*/ 8528 h 10000"/>
              <a:gd name="connsiteX232" fmla="*/ 7258 w 10000"/>
              <a:gd name="connsiteY232" fmla="*/ 8605 h 10000"/>
              <a:gd name="connsiteX233" fmla="*/ 8986 w 10000"/>
              <a:gd name="connsiteY233" fmla="*/ 7675 h 10000"/>
              <a:gd name="connsiteX234" fmla="*/ 8886 w 10000"/>
              <a:gd name="connsiteY234" fmla="*/ 7675 h 10000"/>
              <a:gd name="connsiteX235" fmla="*/ 8835 w 10000"/>
              <a:gd name="connsiteY235" fmla="*/ 7675 h 10000"/>
              <a:gd name="connsiteX236" fmla="*/ 8782 w 10000"/>
              <a:gd name="connsiteY236" fmla="*/ 7598 h 10000"/>
              <a:gd name="connsiteX237" fmla="*/ 8684 w 10000"/>
              <a:gd name="connsiteY237" fmla="*/ 7598 h 10000"/>
              <a:gd name="connsiteX238" fmla="*/ 8684 w 10000"/>
              <a:gd name="connsiteY238" fmla="*/ 7520 h 10000"/>
              <a:gd name="connsiteX239" fmla="*/ 8835 w 10000"/>
              <a:gd name="connsiteY239" fmla="*/ 7287 h 10000"/>
              <a:gd name="connsiteX240" fmla="*/ 9297 w 10000"/>
              <a:gd name="connsiteY240" fmla="*/ 6590 h 10000"/>
              <a:gd name="connsiteX241" fmla="*/ 9494 w 10000"/>
              <a:gd name="connsiteY241" fmla="*/ 6512 h 10000"/>
              <a:gd name="connsiteX242" fmla="*/ 9543 w 10000"/>
              <a:gd name="connsiteY242" fmla="*/ 6590 h 10000"/>
              <a:gd name="connsiteX243" fmla="*/ 9596 w 10000"/>
              <a:gd name="connsiteY243" fmla="*/ 6512 h 10000"/>
              <a:gd name="connsiteX244" fmla="*/ 9745 w 10000"/>
              <a:gd name="connsiteY244" fmla="*/ 6590 h 10000"/>
              <a:gd name="connsiteX245" fmla="*/ 9801 w 10000"/>
              <a:gd name="connsiteY245" fmla="*/ 6434 h 10000"/>
              <a:gd name="connsiteX246" fmla="*/ 10000 w 10000"/>
              <a:gd name="connsiteY246" fmla="*/ 2946 h 10000"/>
              <a:gd name="connsiteX247" fmla="*/ 9900 w 10000"/>
              <a:gd name="connsiteY247" fmla="*/ 2946 h 10000"/>
              <a:gd name="connsiteX248" fmla="*/ 9849 w 10000"/>
              <a:gd name="connsiteY248" fmla="*/ 2868 h 10000"/>
              <a:gd name="connsiteX249" fmla="*/ 9849 w 10000"/>
              <a:gd name="connsiteY249" fmla="*/ 2636 h 10000"/>
              <a:gd name="connsiteX250" fmla="*/ 9494 w 10000"/>
              <a:gd name="connsiteY250" fmla="*/ 2480 h 10000"/>
              <a:gd name="connsiteX251" fmla="*/ 9089 w 10000"/>
              <a:gd name="connsiteY251" fmla="*/ 2325 h 10000"/>
              <a:gd name="connsiteX252" fmla="*/ 8986 w 10000"/>
              <a:gd name="connsiteY252" fmla="*/ 2636 h 10000"/>
              <a:gd name="connsiteX253" fmla="*/ 9089 w 10000"/>
              <a:gd name="connsiteY253" fmla="*/ 2868 h 10000"/>
              <a:gd name="connsiteX254" fmla="*/ 8782 w 10000"/>
              <a:gd name="connsiteY254" fmla="*/ 2868 h 10000"/>
              <a:gd name="connsiteX255" fmla="*/ 8732 w 10000"/>
              <a:gd name="connsiteY255" fmla="*/ 2868 h 10000"/>
              <a:gd name="connsiteX256" fmla="*/ 8629 w 10000"/>
              <a:gd name="connsiteY256" fmla="*/ 2946 h 10000"/>
              <a:gd name="connsiteX257" fmla="*/ 8478 w 10000"/>
              <a:gd name="connsiteY257" fmla="*/ 2714 h 10000"/>
              <a:gd name="connsiteX258" fmla="*/ 8373 w 10000"/>
              <a:gd name="connsiteY258" fmla="*/ 3178 h 10000"/>
              <a:gd name="connsiteX259" fmla="*/ 8278 w 10000"/>
              <a:gd name="connsiteY259" fmla="*/ 3101 h 10000"/>
              <a:gd name="connsiteX260" fmla="*/ 8173 w 10000"/>
              <a:gd name="connsiteY260" fmla="*/ 2791 h 10000"/>
              <a:gd name="connsiteX261" fmla="*/ 8226 w 10000"/>
              <a:gd name="connsiteY261" fmla="*/ 2403 h 10000"/>
              <a:gd name="connsiteX262" fmla="*/ 8122 w 10000"/>
              <a:gd name="connsiteY262" fmla="*/ 2170 h 10000"/>
              <a:gd name="connsiteX263" fmla="*/ 7819 w 10000"/>
              <a:gd name="connsiteY263" fmla="*/ 2016 h 10000"/>
              <a:gd name="connsiteX264" fmla="*/ 7713 w 10000"/>
              <a:gd name="connsiteY264" fmla="*/ 2016 h 10000"/>
              <a:gd name="connsiteX265" fmla="*/ 7666 w 10000"/>
              <a:gd name="connsiteY265" fmla="*/ 2170 h 10000"/>
              <a:gd name="connsiteX266" fmla="*/ 7713 w 10000"/>
              <a:gd name="connsiteY266" fmla="*/ 2325 h 10000"/>
              <a:gd name="connsiteX267" fmla="*/ 7313 w 10000"/>
              <a:gd name="connsiteY267" fmla="*/ 2248 h 10000"/>
              <a:gd name="connsiteX268" fmla="*/ 7361 w 10000"/>
              <a:gd name="connsiteY268" fmla="*/ 2016 h 10000"/>
              <a:gd name="connsiteX269" fmla="*/ 7107 w 10000"/>
              <a:gd name="connsiteY269" fmla="*/ 1938 h 10000"/>
              <a:gd name="connsiteX270" fmla="*/ 6955 w 10000"/>
              <a:gd name="connsiteY270" fmla="*/ 2093 h 10000"/>
              <a:gd name="connsiteX271" fmla="*/ 6659 w 10000"/>
              <a:gd name="connsiteY271" fmla="*/ 1861 h 10000"/>
              <a:gd name="connsiteX0" fmla="*/ 6659 w 9900"/>
              <a:gd name="connsiteY0" fmla="*/ 1861 h 10000"/>
              <a:gd name="connsiteX1" fmla="*/ 6659 w 9900"/>
              <a:gd name="connsiteY1" fmla="*/ 1861 h 10000"/>
              <a:gd name="connsiteX2" fmla="*/ 6599 w 9900"/>
              <a:gd name="connsiteY2" fmla="*/ 1938 h 10000"/>
              <a:gd name="connsiteX3" fmla="*/ 6659 w 9900"/>
              <a:gd name="connsiteY3" fmla="*/ 2093 h 10000"/>
              <a:gd name="connsiteX4" fmla="*/ 6446 w 9900"/>
              <a:gd name="connsiteY4" fmla="*/ 2248 h 10000"/>
              <a:gd name="connsiteX5" fmla="*/ 6394 w 9900"/>
              <a:gd name="connsiteY5" fmla="*/ 2248 h 10000"/>
              <a:gd name="connsiteX6" fmla="*/ 6446 w 9900"/>
              <a:gd name="connsiteY6" fmla="*/ 2016 h 10000"/>
              <a:gd name="connsiteX7" fmla="*/ 6955 w 9900"/>
              <a:gd name="connsiteY7" fmla="*/ 1318 h 10000"/>
              <a:gd name="connsiteX8" fmla="*/ 6955 w 9900"/>
              <a:gd name="connsiteY8" fmla="*/ 853 h 10000"/>
              <a:gd name="connsiteX9" fmla="*/ 6754 w 9900"/>
              <a:gd name="connsiteY9" fmla="*/ 543 h 10000"/>
              <a:gd name="connsiteX10" fmla="*/ 6498 w 9900"/>
              <a:gd name="connsiteY10" fmla="*/ 543 h 10000"/>
              <a:gd name="connsiteX11" fmla="*/ 6498 w 9900"/>
              <a:gd name="connsiteY11" fmla="*/ 698 h 10000"/>
              <a:gd name="connsiteX12" fmla="*/ 6344 w 9900"/>
              <a:gd name="connsiteY12" fmla="*/ 698 h 10000"/>
              <a:gd name="connsiteX13" fmla="*/ 6446 w 9900"/>
              <a:gd name="connsiteY13" fmla="*/ 387 h 10000"/>
              <a:gd name="connsiteX14" fmla="*/ 6195 w 9900"/>
              <a:gd name="connsiteY14" fmla="*/ 310 h 10000"/>
              <a:gd name="connsiteX15" fmla="*/ 6344 w 9900"/>
              <a:gd name="connsiteY15" fmla="*/ 155 h 10000"/>
              <a:gd name="connsiteX16" fmla="*/ 6195 w 9900"/>
              <a:gd name="connsiteY16" fmla="*/ 0 h 10000"/>
              <a:gd name="connsiteX17" fmla="*/ 5941 w 9900"/>
              <a:gd name="connsiteY17" fmla="*/ 387 h 10000"/>
              <a:gd name="connsiteX18" fmla="*/ 5941 w 9900"/>
              <a:gd name="connsiteY18" fmla="*/ 698 h 10000"/>
              <a:gd name="connsiteX19" fmla="*/ 5786 w 9900"/>
              <a:gd name="connsiteY19" fmla="*/ 698 h 10000"/>
              <a:gd name="connsiteX20" fmla="*/ 5331 w 9900"/>
              <a:gd name="connsiteY20" fmla="*/ 853 h 10000"/>
              <a:gd name="connsiteX21" fmla="*/ 4923 w 9900"/>
              <a:gd name="connsiteY21" fmla="*/ 1240 h 10000"/>
              <a:gd name="connsiteX22" fmla="*/ 4771 w 9900"/>
              <a:gd name="connsiteY22" fmla="*/ 1551 h 10000"/>
              <a:gd name="connsiteX23" fmla="*/ 4824 w 9900"/>
              <a:gd name="connsiteY23" fmla="*/ 1938 h 10000"/>
              <a:gd name="connsiteX24" fmla="*/ 4264 w 9900"/>
              <a:gd name="connsiteY24" fmla="*/ 2093 h 10000"/>
              <a:gd name="connsiteX25" fmla="*/ 4317 w 9900"/>
              <a:gd name="connsiteY25" fmla="*/ 2559 h 10000"/>
              <a:gd name="connsiteX26" fmla="*/ 4469 w 9900"/>
              <a:gd name="connsiteY26" fmla="*/ 2791 h 10000"/>
              <a:gd name="connsiteX27" fmla="*/ 4367 w 9900"/>
              <a:gd name="connsiteY27" fmla="*/ 2868 h 10000"/>
              <a:gd name="connsiteX28" fmla="*/ 4215 w 9900"/>
              <a:gd name="connsiteY28" fmla="*/ 2559 h 10000"/>
              <a:gd name="connsiteX29" fmla="*/ 4065 w 9900"/>
              <a:gd name="connsiteY29" fmla="*/ 2480 h 10000"/>
              <a:gd name="connsiteX30" fmla="*/ 4009 w 9900"/>
              <a:gd name="connsiteY30" fmla="*/ 2559 h 10000"/>
              <a:gd name="connsiteX31" fmla="*/ 3907 w 9900"/>
              <a:gd name="connsiteY31" fmla="*/ 2403 h 10000"/>
              <a:gd name="connsiteX32" fmla="*/ 3807 w 9900"/>
              <a:gd name="connsiteY32" fmla="*/ 2248 h 10000"/>
              <a:gd name="connsiteX33" fmla="*/ 3807 w 9900"/>
              <a:gd name="connsiteY33" fmla="*/ 2325 h 10000"/>
              <a:gd name="connsiteX34" fmla="*/ 3862 w 9900"/>
              <a:gd name="connsiteY34" fmla="*/ 2559 h 10000"/>
              <a:gd name="connsiteX35" fmla="*/ 3705 w 9900"/>
              <a:gd name="connsiteY35" fmla="*/ 2946 h 10000"/>
              <a:gd name="connsiteX36" fmla="*/ 3807 w 9900"/>
              <a:gd name="connsiteY36" fmla="*/ 3256 h 10000"/>
              <a:gd name="connsiteX37" fmla="*/ 3755 w 9900"/>
              <a:gd name="connsiteY37" fmla="*/ 3566 h 10000"/>
              <a:gd name="connsiteX38" fmla="*/ 3755 w 9900"/>
              <a:gd name="connsiteY38" fmla="*/ 3799 h 10000"/>
              <a:gd name="connsiteX39" fmla="*/ 3907 w 9900"/>
              <a:gd name="connsiteY39" fmla="*/ 3799 h 10000"/>
              <a:gd name="connsiteX40" fmla="*/ 3807 w 9900"/>
              <a:gd name="connsiteY40" fmla="*/ 3876 h 10000"/>
              <a:gd name="connsiteX41" fmla="*/ 3862 w 9900"/>
              <a:gd name="connsiteY41" fmla="*/ 4263 h 10000"/>
              <a:gd name="connsiteX42" fmla="*/ 3555 w 9900"/>
              <a:gd name="connsiteY42" fmla="*/ 4652 h 10000"/>
              <a:gd name="connsiteX43" fmla="*/ 3500 w 9900"/>
              <a:gd name="connsiteY43" fmla="*/ 4574 h 10000"/>
              <a:gd name="connsiteX44" fmla="*/ 3705 w 9900"/>
              <a:gd name="connsiteY44" fmla="*/ 4186 h 10000"/>
              <a:gd name="connsiteX45" fmla="*/ 3755 w 9900"/>
              <a:gd name="connsiteY45" fmla="*/ 3954 h 10000"/>
              <a:gd name="connsiteX46" fmla="*/ 3649 w 9900"/>
              <a:gd name="connsiteY46" fmla="*/ 3799 h 10000"/>
              <a:gd name="connsiteX47" fmla="*/ 3649 w 9900"/>
              <a:gd name="connsiteY47" fmla="*/ 3023 h 10000"/>
              <a:gd name="connsiteX48" fmla="*/ 3604 w 9900"/>
              <a:gd name="connsiteY48" fmla="*/ 2868 h 10000"/>
              <a:gd name="connsiteX49" fmla="*/ 3649 w 9900"/>
              <a:gd name="connsiteY49" fmla="*/ 2403 h 10000"/>
              <a:gd name="connsiteX50" fmla="*/ 3555 w 9900"/>
              <a:gd name="connsiteY50" fmla="*/ 2325 h 10000"/>
              <a:gd name="connsiteX51" fmla="*/ 3604 w 9900"/>
              <a:gd name="connsiteY51" fmla="*/ 2248 h 10000"/>
              <a:gd name="connsiteX52" fmla="*/ 3555 w 9900"/>
              <a:gd name="connsiteY52" fmla="*/ 2093 h 10000"/>
              <a:gd name="connsiteX53" fmla="*/ 3448 w 9900"/>
              <a:gd name="connsiteY53" fmla="*/ 2170 h 10000"/>
              <a:gd name="connsiteX54" fmla="*/ 3197 w 9900"/>
              <a:gd name="connsiteY54" fmla="*/ 3178 h 10000"/>
              <a:gd name="connsiteX55" fmla="*/ 3197 w 9900"/>
              <a:gd name="connsiteY55" fmla="*/ 3566 h 10000"/>
              <a:gd name="connsiteX56" fmla="*/ 3351 w 9900"/>
              <a:gd name="connsiteY56" fmla="*/ 3876 h 10000"/>
              <a:gd name="connsiteX57" fmla="*/ 3351 w 9900"/>
              <a:gd name="connsiteY57" fmla="*/ 4031 h 10000"/>
              <a:gd name="connsiteX58" fmla="*/ 3197 w 9900"/>
              <a:gd name="connsiteY58" fmla="*/ 3876 h 10000"/>
              <a:gd name="connsiteX59" fmla="*/ 2591 w 9900"/>
              <a:gd name="connsiteY59" fmla="*/ 3256 h 10000"/>
              <a:gd name="connsiteX60" fmla="*/ 2540 w 9900"/>
              <a:gd name="connsiteY60" fmla="*/ 3411 h 10000"/>
              <a:gd name="connsiteX61" fmla="*/ 2742 w 9900"/>
              <a:gd name="connsiteY61" fmla="*/ 3799 h 10000"/>
              <a:gd name="connsiteX62" fmla="*/ 2637 w 9900"/>
              <a:gd name="connsiteY62" fmla="*/ 3876 h 10000"/>
              <a:gd name="connsiteX63" fmla="*/ 2591 w 9900"/>
              <a:gd name="connsiteY63" fmla="*/ 3799 h 10000"/>
              <a:gd name="connsiteX64" fmla="*/ 2287 w 9900"/>
              <a:gd name="connsiteY64" fmla="*/ 3954 h 10000"/>
              <a:gd name="connsiteX65" fmla="*/ 2235 w 9900"/>
              <a:gd name="connsiteY65" fmla="*/ 4109 h 10000"/>
              <a:gd name="connsiteX66" fmla="*/ 2183 w 9900"/>
              <a:gd name="connsiteY66" fmla="*/ 3954 h 10000"/>
              <a:gd name="connsiteX67" fmla="*/ 2183 w 9900"/>
              <a:gd name="connsiteY67" fmla="*/ 3799 h 10000"/>
              <a:gd name="connsiteX68" fmla="*/ 1673 w 9900"/>
              <a:gd name="connsiteY68" fmla="*/ 4263 h 10000"/>
              <a:gd name="connsiteX69" fmla="*/ 1673 w 9900"/>
              <a:gd name="connsiteY69" fmla="*/ 4418 h 10000"/>
              <a:gd name="connsiteX70" fmla="*/ 1574 w 9900"/>
              <a:gd name="connsiteY70" fmla="*/ 4496 h 10000"/>
              <a:gd name="connsiteX71" fmla="*/ 1421 w 9900"/>
              <a:gd name="connsiteY71" fmla="*/ 4341 h 10000"/>
              <a:gd name="connsiteX72" fmla="*/ 1574 w 9900"/>
              <a:gd name="connsiteY72" fmla="*/ 4186 h 10000"/>
              <a:gd name="connsiteX73" fmla="*/ 1523 w 9900"/>
              <a:gd name="connsiteY73" fmla="*/ 3954 h 10000"/>
              <a:gd name="connsiteX74" fmla="*/ 1321 w 9900"/>
              <a:gd name="connsiteY74" fmla="*/ 3876 h 10000"/>
              <a:gd name="connsiteX75" fmla="*/ 1371 w 9900"/>
              <a:gd name="connsiteY75" fmla="*/ 4031 h 10000"/>
              <a:gd name="connsiteX76" fmla="*/ 1371 w 9900"/>
              <a:gd name="connsiteY76" fmla="*/ 4418 h 10000"/>
              <a:gd name="connsiteX77" fmla="*/ 1421 w 9900"/>
              <a:gd name="connsiteY77" fmla="*/ 4574 h 10000"/>
              <a:gd name="connsiteX78" fmla="*/ 1371 w 9900"/>
              <a:gd name="connsiteY78" fmla="*/ 4729 h 10000"/>
              <a:gd name="connsiteX79" fmla="*/ 1217 w 9900"/>
              <a:gd name="connsiteY79" fmla="*/ 4652 h 10000"/>
              <a:gd name="connsiteX80" fmla="*/ 1016 w 9900"/>
              <a:gd name="connsiteY80" fmla="*/ 4884 h 10000"/>
              <a:gd name="connsiteX81" fmla="*/ 1114 w 9900"/>
              <a:gd name="connsiteY81" fmla="*/ 5194 h 10000"/>
              <a:gd name="connsiteX82" fmla="*/ 811 w 9900"/>
              <a:gd name="connsiteY82" fmla="*/ 5039 h 10000"/>
              <a:gd name="connsiteX83" fmla="*/ 762 w 9900"/>
              <a:gd name="connsiteY83" fmla="*/ 5116 h 10000"/>
              <a:gd name="connsiteX84" fmla="*/ 864 w 9900"/>
              <a:gd name="connsiteY84" fmla="*/ 5349 h 10000"/>
              <a:gd name="connsiteX85" fmla="*/ 762 w 9900"/>
              <a:gd name="connsiteY85" fmla="*/ 5349 h 10000"/>
              <a:gd name="connsiteX86" fmla="*/ 611 w 9900"/>
              <a:gd name="connsiteY86" fmla="*/ 5194 h 10000"/>
              <a:gd name="connsiteX87" fmla="*/ 611 w 9900"/>
              <a:gd name="connsiteY87" fmla="*/ 4729 h 10000"/>
              <a:gd name="connsiteX88" fmla="*/ 460 w 9900"/>
              <a:gd name="connsiteY88" fmla="*/ 4574 h 10000"/>
              <a:gd name="connsiteX89" fmla="*/ 406 w 9900"/>
              <a:gd name="connsiteY89" fmla="*/ 4418 h 10000"/>
              <a:gd name="connsiteX90" fmla="*/ 507 w 9900"/>
              <a:gd name="connsiteY90" fmla="*/ 4496 h 10000"/>
              <a:gd name="connsiteX91" fmla="*/ 912 w 9900"/>
              <a:gd name="connsiteY91" fmla="*/ 4729 h 10000"/>
              <a:gd name="connsiteX92" fmla="*/ 1163 w 9900"/>
              <a:gd name="connsiteY92" fmla="*/ 4496 h 10000"/>
              <a:gd name="connsiteX93" fmla="*/ 1114 w 9900"/>
              <a:gd name="connsiteY93" fmla="*/ 4263 h 10000"/>
              <a:gd name="connsiteX94" fmla="*/ 811 w 9900"/>
              <a:gd name="connsiteY94" fmla="*/ 3799 h 10000"/>
              <a:gd name="connsiteX95" fmla="*/ 507 w 9900"/>
              <a:gd name="connsiteY95" fmla="*/ 3644 h 10000"/>
              <a:gd name="connsiteX96" fmla="*/ 507 w 9900"/>
              <a:gd name="connsiteY96" fmla="*/ 3566 h 10000"/>
              <a:gd name="connsiteX97" fmla="*/ 406 w 9900"/>
              <a:gd name="connsiteY97" fmla="*/ 3488 h 10000"/>
              <a:gd name="connsiteX98" fmla="*/ 301 w 9900"/>
              <a:gd name="connsiteY98" fmla="*/ 3566 h 10000"/>
              <a:gd name="connsiteX99" fmla="*/ 301 w 9900"/>
              <a:gd name="connsiteY99" fmla="*/ 3644 h 10000"/>
              <a:gd name="connsiteX100" fmla="*/ 253 w 9900"/>
              <a:gd name="connsiteY100" fmla="*/ 3644 h 10000"/>
              <a:gd name="connsiteX101" fmla="*/ 152 w 9900"/>
              <a:gd name="connsiteY101" fmla="*/ 3799 h 10000"/>
              <a:gd name="connsiteX102" fmla="*/ 152 w 9900"/>
              <a:gd name="connsiteY102" fmla="*/ 4031 h 10000"/>
              <a:gd name="connsiteX103" fmla="*/ 253 w 9900"/>
              <a:gd name="connsiteY103" fmla="*/ 4186 h 10000"/>
              <a:gd name="connsiteX104" fmla="*/ 204 w 9900"/>
              <a:gd name="connsiteY104" fmla="*/ 4418 h 10000"/>
              <a:gd name="connsiteX105" fmla="*/ 253 w 9900"/>
              <a:gd name="connsiteY105" fmla="*/ 4807 h 10000"/>
              <a:gd name="connsiteX106" fmla="*/ 204 w 9900"/>
              <a:gd name="connsiteY106" fmla="*/ 5039 h 10000"/>
              <a:gd name="connsiteX107" fmla="*/ 301 w 9900"/>
              <a:gd name="connsiteY107" fmla="*/ 5271 h 10000"/>
              <a:gd name="connsiteX108" fmla="*/ 253 w 9900"/>
              <a:gd name="connsiteY108" fmla="*/ 5426 h 10000"/>
              <a:gd name="connsiteX109" fmla="*/ 353 w 9900"/>
              <a:gd name="connsiteY109" fmla="*/ 5582 h 10000"/>
              <a:gd name="connsiteX110" fmla="*/ 353 w 9900"/>
              <a:gd name="connsiteY110" fmla="*/ 5659 h 10000"/>
              <a:gd name="connsiteX111" fmla="*/ 204 w 9900"/>
              <a:gd name="connsiteY111" fmla="*/ 6047 h 10000"/>
              <a:gd name="connsiteX112" fmla="*/ 47 w 9900"/>
              <a:gd name="connsiteY112" fmla="*/ 6202 h 10000"/>
              <a:gd name="connsiteX113" fmla="*/ 99 w 9900"/>
              <a:gd name="connsiteY113" fmla="*/ 6202 h 10000"/>
              <a:gd name="connsiteX114" fmla="*/ 204 w 9900"/>
              <a:gd name="connsiteY114" fmla="*/ 6356 h 10000"/>
              <a:gd name="connsiteX115" fmla="*/ 99 w 9900"/>
              <a:gd name="connsiteY115" fmla="*/ 6512 h 10000"/>
              <a:gd name="connsiteX116" fmla="*/ 47 w 9900"/>
              <a:gd name="connsiteY116" fmla="*/ 6590 h 10000"/>
              <a:gd name="connsiteX117" fmla="*/ 0 w 9900"/>
              <a:gd name="connsiteY117" fmla="*/ 6590 h 10000"/>
              <a:gd name="connsiteX118" fmla="*/ 47 w 9900"/>
              <a:gd name="connsiteY118" fmla="*/ 6822 h 10000"/>
              <a:gd name="connsiteX119" fmla="*/ 47 w 9900"/>
              <a:gd name="connsiteY119" fmla="*/ 6900 h 10000"/>
              <a:gd name="connsiteX120" fmla="*/ 47 w 9900"/>
              <a:gd name="connsiteY120" fmla="*/ 6977 h 10000"/>
              <a:gd name="connsiteX121" fmla="*/ 47 w 9900"/>
              <a:gd name="connsiteY121" fmla="*/ 7054 h 10000"/>
              <a:gd name="connsiteX122" fmla="*/ 99 w 9900"/>
              <a:gd name="connsiteY122" fmla="*/ 7209 h 10000"/>
              <a:gd name="connsiteX123" fmla="*/ 253 w 9900"/>
              <a:gd name="connsiteY123" fmla="*/ 7287 h 10000"/>
              <a:gd name="connsiteX124" fmla="*/ 301 w 9900"/>
              <a:gd name="connsiteY124" fmla="*/ 7364 h 10000"/>
              <a:gd name="connsiteX125" fmla="*/ 301 w 9900"/>
              <a:gd name="connsiteY125" fmla="*/ 7520 h 10000"/>
              <a:gd name="connsiteX126" fmla="*/ 406 w 9900"/>
              <a:gd name="connsiteY126" fmla="*/ 7752 h 10000"/>
              <a:gd name="connsiteX127" fmla="*/ 460 w 9900"/>
              <a:gd name="connsiteY127" fmla="*/ 7752 h 10000"/>
              <a:gd name="connsiteX128" fmla="*/ 406 w 9900"/>
              <a:gd name="connsiteY128" fmla="*/ 7907 h 10000"/>
              <a:gd name="connsiteX129" fmla="*/ 353 w 9900"/>
              <a:gd name="connsiteY129" fmla="*/ 7830 h 10000"/>
              <a:gd name="connsiteX130" fmla="*/ 353 w 9900"/>
              <a:gd name="connsiteY130" fmla="*/ 7907 h 10000"/>
              <a:gd name="connsiteX131" fmla="*/ 406 w 9900"/>
              <a:gd name="connsiteY131" fmla="*/ 8062 h 10000"/>
              <a:gd name="connsiteX132" fmla="*/ 560 w 9900"/>
              <a:gd name="connsiteY132" fmla="*/ 8062 h 10000"/>
              <a:gd name="connsiteX133" fmla="*/ 611 w 9900"/>
              <a:gd name="connsiteY133" fmla="*/ 8140 h 10000"/>
              <a:gd name="connsiteX134" fmla="*/ 560 w 9900"/>
              <a:gd name="connsiteY134" fmla="*/ 8140 h 10000"/>
              <a:gd name="connsiteX135" fmla="*/ 611 w 9900"/>
              <a:gd name="connsiteY135" fmla="*/ 8217 h 10000"/>
              <a:gd name="connsiteX136" fmla="*/ 659 w 9900"/>
              <a:gd name="connsiteY136" fmla="*/ 8217 h 10000"/>
              <a:gd name="connsiteX137" fmla="*/ 710 w 9900"/>
              <a:gd name="connsiteY137" fmla="*/ 8372 h 10000"/>
              <a:gd name="connsiteX138" fmla="*/ 762 w 9900"/>
              <a:gd name="connsiteY138" fmla="*/ 8449 h 10000"/>
              <a:gd name="connsiteX139" fmla="*/ 811 w 9900"/>
              <a:gd name="connsiteY139" fmla="*/ 8372 h 10000"/>
              <a:gd name="connsiteX140" fmla="*/ 1067 w 9900"/>
              <a:gd name="connsiteY140" fmla="*/ 8605 h 10000"/>
              <a:gd name="connsiteX141" fmla="*/ 1016 w 9900"/>
              <a:gd name="connsiteY141" fmla="*/ 8915 h 10000"/>
              <a:gd name="connsiteX142" fmla="*/ 964 w 9900"/>
              <a:gd name="connsiteY142" fmla="*/ 8838 h 10000"/>
              <a:gd name="connsiteX143" fmla="*/ 912 w 9900"/>
              <a:gd name="connsiteY143" fmla="*/ 8915 h 10000"/>
              <a:gd name="connsiteX144" fmla="*/ 912 w 9900"/>
              <a:gd name="connsiteY144" fmla="*/ 9070 h 10000"/>
              <a:gd name="connsiteX145" fmla="*/ 964 w 9900"/>
              <a:gd name="connsiteY145" fmla="*/ 8993 h 10000"/>
              <a:gd name="connsiteX146" fmla="*/ 1016 w 9900"/>
              <a:gd name="connsiteY146" fmla="*/ 9070 h 10000"/>
              <a:gd name="connsiteX147" fmla="*/ 864 w 9900"/>
              <a:gd name="connsiteY147" fmla="*/ 9147 h 10000"/>
              <a:gd name="connsiteX148" fmla="*/ 912 w 9900"/>
              <a:gd name="connsiteY148" fmla="*/ 9225 h 10000"/>
              <a:gd name="connsiteX149" fmla="*/ 811 w 9900"/>
              <a:gd name="connsiteY149" fmla="*/ 9380 h 10000"/>
              <a:gd name="connsiteX150" fmla="*/ 762 w 9900"/>
              <a:gd name="connsiteY150" fmla="*/ 9380 h 10000"/>
              <a:gd name="connsiteX151" fmla="*/ 811 w 9900"/>
              <a:gd name="connsiteY151" fmla="*/ 9380 h 10000"/>
              <a:gd name="connsiteX152" fmla="*/ 1016 w 9900"/>
              <a:gd name="connsiteY152" fmla="*/ 9691 h 10000"/>
              <a:gd name="connsiteX153" fmla="*/ 1270 w 9900"/>
              <a:gd name="connsiteY153" fmla="*/ 9691 h 10000"/>
              <a:gd name="connsiteX154" fmla="*/ 1371 w 9900"/>
              <a:gd name="connsiteY154" fmla="*/ 9768 h 10000"/>
              <a:gd name="connsiteX155" fmla="*/ 1472 w 9900"/>
              <a:gd name="connsiteY155" fmla="*/ 9768 h 10000"/>
              <a:gd name="connsiteX156" fmla="*/ 1574 w 9900"/>
              <a:gd name="connsiteY156" fmla="*/ 9923 h 10000"/>
              <a:gd name="connsiteX157" fmla="*/ 1624 w 9900"/>
              <a:gd name="connsiteY157" fmla="*/ 10000 h 10000"/>
              <a:gd name="connsiteX158" fmla="*/ 1673 w 9900"/>
              <a:gd name="connsiteY158" fmla="*/ 10000 h 10000"/>
              <a:gd name="connsiteX159" fmla="*/ 1728 w 9900"/>
              <a:gd name="connsiteY159" fmla="*/ 9923 h 10000"/>
              <a:gd name="connsiteX160" fmla="*/ 1624 w 9900"/>
              <a:gd name="connsiteY160" fmla="*/ 9768 h 10000"/>
              <a:gd name="connsiteX161" fmla="*/ 1624 w 9900"/>
              <a:gd name="connsiteY161" fmla="*/ 9613 h 10000"/>
              <a:gd name="connsiteX162" fmla="*/ 1574 w 9900"/>
              <a:gd name="connsiteY162" fmla="*/ 9457 h 10000"/>
              <a:gd name="connsiteX163" fmla="*/ 1673 w 9900"/>
              <a:gd name="connsiteY163" fmla="*/ 9225 h 10000"/>
              <a:gd name="connsiteX164" fmla="*/ 1728 w 9900"/>
              <a:gd name="connsiteY164" fmla="*/ 9302 h 10000"/>
              <a:gd name="connsiteX165" fmla="*/ 1776 w 9900"/>
              <a:gd name="connsiteY165" fmla="*/ 9225 h 10000"/>
              <a:gd name="connsiteX166" fmla="*/ 1776 w 9900"/>
              <a:gd name="connsiteY166" fmla="*/ 9147 h 10000"/>
              <a:gd name="connsiteX167" fmla="*/ 1728 w 9900"/>
              <a:gd name="connsiteY167" fmla="*/ 9147 h 10000"/>
              <a:gd name="connsiteX168" fmla="*/ 1776 w 9900"/>
              <a:gd name="connsiteY168" fmla="*/ 9070 h 10000"/>
              <a:gd name="connsiteX169" fmla="*/ 1728 w 9900"/>
              <a:gd name="connsiteY169" fmla="*/ 8915 h 10000"/>
              <a:gd name="connsiteX170" fmla="*/ 1624 w 9900"/>
              <a:gd name="connsiteY170" fmla="*/ 8915 h 10000"/>
              <a:gd name="connsiteX171" fmla="*/ 1574 w 9900"/>
              <a:gd name="connsiteY171" fmla="*/ 8760 h 10000"/>
              <a:gd name="connsiteX172" fmla="*/ 1624 w 9900"/>
              <a:gd name="connsiteY172" fmla="*/ 8372 h 10000"/>
              <a:gd name="connsiteX173" fmla="*/ 1728 w 9900"/>
              <a:gd name="connsiteY173" fmla="*/ 8528 h 10000"/>
              <a:gd name="connsiteX174" fmla="*/ 1776 w 9900"/>
              <a:gd name="connsiteY174" fmla="*/ 8528 h 10000"/>
              <a:gd name="connsiteX175" fmla="*/ 1728 w 9900"/>
              <a:gd name="connsiteY175" fmla="*/ 8372 h 10000"/>
              <a:gd name="connsiteX176" fmla="*/ 1879 w 9900"/>
              <a:gd name="connsiteY176" fmla="*/ 8140 h 10000"/>
              <a:gd name="connsiteX177" fmla="*/ 1982 w 9900"/>
              <a:gd name="connsiteY177" fmla="*/ 8217 h 10000"/>
              <a:gd name="connsiteX178" fmla="*/ 2030 w 9900"/>
              <a:gd name="connsiteY178" fmla="*/ 8140 h 10000"/>
              <a:gd name="connsiteX179" fmla="*/ 2132 w 9900"/>
              <a:gd name="connsiteY179" fmla="*/ 8217 h 10000"/>
              <a:gd name="connsiteX180" fmla="*/ 2287 w 9900"/>
              <a:gd name="connsiteY180" fmla="*/ 8372 h 10000"/>
              <a:gd name="connsiteX181" fmla="*/ 2384 w 9900"/>
              <a:gd name="connsiteY181" fmla="*/ 8295 h 10000"/>
              <a:gd name="connsiteX182" fmla="*/ 2489 w 9900"/>
              <a:gd name="connsiteY182" fmla="*/ 8295 h 10000"/>
              <a:gd name="connsiteX183" fmla="*/ 2540 w 9900"/>
              <a:gd name="connsiteY183" fmla="*/ 8372 h 10000"/>
              <a:gd name="connsiteX184" fmla="*/ 2742 w 9900"/>
              <a:gd name="connsiteY184" fmla="*/ 8372 h 10000"/>
              <a:gd name="connsiteX185" fmla="*/ 2790 w 9900"/>
              <a:gd name="connsiteY185" fmla="*/ 8217 h 10000"/>
              <a:gd name="connsiteX186" fmla="*/ 2637 w 9900"/>
              <a:gd name="connsiteY186" fmla="*/ 8140 h 10000"/>
              <a:gd name="connsiteX187" fmla="*/ 2742 w 9900"/>
              <a:gd name="connsiteY187" fmla="*/ 8062 h 10000"/>
              <a:gd name="connsiteX188" fmla="*/ 2689 w 9900"/>
              <a:gd name="connsiteY188" fmla="*/ 7985 h 10000"/>
              <a:gd name="connsiteX189" fmla="*/ 2742 w 9900"/>
              <a:gd name="connsiteY189" fmla="*/ 7907 h 10000"/>
              <a:gd name="connsiteX190" fmla="*/ 2742 w 9900"/>
              <a:gd name="connsiteY190" fmla="*/ 7675 h 10000"/>
              <a:gd name="connsiteX191" fmla="*/ 2841 w 9900"/>
              <a:gd name="connsiteY191" fmla="*/ 7752 h 10000"/>
              <a:gd name="connsiteX192" fmla="*/ 3301 w 9900"/>
              <a:gd name="connsiteY192" fmla="*/ 7520 h 10000"/>
              <a:gd name="connsiteX193" fmla="*/ 3301 w 9900"/>
              <a:gd name="connsiteY193" fmla="*/ 7442 h 10000"/>
              <a:gd name="connsiteX194" fmla="*/ 3351 w 9900"/>
              <a:gd name="connsiteY194" fmla="*/ 7442 h 10000"/>
              <a:gd name="connsiteX195" fmla="*/ 3500 w 9900"/>
              <a:gd name="connsiteY195" fmla="*/ 7442 h 10000"/>
              <a:gd name="connsiteX196" fmla="*/ 3555 w 9900"/>
              <a:gd name="connsiteY196" fmla="*/ 7598 h 10000"/>
              <a:gd name="connsiteX197" fmla="*/ 3555 w 9900"/>
              <a:gd name="connsiteY197" fmla="*/ 7675 h 10000"/>
              <a:gd name="connsiteX198" fmla="*/ 3604 w 9900"/>
              <a:gd name="connsiteY198" fmla="*/ 7675 h 10000"/>
              <a:gd name="connsiteX199" fmla="*/ 3705 w 9900"/>
              <a:gd name="connsiteY199" fmla="*/ 7752 h 10000"/>
              <a:gd name="connsiteX200" fmla="*/ 3705 w 9900"/>
              <a:gd name="connsiteY200" fmla="*/ 7830 h 10000"/>
              <a:gd name="connsiteX201" fmla="*/ 3807 w 9900"/>
              <a:gd name="connsiteY201" fmla="*/ 7830 h 10000"/>
              <a:gd name="connsiteX202" fmla="*/ 3907 w 9900"/>
              <a:gd name="connsiteY202" fmla="*/ 7675 h 10000"/>
              <a:gd name="connsiteX203" fmla="*/ 4009 w 9900"/>
              <a:gd name="connsiteY203" fmla="*/ 7598 h 10000"/>
              <a:gd name="connsiteX204" fmla="*/ 4065 w 9900"/>
              <a:gd name="connsiteY204" fmla="*/ 7830 h 10000"/>
              <a:gd name="connsiteX205" fmla="*/ 4264 w 9900"/>
              <a:gd name="connsiteY205" fmla="*/ 8372 h 10000"/>
              <a:gd name="connsiteX206" fmla="*/ 4317 w 9900"/>
              <a:gd name="connsiteY206" fmla="*/ 8217 h 10000"/>
              <a:gd name="connsiteX207" fmla="*/ 4367 w 9900"/>
              <a:gd name="connsiteY207" fmla="*/ 8372 h 10000"/>
              <a:gd name="connsiteX208" fmla="*/ 4518 w 9900"/>
              <a:gd name="connsiteY208" fmla="*/ 8295 h 10000"/>
              <a:gd name="connsiteX209" fmla="*/ 4673 w 9900"/>
              <a:gd name="connsiteY209" fmla="*/ 8528 h 10000"/>
              <a:gd name="connsiteX210" fmla="*/ 4771 w 9900"/>
              <a:gd name="connsiteY210" fmla="*/ 8605 h 10000"/>
              <a:gd name="connsiteX211" fmla="*/ 4771 w 9900"/>
              <a:gd name="connsiteY211" fmla="*/ 8528 h 10000"/>
              <a:gd name="connsiteX212" fmla="*/ 4824 w 9900"/>
              <a:gd name="connsiteY212" fmla="*/ 8683 h 10000"/>
              <a:gd name="connsiteX213" fmla="*/ 4771 w 9900"/>
              <a:gd name="connsiteY213" fmla="*/ 8760 h 10000"/>
              <a:gd name="connsiteX214" fmla="*/ 4875 w 9900"/>
              <a:gd name="connsiteY214" fmla="*/ 8683 h 10000"/>
              <a:gd name="connsiteX215" fmla="*/ 4923 w 9900"/>
              <a:gd name="connsiteY215" fmla="*/ 8605 h 10000"/>
              <a:gd name="connsiteX216" fmla="*/ 5177 w 9900"/>
              <a:gd name="connsiteY216" fmla="*/ 8372 h 10000"/>
              <a:gd name="connsiteX217" fmla="*/ 5381 w 9900"/>
              <a:gd name="connsiteY217" fmla="*/ 8449 h 10000"/>
              <a:gd name="connsiteX218" fmla="*/ 5482 w 9900"/>
              <a:gd name="connsiteY218" fmla="*/ 8528 h 10000"/>
              <a:gd name="connsiteX219" fmla="*/ 5683 w 9900"/>
              <a:gd name="connsiteY219" fmla="*/ 8528 h 10000"/>
              <a:gd name="connsiteX220" fmla="*/ 5683 w 9900"/>
              <a:gd name="connsiteY220" fmla="*/ 8372 h 10000"/>
              <a:gd name="connsiteX221" fmla="*/ 5683 w 9900"/>
              <a:gd name="connsiteY221" fmla="*/ 8217 h 10000"/>
              <a:gd name="connsiteX222" fmla="*/ 5786 w 9900"/>
              <a:gd name="connsiteY222" fmla="*/ 8140 h 10000"/>
              <a:gd name="connsiteX223" fmla="*/ 5988 w 9900"/>
              <a:gd name="connsiteY223" fmla="*/ 8217 h 10000"/>
              <a:gd name="connsiteX224" fmla="*/ 6091 w 9900"/>
              <a:gd name="connsiteY224" fmla="*/ 8449 h 10000"/>
              <a:gd name="connsiteX225" fmla="*/ 6142 w 9900"/>
              <a:gd name="connsiteY225" fmla="*/ 8449 h 10000"/>
              <a:gd name="connsiteX226" fmla="*/ 6244 w 9900"/>
              <a:gd name="connsiteY226" fmla="*/ 8372 h 10000"/>
              <a:gd name="connsiteX227" fmla="*/ 6552 w 9900"/>
              <a:gd name="connsiteY227" fmla="*/ 8605 h 10000"/>
              <a:gd name="connsiteX228" fmla="*/ 6702 w 9900"/>
              <a:gd name="connsiteY228" fmla="*/ 8683 h 10000"/>
              <a:gd name="connsiteX229" fmla="*/ 6904 w 9900"/>
              <a:gd name="connsiteY229" fmla="*/ 8605 h 10000"/>
              <a:gd name="connsiteX230" fmla="*/ 7005 w 9900"/>
              <a:gd name="connsiteY230" fmla="*/ 8449 h 10000"/>
              <a:gd name="connsiteX231" fmla="*/ 7158 w 9900"/>
              <a:gd name="connsiteY231" fmla="*/ 8528 h 10000"/>
              <a:gd name="connsiteX232" fmla="*/ 7258 w 9900"/>
              <a:gd name="connsiteY232" fmla="*/ 8605 h 10000"/>
              <a:gd name="connsiteX233" fmla="*/ 8986 w 9900"/>
              <a:gd name="connsiteY233" fmla="*/ 7675 h 10000"/>
              <a:gd name="connsiteX234" fmla="*/ 8886 w 9900"/>
              <a:gd name="connsiteY234" fmla="*/ 7675 h 10000"/>
              <a:gd name="connsiteX235" fmla="*/ 8835 w 9900"/>
              <a:gd name="connsiteY235" fmla="*/ 7675 h 10000"/>
              <a:gd name="connsiteX236" fmla="*/ 8782 w 9900"/>
              <a:gd name="connsiteY236" fmla="*/ 7598 h 10000"/>
              <a:gd name="connsiteX237" fmla="*/ 8684 w 9900"/>
              <a:gd name="connsiteY237" fmla="*/ 7598 h 10000"/>
              <a:gd name="connsiteX238" fmla="*/ 8684 w 9900"/>
              <a:gd name="connsiteY238" fmla="*/ 7520 h 10000"/>
              <a:gd name="connsiteX239" fmla="*/ 8835 w 9900"/>
              <a:gd name="connsiteY239" fmla="*/ 7287 h 10000"/>
              <a:gd name="connsiteX240" fmla="*/ 9297 w 9900"/>
              <a:gd name="connsiteY240" fmla="*/ 6590 h 10000"/>
              <a:gd name="connsiteX241" fmla="*/ 9494 w 9900"/>
              <a:gd name="connsiteY241" fmla="*/ 6512 h 10000"/>
              <a:gd name="connsiteX242" fmla="*/ 9543 w 9900"/>
              <a:gd name="connsiteY242" fmla="*/ 6590 h 10000"/>
              <a:gd name="connsiteX243" fmla="*/ 9596 w 9900"/>
              <a:gd name="connsiteY243" fmla="*/ 6512 h 10000"/>
              <a:gd name="connsiteX244" fmla="*/ 9745 w 9900"/>
              <a:gd name="connsiteY244" fmla="*/ 6590 h 10000"/>
              <a:gd name="connsiteX245" fmla="*/ 9801 w 9900"/>
              <a:gd name="connsiteY245" fmla="*/ 6434 h 10000"/>
              <a:gd name="connsiteX246" fmla="*/ 9900 w 9900"/>
              <a:gd name="connsiteY246" fmla="*/ 2946 h 10000"/>
              <a:gd name="connsiteX247" fmla="*/ 9849 w 9900"/>
              <a:gd name="connsiteY247" fmla="*/ 2868 h 10000"/>
              <a:gd name="connsiteX248" fmla="*/ 9849 w 9900"/>
              <a:gd name="connsiteY248" fmla="*/ 2636 h 10000"/>
              <a:gd name="connsiteX249" fmla="*/ 9494 w 9900"/>
              <a:gd name="connsiteY249" fmla="*/ 2480 h 10000"/>
              <a:gd name="connsiteX250" fmla="*/ 9089 w 9900"/>
              <a:gd name="connsiteY250" fmla="*/ 2325 h 10000"/>
              <a:gd name="connsiteX251" fmla="*/ 8986 w 9900"/>
              <a:gd name="connsiteY251" fmla="*/ 2636 h 10000"/>
              <a:gd name="connsiteX252" fmla="*/ 9089 w 9900"/>
              <a:gd name="connsiteY252" fmla="*/ 2868 h 10000"/>
              <a:gd name="connsiteX253" fmla="*/ 8782 w 9900"/>
              <a:gd name="connsiteY253" fmla="*/ 2868 h 10000"/>
              <a:gd name="connsiteX254" fmla="*/ 8732 w 9900"/>
              <a:gd name="connsiteY254" fmla="*/ 2868 h 10000"/>
              <a:gd name="connsiteX255" fmla="*/ 8629 w 9900"/>
              <a:gd name="connsiteY255" fmla="*/ 2946 h 10000"/>
              <a:gd name="connsiteX256" fmla="*/ 8478 w 9900"/>
              <a:gd name="connsiteY256" fmla="*/ 2714 h 10000"/>
              <a:gd name="connsiteX257" fmla="*/ 8373 w 9900"/>
              <a:gd name="connsiteY257" fmla="*/ 3178 h 10000"/>
              <a:gd name="connsiteX258" fmla="*/ 8278 w 9900"/>
              <a:gd name="connsiteY258" fmla="*/ 3101 h 10000"/>
              <a:gd name="connsiteX259" fmla="*/ 8173 w 9900"/>
              <a:gd name="connsiteY259" fmla="*/ 2791 h 10000"/>
              <a:gd name="connsiteX260" fmla="*/ 8226 w 9900"/>
              <a:gd name="connsiteY260" fmla="*/ 2403 h 10000"/>
              <a:gd name="connsiteX261" fmla="*/ 8122 w 9900"/>
              <a:gd name="connsiteY261" fmla="*/ 2170 h 10000"/>
              <a:gd name="connsiteX262" fmla="*/ 7819 w 9900"/>
              <a:gd name="connsiteY262" fmla="*/ 2016 h 10000"/>
              <a:gd name="connsiteX263" fmla="*/ 7713 w 9900"/>
              <a:gd name="connsiteY263" fmla="*/ 2016 h 10000"/>
              <a:gd name="connsiteX264" fmla="*/ 7666 w 9900"/>
              <a:gd name="connsiteY264" fmla="*/ 2170 h 10000"/>
              <a:gd name="connsiteX265" fmla="*/ 7713 w 9900"/>
              <a:gd name="connsiteY265" fmla="*/ 2325 h 10000"/>
              <a:gd name="connsiteX266" fmla="*/ 7313 w 9900"/>
              <a:gd name="connsiteY266" fmla="*/ 2248 h 10000"/>
              <a:gd name="connsiteX267" fmla="*/ 7361 w 9900"/>
              <a:gd name="connsiteY267" fmla="*/ 2016 h 10000"/>
              <a:gd name="connsiteX268" fmla="*/ 7107 w 9900"/>
              <a:gd name="connsiteY268" fmla="*/ 1938 h 10000"/>
              <a:gd name="connsiteX269" fmla="*/ 6955 w 9900"/>
              <a:gd name="connsiteY269" fmla="*/ 2093 h 10000"/>
              <a:gd name="connsiteX270" fmla="*/ 6659 w 9900"/>
              <a:gd name="connsiteY270" fmla="*/ 1861 h 10000"/>
              <a:gd name="connsiteX0" fmla="*/ 6726 w 9948"/>
              <a:gd name="connsiteY0" fmla="*/ 1861 h 10000"/>
              <a:gd name="connsiteX1" fmla="*/ 6726 w 9948"/>
              <a:gd name="connsiteY1" fmla="*/ 1861 h 10000"/>
              <a:gd name="connsiteX2" fmla="*/ 6666 w 9948"/>
              <a:gd name="connsiteY2" fmla="*/ 1938 h 10000"/>
              <a:gd name="connsiteX3" fmla="*/ 6726 w 9948"/>
              <a:gd name="connsiteY3" fmla="*/ 2093 h 10000"/>
              <a:gd name="connsiteX4" fmla="*/ 6511 w 9948"/>
              <a:gd name="connsiteY4" fmla="*/ 2248 h 10000"/>
              <a:gd name="connsiteX5" fmla="*/ 6459 w 9948"/>
              <a:gd name="connsiteY5" fmla="*/ 2248 h 10000"/>
              <a:gd name="connsiteX6" fmla="*/ 6511 w 9948"/>
              <a:gd name="connsiteY6" fmla="*/ 2016 h 10000"/>
              <a:gd name="connsiteX7" fmla="*/ 7025 w 9948"/>
              <a:gd name="connsiteY7" fmla="*/ 1318 h 10000"/>
              <a:gd name="connsiteX8" fmla="*/ 7025 w 9948"/>
              <a:gd name="connsiteY8" fmla="*/ 853 h 10000"/>
              <a:gd name="connsiteX9" fmla="*/ 6822 w 9948"/>
              <a:gd name="connsiteY9" fmla="*/ 543 h 10000"/>
              <a:gd name="connsiteX10" fmla="*/ 6564 w 9948"/>
              <a:gd name="connsiteY10" fmla="*/ 543 h 10000"/>
              <a:gd name="connsiteX11" fmla="*/ 6564 w 9948"/>
              <a:gd name="connsiteY11" fmla="*/ 698 h 10000"/>
              <a:gd name="connsiteX12" fmla="*/ 6408 w 9948"/>
              <a:gd name="connsiteY12" fmla="*/ 698 h 10000"/>
              <a:gd name="connsiteX13" fmla="*/ 6511 w 9948"/>
              <a:gd name="connsiteY13" fmla="*/ 387 h 10000"/>
              <a:gd name="connsiteX14" fmla="*/ 6258 w 9948"/>
              <a:gd name="connsiteY14" fmla="*/ 310 h 10000"/>
              <a:gd name="connsiteX15" fmla="*/ 6408 w 9948"/>
              <a:gd name="connsiteY15" fmla="*/ 155 h 10000"/>
              <a:gd name="connsiteX16" fmla="*/ 6258 w 9948"/>
              <a:gd name="connsiteY16" fmla="*/ 0 h 10000"/>
              <a:gd name="connsiteX17" fmla="*/ 6001 w 9948"/>
              <a:gd name="connsiteY17" fmla="*/ 387 h 10000"/>
              <a:gd name="connsiteX18" fmla="*/ 6001 w 9948"/>
              <a:gd name="connsiteY18" fmla="*/ 698 h 10000"/>
              <a:gd name="connsiteX19" fmla="*/ 5844 w 9948"/>
              <a:gd name="connsiteY19" fmla="*/ 698 h 10000"/>
              <a:gd name="connsiteX20" fmla="*/ 5385 w 9948"/>
              <a:gd name="connsiteY20" fmla="*/ 853 h 10000"/>
              <a:gd name="connsiteX21" fmla="*/ 4973 w 9948"/>
              <a:gd name="connsiteY21" fmla="*/ 1240 h 10000"/>
              <a:gd name="connsiteX22" fmla="*/ 4819 w 9948"/>
              <a:gd name="connsiteY22" fmla="*/ 1551 h 10000"/>
              <a:gd name="connsiteX23" fmla="*/ 4873 w 9948"/>
              <a:gd name="connsiteY23" fmla="*/ 1938 h 10000"/>
              <a:gd name="connsiteX24" fmla="*/ 4307 w 9948"/>
              <a:gd name="connsiteY24" fmla="*/ 2093 h 10000"/>
              <a:gd name="connsiteX25" fmla="*/ 4361 w 9948"/>
              <a:gd name="connsiteY25" fmla="*/ 2559 h 10000"/>
              <a:gd name="connsiteX26" fmla="*/ 4514 w 9948"/>
              <a:gd name="connsiteY26" fmla="*/ 2791 h 10000"/>
              <a:gd name="connsiteX27" fmla="*/ 4411 w 9948"/>
              <a:gd name="connsiteY27" fmla="*/ 2868 h 10000"/>
              <a:gd name="connsiteX28" fmla="*/ 4258 w 9948"/>
              <a:gd name="connsiteY28" fmla="*/ 2559 h 10000"/>
              <a:gd name="connsiteX29" fmla="*/ 4106 w 9948"/>
              <a:gd name="connsiteY29" fmla="*/ 2480 h 10000"/>
              <a:gd name="connsiteX30" fmla="*/ 4049 w 9948"/>
              <a:gd name="connsiteY30" fmla="*/ 2559 h 10000"/>
              <a:gd name="connsiteX31" fmla="*/ 3946 w 9948"/>
              <a:gd name="connsiteY31" fmla="*/ 2403 h 10000"/>
              <a:gd name="connsiteX32" fmla="*/ 3845 w 9948"/>
              <a:gd name="connsiteY32" fmla="*/ 2248 h 10000"/>
              <a:gd name="connsiteX33" fmla="*/ 3845 w 9948"/>
              <a:gd name="connsiteY33" fmla="*/ 2325 h 10000"/>
              <a:gd name="connsiteX34" fmla="*/ 3901 w 9948"/>
              <a:gd name="connsiteY34" fmla="*/ 2559 h 10000"/>
              <a:gd name="connsiteX35" fmla="*/ 3742 w 9948"/>
              <a:gd name="connsiteY35" fmla="*/ 2946 h 10000"/>
              <a:gd name="connsiteX36" fmla="*/ 3845 w 9948"/>
              <a:gd name="connsiteY36" fmla="*/ 3256 h 10000"/>
              <a:gd name="connsiteX37" fmla="*/ 3793 w 9948"/>
              <a:gd name="connsiteY37" fmla="*/ 3566 h 10000"/>
              <a:gd name="connsiteX38" fmla="*/ 3793 w 9948"/>
              <a:gd name="connsiteY38" fmla="*/ 3799 h 10000"/>
              <a:gd name="connsiteX39" fmla="*/ 3946 w 9948"/>
              <a:gd name="connsiteY39" fmla="*/ 3799 h 10000"/>
              <a:gd name="connsiteX40" fmla="*/ 3845 w 9948"/>
              <a:gd name="connsiteY40" fmla="*/ 3876 h 10000"/>
              <a:gd name="connsiteX41" fmla="*/ 3901 w 9948"/>
              <a:gd name="connsiteY41" fmla="*/ 4263 h 10000"/>
              <a:gd name="connsiteX42" fmla="*/ 3591 w 9948"/>
              <a:gd name="connsiteY42" fmla="*/ 4652 h 10000"/>
              <a:gd name="connsiteX43" fmla="*/ 3535 w 9948"/>
              <a:gd name="connsiteY43" fmla="*/ 4574 h 10000"/>
              <a:gd name="connsiteX44" fmla="*/ 3742 w 9948"/>
              <a:gd name="connsiteY44" fmla="*/ 4186 h 10000"/>
              <a:gd name="connsiteX45" fmla="*/ 3793 w 9948"/>
              <a:gd name="connsiteY45" fmla="*/ 3954 h 10000"/>
              <a:gd name="connsiteX46" fmla="*/ 3686 w 9948"/>
              <a:gd name="connsiteY46" fmla="*/ 3799 h 10000"/>
              <a:gd name="connsiteX47" fmla="*/ 3686 w 9948"/>
              <a:gd name="connsiteY47" fmla="*/ 3023 h 10000"/>
              <a:gd name="connsiteX48" fmla="*/ 3640 w 9948"/>
              <a:gd name="connsiteY48" fmla="*/ 2868 h 10000"/>
              <a:gd name="connsiteX49" fmla="*/ 3686 w 9948"/>
              <a:gd name="connsiteY49" fmla="*/ 2403 h 10000"/>
              <a:gd name="connsiteX50" fmla="*/ 3591 w 9948"/>
              <a:gd name="connsiteY50" fmla="*/ 2325 h 10000"/>
              <a:gd name="connsiteX51" fmla="*/ 3640 w 9948"/>
              <a:gd name="connsiteY51" fmla="*/ 2248 h 10000"/>
              <a:gd name="connsiteX52" fmla="*/ 3591 w 9948"/>
              <a:gd name="connsiteY52" fmla="*/ 2093 h 10000"/>
              <a:gd name="connsiteX53" fmla="*/ 3483 w 9948"/>
              <a:gd name="connsiteY53" fmla="*/ 2170 h 10000"/>
              <a:gd name="connsiteX54" fmla="*/ 3229 w 9948"/>
              <a:gd name="connsiteY54" fmla="*/ 3178 h 10000"/>
              <a:gd name="connsiteX55" fmla="*/ 3229 w 9948"/>
              <a:gd name="connsiteY55" fmla="*/ 3566 h 10000"/>
              <a:gd name="connsiteX56" fmla="*/ 3385 w 9948"/>
              <a:gd name="connsiteY56" fmla="*/ 3876 h 10000"/>
              <a:gd name="connsiteX57" fmla="*/ 3385 w 9948"/>
              <a:gd name="connsiteY57" fmla="*/ 4031 h 10000"/>
              <a:gd name="connsiteX58" fmla="*/ 3229 w 9948"/>
              <a:gd name="connsiteY58" fmla="*/ 3876 h 10000"/>
              <a:gd name="connsiteX59" fmla="*/ 2617 w 9948"/>
              <a:gd name="connsiteY59" fmla="*/ 3256 h 10000"/>
              <a:gd name="connsiteX60" fmla="*/ 2566 w 9948"/>
              <a:gd name="connsiteY60" fmla="*/ 3411 h 10000"/>
              <a:gd name="connsiteX61" fmla="*/ 2770 w 9948"/>
              <a:gd name="connsiteY61" fmla="*/ 3799 h 10000"/>
              <a:gd name="connsiteX62" fmla="*/ 2664 w 9948"/>
              <a:gd name="connsiteY62" fmla="*/ 3876 h 10000"/>
              <a:gd name="connsiteX63" fmla="*/ 2617 w 9948"/>
              <a:gd name="connsiteY63" fmla="*/ 3799 h 10000"/>
              <a:gd name="connsiteX64" fmla="*/ 2310 w 9948"/>
              <a:gd name="connsiteY64" fmla="*/ 3954 h 10000"/>
              <a:gd name="connsiteX65" fmla="*/ 2258 w 9948"/>
              <a:gd name="connsiteY65" fmla="*/ 4109 h 10000"/>
              <a:gd name="connsiteX66" fmla="*/ 2205 w 9948"/>
              <a:gd name="connsiteY66" fmla="*/ 3954 h 10000"/>
              <a:gd name="connsiteX67" fmla="*/ 2205 w 9948"/>
              <a:gd name="connsiteY67" fmla="*/ 3799 h 10000"/>
              <a:gd name="connsiteX68" fmla="*/ 1690 w 9948"/>
              <a:gd name="connsiteY68" fmla="*/ 4263 h 10000"/>
              <a:gd name="connsiteX69" fmla="*/ 1690 w 9948"/>
              <a:gd name="connsiteY69" fmla="*/ 4418 h 10000"/>
              <a:gd name="connsiteX70" fmla="*/ 1590 w 9948"/>
              <a:gd name="connsiteY70" fmla="*/ 4496 h 10000"/>
              <a:gd name="connsiteX71" fmla="*/ 1435 w 9948"/>
              <a:gd name="connsiteY71" fmla="*/ 4341 h 10000"/>
              <a:gd name="connsiteX72" fmla="*/ 1590 w 9948"/>
              <a:gd name="connsiteY72" fmla="*/ 4186 h 10000"/>
              <a:gd name="connsiteX73" fmla="*/ 1538 w 9948"/>
              <a:gd name="connsiteY73" fmla="*/ 3954 h 10000"/>
              <a:gd name="connsiteX74" fmla="*/ 1334 w 9948"/>
              <a:gd name="connsiteY74" fmla="*/ 3876 h 10000"/>
              <a:gd name="connsiteX75" fmla="*/ 1385 w 9948"/>
              <a:gd name="connsiteY75" fmla="*/ 4031 h 10000"/>
              <a:gd name="connsiteX76" fmla="*/ 1385 w 9948"/>
              <a:gd name="connsiteY76" fmla="*/ 4418 h 10000"/>
              <a:gd name="connsiteX77" fmla="*/ 1435 w 9948"/>
              <a:gd name="connsiteY77" fmla="*/ 4574 h 10000"/>
              <a:gd name="connsiteX78" fmla="*/ 1385 w 9948"/>
              <a:gd name="connsiteY78" fmla="*/ 4729 h 10000"/>
              <a:gd name="connsiteX79" fmla="*/ 1229 w 9948"/>
              <a:gd name="connsiteY79" fmla="*/ 4652 h 10000"/>
              <a:gd name="connsiteX80" fmla="*/ 1026 w 9948"/>
              <a:gd name="connsiteY80" fmla="*/ 4884 h 10000"/>
              <a:gd name="connsiteX81" fmla="*/ 1125 w 9948"/>
              <a:gd name="connsiteY81" fmla="*/ 5194 h 10000"/>
              <a:gd name="connsiteX82" fmla="*/ 819 w 9948"/>
              <a:gd name="connsiteY82" fmla="*/ 5039 h 10000"/>
              <a:gd name="connsiteX83" fmla="*/ 770 w 9948"/>
              <a:gd name="connsiteY83" fmla="*/ 5116 h 10000"/>
              <a:gd name="connsiteX84" fmla="*/ 873 w 9948"/>
              <a:gd name="connsiteY84" fmla="*/ 5349 h 10000"/>
              <a:gd name="connsiteX85" fmla="*/ 770 w 9948"/>
              <a:gd name="connsiteY85" fmla="*/ 5349 h 10000"/>
              <a:gd name="connsiteX86" fmla="*/ 617 w 9948"/>
              <a:gd name="connsiteY86" fmla="*/ 5194 h 10000"/>
              <a:gd name="connsiteX87" fmla="*/ 617 w 9948"/>
              <a:gd name="connsiteY87" fmla="*/ 4729 h 10000"/>
              <a:gd name="connsiteX88" fmla="*/ 465 w 9948"/>
              <a:gd name="connsiteY88" fmla="*/ 4574 h 10000"/>
              <a:gd name="connsiteX89" fmla="*/ 410 w 9948"/>
              <a:gd name="connsiteY89" fmla="*/ 4418 h 10000"/>
              <a:gd name="connsiteX90" fmla="*/ 512 w 9948"/>
              <a:gd name="connsiteY90" fmla="*/ 4496 h 10000"/>
              <a:gd name="connsiteX91" fmla="*/ 921 w 9948"/>
              <a:gd name="connsiteY91" fmla="*/ 4729 h 10000"/>
              <a:gd name="connsiteX92" fmla="*/ 1175 w 9948"/>
              <a:gd name="connsiteY92" fmla="*/ 4496 h 10000"/>
              <a:gd name="connsiteX93" fmla="*/ 1125 w 9948"/>
              <a:gd name="connsiteY93" fmla="*/ 4263 h 10000"/>
              <a:gd name="connsiteX94" fmla="*/ 819 w 9948"/>
              <a:gd name="connsiteY94" fmla="*/ 3799 h 10000"/>
              <a:gd name="connsiteX95" fmla="*/ 512 w 9948"/>
              <a:gd name="connsiteY95" fmla="*/ 3644 h 10000"/>
              <a:gd name="connsiteX96" fmla="*/ 512 w 9948"/>
              <a:gd name="connsiteY96" fmla="*/ 3566 h 10000"/>
              <a:gd name="connsiteX97" fmla="*/ 410 w 9948"/>
              <a:gd name="connsiteY97" fmla="*/ 3488 h 10000"/>
              <a:gd name="connsiteX98" fmla="*/ 304 w 9948"/>
              <a:gd name="connsiteY98" fmla="*/ 3566 h 10000"/>
              <a:gd name="connsiteX99" fmla="*/ 304 w 9948"/>
              <a:gd name="connsiteY99" fmla="*/ 3644 h 10000"/>
              <a:gd name="connsiteX100" fmla="*/ 256 w 9948"/>
              <a:gd name="connsiteY100" fmla="*/ 3644 h 10000"/>
              <a:gd name="connsiteX101" fmla="*/ 154 w 9948"/>
              <a:gd name="connsiteY101" fmla="*/ 3799 h 10000"/>
              <a:gd name="connsiteX102" fmla="*/ 154 w 9948"/>
              <a:gd name="connsiteY102" fmla="*/ 4031 h 10000"/>
              <a:gd name="connsiteX103" fmla="*/ 256 w 9948"/>
              <a:gd name="connsiteY103" fmla="*/ 4186 h 10000"/>
              <a:gd name="connsiteX104" fmla="*/ 206 w 9948"/>
              <a:gd name="connsiteY104" fmla="*/ 4418 h 10000"/>
              <a:gd name="connsiteX105" fmla="*/ 256 w 9948"/>
              <a:gd name="connsiteY105" fmla="*/ 4807 h 10000"/>
              <a:gd name="connsiteX106" fmla="*/ 206 w 9948"/>
              <a:gd name="connsiteY106" fmla="*/ 5039 h 10000"/>
              <a:gd name="connsiteX107" fmla="*/ 304 w 9948"/>
              <a:gd name="connsiteY107" fmla="*/ 5271 h 10000"/>
              <a:gd name="connsiteX108" fmla="*/ 256 w 9948"/>
              <a:gd name="connsiteY108" fmla="*/ 5426 h 10000"/>
              <a:gd name="connsiteX109" fmla="*/ 357 w 9948"/>
              <a:gd name="connsiteY109" fmla="*/ 5582 h 10000"/>
              <a:gd name="connsiteX110" fmla="*/ 357 w 9948"/>
              <a:gd name="connsiteY110" fmla="*/ 5659 h 10000"/>
              <a:gd name="connsiteX111" fmla="*/ 206 w 9948"/>
              <a:gd name="connsiteY111" fmla="*/ 6047 h 10000"/>
              <a:gd name="connsiteX112" fmla="*/ 47 w 9948"/>
              <a:gd name="connsiteY112" fmla="*/ 6202 h 10000"/>
              <a:gd name="connsiteX113" fmla="*/ 100 w 9948"/>
              <a:gd name="connsiteY113" fmla="*/ 6202 h 10000"/>
              <a:gd name="connsiteX114" fmla="*/ 206 w 9948"/>
              <a:gd name="connsiteY114" fmla="*/ 6356 h 10000"/>
              <a:gd name="connsiteX115" fmla="*/ 100 w 9948"/>
              <a:gd name="connsiteY115" fmla="*/ 6512 h 10000"/>
              <a:gd name="connsiteX116" fmla="*/ 47 w 9948"/>
              <a:gd name="connsiteY116" fmla="*/ 6590 h 10000"/>
              <a:gd name="connsiteX117" fmla="*/ 0 w 9948"/>
              <a:gd name="connsiteY117" fmla="*/ 6590 h 10000"/>
              <a:gd name="connsiteX118" fmla="*/ 47 w 9948"/>
              <a:gd name="connsiteY118" fmla="*/ 6822 h 10000"/>
              <a:gd name="connsiteX119" fmla="*/ 47 w 9948"/>
              <a:gd name="connsiteY119" fmla="*/ 6900 h 10000"/>
              <a:gd name="connsiteX120" fmla="*/ 47 w 9948"/>
              <a:gd name="connsiteY120" fmla="*/ 6977 h 10000"/>
              <a:gd name="connsiteX121" fmla="*/ 47 w 9948"/>
              <a:gd name="connsiteY121" fmla="*/ 7054 h 10000"/>
              <a:gd name="connsiteX122" fmla="*/ 100 w 9948"/>
              <a:gd name="connsiteY122" fmla="*/ 7209 h 10000"/>
              <a:gd name="connsiteX123" fmla="*/ 256 w 9948"/>
              <a:gd name="connsiteY123" fmla="*/ 7287 h 10000"/>
              <a:gd name="connsiteX124" fmla="*/ 304 w 9948"/>
              <a:gd name="connsiteY124" fmla="*/ 7364 h 10000"/>
              <a:gd name="connsiteX125" fmla="*/ 304 w 9948"/>
              <a:gd name="connsiteY125" fmla="*/ 7520 h 10000"/>
              <a:gd name="connsiteX126" fmla="*/ 410 w 9948"/>
              <a:gd name="connsiteY126" fmla="*/ 7752 h 10000"/>
              <a:gd name="connsiteX127" fmla="*/ 465 w 9948"/>
              <a:gd name="connsiteY127" fmla="*/ 7752 h 10000"/>
              <a:gd name="connsiteX128" fmla="*/ 410 w 9948"/>
              <a:gd name="connsiteY128" fmla="*/ 7907 h 10000"/>
              <a:gd name="connsiteX129" fmla="*/ 357 w 9948"/>
              <a:gd name="connsiteY129" fmla="*/ 7830 h 10000"/>
              <a:gd name="connsiteX130" fmla="*/ 357 w 9948"/>
              <a:gd name="connsiteY130" fmla="*/ 7907 h 10000"/>
              <a:gd name="connsiteX131" fmla="*/ 410 w 9948"/>
              <a:gd name="connsiteY131" fmla="*/ 8062 h 10000"/>
              <a:gd name="connsiteX132" fmla="*/ 566 w 9948"/>
              <a:gd name="connsiteY132" fmla="*/ 8062 h 10000"/>
              <a:gd name="connsiteX133" fmla="*/ 617 w 9948"/>
              <a:gd name="connsiteY133" fmla="*/ 8140 h 10000"/>
              <a:gd name="connsiteX134" fmla="*/ 566 w 9948"/>
              <a:gd name="connsiteY134" fmla="*/ 8140 h 10000"/>
              <a:gd name="connsiteX135" fmla="*/ 617 w 9948"/>
              <a:gd name="connsiteY135" fmla="*/ 8217 h 10000"/>
              <a:gd name="connsiteX136" fmla="*/ 666 w 9948"/>
              <a:gd name="connsiteY136" fmla="*/ 8217 h 10000"/>
              <a:gd name="connsiteX137" fmla="*/ 717 w 9948"/>
              <a:gd name="connsiteY137" fmla="*/ 8372 h 10000"/>
              <a:gd name="connsiteX138" fmla="*/ 770 w 9948"/>
              <a:gd name="connsiteY138" fmla="*/ 8449 h 10000"/>
              <a:gd name="connsiteX139" fmla="*/ 819 w 9948"/>
              <a:gd name="connsiteY139" fmla="*/ 8372 h 10000"/>
              <a:gd name="connsiteX140" fmla="*/ 1078 w 9948"/>
              <a:gd name="connsiteY140" fmla="*/ 8605 h 10000"/>
              <a:gd name="connsiteX141" fmla="*/ 1026 w 9948"/>
              <a:gd name="connsiteY141" fmla="*/ 8915 h 10000"/>
              <a:gd name="connsiteX142" fmla="*/ 974 w 9948"/>
              <a:gd name="connsiteY142" fmla="*/ 8838 h 10000"/>
              <a:gd name="connsiteX143" fmla="*/ 921 w 9948"/>
              <a:gd name="connsiteY143" fmla="*/ 8915 h 10000"/>
              <a:gd name="connsiteX144" fmla="*/ 921 w 9948"/>
              <a:gd name="connsiteY144" fmla="*/ 9070 h 10000"/>
              <a:gd name="connsiteX145" fmla="*/ 974 w 9948"/>
              <a:gd name="connsiteY145" fmla="*/ 8993 h 10000"/>
              <a:gd name="connsiteX146" fmla="*/ 1026 w 9948"/>
              <a:gd name="connsiteY146" fmla="*/ 9070 h 10000"/>
              <a:gd name="connsiteX147" fmla="*/ 873 w 9948"/>
              <a:gd name="connsiteY147" fmla="*/ 9147 h 10000"/>
              <a:gd name="connsiteX148" fmla="*/ 921 w 9948"/>
              <a:gd name="connsiteY148" fmla="*/ 9225 h 10000"/>
              <a:gd name="connsiteX149" fmla="*/ 819 w 9948"/>
              <a:gd name="connsiteY149" fmla="*/ 9380 h 10000"/>
              <a:gd name="connsiteX150" fmla="*/ 770 w 9948"/>
              <a:gd name="connsiteY150" fmla="*/ 9380 h 10000"/>
              <a:gd name="connsiteX151" fmla="*/ 819 w 9948"/>
              <a:gd name="connsiteY151" fmla="*/ 9380 h 10000"/>
              <a:gd name="connsiteX152" fmla="*/ 1026 w 9948"/>
              <a:gd name="connsiteY152" fmla="*/ 9691 h 10000"/>
              <a:gd name="connsiteX153" fmla="*/ 1283 w 9948"/>
              <a:gd name="connsiteY153" fmla="*/ 9691 h 10000"/>
              <a:gd name="connsiteX154" fmla="*/ 1385 w 9948"/>
              <a:gd name="connsiteY154" fmla="*/ 9768 h 10000"/>
              <a:gd name="connsiteX155" fmla="*/ 1487 w 9948"/>
              <a:gd name="connsiteY155" fmla="*/ 9768 h 10000"/>
              <a:gd name="connsiteX156" fmla="*/ 1590 w 9948"/>
              <a:gd name="connsiteY156" fmla="*/ 9923 h 10000"/>
              <a:gd name="connsiteX157" fmla="*/ 1640 w 9948"/>
              <a:gd name="connsiteY157" fmla="*/ 10000 h 10000"/>
              <a:gd name="connsiteX158" fmla="*/ 1690 w 9948"/>
              <a:gd name="connsiteY158" fmla="*/ 10000 h 10000"/>
              <a:gd name="connsiteX159" fmla="*/ 1745 w 9948"/>
              <a:gd name="connsiteY159" fmla="*/ 9923 h 10000"/>
              <a:gd name="connsiteX160" fmla="*/ 1640 w 9948"/>
              <a:gd name="connsiteY160" fmla="*/ 9768 h 10000"/>
              <a:gd name="connsiteX161" fmla="*/ 1640 w 9948"/>
              <a:gd name="connsiteY161" fmla="*/ 9613 h 10000"/>
              <a:gd name="connsiteX162" fmla="*/ 1590 w 9948"/>
              <a:gd name="connsiteY162" fmla="*/ 9457 h 10000"/>
              <a:gd name="connsiteX163" fmla="*/ 1690 w 9948"/>
              <a:gd name="connsiteY163" fmla="*/ 9225 h 10000"/>
              <a:gd name="connsiteX164" fmla="*/ 1745 w 9948"/>
              <a:gd name="connsiteY164" fmla="*/ 9302 h 10000"/>
              <a:gd name="connsiteX165" fmla="*/ 1794 w 9948"/>
              <a:gd name="connsiteY165" fmla="*/ 9225 h 10000"/>
              <a:gd name="connsiteX166" fmla="*/ 1794 w 9948"/>
              <a:gd name="connsiteY166" fmla="*/ 9147 h 10000"/>
              <a:gd name="connsiteX167" fmla="*/ 1745 w 9948"/>
              <a:gd name="connsiteY167" fmla="*/ 9147 h 10000"/>
              <a:gd name="connsiteX168" fmla="*/ 1794 w 9948"/>
              <a:gd name="connsiteY168" fmla="*/ 9070 h 10000"/>
              <a:gd name="connsiteX169" fmla="*/ 1745 w 9948"/>
              <a:gd name="connsiteY169" fmla="*/ 8915 h 10000"/>
              <a:gd name="connsiteX170" fmla="*/ 1640 w 9948"/>
              <a:gd name="connsiteY170" fmla="*/ 8915 h 10000"/>
              <a:gd name="connsiteX171" fmla="*/ 1590 w 9948"/>
              <a:gd name="connsiteY171" fmla="*/ 8760 h 10000"/>
              <a:gd name="connsiteX172" fmla="*/ 1640 w 9948"/>
              <a:gd name="connsiteY172" fmla="*/ 8372 h 10000"/>
              <a:gd name="connsiteX173" fmla="*/ 1745 w 9948"/>
              <a:gd name="connsiteY173" fmla="*/ 8528 h 10000"/>
              <a:gd name="connsiteX174" fmla="*/ 1794 w 9948"/>
              <a:gd name="connsiteY174" fmla="*/ 8528 h 10000"/>
              <a:gd name="connsiteX175" fmla="*/ 1745 w 9948"/>
              <a:gd name="connsiteY175" fmla="*/ 8372 h 10000"/>
              <a:gd name="connsiteX176" fmla="*/ 1898 w 9948"/>
              <a:gd name="connsiteY176" fmla="*/ 8140 h 10000"/>
              <a:gd name="connsiteX177" fmla="*/ 2002 w 9948"/>
              <a:gd name="connsiteY177" fmla="*/ 8217 h 10000"/>
              <a:gd name="connsiteX178" fmla="*/ 2051 w 9948"/>
              <a:gd name="connsiteY178" fmla="*/ 8140 h 10000"/>
              <a:gd name="connsiteX179" fmla="*/ 2154 w 9948"/>
              <a:gd name="connsiteY179" fmla="*/ 8217 h 10000"/>
              <a:gd name="connsiteX180" fmla="*/ 2310 w 9948"/>
              <a:gd name="connsiteY180" fmla="*/ 8372 h 10000"/>
              <a:gd name="connsiteX181" fmla="*/ 2408 w 9948"/>
              <a:gd name="connsiteY181" fmla="*/ 8295 h 10000"/>
              <a:gd name="connsiteX182" fmla="*/ 2514 w 9948"/>
              <a:gd name="connsiteY182" fmla="*/ 8295 h 10000"/>
              <a:gd name="connsiteX183" fmla="*/ 2566 w 9948"/>
              <a:gd name="connsiteY183" fmla="*/ 8372 h 10000"/>
              <a:gd name="connsiteX184" fmla="*/ 2770 w 9948"/>
              <a:gd name="connsiteY184" fmla="*/ 8372 h 10000"/>
              <a:gd name="connsiteX185" fmla="*/ 2818 w 9948"/>
              <a:gd name="connsiteY185" fmla="*/ 8217 h 10000"/>
              <a:gd name="connsiteX186" fmla="*/ 2664 w 9948"/>
              <a:gd name="connsiteY186" fmla="*/ 8140 h 10000"/>
              <a:gd name="connsiteX187" fmla="*/ 2770 w 9948"/>
              <a:gd name="connsiteY187" fmla="*/ 8062 h 10000"/>
              <a:gd name="connsiteX188" fmla="*/ 2716 w 9948"/>
              <a:gd name="connsiteY188" fmla="*/ 7985 h 10000"/>
              <a:gd name="connsiteX189" fmla="*/ 2770 w 9948"/>
              <a:gd name="connsiteY189" fmla="*/ 7907 h 10000"/>
              <a:gd name="connsiteX190" fmla="*/ 2770 w 9948"/>
              <a:gd name="connsiteY190" fmla="*/ 7675 h 10000"/>
              <a:gd name="connsiteX191" fmla="*/ 2870 w 9948"/>
              <a:gd name="connsiteY191" fmla="*/ 7752 h 10000"/>
              <a:gd name="connsiteX192" fmla="*/ 3334 w 9948"/>
              <a:gd name="connsiteY192" fmla="*/ 7520 h 10000"/>
              <a:gd name="connsiteX193" fmla="*/ 3334 w 9948"/>
              <a:gd name="connsiteY193" fmla="*/ 7442 h 10000"/>
              <a:gd name="connsiteX194" fmla="*/ 3385 w 9948"/>
              <a:gd name="connsiteY194" fmla="*/ 7442 h 10000"/>
              <a:gd name="connsiteX195" fmla="*/ 3535 w 9948"/>
              <a:gd name="connsiteY195" fmla="*/ 7442 h 10000"/>
              <a:gd name="connsiteX196" fmla="*/ 3591 w 9948"/>
              <a:gd name="connsiteY196" fmla="*/ 7598 h 10000"/>
              <a:gd name="connsiteX197" fmla="*/ 3591 w 9948"/>
              <a:gd name="connsiteY197" fmla="*/ 7675 h 10000"/>
              <a:gd name="connsiteX198" fmla="*/ 3640 w 9948"/>
              <a:gd name="connsiteY198" fmla="*/ 7675 h 10000"/>
              <a:gd name="connsiteX199" fmla="*/ 3742 w 9948"/>
              <a:gd name="connsiteY199" fmla="*/ 7752 h 10000"/>
              <a:gd name="connsiteX200" fmla="*/ 3742 w 9948"/>
              <a:gd name="connsiteY200" fmla="*/ 7830 h 10000"/>
              <a:gd name="connsiteX201" fmla="*/ 3845 w 9948"/>
              <a:gd name="connsiteY201" fmla="*/ 7830 h 10000"/>
              <a:gd name="connsiteX202" fmla="*/ 3946 w 9948"/>
              <a:gd name="connsiteY202" fmla="*/ 7675 h 10000"/>
              <a:gd name="connsiteX203" fmla="*/ 4049 w 9948"/>
              <a:gd name="connsiteY203" fmla="*/ 7598 h 10000"/>
              <a:gd name="connsiteX204" fmla="*/ 4106 w 9948"/>
              <a:gd name="connsiteY204" fmla="*/ 7830 h 10000"/>
              <a:gd name="connsiteX205" fmla="*/ 4307 w 9948"/>
              <a:gd name="connsiteY205" fmla="*/ 8372 h 10000"/>
              <a:gd name="connsiteX206" fmla="*/ 4361 w 9948"/>
              <a:gd name="connsiteY206" fmla="*/ 8217 h 10000"/>
              <a:gd name="connsiteX207" fmla="*/ 4411 w 9948"/>
              <a:gd name="connsiteY207" fmla="*/ 8372 h 10000"/>
              <a:gd name="connsiteX208" fmla="*/ 4564 w 9948"/>
              <a:gd name="connsiteY208" fmla="*/ 8295 h 10000"/>
              <a:gd name="connsiteX209" fmla="*/ 4720 w 9948"/>
              <a:gd name="connsiteY209" fmla="*/ 8528 h 10000"/>
              <a:gd name="connsiteX210" fmla="*/ 4819 w 9948"/>
              <a:gd name="connsiteY210" fmla="*/ 8605 h 10000"/>
              <a:gd name="connsiteX211" fmla="*/ 4819 w 9948"/>
              <a:gd name="connsiteY211" fmla="*/ 8528 h 10000"/>
              <a:gd name="connsiteX212" fmla="*/ 4873 w 9948"/>
              <a:gd name="connsiteY212" fmla="*/ 8683 h 10000"/>
              <a:gd name="connsiteX213" fmla="*/ 4819 w 9948"/>
              <a:gd name="connsiteY213" fmla="*/ 8760 h 10000"/>
              <a:gd name="connsiteX214" fmla="*/ 4924 w 9948"/>
              <a:gd name="connsiteY214" fmla="*/ 8683 h 10000"/>
              <a:gd name="connsiteX215" fmla="*/ 4973 w 9948"/>
              <a:gd name="connsiteY215" fmla="*/ 8605 h 10000"/>
              <a:gd name="connsiteX216" fmla="*/ 5229 w 9948"/>
              <a:gd name="connsiteY216" fmla="*/ 8372 h 10000"/>
              <a:gd name="connsiteX217" fmla="*/ 5435 w 9948"/>
              <a:gd name="connsiteY217" fmla="*/ 8449 h 10000"/>
              <a:gd name="connsiteX218" fmla="*/ 5537 w 9948"/>
              <a:gd name="connsiteY218" fmla="*/ 8528 h 10000"/>
              <a:gd name="connsiteX219" fmla="*/ 5740 w 9948"/>
              <a:gd name="connsiteY219" fmla="*/ 8528 h 10000"/>
              <a:gd name="connsiteX220" fmla="*/ 5740 w 9948"/>
              <a:gd name="connsiteY220" fmla="*/ 8372 h 10000"/>
              <a:gd name="connsiteX221" fmla="*/ 5740 w 9948"/>
              <a:gd name="connsiteY221" fmla="*/ 8217 h 10000"/>
              <a:gd name="connsiteX222" fmla="*/ 5844 w 9948"/>
              <a:gd name="connsiteY222" fmla="*/ 8140 h 10000"/>
              <a:gd name="connsiteX223" fmla="*/ 6048 w 9948"/>
              <a:gd name="connsiteY223" fmla="*/ 8217 h 10000"/>
              <a:gd name="connsiteX224" fmla="*/ 6153 w 9948"/>
              <a:gd name="connsiteY224" fmla="*/ 8449 h 10000"/>
              <a:gd name="connsiteX225" fmla="*/ 6204 w 9948"/>
              <a:gd name="connsiteY225" fmla="*/ 8449 h 10000"/>
              <a:gd name="connsiteX226" fmla="*/ 6307 w 9948"/>
              <a:gd name="connsiteY226" fmla="*/ 8372 h 10000"/>
              <a:gd name="connsiteX227" fmla="*/ 6618 w 9948"/>
              <a:gd name="connsiteY227" fmla="*/ 8605 h 10000"/>
              <a:gd name="connsiteX228" fmla="*/ 6770 w 9948"/>
              <a:gd name="connsiteY228" fmla="*/ 8683 h 10000"/>
              <a:gd name="connsiteX229" fmla="*/ 6974 w 9948"/>
              <a:gd name="connsiteY229" fmla="*/ 8605 h 10000"/>
              <a:gd name="connsiteX230" fmla="*/ 7076 w 9948"/>
              <a:gd name="connsiteY230" fmla="*/ 8449 h 10000"/>
              <a:gd name="connsiteX231" fmla="*/ 7230 w 9948"/>
              <a:gd name="connsiteY231" fmla="*/ 8528 h 10000"/>
              <a:gd name="connsiteX232" fmla="*/ 7331 w 9948"/>
              <a:gd name="connsiteY232" fmla="*/ 8605 h 10000"/>
              <a:gd name="connsiteX233" fmla="*/ 9077 w 9948"/>
              <a:gd name="connsiteY233" fmla="*/ 7675 h 10000"/>
              <a:gd name="connsiteX234" fmla="*/ 8976 w 9948"/>
              <a:gd name="connsiteY234" fmla="*/ 7675 h 10000"/>
              <a:gd name="connsiteX235" fmla="*/ 8924 w 9948"/>
              <a:gd name="connsiteY235" fmla="*/ 7675 h 10000"/>
              <a:gd name="connsiteX236" fmla="*/ 8871 w 9948"/>
              <a:gd name="connsiteY236" fmla="*/ 7598 h 10000"/>
              <a:gd name="connsiteX237" fmla="*/ 8772 w 9948"/>
              <a:gd name="connsiteY237" fmla="*/ 7598 h 10000"/>
              <a:gd name="connsiteX238" fmla="*/ 8772 w 9948"/>
              <a:gd name="connsiteY238" fmla="*/ 7520 h 10000"/>
              <a:gd name="connsiteX239" fmla="*/ 8924 w 9948"/>
              <a:gd name="connsiteY239" fmla="*/ 7287 h 10000"/>
              <a:gd name="connsiteX240" fmla="*/ 9391 w 9948"/>
              <a:gd name="connsiteY240" fmla="*/ 6590 h 10000"/>
              <a:gd name="connsiteX241" fmla="*/ 9590 w 9948"/>
              <a:gd name="connsiteY241" fmla="*/ 6512 h 10000"/>
              <a:gd name="connsiteX242" fmla="*/ 9639 w 9948"/>
              <a:gd name="connsiteY242" fmla="*/ 6590 h 10000"/>
              <a:gd name="connsiteX243" fmla="*/ 9693 w 9948"/>
              <a:gd name="connsiteY243" fmla="*/ 6512 h 10000"/>
              <a:gd name="connsiteX244" fmla="*/ 9843 w 9948"/>
              <a:gd name="connsiteY244" fmla="*/ 6590 h 10000"/>
              <a:gd name="connsiteX245" fmla="*/ 9900 w 9948"/>
              <a:gd name="connsiteY245" fmla="*/ 6434 h 10000"/>
              <a:gd name="connsiteX246" fmla="*/ 9948 w 9948"/>
              <a:gd name="connsiteY246" fmla="*/ 2868 h 10000"/>
              <a:gd name="connsiteX247" fmla="*/ 9948 w 9948"/>
              <a:gd name="connsiteY247" fmla="*/ 2636 h 10000"/>
              <a:gd name="connsiteX248" fmla="*/ 9590 w 9948"/>
              <a:gd name="connsiteY248" fmla="*/ 2480 h 10000"/>
              <a:gd name="connsiteX249" fmla="*/ 9181 w 9948"/>
              <a:gd name="connsiteY249" fmla="*/ 2325 h 10000"/>
              <a:gd name="connsiteX250" fmla="*/ 9077 w 9948"/>
              <a:gd name="connsiteY250" fmla="*/ 2636 h 10000"/>
              <a:gd name="connsiteX251" fmla="*/ 9181 w 9948"/>
              <a:gd name="connsiteY251" fmla="*/ 2868 h 10000"/>
              <a:gd name="connsiteX252" fmla="*/ 8871 w 9948"/>
              <a:gd name="connsiteY252" fmla="*/ 2868 h 10000"/>
              <a:gd name="connsiteX253" fmla="*/ 8820 w 9948"/>
              <a:gd name="connsiteY253" fmla="*/ 2868 h 10000"/>
              <a:gd name="connsiteX254" fmla="*/ 8716 w 9948"/>
              <a:gd name="connsiteY254" fmla="*/ 2946 h 10000"/>
              <a:gd name="connsiteX255" fmla="*/ 8564 w 9948"/>
              <a:gd name="connsiteY255" fmla="*/ 2714 h 10000"/>
              <a:gd name="connsiteX256" fmla="*/ 8458 w 9948"/>
              <a:gd name="connsiteY256" fmla="*/ 3178 h 10000"/>
              <a:gd name="connsiteX257" fmla="*/ 8362 w 9948"/>
              <a:gd name="connsiteY257" fmla="*/ 3101 h 10000"/>
              <a:gd name="connsiteX258" fmla="*/ 8256 w 9948"/>
              <a:gd name="connsiteY258" fmla="*/ 2791 h 10000"/>
              <a:gd name="connsiteX259" fmla="*/ 8309 w 9948"/>
              <a:gd name="connsiteY259" fmla="*/ 2403 h 10000"/>
              <a:gd name="connsiteX260" fmla="*/ 8204 w 9948"/>
              <a:gd name="connsiteY260" fmla="*/ 2170 h 10000"/>
              <a:gd name="connsiteX261" fmla="*/ 7898 w 9948"/>
              <a:gd name="connsiteY261" fmla="*/ 2016 h 10000"/>
              <a:gd name="connsiteX262" fmla="*/ 7791 w 9948"/>
              <a:gd name="connsiteY262" fmla="*/ 2016 h 10000"/>
              <a:gd name="connsiteX263" fmla="*/ 7743 w 9948"/>
              <a:gd name="connsiteY263" fmla="*/ 2170 h 10000"/>
              <a:gd name="connsiteX264" fmla="*/ 7791 w 9948"/>
              <a:gd name="connsiteY264" fmla="*/ 2325 h 10000"/>
              <a:gd name="connsiteX265" fmla="*/ 7387 w 9948"/>
              <a:gd name="connsiteY265" fmla="*/ 2248 h 10000"/>
              <a:gd name="connsiteX266" fmla="*/ 7435 w 9948"/>
              <a:gd name="connsiteY266" fmla="*/ 2016 h 10000"/>
              <a:gd name="connsiteX267" fmla="*/ 7179 w 9948"/>
              <a:gd name="connsiteY267" fmla="*/ 1938 h 10000"/>
              <a:gd name="connsiteX268" fmla="*/ 7025 w 9948"/>
              <a:gd name="connsiteY268" fmla="*/ 2093 h 10000"/>
              <a:gd name="connsiteX269" fmla="*/ 6726 w 9948"/>
              <a:gd name="connsiteY269" fmla="*/ 1861 h 10000"/>
              <a:gd name="connsiteX0" fmla="*/ 6761 w 10017"/>
              <a:gd name="connsiteY0" fmla="*/ 1861 h 10000"/>
              <a:gd name="connsiteX1" fmla="*/ 6761 w 10017"/>
              <a:gd name="connsiteY1" fmla="*/ 1861 h 10000"/>
              <a:gd name="connsiteX2" fmla="*/ 6701 w 10017"/>
              <a:gd name="connsiteY2" fmla="*/ 1938 h 10000"/>
              <a:gd name="connsiteX3" fmla="*/ 6761 w 10017"/>
              <a:gd name="connsiteY3" fmla="*/ 2093 h 10000"/>
              <a:gd name="connsiteX4" fmla="*/ 6545 w 10017"/>
              <a:gd name="connsiteY4" fmla="*/ 2248 h 10000"/>
              <a:gd name="connsiteX5" fmla="*/ 6493 w 10017"/>
              <a:gd name="connsiteY5" fmla="*/ 2248 h 10000"/>
              <a:gd name="connsiteX6" fmla="*/ 6545 w 10017"/>
              <a:gd name="connsiteY6" fmla="*/ 2016 h 10000"/>
              <a:gd name="connsiteX7" fmla="*/ 7062 w 10017"/>
              <a:gd name="connsiteY7" fmla="*/ 1318 h 10000"/>
              <a:gd name="connsiteX8" fmla="*/ 7062 w 10017"/>
              <a:gd name="connsiteY8" fmla="*/ 853 h 10000"/>
              <a:gd name="connsiteX9" fmla="*/ 6858 w 10017"/>
              <a:gd name="connsiteY9" fmla="*/ 543 h 10000"/>
              <a:gd name="connsiteX10" fmla="*/ 6598 w 10017"/>
              <a:gd name="connsiteY10" fmla="*/ 543 h 10000"/>
              <a:gd name="connsiteX11" fmla="*/ 6598 w 10017"/>
              <a:gd name="connsiteY11" fmla="*/ 698 h 10000"/>
              <a:gd name="connsiteX12" fmla="*/ 6441 w 10017"/>
              <a:gd name="connsiteY12" fmla="*/ 698 h 10000"/>
              <a:gd name="connsiteX13" fmla="*/ 6545 w 10017"/>
              <a:gd name="connsiteY13" fmla="*/ 387 h 10000"/>
              <a:gd name="connsiteX14" fmla="*/ 6291 w 10017"/>
              <a:gd name="connsiteY14" fmla="*/ 310 h 10000"/>
              <a:gd name="connsiteX15" fmla="*/ 6441 w 10017"/>
              <a:gd name="connsiteY15" fmla="*/ 155 h 10000"/>
              <a:gd name="connsiteX16" fmla="*/ 6291 w 10017"/>
              <a:gd name="connsiteY16" fmla="*/ 0 h 10000"/>
              <a:gd name="connsiteX17" fmla="*/ 6032 w 10017"/>
              <a:gd name="connsiteY17" fmla="*/ 387 h 10000"/>
              <a:gd name="connsiteX18" fmla="*/ 6032 w 10017"/>
              <a:gd name="connsiteY18" fmla="*/ 698 h 10000"/>
              <a:gd name="connsiteX19" fmla="*/ 5875 w 10017"/>
              <a:gd name="connsiteY19" fmla="*/ 698 h 10000"/>
              <a:gd name="connsiteX20" fmla="*/ 5413 w 10017"/>
              <a:gd name="connsiteY20" fmla="*/ 853 h 10000"/>
              <a:gd name="connsiteX21" fmla="*/ 4999 w 10017"/>
              <a:gd name="connsiteY21" fmla="*/ 1240 h 10000"/>
              <a:gd name="connsiteX22" fmla="*/ 4844 w 10017"/>
              <a:gd name="connsiteY22" fmla="*/ 1551 h 10000"/>
              <a:gd name="connsiteX23" fmla="*/ 4898 w 10017"/>
              <a:gd name="connsiteY23" fmla="*/ 1938 h 10000"/>
              <a:gd name="connsiteX24" fmla="*/ 4330 w 10017"/>
              <a:gd name="connsiteY24" fmla="*/ 2093 h 10000"/>
              <a:gd name="connsiteX25" fmla="*/ 4384 w 10017"/>
              <a:gd name="connsiteY25" fmla="*/ 2559 h 10000"/>
              <a:gd name="connsiteX26" fmla="*/ 4538 w 10017"/>
              <a:gd name="connsiteY26" fmla="*/ 2791 h 10000"/>
              <a:gd name="connsiteX27" fmla="*/ 4434 w 10017"/>
              <a:gd name="connsiteY27" fmla="*/ 2868 h 10000"/>
              <a:gd name="connsiteX28" fmla="*/ 4280 w 10017"/>
              <a:gd name="connsiteY28" fmla="*/ 2559 h 10000"/>
              <a:gd name="connsiteX29" fmla="*/ 4127 w 10017"/>
              <a:gd name="connsiteY29" fmla="*/ 2480 h 10000"/>
              <a:gd name="connsiteX30" fmla="*/ 4070 w 10017"/>
              <a:gd name="connsiteY30" fmla="*/ 2559 h 10000"/>
              <a:gd name="connsiteX31" fmla="*/ 3967 w 10017"/>
              <a:gd name="connsiteY31" fmla="*/ 2403 h 10000"/>
              <a:gd name="connsiteX32" fmla="*/ 3865 w 10017"/>
              <a:gd name="connsiteY32" fmla="*/ 2248 h 10000"/>
              <a:gd name="connsiteX33" fmla="*/ 3865 w 10017"/>
              <a:gd name="connsiteY33" fmla="*/ 2325 h 10000"/>
              <a:gd name="connsiteX34" fmla="*/ 3921 w 10017"/>
              <a:gd name="connsiteY34" fmla="*/ 2559 h 10000"/>
              <a:gd name="connsiteX35" fmla="*/ 3762 w 10017"/>
              <a:gd name="connsiteY35" fmla="*/ 2946 h 10000"/>
              <a:gd name="connsiteX36" fmla="*/ 3865 w 10017"/>
              <a:gd name="connsiteY36" fmla="*/ 3256 h 10000"/>
              <a:gd name="connsiteX37" fmla="*/ 3813 w 10017"/>
              <a:gd name="connsiteY37" fmla="*/ 3566 h 10000"/>
              <a:gd name="connsiteX38" fmla="*/ 3813 w 10017"/>
              <a:gd name="connsiteY38" fmla="*/ 3799 h 10000"/>
              <a:gd name="connsiteX39" fmla="*/ 3967 w 10017"/>
              <a:gd name="connsiteY39" fmla="*/ 3799 h 10000"/>
              <a:gd name="connsiteX40" fmla="*/ 3865 w 10017"/>
              <a:gd name="connsiteY40" fmla="*/ 3876 h 10000"/>
              <a:gd name="connsiteX41" fmla="*/ 3921 w 10017"/>
              <a:gd name="connsiteY41" fmla="*/ 4263 h 10000"/>
              <a:gd name="connsiteX42" fmla="*/ 3610 w 10017"/>
              <a:gd name="connsiteY42" fmla="*/ 4652 h 10000"/>
              <a:gd name="connsiteX43" fmla="*/ 3553 w 10017"/>
              <a:gd name="connsiteY43" fmla="*/ 4574 h 10000"/>
              <a:gd name="connsiteX44" fmla="*/ 3762 w 10017"/>
              <a:gd name="connsiteY44" fmla="*/ 4186 h 10000"/>
              <a:gd name="connsiteX45" fmla="*/ 3813 w 10017"/>
              <a:gd name="connsiteY45" fmla="*/ 3954 h 10000"/>
              <a:gd name="connsiteX46" fmla="*/ 3705 w 10017"/>
              <a:gd name="connsiteY46" fmla="*/ 3799 h 10000"/>
              <a:gd name="connsiteX47" fmla="*/ 3705 w 10017"/>
              <a:gd name="connsiteY47" fmla="*/ 3023 h 10000"/>
              <a:gd name="connsiteX48" fmla="*/ 3659 w 10017"/>
              <a:gd name="connsiteY48" fmla="*/ 2868 h 10000"/>
              <a:gd name="connsiteX49" fmla="*/ 3705 w 10017"/>
              <a:gd name="connsiteY49" fmla="*/ 2403 h 10000"/>
              <a:gd name="connsiteX50" fmla="*/ 3610 w 10017"/>
              <a:gd name="connsiteY50" fmla="*/ 2325 h 10000"/>
              <a:gd name="connsiteX51" fmla="*/ 3659 w 10017"/>
              <a:gd name="connsiteY51" fmla="*/ 2248 h 10000"/>
              <a:gd name="connsiteX52" fmla="*/ 3610 w 10017"/>
              <a:gd name="connsiteY52" fmla="*/ 2093 h 10000"/>
              <a:gd name="connsiteX53" fmla="*/ 3501 w 10017"/>
              <a:gd name="connsiteY53" fmla="*/ 2170 h 10000"/>
              <a:gd name="connsiteX54" fmla="*/ 3246 w 10017"/>
              <a:gd name="connsiteY54" fmla="*/ 3178 h 10000"/>
              <a:gd name="connsiteX55" fmla="*/ 3246 w 10017"/>
              <a:gd name="connsiteY55" fmla="*/ 3566 h 10000"/>
              <a:gd name="connsiteX56" fmla="*/ 3403 w 10017"/>
              <a:gd name="connsiteY56" fmla="*/ 3876 h 10000"/>
              <a:gd name="connsiteX57" fmla="*/ 3403 w 10017"/>
              <a:gd name="connsiteY57" fmla="*/ 4031 h 10000"/>
              <a:gd name="connsiteX58" fmla="*/ 3246 w 10017"/>
              <a:gd name="connsiteY58" fmla="*/ 3876 h 10000"/>
              <a:gd name="connsiteX59" fmla="*/ 2631 w 10017"/>
              <a:gd name="connsiteY59" fmla="*/ 3256 h 10000"/>
              <a:gd name="connsiteX60" fmla="*/ 2579 w 10017"/>
              <a:gd name="connsiteY60" fmla="*/ 3411 h 10000"/>
              <a:gd name="connsiteX61" fmla="*/ 2784 w 10017"/>
              <a:gd name="connsiteY61" fmla="*/ 3799 h 10000"/>
              <a:gd name="connsiteX62" fmla="*/ 2678 w 10017"/>
              <a:gd name="connsiteY62" fmla="*/ 3876 h 10000"/>
              <a:gd name="connsiteX63" fmla="*/ 2631 w 10017"/>
              <a:gd name="connsiteY63" fmla="*/ 3799 h 10000"/>
              <a:gd name="connsiteX64" fmla="*/ 2322 w 10017"/>
              <a:gd name="connsiteY64" fmla="*/ 3954 h 10000"/>
              <a:gd name="connsiteX65" fmla="*/ 2270 w 10017"/>
              <a:gd name="connsiteY65" fmla="*/ 4109 h 10000"/>
              <a:gd name="connsiteX66" fmla="*/ 2217 w 10017"/>
              <a:gd name="connsiteY66" fmla="*/ 3954 h 10000"/>
              <a:gd name="connsiteX67" fmla="*/ 2217 w 10017"/>
              <a:gd name="connsiteY67" fmla="*/ 3799 h 10000"/>
              <a:gd name="connsiteX68" fmla="*/ 1699 w 10017"/>
              <a:gd name="connsiteY68" fmla="*/ 4263 h 10000"/>
              <a:gd name="connsiteX69" fmla="*/ 1699 w 10017"/>
              <a:gd name="connsiteY69" fmla="*/ 4418 h 10000"/>
              <a:gd name="connsiteX70" fmla="*/ 1598 w 10017"/>
              <a:gd name="connsiteY70" fmla="*/ 4496 h 10000"/>
              <a:gd name="connsiteX71" fmla="*/ 1443 w 10017"/>
              <a:gd name="connsiteY71" fmla="*/ 4341 h 10000"/>
              <a:gd name="connsiteX72" fmla="*/ 1598 w 10017"/>
              <a:gd name="connsiteY72" fmla="*/ 4186 h 10000"/>
              <a:gd name="connsiteX73" fmla="*/ 1546 w 10017"/>
              <a:gd name="connsiteY73" fmla="*/ 3954 h 10000"/>
              <a:gd name="connsiteX74" fmla="*/ 1341 w 10017"/>
              <a:gd name="connsiteY74" fmla="*/ 3876 h 10000"/>
              <a:gd name="connsiteX75" fmla="*/ 1392 w 10017"/>
              <a:gd name="connsiteY75" fmla="*/ 4031 h 10000"/>
              <a:gd name="connsiteX76" fmla="*/ 1392 w 10017"/>
              <a:gd name="connsiteY76" fmla="*/ 4418 h 10000"/>
              <a:gd name="connsiteX77" fmla="*/ 1443 w 10017"/>
              <a:gd name="connsiteY77" fmla="*/ 4574 h 10000"/>
              <a:gd name="connsiteX78" fmla="*/ 1392 w 10017"/>
              <a:gd name="connsiteY78" fmla="*/ 4729 h 10000"/>
              <a:gd name="connsiteX79" fmla="*/ 1235 w 10017"/>
              <a:gd name="connsiteY79" fmla="*/ 4652 h 10000"/>
              <a:gd name="connsiteX80" fmla="*/ 1031 w 10017"/>
              <a:gd name="connsiteY80" fmla="*/ 4884 h 10000"/>
              <a:gd name="connsiteX81" fmla="*/ 1131 w 10017"/>
              <a:gd name="connsiteY81" fmla="*/ 5194 h 10000"/>
              <a:gd name="connsiteX82" fmla="*/ 823 w 10017"/>
              <a:gd name="connsiteY82" fmla="*/ 5039 h 10000"/>
              <a:gd name="connsiteX83" fmla="*/ 774 w 10017"/>
              <a:gd name="connsiteY83" fmla="*/ 5116 h 10000"/>
              <a:gd name="connsiteX84" fmla="*/ 878 w 10017"/>
              <a:gd name="connsiteY84" fmla="*/ 5349 h 10000"/>
              <a:gd name="connsiteX85" fmla="*/ 774 w 10017"/>
              <a:gd name="connsiteY85" fmla="*/ 5349 h 10000"/>
              <a:gd name="connsiteX86" fmla="*/ 620 w 10017"/>
              <a:gd name="connsiteY86" fmla="*/ 5194 h 10000"/>
              <a:gd name="connsiteX87" fmla="*/ 620 w 10017"/>
              <a:gd name="connsiteY87" fmla="*/ 4729 h 10000"/>
              <a:gd name="connsiteX88" fmla="*/ 467 w 10017"/>
              <a:gd name="connsiteY88" fmla="*/ 4574 h 10000"/>
              <a:gd name="connsiteX89" fmla="*/ 412 w 10017"/>
              <a:gd name="connsiteY89" fmla="*/ 4418 h 10000"/>
              <a:gd name="connsiteX90" fmla="*/ 515 w 10017"/>
              <a:gd name="connsiteY90" fmla="*/ 4496 h 10000"/>
              <a:gd name="connsiteX91" fmla="*/ 926 w 10017"/>
              <a:gd name="connsiteY91" fmla="*/ 4729 h 10000"/>
              <a:gd name="connsiteX92" fmla="*/ 1181 w 10017"/>
              <a:gd name="connsiteY92" fmla="*/ 4496 h 10000"/>
              <a:gd name="connsiteX93" fmla="*/ 1131 w 10017"/>
              <a:gd name="connsiteY93" fmla="*/ 4263 h 10000"/>
              <a:gd name="connsiteX94" fmla="*/ 823 w 10017"/>
              <a:gd name="connsiteY94" fmla="*/ 3799 h 10000"/>
              <a:gd name="connsiteX95" fmla="*/ 515 w 10017"/>
              <a:gd name="connsiteY95" fmla="*/ 3644 h 10000"/>
              <a:gd name="connsiteX96" fmla="*/ 515 w 10017"/>
              <a:gd name="connsiteY96" fmla="*/ 3566 h 10000"/>
              <a:gd name="connsiteX97" fmla="*/ 412 w 10017"/>
              <a:gd name="connsiteY97" fmla="*/ 3488 h 10000"/>
              <a:gd name="connsiteX98" fmla="*/ 306 w 10017"/>
              <a:gd name="connsiteY98" fmla="*/ 3566 h 10000"/>
              <a:gd name="connsiteX99" fmla="*/ 306 w 10017"/>
              <a:gd name="connsiteY99" fmla="*/ 3644 h 10000"/>
              <a:gd name="connsiteX100" fmla="*/ 257 w 10017"/>
              <a:gd name="connsiteY100" fmla="*/ 3644 h 10000"/>
              <a:gd name="connsiteX101" fmla="*/ 155 w 10017"/>
              <a:gd name="connsiteY101" fmla="*/ 3799 h 10000"/>
              <a:gd name="connsiteX102" fmla="*/ 155 w 10017"/>
              <a:gd name="connsiteY102" fmla="*/ 4031 h 10000"/>
              <a:gd name="connsiteX103" fmla="*/ 257 w 10017"/>
              <a:gd name="connsiteY103" fmla="*/ 4186 h 10000"/>
              <a:gd name="connsiteX104" fmla="*/ 207 w 10017"/>
              <a:gd name="connsiteY104" fmla="*/ 4418 h 10000"/>
              <a:gd name="connsiteX105" fmla="*/ 257 w 10017"/>
              <a:gd name="connsiteY105" fmla="*/ 4807 h 10000"/>
              <a:gd name="connsiteX106" fmla="*/ 207 w 10017"/>
              <a:gd name="connsiteY106" fmla="*/ 5039 h 10000"/>
              <a:gd name="connsiteX107" fmla="*/ 306 w 10017"/>
              <a:gd name="connsiteY107" fmla="*/ 5271 h 10000"/>
              <a:gd name="connsiteX108" fmla="*/ 257 w 10017"/>
              <a:gd name="connsiteY108" fmla="*/ 5426 h 10000"/>
              <a:gd name="connsiteX109" fmla="*/ 359 w 10017"/>
              <a:gd name="connsiteY109" fmla="*/ 5582 h 10000"/>
              <a:gd name="connsiteX110" fmla="*/ 359 w 10017"/>
              <a:gd name="connsiteY110" fmla="*/ 5659 h 10000"/>
              <a:gd name="connsiteX111" fmla="*/ 207 w 10017"/>
              <a:gd name="connsiteY111" fmla="*/ 6047 h 10000"/>
              <a:gd name="connsiteX112" fmla="*/ 47 w 10017"/>
              <a:gd name="connsiteY112" fmla="*/ 6202 h 10000"/>
              <a:gd name="connsiteX113" fmla="*/ 101 w 10017"/>
              <a:gd name="connsiteY113" fmla="*/ 6202 h 10000"/>
              <a:gd name="connsiteX114" fmla="*/ 207 w 10017"/>
              <a:gd name="connsiteY114" fmla="*/ 6356 h 10000"/>
              <a:gd name="connsiteX115" fmla="*/ 101 w 10017"/>
              <a:gd name="connsiteY115" fmla="*/ 6512 h 10000"/>
              <a:gd name="connsiteX116" fmla="*/ 47 w 10017"/>
              <a:gd name="connsiteY116" fmla="*/ 6590 h 10000"/>
              <a:gd name="connsiteX117" fmla="*/ 0 w 10017"/>
              <a:gd name="connsiteY117" fmla="*/ 6590 h 10000"/>
              <a:gd name="connsiteX118" fmla="*/ 47 w 10017"/>
              <a:gd name="connsiteY118" fmla="*/ 6822 h 10000"/>
              <a:gd name="connsiteX119" fmla="*/ 47 w 10017"/>
              <a:gd name="connsiteY119" fmla="*/ 6900 h 10000"/>
              <a:gd name="connsiteX120" fmla="*/ 47 w 10017"/>
              <a:gd name="connsiteY120" fmla="*/ 6977 h 10000"/>
              <a:gd name="connsiteX121" fmla="*/ 47 w 10017"/>
              <a:gd name="connsiteY121" fmla="*/ 7054 h 10000"/>
              <a:gd name="connsiteX122" fmla="*/ 101 w 10017"/>
              <a:gd name="connsiteY122" fmla="*/ 7209 h 10000"/>
              <a:gd name="connsiteX123" fmla="*/ 257 w 10017"/>
              <a:gd name="connsiteY123" fmla="*/ 7287 h 10000"/>
              <a:gd name="connsiteX124" fmla="*/ 306 w 10017"/>
              <a:gd name="connsiteY124" fmla="*/ 7364 h 10000"/>
              <a:gd name="connsiteX125" fmla="*/ 306 w 10017"/>
              <a:gd name="connsiteY125" fmla="*/ 7520 h 10000"/>
              <a:gd name="connsiteX126" fmla="*/ 412 w 10017"/>
              <a:gd name="connsiteY126" fmla="*/ 7752 h 10000"/>
              <a:gd name="connsiteX127" fmla="*/ 467 w 10017"/>
              <a:gd name="connsiteY127" fmla="*/ 7752 h 10000"/>
              <a:gd name="connsiteX128" fmla="*/ 412 w 10017"/>
              <a:gd name="connsiteY128" fmla="*/ 7907 h 10000"/>
              <a:gd name="connsiteX129" fmla="*/ 359 w 10017"/>
              <a:gd name="connsiteY129" fmla="*/ 7830 h 10000"/>
              <a:gd name="connsiteX130" fmla="*/ 359 w 10017"/>
              <a:gd name="connsiteY130" fmla="*/ 7907 h 10000"/>
              <a:gd name="connsiteX131" fmla="*/ 412 w 10017"/>
              <a:gd name="connsiteY131" fmla="*/ 8062 h 10000"/>
              <a:gd name="connsiteX132" fmla="*/ 569 w 10017"/>
              <a:gd name="connsiteY132" fmla="*/ 8062 h 10000"/>
              <a:gd name="connsiteX133" fmla="*/ 620 w 10017"/>
              <a:gd name="connsiteY133" fmla="*/ 8140 h 10000"/>
              <a:gd name="connsiteX134" fmla="*/ 569 w 10017"/>
              <a:gd name="connsiteY134" fmla="*/ 8140 h 10000"/>
              <a:gd name="connsiteX135" fmla="*/ 620 w 10017"/>
              <a:gd name="connsiteY135" fmla="*/ 8217 h 10000"/>
              <a:gd name="connsiteX136" fmla="*/ 669 w 10017"/>
              <a:gd name="connsiteY136" fmla="*/ 8217 h 10000"/>
              <a:gd name="connsiteX137" fmla="*/ 721 w 10017"/>
              <a:gd name="connsiteY137" fmla="*/ 8372 h 10000"/>
              <a:gd name="connsiteX138" fmla="*/ 774 w 10017"/>
              <a:gd name="connsiteY138" fmla="*/ 8449 h 10000"/>
              <a:gd name="connsiteX139" fmla="*/ 823 w 10017"/>
              <a:gd name="connsiteY139" fmla="*/ 8372 h 10000"/>
              <a:gd name="connsiteX140" fmla="*/ 1084 w 10017"/>
              <a:gd name="connsiteY140" fmla="*/ 8605 h 10000"/>
              <a:gd name="connsiteX141" fmla="*/ 1031 w 10017"/>
              <a:gd name="connsiteY141" fmla="*/ 8915 h 10000"/>
              <a:gd name="connsiteX142" fmla="*/ 979 w 10017"/>
              <a:gd name="connsiteY142" fmla="*/ 8838 h 10000"/>
              <a:gd name="connsiteX143" fmla="*/ 926 w 10017"/>
              <a:gd name="connsiteY143" fmla="*/ 8915 h 10000"/>
              <a:gd name="connsiteX144" fmla="*/ 926 w 10017"/>
              <a:gd name="connsiteY144" fmla="*/ 9070 h 10000"/>
              <a:gd name="connsiteX145" fmla="*/ 979 w 10017"/>
              <a:gd name="connsiteY145" fmla="*/ 8993 h 10000"/>
              <a:gd name="connsiteX146" fmla="*/ 1031 w 10017"/>
              <a:gd name="connsiteY146" fmla="*/ 9070 h 10000"/>
              <a:gd name="connsiteX147" fmla="*/ 878 w 10017"/>
              <a:gd name="connsiteY147" fmla="*/ 9147 h 10000"/>
              <a:gd name="connsiteX148" fmla="*/ 926 w 10017"/>
              <a:gd name="connsiteY148" fmla="*/ 9225 h 10000"/>
              <a:gd name="connsiteX149" fmla="*/ 823 w 10017"/>
              <a:gd name="connsiteY149" fmla="*/ 9380 h 10000"/>
              <a:gd name="connsiteX150" fmla="*/ 774 w 10017"/>
              <a:gd name="connsiteY150" fmla="*/ 9380 h 10000"/>
              <a:gd name="connsiteX151" fmla="*/ 823 w 10017"/>
              <a:gd name="connsiteY151" fmla="*/ 9380 h 10000"/>
              <a:gd name="connsiteX152" fmla="*/ 1031 w 10017"/>
              <a:gd name="connsiteY152" fmla="*/ 9691 h 10000"/>
              <a:gd name="connsiteX153" fmla="*/ 1290 w 10017"/>
              <a:gd name="connsiteY153" fmla="*/ 9691 h 10000"/>
              <a:gd name="connsiteX154" fmla="*/ 1392 w 10017"/>
              <a:gd name="connsiteY154" fmla="*/ 9768 h 10000"/>
              <a:gd name="connsiteX155" fmla="*/ 1495 w 10017"/>
              <a:gd name="connsiteY155" fmla="*/ 9768 h 10000"/>
              <a:gd name="connsiteX156" fmla="*/ 1598 w 10017"/>
              <a:gd name="connsiteY156" fmla="*/ 9923 h 10000"/>
              <a:gd name="connsiteX157" fmla="*/ 1649 w 10017"/>
              <a:gd name="connsiteY157" fmla="*/ 10000 h 10000"/>
              <a:gd name="connsiteX158" fmla="*/ 1699 w 10017"/>
              <a:gd name="connsiteY158" fmla="*/ 10000 h 10000"/>
              <a:gd name="connsiteX159" fmla="*/ 1754 w 10017"/>
              <a:gd name="connsiteY159" fmla="*/ 9923 h 10000"/>
              <a:gd name="connsiteX160" fmla="*/ 1649 w 10017"/>
              <a:gd name="connsiteY160" fmla="*/ 9768 h 10000"/>
              <a:gd name="connsiteX161" fmla="*/ 1649 w 10017"/>
              <a:gd name="connsiteY161" fmla="*/ 9613 h 10000"/>
              <a:gd name="connsiteX162" fmla="*/ 1598 w 10017"/>
              <a:gd name="connsiteY162" fmla="*/ 9457 h 10000"/>
              <a:gd name="connsiteX163" fmla="*/ 1699 w 10017"/>
              <a:gd name="connsiteY163" fmla="*/ 9225 h 10000"/>
              <a:gd name="connsiteX164" fmla="*/ 1754 w 10017"/>
              <a:gd name="connsiteY164" fmla="*/ 9302 h 10000"/>
              <a:gd name="connsiteX165" fmla="*/ 1803 w 10017"/>
              <a:gd name="connsiteY165" fmla="*/ 9225 h 10000"/>
              <a:gd name="connsiteX166" fmla="*/ 1803 w 10017"/>
              <a:gd name="connsiteY166" fmla="*/ 9147 h 10000"/>
              <a:gd name="connsiteX167" fmla="*/ 1754 w 10017"/>
              <a:gd name="connsiteY167" fmla="*/ 9147 h 10000"/>
              <a:gd name="connsiteX168" fmla="*/ 1803 w 10017"/>
              <a:gd name="connsiteY168" fmla="*/ 9070 h 10000"/>
              <a:gd name="connsiteX169" fmla="*/ 1754 w 10017"/>
              <a:gd name="connsiteY169" fmla="*/ 8915 h 10000"/>
              <a:gd name="connsiteX170" fmla="*/ 1649 w 10017"/>
              <a:gd name="connsiteY170" fmla="*/ 8915 h 10000"/>
              <a:gd name="connsiteX171" fmla="*/ 1598 w 10017"/>
              <a:gd name="connsiteY171" fmla="*/ 8760 h 10000"/>
              <a:gd name="connsiteX172" fmla="*/ 1649 w 10017"/>
              <a:gd name="connsiteY172" fmla="*/ 8372 h 10000"/>
              <a:gd name="connsiteX173" fmla="*/ 1754 w 10017"/>
              <a:gd name="connsiteY173" fmla="*/ 8528 h 10000"/>
              <a:gd name="connsiteX174" fmla="*/ 1803 w 10017"/>
              <a:gd name="connsiteY174" fmla="*/ 8528 h 10000"/>
              <a:gd name="connsiteX175" fmla="*/ 1754 w 10017"/>
              <a:gd name="connsiteY175" fmla="*/ 8372 h 10000"/>
              <a:gd name="connsiteX176" fmla="*/ 1908 w 10017"/>
              <a:gd name="connsiteY176" fmla="*/ 8140 h 10000"/>
              <a:gd name="connsiteX177" fmla="*/ 2012 w 10017"/>
              <a:gd name="connsiteY177" fmla="*/ 8217 h 10000"/>
              <a:gd name="connsiteX178" fmla="*/ 2062 w 10017"/>
              <a:gd name="connsiteY178" fmla="*/ 8140 h 10000"/>
              <a:gd name="connsiteX179" fmla="*/ 2165 w 10017"/>
              <a:gd name="connsiteY179" fmla="*/ 8217 h 10000"/>
              <a:gd name="connsiteX180" fmla="*/ 2322 w 10017"/>
              <a:gd name="connsiteY180" fmla="*/ 8372 h 10000"/>
              <a:gd name="connsiteX181" fmla="*/ 2421 w 10017"/>
              <a:gd name="connsiteY181" fmla="*/ 8295 h 10000"/>
              <a:gd name="connsiteX182" fmla="*/ 2527 w 10017"/>
              <a:gd name="connsiteY182" fmla="*/ 8295 h 10000"/>
              <a:gd name="connsiteX183" fmla="*/ 2579 w 10017"/>
              <a:gd name="connsiteY183" fmla="*/ 8372 h 10000"/>
              <a:gd name="connsiteX184" fmla="*/ 2784 w 10017"/>
              <a:gd name="connsiteY184" fmla="*/ 8372 h 10000"/>
              <a:gd name="connsiteX185" fmla="*/ 2833 w 10017"/>
              <a:gd name="connsiteY185" fmla="*/ 8217 h 10000"/>
              <a:gd name="connsiteX186" fmla="*/ 2678 w 10017"/>
              <a:gd name="connsiteY186" fmla="*/ 8140 h 10000"/>
              <a:gd name="connsiteX187" fmla="*/ 2784 w 10017"/>
              <a:gd name="connsiteY187" fmla="*/ 8062 h 10000"/>
              <a:gd name="connsiteX188" fmla="*/ 2730 w 10017"/>
              <a:gd name="connsiteY188" fmla="*/ 7985 h 10000"/>
              <a:gd name="connsiteX189" fmla="*/ 2784 w 10017"/>
              <a:gd name="connsiteY189" fmla="*/ 7907 h 10000"/>
              <a:gd name="connsiteX190" fmla="*/ 2784 w 10017"/>
              <a:gd name="connsiteY190" fmla="*/ 7675 h 10000"/>
              <a:gd name="connsiteX191" fmla="*/ 2885 w 10017"/>
              <a:gd name="connsiteY191" fmla="*/ 7752 h 10000"/>
              <a:gd name="connsiteX192" fmla="*/ 3351 w 10017"/>
              <a:gd name="connsiteY192" fmla="*/ 7520 h 10000"/>
              <a:gd name="connsiteX193" fmla="*/ 3351 w 10017"/>
              <a:gd name="connsiteY193" fmla="*/ 7442 h 10000"/>
              <a:gd name="connsiteX194" fmla="*/ 3403 w 10017"/>
              <a:gd name="connsiteY194" fmla="*/ 7442 h 10000"/>
              <a:gd name="connsiteX195" fmla="*/ 3553 w 10017"/>
              <a:gd name="connsiteY195" fmla="*/ 7442 h 10000"/>
              <a:gd name="connsiteX196" fmla="*/ 3610 w 10017"/>
              <a:gd name="connsiteY196" fmla="*/ 7598 h 10000"/>
              <a:gd name="connsiteX197" fmla="*/ 3610 w 10017"/>
              <a:gd name="connsiteY197" fmla="*/ 7675 h 10000"/>
              <a:gd name="connsiteX198" fmla="*/ 3659 w 10017"/>
              <a:gd name="connsiteY198" fmla="*/ 7675 h 10000"/>
              <a:gd name="connsiteX199" fmla="*/ 3762 w 10017"/>
              <a:gd name="connsiteY199" fmla="*/ 7752 h 10000"/>
              <a:gd name="connsiteX200" fmla="*/ 3762 w 10017"/>
              <a:gd name="connsiteY200" fmla="*/ 7830 h 10000"/>
              <a:gd name="connsiteX201" fmla="*/ 3865 w 10017"/>
              <a:gd name="connsiteY201" fmla="*/ 7830 h 10000"/>
              <a:gd name="connsiteX202" fmla="*/ 3967 w 10017"/>
              <a:gd name="connsiteY202" fmla="*/ 7675 h 10000"/>
              <a:gd name="connsiteX203" fmla="*/ 4070 w 10017"/>
              <a:gd name="connsiteY203" fmla="*/ 7598 h 10000"/>
              <a:gd name="connsiteX204" fmla="*/ 4127 w 10017"/>
              <a:gd name="connsiteY204" fmla="*/ 7830 h 10000"/>
              <a:gd name="connsiteX205" fmla="*/ 4330 w 10017"/>
              <a:gd name="connsiteY205" fmla="*/ 8372 h 10000"/>
              <a:gd name="connsiteX206" fmla="*/ 4384 w 10017"/>
              <a:gd name="connsiteY206" fmla="*/ 8217 h 10000"/>
              <a:gd name="connsiteX207" fmla="*/ 4434 w 10017"/>
              <a:gd name="connsiteY207" fmla="*/ 8372 h 10000"/>
              <a:gd name="connsiteX208" fmla="*/ 4588 w 10017"/>
              <a:gd name="connsiteY208" fmla="*/ 8295 h 10000"/>
              <a:gd name="connsiteX209" fmla="*/ 4745 w 10017"/>
              <a:gd name="connsiteY209" fmla="*/ 8528 h 10000"/>
              <a:gd name="connsiteX210" fmla="*/ 4844 w 10017"/>
              <a:gd name="connsiteY210" fmla="*/ 8605 h 10000"/>
              <a:gd name="connsiteX211" fmla="*/ 4844 w 10017"/>
              <a:gd name="connsiteY211" fmla="*/ 8528 h 10000"/>
              <a:gd name="connsiteX212" fmla="*/ 4898 w 10017"/>
              <a:gd name="connsiteY212" fmla="*/ 8683 h 10000"/>
              <a:gd name="connsiteX213" fmla="*/ 4844 w 10017"/>
              <a:gd name="connsiteY213" fmla="*/ 8760 h 10000"/>
              <a:gd name="connsiteX214" fmla="*/ 4950 w 10017"/>
              <a:gd name="connsiteY214" fmla="*/ 8683 h 10000"/>
              <a:gd name="connsiteX215" fmla="*/ 4999 w 10017"/>
              <a:gd name="connsiteY215" fmla="*/ 8605 h 10000"/>
              <a:gd name="connsiteX216" fmla="*/ 5256 w 10017"/>
              <a:gd name="connsiteY216" fmla="*/ 8372 h 10000"/>
              <a:gd name="connsiteX217" fmla="*/ 5463 w 10017"/>
              <a:gd name="connsiteY217" fmla="*/ 8449 h 10000"/>
              <a:gd name="connsiteX218" fmla="*/ 5566 w 10017"/>
              <a:gd name="connsiteY218" fmla="*/ 8528 h 10000"/>
              <a:gd name="connsiteX219" fmla="*/ 5770 w 10017"/>
              <a:gd name="connsiteY219" fmla="*/ 8528 h 10000"/>
              <a:gd name="connsiteX220" fmla="*/ 5770 w 10017"/>
              <a:gd name="connsiteY220" fmla="*/ 8372 h 10000"/>
              <a:gd name="connsiteX221" fmla="*/ 5770 w 10017"/>
              <a:gd name="connsiteY221" fmla="*/ 8217 h 10000"/>
              <a:gd name="connsiteX222" fmla="*/ 5875 w 10017"/>
              <a:gd name="connsiteY222" fmla="*/ 8140 h 10000"/>
              <a:gd name="connsiteX223" fmla="*/ 6080 w 10017"/>
              <a:gd name="connsiteY223" fmla="*/ 8217 h 10000"/>
              <a:gd name="connsiteX224" fmla="*/ 6185 w 10017"/>
              <a:gd name="connsiteY224" fmla="*/ 8449 h 10000"/>
              <a:gd name="connsiteX225" fmla="*/ 6236 w 10017"/>
              <a:gd name="connsiteY225" fmla="*/ 8449 h 10000"/>
              <a:gd name="connsiteX226" fmla="*/ 6340 w 10017"/>
              <a:gd name="connsiteY226" fmla="*/ 8372 h 10000"/>
              <a:gd name="connsiteX227" fmla="*/ 6653 w 10017"/>
              <a:gd name="connsiteY227" fmla="*/ 8605 h 10000"/>
              <a:gd name="connsiteX228" fmla="*/ 6805 w 10017"/>
              <a:gd name="connsiteY228" fmla="*/ 8683 h 10000"/>
              <a:gd name="connsiteX229" fmla="*/ 7010 w 10017"/>
              <a:gd name="connsiteY229" fmla="*/ 8605 h 10000"/>
              <a:gd name="connsiteX230" fmla="*/ 7113 w 10017"/>
              <a:gd name="connsiteY230" fmla="*/ 8449 h 10000"/>
              <a:gd name="connsiteX231" fmla="*/ 7268 w 10017"/>
              <a:gd name="connsiteY231" fmla="*/ 8528 h 10000"/>
              <a:gd name="connsiteX232" fmla="*/ 7369 w 10017"/>
              <a:gd name="connsiteY232" fmla="*/ 8605 h 10000"/>
              <a:gd name="connsiteX233" fmla="*/ 9124 w 10017"/>
              <a:gd name="connsiteY233" fmla="*/ 7675 h 10000"/>
              <a:gd name="connsiteX234" fmla="*/ 9023 w 10017"/>
              <a:gd name="connsiteY234" fmla="*/ 7675 h 10000"/>
              <a:gd name="connsiteX235" fmla="*/ 8971 w 10017"/>
              <a:gd name="connsiteY235" fmla="*/ 7675 h 10000"/>
              <a:gd name="connsiteX236" fmla="*/ 8917 w 10017"/>
              <a:gd name="connsiteY236" fmla="*/ 7598 h 10000"/>
              <a:gd name="connsiteX237" fmla="*/ 8818 w 10017"/>
              <a:gd name="connsiteY237" fmla="*/ 7598 h 10000"/>
              <a:gd name="connsiteX238" fmla="*/ 8818 w 10017"/>
              <a:gd name="connsiteY238" fmla="*/ 7520 h 10000"/>
              <a:gd name="connsiteX239" fmla="*/ 8971 w 10017"/>
              <a:gd name="connsiteY239" fmla="*/ 7287 h 10000"/>
              <a:gd name="connsiteX240" fmla="*/ 9440 w 10017"/>
              <a:gd name="connsiteY240" fmla="*/ 6590 h 10000"/>
              <a:gd name="connsiteX241" fmla="*/ 9640 w 10017"/>
              <a:gd name="connsiteY241" fmla="*/ 6512 h 10000"/>
              <a:gd name="connsiteX242" fmla="*/ 9689 w 10017"/>
              <a:gd name="connsiteY242" fmla="*/ 6590 h 10000"/>
              <a:gd name="connsiteX243" fmla="*/ 9744 w 10017"/>
              <a:gd name="connsiteY243" fmla="*/ 6512 h 10000"/>
              <a:gd name="connsiteX244" fmla="*/ 9894 w 10017"/>
              <a:gd name="connsiteY244" fmla="*/ 6590 h 10000"/>
              <a:gd name="connsiteX245" fmla="*/ 9952 w 10017"/>
              <a:gd name="connsiteY245" fmla="*/ 6434 h 10000"/>
              <a:gd name="connsiteX246" fmla="*/ 10000 w 10017"/>
              <a:gd name="connsiteY246" fmla="*/ 2636 h 10000"/>
              <a:gd name="connsiteX247" fmla="*/ 9640 w 10017"/>
              <a:gd name="connsiteY247" fmla="*/ 2480 h 10000"/>
              <a:gd name="connsiteX248" fmla="*/ 9229 w 10017"/>
              <a:gd name="connsiteY248" fmla="*/ 2325 h 10000"/>
              <a:gd name="connsiteX249" fmla="*/ 9124 w 10017"/>
              <a:gd name="connsiteY249" fmla="*/ 2636 h 10000"/>
              <a:gd name="connsiteX250" fmla="*/ 9229 w 10017"/>
              <a:gd name="connsiteY250" fmla="*/ 2868 h 10000"/>
              <a:gd name="connsiteX251" fmla="*/ 8917 w 10017"/>
              <a:gd name="connsiteY251" fmla="*/ 2868 h 10000"/>
              <a:gd name="connsiteX252" fmla="*/ 8866 w 10017"/>
              <a:gd name="connsiteY252" fmla="*/ 2868 h 10000"/>
              <a:gd name="connsiteX253" fmla="*/ 8762 w 10017"/>
              <a:gd name="connsiteY253" fmla="*/ 2946 h 10000"/>
              <a:gd name="connsiteX254" fmla="*/ 8609 w 10017"/>
              <a:gd name="connsiteY254" fmla="*/ 2714 h 10000"/>
              <a:gd name="connsiteX255" fmla="*/ 8502 w 10017"/>
              <a:gd name="connsiteY255" fmla="*/ 3178 h 10000"/>
              <a:gd name="connsiteX256" fmla="*/ 8406 w 10017"/>
              <a:gd name="connsiteY256" fmla="*/ 3101 h 10000"/>
              <a:gd name="connsiteX257" fmla="*/ 8299 w 10017"/>
              <a:gd name="connsiteY257" fmla="*/ 2791 h 10000"/>
              <a:gd name="connsiteX258" fmla="*/ 8352 w 10017"/>
              <a:gd name="connsiteY258" fmla="*/ 2403 h 10000"/>
              <a:gd name="connsiteX259" fmla="*/ 8247 w 10017"/>
              <a:gd name="connsiteY259" fmla="*/ 2170 h 10000"/>
              <a:gd name="connsiteX260" fmla="*/ 7939 w 10017"/>
              <a:gd name="connsiteY260" fmla="*/ 2016 h 10000"/>
              <a:gd name="connsiteX261" fmla="*/ 7832 w 10017"/>
              <a:gd name="connsiteY261" fmla="*/ 2016 h 10000"/>
              <a:gd name="connsiteX262" fmla="*/ 7783 w 10017"/>
              <a:gd name="connsiteY262" fmla="*/ 2170 h 10000"/>
              <a:gd name="connsiteX263" fmla="*/ 7832 w 10017"/>
              <a:gd name="connsiteY263" fmla="*/ 2325 h 10000"/>
              <a:gd name="connsiteX264" fmla="*/ 7426 w 10017"/>
              <a:gd name="connsiteY264" fmla="*/ 2248 h 10000"/>
              <a:gd name="connsiteX265" fmla="*/ 7474 w 10017"/>
              <a:gd name="connsiteY265" fmla="*/ 2016 h 10000"/>
              <a:gd name="connsiteX266" fmla="*/ 7217 w 10017"/>
              <a:gd name="connsiteY266" fmla="*/ 1938 h 10000"/>
              <a:gd name="connsiteX267" fmla="*/ 7062 w 10017"/>
              <a:gd name="connsiteY267" fmla="*/ 2093 h 10000"/>
              <a:gd name="connsiteX268" fmla="*/ 6761 w 10017"/>
              <a:gd name="connsiteY268" fmla="*/ 1861 h 10000"/>
              <a:gd name="connsiteX0" fmla="*/ 6761 w 9952"/>
              <a:gd name="connsiteY0" fmla="*/ 1861 h 10000"/>
              <a:gd name="connsiteX1" fmla="*/ 6761 w 9952"/>
              <a:gd name="connsiteY1" fmla="*/ 1861 h 10000"/>
              <a:gd name="connsiteX2" fmla="*/ 6701 w 9952"/>
              <a:gd name="connsiteY2" fmla="*/ 1938 h 10000"/>
              <a:gd name="connsiteX3" fmla="*/ 6761 w 9952"/>
              <a:gd name="connsiteY3" fmla="*/ 2093 h 10000"/>
              <a:gd name="connsiteX4" fmla="*/ 6545 w 9952"/>
              <a:gd name="connsiteY4" fmla="*/ 2248 h 10000"/>
              <a:gd name="connsiteX5" fmla="*/ 6493 w 9952"/>
              <a:gd name="connsiteY5" fmla="*/ 2248 h 10000"/>
              <a:gd name="connsiteX6" fmla="*/ 6545 w 9952"/>
              <a:gd name="connsiteY6" fmla="*/ 2016 h 10000"/>
              <a:gd name="connsiteX7" fmla="*/ 7062 w 9952"/>
              <a:gd name="connsiteY7" fmla="*/ 1318 h 10000"/>
              <a:gd name="connsiteX8" fmla="*/ 7062 w 9952"/>
              <a:gd name="connsiteY8" fmla="*/ 853 h 10000"/>
              <a:gd name="connsiteX9" fmla="*/ 6858 w 9952"/>
              <a:gd name="connsiteY9" fmla="*/ 543 h 10000"/>
              <a:gd name="connsiteX10" fmla="*/ 6598 w 9952"/>
              <a:gd name="connsiteY10" fmla="*/ 543 h 10000"/>
              <a:gd name="connsiteX11" fmla="*/ 6598 w 9952"/>
              <a:gd name="connsiteY11" fmla="*/ 698 h 10000"/>
              <a:gd name="connsiteX12" fmla="*/ 6441 w 9952"/>
              <a:gd name="connsiteY12" fmla="*/ 698 h 10000"/>
              <a:gd name="connsiteX13" fmla="*/ 6545 w 9952"/>
              <a:gd name="connsiteY13" fmla="*/ 387 h 10000"/>
              <a:gd name="connsiteX14" fmla="*/ 6291 w 9952"/>
              <a:gd name="connsiteY14" fmla="*/ 310 h 10000"/>
              <a:gd name="connsiteX15" fmla="*/ 6441 w 9952"/>
              <a:gd name="connsiteY15" fmla="*/ 155 h 10000"/>
              <a:gd name="connsiteX16" fmla="*/ 6291 w 9952"/>
              <a:gd name="connsiteY16" fmla="*/ 0 h 10000"/>
              <a:gd name="connsiteX17" fmla="*/ 6032 w 9952"/>
              <a:gd name="connsiteY17" fmla="*/ 387 h 10000"/>
              <a:gd name="connsiteX18" fmla="*/ 6032 w 9952"/>
              <a:gd name="connsiteY18" fmla="*/ 698 h 10000"/>
              <a:gd name="connsiteX19" fmla="*/ 5875 w 9952"/>
              <a:gd name="connsiteY19" fmla="*/ 698 h 10000"/>
              <a:gd name="connsiteX20" fmla="*/ 5413 w 9952"/>
              <a:gd name="connsiteY20" fmla="*/ 853 h 10000"/>
              <a:gd name="connsiteX21" fmla="*/ 4999 w 9952"/>
              <a:gd name="connsiteY21" fmla="*/ 1240 h 10000"/>
              <a:gd name="connsiteX22" fmla="*/ 4844 w 9952"/>
              <a:gd name="connsiteY22" fmla="*/ 1551 h 10000"/>
              <a:gd name="connsiteX23" fmla="*/ 4898 w 9952"/>
              <a:gd name="connsiteY23" fmla="*/ 1938 h 10000"/>
              <a:gd name="connsiteX24" fmla="*/ 4330 w 9952"/>
              <a:gd name="connsiteY24" fmla="*/ 2093 h 10000"/>
              <a:gd name="connsiteX25" fmla="*/ 4384 w 9952"/>
              <a:gd name="connsiteY25" fmla="*/ 2559 h 10000"/>
              <a:gd name="connsiteX26" fmla="*/ 4538 w 9952"/>
              <a:gd name="connsiteY26" fmla="*/ 2791 h 10000"/>
              <a:gd name="connsiteX27" fmla="*/ 4434 w 9952"/>
              <a:gd name="connsiteY27" fmla="*/ 2868 h 10000"/>
              <a:gd name="connsiteX28" fmla="*/ 4280 w 9952"/>
              <a:gd name="connsiteY28" fmla="*/ 2559 h 10000"/>
              <a:gd name="connsiteX29" fmla="*/ 4127 w 9952"/>
              <a:gd name="connsiteY29" fmla="*/ 2480 h 10000"/>
              <a:gd name="connsiteX30" fmla="*/ 4070 w 9952"/>
              <a:gd name="connsiteY30" fmla="*/ 2559 h 10000"/>
              <a:gd name="connsiteX31" fmla="*/ 3967 w 9952"/>
              <a:gd name="connsiteY31" fmla="*/ 2403 h 10000"/>
              <a:gd name="connsiteX32" fmla="*/ 3865 w 9952"/>
              <a:gd name="connsiteY32" fmla="*/ 2248 h 10000"/>
              <a:gd name="connsiteX33" fmla="*/ 3865 w 9952"/>
              <a:gd name="connsiteY33" fmla="*/ 2325 h 10000"/>
              <a:gd name="connsiteX34" fmla="*/ 3921 w 9952"/>
              <a:gd name="connsiteY34" fmla="*/ 2559 h 10000"/>
              <a:gd name="connsiteX35" fmla="*/ 3762 w 9952"/>
              <a:gd name="connsiteY35" fmla="*/ 2946 h 10000"/>
              <a:gd name="connsiteX36" fmla="*/ 3865 w 9952"/>
              <a:gd name="connsiteY36" fmla="*/ 3256 h 10000"/>
              <a:gd name="connsiteX37" fmla="*/ 3813 w 9952"/>
              <a:gd name="connsiteY37" fmla="*/ 3566 h 10000"/>
              <a:gd name="connsiteX38" fmla="*/ 3813 w 9952"/>
              <a:gd name="connsiteY38" fmla="*/ 3799 h 10000"/>
              <a:gd name="connsiteX39" fmla="*/ 3967 w 9952"/>
              <a:gd name="connsiteY39" fmla="*/ 3799 h 10000"/>
              <a:gd name="connsiteX40" fmla="*/ 3865 w 9952"/>
              <a:gd name="connsiteY40" fmla="*/ 3876 h 10000"/>
              <a:gd name="connsiteX41" fmla="*/ 3921 w 9952"/>
              <a:gd name="connsiteY41" fmla="*/ 4263 h 10000"/>
              <a:gd name="connsiteX42" fmla="*/ 3610 w 9952"/>
              <a:gd name="connsiteY42" fmla="*/ 4652 h 10000"/>
              <a:gd name="connsiteX43" fmla="*/ 3553 w 9952"/>
              <a:gd name="connsiteY43" fmla="*/ 4574 h 10000"/>
              <a:gd name="connsiteX44" fmla="*/ 3762 w 9952"/>
              <a:gd name="connsiteY44" fmla="*/ 4186 h 10000"/>
              <a:gd name="connsiteX45" fmla="*/ 3813 w 9952"/>
              <a:gd name="connsiteY45" fmla="*/ 3954 h 10000"/>
              <a:gd name="connsiteX46" fmla="*/ 3705 w 9952"/>
              <a:gd name="connsiteY46" fmla="*/ 3799 h 10000"/>
              <a:gd name="connsiteX47" fmla="*/ 3705 w 9952"/>
              <a:gd name="connsiteY47" fmla="*/ 3023 h 10000"/>
              <a:gd name="connsiteX48" fmla="*/ 3659 w 9952"/>
              <a:gd name="connsiteY48" fmla="*/ 2868 h 10000"/>
              <a:gd name="connsiteX49" fmla="*/ 3705 w 9952"/>
              <a:gd name="connsiteY49" fmla="*/ 2403 h 10000"/>
              <a:gd name="connsiteX50" fmla="*/ 3610 w 9952"/>
              <a:gd name="connsiteY50" fmla="*/ 2325 h 10000"/>
              <a:gd name="connsiteX51" fmla="*/ 3659 w 9952"/>
              <a:gd name="connsiteY51" fmla="*/ 2248 h 10000"/>
              <a:gd name="connsiteX52" fmla="*/ 3610 w 9952"/>
              <a:gd name="connsiteY52" fmla="*/ 2093 h 10000"/>
              <a:gd name="connsiteX53" fmla="*/ 3501 w 9952"/>
              <a:gd name="connsiteY53" fmla="*/ 2170 h 10000"/>
              <a:gd name="connsiteX54" fmla="*/ 3246 w 9952"/>
              <a:gd name="connsiteY54" fmla="*/ 3178 h 10000"/>
              <a:gd name="connsiteX55" fmla="*/ 3246 w 9952"/>
              <a:gd name="connsiteY55" fmla="*/ 3566 h 10000"/>
              <a:gd name="connsiteX56" fmla="*/ 3403 w 9952"/>
              <a:gd name="connsiteY56" fmla="*/ 3876 h 10000"/>
              <a:gd name="connsiteX57" fmla="*/ 3403 w 9952"/>
              <a:gd name="connsiteY57" fmla="*/ 4031 h 10000"/>
              <a:gd name="connsiteX58" fmla="*/ 3246 w 9952"/>
              <a:gd name="connsiteY58" fmla="*/ 3876 h 10000"/>
              <a:gd name="connsiteX59" fmla="*/ 2631 w 9952"/>
              <a:gd name="connsiteY59" fmla="*/ 3256 h 10000"/>
              <a:gd name="connsiteX60" fmla="*/ 2579 w 9952"/>
              <a:gd name="connsiteY60" fmla="*/ 3411 h 10000"/>
              <a:gd name="connsiteX61" fmla="*/ 2784 w 9952"/>
              <a:gd name="connsiteY61" fmla="*/ 3799 h 10000"/>
              <a:gd name="connsiteX62" fmla="*/ 2678 w 9952"/>
              <a:gd name="connsiteY62" fmla="*/ 3876 h 10000"/>
              <a:gd name="connsiteX63" fmla="*/ 2631 w 9952"/>
              <a:gd name="connsiteY63" fmla="*/ 3799 h 10000"/>
              <a:gd name="connsiteX64" fmla="*/ 2322 w 9952"/>
              <a:gd name="connsiteY64" fmla="*/ 3954 h 10000"/>
              <a:gd name="connsiteX65" fmla="*/ 2270 w 9952"/>
              <a:gd name="connsiteY65" fmla="*/ 4109 h 10000"/>
              <a:gd name="connsiteX66" fmla="*/ 2217 w 9952"/>
              <a:gd name="connsiteY66" fmla="*/ 3954 h 10000"/>
              <a:gd name="connsiteX67" fmla="*/ 2217 w 9952"/>
              <a:gd name="connsiteY67" fmla="*/ 3799 h 10000"/>
              <a:gd name="connsiteX68" fmla="*/ 1699 w 9952"/>
              <a:gd name="connsiteY68" fmla="*/ 4263 h 10000"/>
              <a:gd name="connsiteX69" fmla="*/ 1699 w 9952"/>
              <a:gd name="connsiteY69" fmla="*/ 4418 h 10000"/>
              <a:gd name="connsiteX70" fmla="*/ 1598 w 9952"/>
              <a:gd name="connsiteY70" fmla="*/ 4496 h 10000"/>
              <a:gd name="connsiteX71" fmla="*/ 1443 w 9952"/>
              <a:gd name="connsiteY71" fmla="*/ 4341 h 10000"/>
              <a:gd name="connsiteX72" fmla="*/ 1598 w 9952"/>
              <a:gd name="connsiteY72" fmla="*/ 4186 h 10000"/>
              <a:gd name="connsiteX73" fmla="*/ 1546 w 9952"/>
              <a:gd name="connsiteY73" fmla="*/ 3954 h 10000"/>
              <a:gd name="connsiteX74" fmla="*/ 1341 w 9952"/>
              <a:gd name="connsiteY74" fmla="*/ 3876 h 10000"/>
              <a:gd name="connsiteX75" fmla="*/ 1392 w 9952"/>
              <a:gd name="connsiteY75" fmla="*/ 4031 h 10000"/>
              <a:gd name="connsiteX76" fmla="*/ 1392 w 9952"/>
              <a:gd name="connsiteY76" fmla="*/ 4418 h 10000"/>
              <a:gd name="connsiteX77" fmla="*/ 1443 w 9952"/>
              <a:gd name="connsiteY77" fmla="*/ 4574 h 10000"/>
              <a:gd name="connsiteX78" fmla="*/ 1392 w 9952"/>
              <a:gd name="connsiteY78" fmla="*/ 4729 h 10000"/>
              <a:gd name="connsiteX79" fmla="*/ 1235 w 9952"/>
              <a:gd name="connsiteY79" fmla="*/ 4652 h 10000"/>
              <a:gd name="connsiteX80" fmla="*/ 1031 w 9952"/>
              <a:gd name="connsiteY80" fmla="*/ 4884 h 10000"/>
              <a:gd name="connsiteX81" fmla="*/ 1131 w 9952"/>
              <a:gd name="connsiteY81" fmla="*/ 5194 h 10000"/>
              <a:gd name="connsiteX82" fmla="*/ 823 w 9952"/>
              <a:gd name="connsiteY82" fmla="*/ 5039 h 10000"/>
              <a:gd name="connsiteX83" fmla="*/ 774 w 9952"/>
              <a:gd name="connsiteY83" fmla="*/ 5116 h 10000"/>
              <a:gd name="connsiteX84" fmla="*/ 878 w 9952"/>
              <a:gd name="connsiteY84" fmla="*/ 5349 h 10000"/>
              <a:gd name="connsiteX85" fmla="*/ 774 w 9952"/>
              <a:gd name="connsiteY85" fmla="*/ 5349 h 10000"/>
              <a:gd name="connsiteX86" fmla="*/ 620 w 9952"/>
              <a:gd name="connsiteY86" fmla="*/ 5194 h 10000"/>
              <a:gd name="connsiteX87" fmla="*/ 620 w 9952"/>
              <a:gd name="connsiteY87" fmla="*/ 4729 h 10000"/>
              <a:gd name="connsiteX88" fmla="*/ 467 w 9952"/>
              <a:gd name="connsiteY88" fmla="*/ 4574 h 10000"/>
              <a:gd name="connsiteX89" fmla="*/ 412 w 9952"/>
              <a:gd name="connsiteY89" fmla="*/ 4418 h 10000"/>
              <a:gd name="connsiteX90" fmla="*/ 515 w 9952"/>
              <a:gd name="connsiteY90" fmla="*/ 4496 h 10000"/>
              <a:gd name="connsiteX91" fmla="*/ 926 w 9952"/>
              <a:gd name="connsiteY91" fmla="*/ 4729 h 10000"/>
              <a:gd name="connsiteX92" fmla="*/ 1181 w 9952"/>
              <a:gd name="connsiteY92" fmla="*/ 4496 h 10000"/>
              <a:gd name="connsiteX93" fmla="*/ 1131 w 9952"/>
              <a:gd name="connsiteY93" fmla="*/ 4263 h 10000"/>
              <a:gd name="connsiteX94" fmla="*/ 823 w 9952"/>
              <a:gd name="connsiteY94" fmla="*/ 3799 h 10000"/>
              <a:gd name="connsiteX95" fmla="*/ 515 w 9952"/>
              <a:gd name="connsiteY95" fmla="*/ 3644 h 10000"/>
              <a:gd name="connsiteX96" fmla="*/ 515 w 9952"/>
              <a:gd name="connsiteY96" fmla="*/ 3566 h 10000"/>
              <a:gd name="connsiteX97" fmla="*/ 412 w 9952"/>
              <a:gd name="connsiteY97" fmla="*/ 3488 h 10000"/>
              <a:gd name="connsiteX98" fmla="*/ 306 w 9952"/>
              <a:gd name="connsiteY98" fmla="*/ 3566 h 10000"/>
              <a:gd name="connsiteX99" fmla="*/ 306 w 9952"/>
              <a:gd name="connsiteY99" fmla="*/ 3644 h 10000"/>
              <a:gd name="connsiteX100" fmla="*/ 257 w 9952"/>
              <a:gd name="connsiteY100" fmla="*/ 3644 h 10000"/>
              <a:gd name="connsiteX101" fmla="*/ 155 w 9952"/>
              <a:gd name="connsiteY101" fmla="*/ 3799 h 10000"/>
              <a:gd name="connsiteX102" fmla="*/ 155 w 9952"/>
              <a:gd name="connsiteY102" fmla="*/ 4031 h 10000"/>
              <a:gd name="connsiteX103" fmla="*/ 257 w 9952"/>
              <a:gd name="connsiteY103" fmla="*/ 4186 h 10000"/>
              <a:gd name="connsiteX104" fmla="*/ 207 w 9952"/>
              <a:gd name="connsiteY104" fmla="*/ 4418 h 10000"/>
              <a:gd name="connsiteX105" fmla="*/ 257 w 9952"/>
              <a:gd name="connsiteY105" fmla="*/ 4807 h 10000"/>
              <a:gd name="connsiteX106" fmla="*/ 207 w 9952"/>
              <a:gd name="connsiteY106" fmla="*/ 5039 h 10000"/>
              <a:gd name="connsiteX107" fmla="*/ 306 w 9952"/>
              <a:gd name="connsiteY107" fmla="*/ 5271 h 10000"/>
              <a:gd name="connsiteX108" fmla="*/ 257 w 9952"/>
              <a:gd name="connsiteY108" fmla="*/ 5426 h 10000"/>
              <a:gd name="connsiteX109" fmla="*/ 359 w 9952"/>
              <a:gd name="connsiteY109" fmla="*/ 5582 h 10000"/>
              <a:gd name="connsiteX110" fmla="*/ 359 w 9952"/>
              <a:gd name="connsiteY110" fmla="*/ 5659 h 10000"/>
              <a:gd name="connsiteX111" fmla="*/ 207 w 9952"/>
              <a:gd name="connsiteY111" fmla="*/ 6047 h 10000"/>
              <a:gd name="connsiteX112" fmla="*/ 47 w 9952"/>
              <a:gd name="connsiteY112" fmla="*/ 6202 h 10000"/>
              <a:gd name="connsiteX113" fmla="*/ 101 w 9952"/>
              <a:gd name="connsiteY113" fmla="*/ 6202 h 10000"/>
              <a:gd name="connsiteX114" fmla="*/ 207 w 9952"/>
              <a:gd name="connsiteY114" fmla="*/ 6356 h 10000"/>
              <a:gd name="connsiteX115" fmla="*/ 101 w 9952"/>
              <a:gd name="connsiteY115" fmla="*/ 6512 h 10000"/>
              <a:gd name="connsiteX116" fmla="*/ 47 w 9952"/>
              <a:gd name="connsiteY116" fmla="*/ 6590 h 10000"/>
              <a:gd name="connsiteX117" fmla="*/ 0 w 9952"/>
              <a:gd name="connsiteY117" fmla="*/ 6590 h 10000"/>
              <a:gd name="connsiteX118" fmla="*/ 47 w 9952"/>
              <a:gd name="connsiteY118" fmla="*/ 6822 h 10000"/>
              <a:gd name="connsiteX119" fmla="*/ 47 w 9952"/>
              <a:gd name="connsiteY119" fmla="*/ 6900 h 10000"/>
              <a:gd name="connsiteX120" fmla="*/ 47 w 9952"/>
              <a:gd name="connsiteY120" fmla="*/ 6977 h 10000"/>
              <a:gd name="connsiteX121" fmla="*/ 47 w 9952"/>
              <a:gd name="connsiteY121" fmla="*/ 7054 h 10000"/>
              <a:gd name="connsiteX122" fmla="*/ 101 w 9952"/>
              <a:gd name="connsiteY122" fmla="*/ 7209 h 10000"/>
              <a:gd name="connsiteX123" fmla="*/ 257 w 9952"/>
              <a:gd name="connsiteY123" fmla="*/ 7287 h 10000"/>
              <a:gd name="connsiteX124" fmla="*/ 306 w 9952"/>
              <a:gd name="connsiteY124" fmla="*/ 7364 h 10000"/>
              <a:gd name="connsiteX125" fmla="*/ 306 w 9952"/>
              <a:gd name="connsiteY125" fmla="*/ 7520 h 10000"/>
              <a:gd name="connsiteX126" fmla="*/ 412 w 9952"/>
              <a:gd name="connsiteY126" fmla="*/ 7752 h 10000"/>
              <a:gd name="connsiteX127" fmla="*/ 467 w 9952"/>
              <a:gd name="connsiteY127" fmla="*/ 7752 h 10000"/>
              <a:gd name="connsiteX128" fmla="*/ 412 w 9952"/>
              <a:gd name="connsiteY128" fmla="*/ 7907 h 10000"/>
              <a:gd name="connsiteX129" fmla="*/ 359 w 9952"/>
              <a:gd name="connsiteY129" fmla="*/ 7830 h 10000"/>
              <a:gd name="connsiteX130" fmla="*/ 359 w 9952"/>
              <a:gd name="connsiteY130" fmla="*/ 7907 h 10000"/>
              <a:gd name="connsiteX131" fmla="*/ 412 w 9952"/>
              <a:gd name="connsiteY131" fmla="*/ 8062 h 10000"/>
              <a:gd name="connsiteX132" fmla="*/ 569 w 9952"/>
              <a:gd name="connsiteY132" fmla="*/ 8062 h 10000"/>
              <a:gd name="connsiteX133" fmla="*/ 620 w 9952"/>
              <a:gd name="connsiteY133" fmla="*/ 8140 h 10000"/>
              <a:gd name="connsiteX134" fmla="*/ 569 w 9952"/>
              <a:gd name="connsiteY134" fmla="*/ 8140 h 10000"/>
              <a:gd name="connsiteX135" fmla="*/ 620 w 9952"/>
              <a:gd name="connsiteY135" fmla="*/ 8217 h 10000"/>
              <a:gd name="connsiteX136" fmla="*/ 669 w 9952"/>
              <a:gd name="connsiteY136" fmla="*/ 8217 h 10000"/>
              <a:gd name="connsiteX137" fmla="*/ 721 w 9952"/>
              <a:gd name="connsiteY137" fmla="*/ 8372 h 10000"/>
              <a:gd name="connsiteX138" fmla="*/ 774 w 9952"/>
              <a:gd name="connsiteY138" fmla="*/ 8449 h 10000"/>
              <a:gd name="connsiteX139" fmla="*/ 823 w 9952"/>
              <a:gd name="connsiteY139" fmla="*/ 8372 h 10000"/>
              <a:gd name="connsiteX140" fmla="*/ 1084 w 9952"/>
              <a:gd name="connsiteY140" fmla="*/ 8605 h 10000"/>
              <a:gd name="connsiteX141" fmla="*/ 1031 w 9952"/>
              <a:gd name="connsiteY141" fmla="*/ 8915 h 10000"/>
              <a:gd name="connsiteX142" fmla="*/ 979 w 9952"/>
              <a:gd name="connsiteY142" fmla="*/ 8838 h 10000"/>
              <a:gd name="connsiteX143" fmla="*/ 926 w 9952"/>
              <a:gd name="connsiteY143" fmla="*/ 8915 h 10000"/>
              <a:gd name="connsiteX144" fmla="*/ 926 w 9952"/>
              <a:gd name="connsiteY144" fmla="*/ 9070 h 10000"/>
              <a:gd name="connsiteX145" fmla="*/ 979 w 9952"/>
              <a:gd name="connsiteY145" fmla="*/ 8993 h 10000"/>
              <a:gd name="connsiteX146" fmla="*/ 1031 w 9952"/>
              <a:gd name="connsiteY146" fmla="*/ 9070 h 10000"/>
              <a:gd name="connsiteX147" fmla="*/ 878 w 9952"/>
              <a:gd name="connsiteY147" fmla="*/ 9147 h 10000"/>
              <a:gd name="connsiteX148" fmla="*/ 926 w 9952"/>
              <a:gd name="connsiteY148" fmla="*/ 9225 h 10000"/>
              <a:gd name="connsiteX149" fmla="*/ 823 w 9952"/>
              <a:gd name="connsiteY149" fmla="*/ 9380 h 10000"/>
              <a:gd name="connsiteX150" fmla="*/ 774 w 9952"/>
              <a:gd name="connsiteY150" fmla="*/ 9380 h 10000"/>
              <a:gd name="connsiteX151" fmla="*/ 823 w 9952"/>
              <a:gd name="connsiteY151" fmla="*/ 9380 h 10000"/>
              <a:gd name="connsiteX152" fmla="*/ 1031 w 9952"/>
              <a:gd name="connsiteY152" fmla="*/ 9691 h 10000"/>
              <a:gd name="connsiteX153" fmla="*/ 1290 w 9952"/>
              <a:gd name="connsiteY153" fmla="*/ 9691 h 10000"/>
              <a:gd name="connsiteX154" fmla="*/ 1392 w 9952"/>
              <a:gd name="connsiteY154" fmla="*/ 9768 h 10000"/>
              <a:gd name="connsiteX155" fmla="*/ 1495 w 9952"/>
              <a:gd name="connsiteY155" fmla="*/ 9768 h 10000"/>
              <a:gd name="connsiteX156" fmla="*/ 1598 w 9952"/>
              <a:gd name="connsiteY156" fmla="*/ 9923 h 10000"/>
              <a:gd name="connsiteX157" fmla="*/ 1649 w 9952"/>
              <a:gd name="connsiteY157" fmla="*/ 10000 h 10000"/>
              <a:gd name="connsiteX158" fmla="*/ 1699 w 9952"/>
              <a:gd name="connsiteY158" fmla="*/ 10000 h 10000"/>
              <a:gd name="connsiteX159" fmla="*/ 1754 w 9952"/>
              <a:gd name="connsiteY159" fmla="*/ 9923 h 10000"/>
              <a:gd name="connsiteX160" fmla="*/ 1649 w 9952"/>
              <a:gd name="connsiteY160" fmla="*/ 9768 h 10000"/>
              <a:gd name="connsiteX161" fmla="*/ 1649 w 9952"/>
              <a:gd name="connsiteY161" fmla="*/ 9613 h 10000"/>
              <a:gd name="connsiteX162" fmla="*/ 1598 w 9952"/>
              <a:gd name="connsiteY162" fmla="*/ 9457 h 10000"/>
              <a:gd name="connsiteX163" fmla="*/ 1699 w 9952"/>
              <a:gd name="connsiteY163" fmla="*/ 9225 h 10000"/>
              <a:gd name="connsiteX164" fmla="*/ 1754 w 9952"/>
              <a:gd name="connsiteY164" fmla="*/ 9302 h 10000"/>
              <a:gd name="connsiteX165" fmla="*/ 1803 w 9952"/>
              <a:gd name="connsiteY165" fmla="*/ 9225 h 10000"/>
              <a:gd name="connsiteX166" fmla="*/ 1803 w 9952"/>
              <a:gd name="connsiteY166" fmla="*/ 9147 h 10000"/>
              <a:gd name="connsiteX167" fmla="*/ 1754 w 9952"/>
              <a:gd name="connsiteY167" fmla="*/ 9147 h 10000"/>
              <a:gd name="connsiteX168" fmla="*/ 1803 w 9952"/>
              <a:gd name="connsiteY168" fmla="*/ 9070 h 10000"/>
              <a:gd name="connsiteX169" fmla="*/ 1754 w 9952"/>
              <a:gd name="connsiteY169" fmla="*/ 8915 h 10000"/>
              <a:gd name="connsiteX170" fmla="*/ 1649 w 9952"/>
              <a:gd name="connsiteY170" fmla="*/ 8915 h 10000"/>
              <a:gd name="connsiteX171" fmla="*/ 1598 w 9952"/>
              <a:gd name="connsiteY171" fmla="*/ 8760 h 10000"/>
              <a:gd name="connsiteX172" fmla="*/ 1649 w 9952"/>
              <a:gd name="connsiteY172" fmla="*/ 8372 h 10000"/>
              <a:gd name="connsiteX173" fmla="*/ 1754 w 9952"/>
              <a:gd name="connsiteY173" fmla="*/ 8528 h 10000"/>
              <a:gd name="connsiteX174" fmla="*/ 1803 w 9952"/>
              <a:gd name="connsiteY174" fmla="*/ 8528 h 10000"/>
              <a:gd name="connsiteX175" fmla="*/ 1754 w 9952"/>
              <a:gd name="connsiteY175" fmla="*/ 8372 h 10000"/>
              <a:gd name="connsiteX176" fmla="*/ 1908 w 9952"/>
              <a:gd name="connsiteY176" fmla="*/ 8140 h 10000"/>
              <a:gd name="connsiteX177" fmla="*/ 2012 w 9952"/>
              <a:gd name="connsiteY177" fmla="*/ 8217 h 10000"/>
              <a:gd name="connsiteX178" fmla="*/ 2062 w 9952"/>
              <a:gd name="connsiteY178" fmla="*/ 8140 h 10000"/>
              <a:gd name="connsiteX179" fmla="*/ 2165 w 9952"/>
              <a:gd name="connsiteY179" fmla="*/ 8217 h 10000"/>
              <a:gd name="connsiteX180" fmla="*/ 2322 w 9952"/>
              <a:gd name="connsiteY180" fmla="*/ 8372 h 10000"/>
              <a:gd name="connsiteX181" fmla="*/ 2421 w 9952"/>
              <a:gd name="connsiteY181" fmla="*/ 8295 h 10000"/>
              <a:gd name="connsiteX182" fmla="*/ 2527 w 9952"/>
              <a:gd name="connsiteY182" fmla="*/ 8295 h 10000"/>
              <a:gd name="connsiteX183" fmla="*/ 2579 w 9952"/>
              <a:gd name="connsiteY183" fmla="*/ 8372 h 10000"/>
              <a:gd name="connsiteX184" fmla="*/ 2784 w 9952"/>
              <a:gd name="connsiteY184" fmla="*/ 8372 h 10000"/>
              <a:gd name="connsiteX185" fmla="*/ 2833 w 9952"/>
              <a:gd name="connsiteY185" fmla="*/ 8217 h 10000"/>
              <a:gd name="connsiteX186" fmla="*/ 2678 w 9952"/>
              <a:gd name="connsiteY186" fmla="*/ 8140 h 10000"/>
              <a:gd name="connsiteX187" fmla="*/ 2784 w 9952"/>
              <a:gd name="connsiteY187" fmla="*/ 8062 h 10000"/>
              <a:gd name="connsiteX188" fmla="*/ 2730 w 9952"/>
              <a:gd name="connsiteY188" fmla="*/ 7985 h 10000"/>
              <a:gd name="connsiteX189" fmla="*/ 2784 w 9952"/>
              <a:gd name="connsiteY189" fmla="*/ 7907 h 10000"/>
              <a:gd name="connsiteX190" fmla="*/ 2784 w 9952"/>
              <a:gd name="connsiteY190" fmla="*/ 7675 h 10000"/>
              <a:gd name="connsiteX191" fmla="*/ 2885 w 9952"/>
              <a:gd name="connsiteY191" fmla="*/ 7752 h 10000"/>
              <a:gd name="connsiteX192" fmla="*/ 3351 w 9952"/>
              <a:gd name="connsiteY192" fmla="*/ 7520 h 10000"/>
              <a:gd name="connsiteX193" fmla="*/ 3351 w 9952"/>
              <a:gd name="connsiteY193" fmla="*/ 7442 h 10000"/>
              <a:gd name="connsiteX194" fmla="*/ 3403 w 9952"/>
              <a:gd name="connsiteY194" fmla="*/ 7442 h 10000"/>
              <a:gd name="connsiteX195" fmla="*/ 3553 w 9952"/>
              <a:gd name="connsiteY195" fmla="*/ 7442 h 10000"/>
              <a:gd name="connsiteX196" fmla="*/ 3610 w 9952"/>
              <a:gd name="connsiteY196" fmla="*/ 7598 h 10000"/>
              <a:gd name="connsiteX197" fmla="*/ 3610 w 9952"/>
              <a:gd name="connsiteY197" fmla="*/ 7675 h 10000"/>
              <a:gd name="connsiteX198" fmla="*/ 3659 w 9952"/>
              <a:gd name="connsiteY198" fmla="*/ 7675 h 10000"/>
              <a:gd name="connsiteX199" fmla="*/ 3762 w 9952"/>
              <a:gd name="connsiteY199" fmla="*/ 7752 h 10000"/>
              <a:gd name="connsiteX200" fmla="*/ 3762 w 9952"/>
              <a:gd name="connsiteY200" fmla="*/ 7830 h 10000"/>
              <a:gd name="connsiteX201" fmla="*/ 3865 w 9952"/>
              <a:gd name="connsiteY201" fmla="*/ 7830 h 10000"/>
              <a:gd name="connsiteX202" fmla="*/ 3967 w 9952"/>
              <a:gd name="connsiteY202" fmla="*/ 7675 h 10000"/>
              <a:gd name="connsiteX203" fmla="*/ 4070 w 9952"/>
              <a:gd name="connsiteY203" fmla="*/ 7598 h 10000"/>
              <a:gd name="connsiteX204" fmla="*/ 4127 w 9952"/>
              <a:gd name="connsiteY204" fmla="*/ 7830 h 10000"/>
              <a:gd name="connsiteX205" fmla="*/ 4330 w 9952"/>
              <a:gd name="connsiteY205" fmla="*/ 8372 h 10000"/>
              <a:gd name="connsiteX206" fmla="*/ 4384 w 9952"/>
              <a:gd name="connsiteY206" fmla="*/ 8217 h 10000"/>
              <a:gd name="connsiteX207" fmla="*/ 4434 w 9952"/>
              <a:gd name="connsiteY207" fmla="*/ 8372 h 10000"/>
              <a:gd name="connsiteX208" fmla="*/ 4588 w 9952"/>
              <a:gd name="connsiteY208" fmla="*/ 8295 h 10000"/>
              <a:gd name="connsiteX209" fmla="*/ 4745 w 9952"/>
              <a:gd name="connsiteY209" fmla="*/ 8528 h 10000"/>
              <a:gd name="connsiteX210" fmla="*/ 4844 w 9952"/>
              <a:gd name="connsiteY210" fmla="*/ 8605 h 10000"/>
              <a:gd name="connsiteX211" fmla="*/ 4844 w 9952"/>
              <a:gd name="connsiteY211" fmla="*/ 8528 h 10000"/>
              <a:gd name="connsiteX212" fmla="*/ 4898 w 9952"/>
              <a:gd name="connsiteY212" fmla="*/ 8683 h 10000"/>
              <a:gd name="connsiteX213" fmla="*/ 4844 w 9952"/>
              <a:gd name="connsiteY213" fmla="*/ 8760 h 10000"/>
              <a:gd name="connsiteX214" fmla="*/ 4950 w 9952"/>
              <a:gd name="connsiteY214" fmla="*/ 8683 h 10000"/>
              <a:gd name="connsiteX215" fmla="*/ 4999 w 9952"/>
              <a:gd name="connsiteY215" fmla="*/ 8605 h 10000"/>
              <a:gd name="connsiteX216" fmla="*/ 5256 w 9952"/>
              <a:gd name="connsiteY216" fmla="*/ 8372 h 10000"/>
              <a:gd name="connsiteX217" fmla="*/ 5463 w 9952"/>
              <a:gd name="connsiteY217" fmla="*/ 8449 h 10000"/>
              <a:gd name="connsiteX218" fmla="*/ 5566 w 9952"/>
              <a:gd name="connsiteY218" fmla="*/ 8528 h 10000"/>
              <a:gd name="connsiteX219" fmla="*/ 5770 w 9952"/>
              <a:gd name="connsiteY219" fmla="*/ 8528 h 10000"/>
              <a:gd name="connsiteX220" fmla="*/ 5770 w 9952"/>
              <a:gd name="connsiteY220" fmla="*/ 8372 h 10000"/>
              <a:gd name="connsiteX221" fmla="*/ 5770 w 9952"/>
              <a:gd name="connsiteY221" fmla="*/ 8217 h 10000"/>
              <a:gd name="connsiteX222" fmla="*/ 5875 w 9952"/>
              <a:gd name="connsiteY222" fmla="*/ 8140 h 10000"/>
              <a:gd name="connsiteX223" fmla="*/ 6080 w 9952"/>
              <a:gd name="connsiteY223" fmla="*/ 8217 h 10000"/>
              <a:gd name="connsiteX224" fmla="*/ 6185 w 9952"/>
              <a:gd name="connsiteY224" fmla="*/ 8449 h 10000"/>
              <a:gd name="connsiteX225" fmla="*/ 6236 w 9952"/>
              <a:gd name="connsiteY225" fmla="*/ 8449 h 10000"/>
              <a:gd name="connsiteX226" fmla="*/ 6340 w 9952"/>
              <a:gd name="connsiteY226" fmla="*/ 8372 h 10000"/>
              <a:gd name="connsiteX227" fmla="*/ 6653 w 9952"/>
              <a:gd name="connsiteY227" fmla="*/ 8605 h 10000"/>
              <a:gd name="connsiteX228" fmla="*/ 6805 w 9952"/>
              <a:gd name="connsiteY228" fmla="*/ 8683 h 10000"/>
              <a:gd name="connsiteX229" fmla="*/ 7010 w 9952"/>
              <a:gd name="connsiteY229" fmla="*/ 8605 h 10000"/>
              <a:gd name="connsiteX230" fmla="*/ 7113 w 9952"/>
              <a:gd name="connsiteY230" fmla="*/ 8449 h 10000"/>
              <a:gd name="connsiteX231" fmla="*/ 7268 w 9952"/>
              <a:gd name="connsiteY231" fmla="*/ 8528 h 10000"/>
              <a:gd name="connsiteX232" fmla="*/ 7369 w 9952"/>
              <a:gd name="connsiteY232" fmla="*/ 8605 h 10000"/>
              <a:gd name="connsiteX233" fmla="*/ 9124 w 9952"/>
              <a:gd name="connsiteY233" fmla="*/ 7675 h 10000"/>
              <a:gd name="connsiteX234" fmla="*/ 9023 w 9952"/>
              <a:gd name="connsiteY234" fmla="*/ 7675 h 10000"/>
              <a:gd name="connsiteX235" fmla="*/ 8971 w 9952"/>
              <a:gd name="connsiteY235" fmla="*/ 7675 h 10000"/>
              <a:gd name="connsiteX236" fmla="*/ 8917 w 9952"/>
              <a:gd name="connsiteY236" fmla="*/ 7598 h 10000"/>
              <a:gd name="connsiteX237" fmla="*/ 8818 w 9952"/>
              <a:gd name="connsiteY237" fmla="*/ 7598 h 10000"/>
              <a:gd name="connsiteX238" fmla="*/ 8818 w 9952"/>
              <a:gd name="connsiteY238" fmla="*/ 7520 h 10000"/>
              <a:gd name="connsiteX239" fmla="*/ 8971 w 9952"/>
              <a:gd name="connsiteY239" fmla="*/ 7287 h 10000"/>
              <a:gd name="connsiteX240" fmla="*/ 9440 w 9952"/>
              <a:gd name="connsiteY240" fmla="*/ 6590 h 10000"/>
              <a:gd name="connsiteX241" fmla="*/ 9640 w 9952"/>
              <a:gd name="connsiteY241" fmla="*/ 6512 h 10000"/>
              <a:gd name="connsiteX242" fmla="*/ 9689 w 9952"/>
              <a:gd name="connsiteY242" fmla="*/ 6590 h 10000"/>
              <a:gd name="connsiteX243" fmla="*/ 9744 w 9952"/>
              <a:gd name="connsiteY243" fmla="*/ 6512 h 10000"/>
              <a:gd name="connsiteX244" fmla="*/ 9894 w 9952"/>
              <a:gd name="connsiteY244" fmla="*/ 6590 h 10000"/>
              <a:gd name="connsiteX245" fmla="*/ 9952 w 9952"/>
              <a:gd name="connsiteY245" fmla="*/ 6434 h 10000"/>
              <a:gd name="connsiteX246" fmla="*/ 9640 w 9952"/>
              <a:gd name="connsiteY246" fmla="*/ 2480 h 10000"/>
              <a:gd name="connsiteX247" fmla="*/ 9229 w 9952"/>
              <a:gd name="connsiteY247" fmla="*/ 2325 h 10000"/>
              <a:gd name="connsiteX248" fmla="*/ 9124 w 9952"/>
              <a:gd name="connsiteY248" fmla="*/ 2636 h 10000"/>
              <a:gd name="connsiteX249" fmla="*/ 9229 w 9952"/>
              <a:gd name="connsiteY249" fmla="*/ 2868 h 10000"/>
              <a:gd name="connsiteX250" fmla="*/ 8917 w 9952"/>
              <a:gd name="connsiteY250" fmla="*/ 2868 h 10000"/>
              <a:gd name="connsiteX251" fmla="*/ 8866 w 9952"/>
              <a:gd name="connsiteY251" fmla="*/ 2868 h 10000"/>
              <a:gd name="connsiteX252" fmla="*/ 8762 w 9952"/>
              <a:gd name="connsiteY252" fmla="*/ 2946 h 10000"/>
              <a:gd name="connsiteX253" fmla="*/ 8609 w 9952"/>
              <a:gd name="connsiteY253" fmla="*/ 2714 h 10000"/>
              <a:gd name="connsiteX254" fmla="*/ 8502 w 9952"/>
              <a:gd name="connsiteY254" fmla="*/ 3178 h 10000"/>
              <a:gd name="connsiteX255" fmla="*/ 8406 w 9952"/>
              <a:gd name="connsiteY255" fmla="*/ 3101 h 10000"/>
              <a:gd name="connsiteX256" fmla="*/ 8299 w 9952"/>
              <a:gd name="connsiteY256" fmla="*/ 2791 h 10000"/>
              <a:gd name="connsiteX257" fmla="*/ 8352 w 9952"/>
              <a:gd name="connsiteY257" fmla="*/ 2403 h 10000"/>
              <a:gd name="connsiteX258" fmla="*/ 8247 w 9952"/>
              <a:gd name="connsiteY258" fmla="*/ 2170 h 10000"/>
              <a:gd name="connsiteX259" fmla="*/ 7939 w 9952"/>
              <a:gd name="connsiteY259" fmla="*/ 2016 h 10000"/>
              <a:gd name="connsiteX260" fmla="*/ 7832 w 9952"/>
              <a:gd name="connsiteY260" fmla="*/ 2016 h 10000"/>
              <a:gd name="connsiteX261" fmla="*/ 7783 w 9952"/>
              <a:gd name="connsiteY261" fmla="*/ 2170 h 10000"/>
              <a:gd name="connsiteX262" fmla="*/ 7832 w 9952"/>
              <a:gd name="connsiteY262" fmla="*/ 2325 h 10000"/>
              <a:gd name="connsiteX263" fmla="*/ 7426 w 9952"/>
              <a:gd name="connsiteY263" fmla="*/ 2248 h 10000"/>
              <a:gd name="connsiteX264" fmla="*/ 7474 w 9952"/>
              <a:gd name="connsiteY264" fmla="*/ 2016 h 10000"/>
              <a:gd name="connsiteX265" fmla="*/ 7217 w 9952"/>
              <a:gd name="connsiteY265" fmla="*/ 1938 h 10000"/>
              <a:gd name="connsiteX266" fmla="*/ 7062 w 9952"/>
              <a:gd name="connsiteY266" fmla="*/ 2093 h 10000"/>
              <a:gd name="connsiteX267" fmla="*/ 6761 w 9952"/>
              <a:gd name="connsiteY267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9274 w 10000"/>
              <a:gd name="connsiteY246" fmla="*/ 2325 h 10000"/>
              <a:gd name="connsiteX247" fmla="*/ 9168 w 10000"/>
              <a:gd name="connsiteY247" fmla="*/ 2636 h 10000"/>
              <a:gd name="connsiteX248" fmla="*/ 9274 w 10000"/>
              <a:gd name="connsiteY248" fmla="*/ 2868 h 10000"/>
              <a:gd name="connsiteX249" fmla="*/ 8960 w 10000"/>
              <a:gd name="connsiteY249" fmla="*/ 2868 h 10000"/>
              <a:gd name="connsiteX250" fmla="*/ 8909 w 10000"/>
              <a:gd name="connsiteY250" fmla="*/ 2868 h 10000"/>
              <a:gd name="connsiteX251" fmla="*/ 8804 w 10000"/>
              <a:gd name="connsiteY251" fmla="*/ 2946 h 10000"/>
              <a:gd name="connsiteX252" fmla="*/ 8651 w 10000"/>
              <a:gd name="connsiteY252" fmla="*/ 2714 h 10000"/>
              <a:gd name="connsiteX253" fmla="*/ 8543 w 10000"/>
              <a:gd name="connsiteY253" fmla="*/ 3178 h 10000"/>
              <a:gd name="connsiteX254" fmla="*/ 8447 w 10000"/>
              <a:gd name="connsiteY254" fmla="*/ 3101 h 10000"/>
              <a:gd name="connsiteX255" fmla="*/ 8339 w 10000"/>
              <a:gd name="connsiteY255" fmla="*/ 2791 h 10000"/>
              <a:gd name="connsiteX256" fmla="*/ 8392 w 10000"/>
              <a:gd name="connsiteY256" fmla="*/ 2403 h 10000"/>
              <a:gd name="connsiteX257" fmla="*/ 8287 w 10000"/>
              <a:gd name="connsiteY257" fmla="*/ 2170 h 10000"/>
              <a:gd name="connsiteX258" fmla="*/ 7977 w 10000"/>
              <a:gd name="connsiteY258" fmla="*/ 2016 h 10000"/>
              <a:gd name="connsiteX259" fmla="*/ 7870 w 10000"/>
              <a:gd name="connsiteY259" fmla="*/ 2016 h 10000"/>
              <a:gd name="connsiteX260" fmla="*/ 7821 w 10000"/>
              <a:gd name="connsiteY260" fmla="*/ 2170 h 10000"/>
              <a:gd name="connsiteX261" fmla="*/ 7870 w 10000"/>
              <a:gd name="connsiteY261" fmla="*/ 2325 h 10000"/>
              <a:gd name="connsiteX262" fmla="*/ 7462 w 10000"/>
              <a:gd name="connsiteY262" fmla="*/ 2248 h 10000"/>
              <a:gd name="connsiteX263" fmla="*/ 7510 w 10000"/>
              <a:gd name="connsiteY263" fmla="*/ 2016 h 10000"/>
              <a:gd name="connsiteX264" fmla="*/ 7252 w 10000"/>
              <a:gd name="connsiteY264" fmla="*/ 1938 h 10000"/>
              <a:gd name="connsiteX265" fmla="*/ 7096 w 10000"/>
              <a:gd name="connsiteY265" fmla="*/ 2093 h 10000"/>
              <a:gd name="connsiteX266" fmla="*/ 6794 w 10000"/>
              <a:gd name="connsiteY266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9168 w 10000"/>
              <a:gd name="connsiteY246" fmla="*/ 2636 h 10000"/>
              <a:gd name="connsiteX247" fmla="*/ 9274 w 10000"/>
              <a:gd name="connsiteY247" fmla="*/ 2868 h 10000"/>
              <a:gd name="connsiteX248" fmla="*/ 8960 w 10000"/>
              <a:gd name="connsiteY248" fmla="*/ 2868 h 10000"/>
              <a:gd name="connsiteX249" fmla="*/ 8909 w 10000"/>
              <a:gd name="connsiteY249" fmla="*/ 2868 h 10000"/>
              <a:gd name="connsiteX250" fmla="*/ 8804 w 10000"/>
              <a:gd name="connsiteY250" fmla="*/ 2946 h 10000"/>
              <a:gd name="connsiteX251" fmla="*/ 8651 w 10000"/>
              <a:gd name="connsiteY251" fmla="*/ 2714 h 10000"/>
              <a:gd name="connsiteX252" fmla="*/ 8543 w 10000"/>
              <a:gd name="connsiteY252" fmla="*/ 3178 h 10000"/>
              <a:gd name="connsiteX253" fmla="*/ 8447 w 10000"/>
              <a:gd name="connsiteY253" fmla="*/ 3101 h 10000"/>
              <a:gd name="connsiteX254" fmla="*/ 8339 w 10000"/>
              <a:gd name="connsiteY254" fmla="*/ 2791 h 10000"/>
              <a:gd name="connsiteX255" fmla="*/ 8392 w 10000"/>
              <a:gd name="connsiteY255" fmla="*/ 2403 h 10000"/>
              <a:gd name="connsiteX256" fmla="*/ 8287 w 10000"/>
              <a:gd name="connsiteY256" fmla="*/ 2170 h 10000"/>
              <a:gd name="connsiteX257" fmla="*/ 7977 w 10000"/>
              <a:gd name="connsiteY257" fmla="*/ 2016 h 10000"/>
              <a:gd name="connsiteX258" fmla="*/ 7870 w 10000"/>
              <a:gd name="connsiteY258" fmla="*/ 2016 h 10000"/>
              <a:gd name="connsiteX259" fmla="*/ 7821 w 10000"/>
              <a:gd name="connsiteY259" fmla="*/ 2170 h 10000"/>
              <a:gd name="connsiteX260" fmla="*/ 7870 w 10000"/>
              <a:gd name="connsiteY260" fmla="*/ 2325 h 10000"/>
              <a:gd name="connsiteX261" fmla="*/ 7462 w 10000"/>
              <a:gd name="connsiteY261" fmla="*/ 2248 h 10000"/>
              <a:gd name="connsiteX262" fmla="*/ 7510 w 10000"/>
              <a:gd name="connsiteY262" fmla="*/ 2016 h 10000"/>
              <a:gd name="connsiteX263" fmla="*/ 7252 w 10000"/>
              <a:gd name="connsiteY263" fmla="*/ 1938 h 10000"/>
              <a:gd name="connsiteX264" fmla="*/ 7096 w 10000"/>
              <a:gd name="connsiteY264" fmla="*/ 2093 h 10000"/>
              <a:gd name="connsiteX265" fmla="*/ 6794 w 10000"/>
              <a:gd name="connsiteY265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9274 w 10000"/>
              <a:gd name="connsiteY246" fmla="*/ 2868 h 10000"/>
              <a:gd name="connsiteX247" fmla="*/ 8960 w 10000"/>
              <a:gd name="connsiteY247" fmla="*/ 2868 h 10000"/>
              <a:gd name="connsiteX248" fmla="*/ 8909 w 10000"/>
              <a:gd name="connsiteY248" fmla="*/ 2868 h 10000"/>
              <a:gd name="connsiteX249" fmla="*/ 8804 w 10000"/>
              <a:gd name="connsiteY249" fmla="*/ 2946 h 10000"/>
              <a:gd name="connsiteX250" fmla="*/ 8651 w 10000"/>
              <a:gd name="connsiteY250" fmla="*/ 2714 h 10000"/>
              <a:gd name="connsiteX251" fmla="*/ 8543 w 10000"/>
              <a:gd name="connsiteY251" fmla="*/ 3178 h 10000"/>
              <a:gd name="connsiteX252" fmla="*/ 8447 w 10000"/>
              <a:gd name="connsiteY252" fmla="*/ 3101 h 10000"/>
              <a:gd name="connsiteX253" fmla="*/ 8339 w 10000"/>
              <a:gd name="connsiteY253" fmla="*/ 2791 h 10000"/>
              <a:gd name="connsiteX254" fmla="*/ 8392 w 10000"/>
              <a:gd name="connsiteY254" fmla="*/ 2403 h 10000"/>
              <a:gd name="connsiteX255" fmla="*/ 8287 w 10000"/>
              <a:gd name="connsiteY255" fmla="*/ 2170 h 10000"/>
              <a:gd name="connsiteX256" fmla="*/ 7977 w 10000"/>
              <a:gd name="connsiteY256" fmla="*/ 2016 h 10000"/>
              <a:gd name="connsiteX257" fmla="*/ 7870 w 10000"/>
              <a:gd name="connsiteY257" fmla="*/ 2016 h 10000"/>
              <a:gd name="connsiteX258" fmla="*/ 7821 w 10000"/>
              <a:gd name="connsiteY258" fmla="*/ 2170 h 10000"/>
              <a:gd name="connsiteX259" fmla="*/ 7870 w 10000"/>
              <a:gd name="connsiteY259" fmla="*/ 2325 h 10000"/>
              <a:gd name="connsiteX260" fmla="*/ 7462 w 10000"/>
              <a:gd name="connsiteY260" fmla="*/ 2248 h 10000"/>
              <a:gd name="connsiteX261" fmla="*/ 7510 w 10000"/>
              <a:gd name="connsiteY261" fmla="*/ 2016 h 10000"/>
              <a:gd name="connsiteX262" fmla="*/ 7252 w 10000"/>
              <a:gd name="connsiteY262" fmla="*/ 1938 h 10000"/>
              <a:gd name="connsiteX263" fmla="*/ 7096 w 10000"/>
              <a:gd name="connsiteY263" fmla="*/ 2093 h 10000"/>
              <a:gd name="connsiteX264" fmla="*/ 6794 w 10000"/>
              <a:gd name="connsiteY264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960 w 10000"/>
              <a:gd name="connsiteY246" fmla="*/ 2868 h 10000"/>
              <a:gd name="connsiteX247" fmla="*/ 8909 w 10000"/>
              <a:gd name="connsiteY247" fmla="*/ 2868 h 10000"/>
              <a:gd name="connsiteX248" fmla="*/ 8804 w 10000"/>
              <a:gd name="connsiteY248" fmla="*/ 2946 h 10000"/>
              <a:gd name="connsiteX249" fmla="*/ 8651 w 10000"/>
              <a:gd name="connsiteY249" fmla="*/ 2714 h 10000"/>
              <a:gd name="connsiteX250" fmla="*/ 8543 w 10000"/>
              <a:gd name="connsiteY250" fmla="*/ 3178 h 10000"/>
              <a:gd name="connsiteX251" fmla="*/ 8447 w 10000"/>
              <a:gd name="connsiteY251" fmla="*/ 3101 h 10000"/>
              <a:gd name="connsiteX252" fmla="*/ 8339 w 10000"/>
              <a:gd name="connsiteY252" fmla="*/ 2791 h 10000"/>
              <a:gd name="connsiteX253" fmla="*/ 8392 w 10000"/>
              <a:gd name="connsiteY253" fmla="*/ 2403 h 10000"/>
              <a:gd name="connsiteX254" fmla="*/ 8287 w 10000"/>
              <a:gd name="connsiteY254" fmla="*/ 2170 h 10000"/>
              <a:gd name="connsiteX255" fmla="*/ 7977 w 10000"/>
              <a:gd name="connsiteY255" fmla="*/ 2016 h 10000"/>
              <a:gd name="connsiteX256" fmla="*/ 7870 w 10000"/>
              <a:gd name="connsiteY256" fmla="*/ 2016 h 10000"/>
              <a:gd name="connsiteX257" fmla="*/ 7821 w 10000"/>
              <a:gd name="connsiteY257" fmla="*/ 2170 h 10000"/>
              <a:gd name="connsiteX258" fmla="*/ 7870 w 10000"/>
              <a:gd name="connsiteY258" fmla="*/ 2325 h 10000"/>
              <a:gd name="connsiteX259" fmla="*/ 7462 w 10000"/>
              <a:gd name="connsiteY259" fmla="*/ 2248 h 10000"/>
              <a:gd name="connsiteX260" fmla="*/ 7510 w 10000"/>
              <a:gd name="connsiteY260" fmla="*/ 2016 h 10000"/>
              <a:gd name="connsiteX261" fmla="*/ 7252 w 10000"/>
              <a:gd name="connsiteY261" fmla="*/ 1938 h 10000"/>
              <a:gd name="connsiteX262" fmla="*/ 7096 w 10000"/>
              <a:gd name="connsiteY262" fmla="*/ 2093 h 10000"/>
              <a:gd name="connsiteX263" fmla="*/ 6794 w 10000"/>
              <a:gd name="connsiteY263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960 w 10000"/>
              <a:gd name="connsiteY246" fmla="*/ 2868 h 10000"/>
              <a:gd name="connsiteX247" fmla="*/ 8804 w 10000"/>
              <a:gd name="connsiteY247" fmla="*/ 2946 h 10000"/>
              <a:gd name="connsiteX248" fmla="*/ 8651 w 10000"/>
              <a:gd name="connsiteY248" fmla="*/ 2714 h 10000"/>
              <a:gd name="connsiteX249" fmla="*/ 8543 w 10000"/>
              <a:gd name="connsiteY249" fmla="*/ 3178 h 10000"/>
              <a:gd name="connsiteX250" fmla="*/ 8447 w 10000"/>
              <a:gd name="connsiteY250" fmla="*/ 3101 h 10000"/>
              <a:gd name="connsiteX251" fmla="*/ 8339 w 10000"/>
              <a:gd name="connsiteY251" fmla="*/ 2791 h 10000"/>
              <a:gd name="connsiteX252" fmla="*/ 8392 w 10000"/>
              <a:gd name="connsiteY252" fmla="*/ 2403 h 10000"/>
              <a:gd name="connsiteX253" fmla="*/ 8287 w 10000"/>
              <a:gd name="connsiteY253" fmla="*/ 2170 h 10000"/>
              <a:gd name="connsiteX254" fmla="*/ 7977 w 10000"/>
              <a:gd name="connsiteY254" fmla="*/ 2016 h 10000"/>
              <a:gd name="connsiteX255" fmla="*/ 7870 w 10000"/>
              <a:gd name="connsiteY255" fmla="*/ 2016 h 10000"/>
              <a:gd name="connsiteX256" fmla="*/ 7821 w 10000"/>
              <a:gd name="connsiteY256" fmla="*/ 2170 h 10000"/>
              <a:gd name="connsiteX257" fmla="*/ 7870 w 10000"/>
              <a:gd name="connsiteY257" fmla="*/ 2325 h 10000"/>
              <a:gd name="connsiteX258" fmla="*/ 7462 w 10000"/>
              <a:gd name="connsiteY258" fmla="*/ 2248 h 10000"/>
              <a:gd name="connsiteX259" fmla="*/ 7510 w 10000"/>
              <a:gd name="connsiteY259" fmla="*/ 2016 h 10000"/>
              <a:gd name="connsiteX260" fmla="*/ 7252 w 10000"/>
              <a:gd name="connsiteY260" fmla="*/ 1938 h 10000"/>
              <a:gd name="connsiteX261" fmla="*/ 7096 w 10000"/>
              <a:gd name="connsiteY261" fmla="*/ 2093 h 10000"/>
              <a:gd name="connsiteX262" fmla="*/ 6794 w 10000"/>
              <a:gd name="connsiteY262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960 w 10000"/>
              <a:gd name="connsiteY246" fmla="*/ 2868 h 10000"/>
              <a:gd name="connsiteX247" fmla="*/ 8900 w 10000"/>
              <a:gd name="connsiteY247" fmla="*/ 2868 h 10000"/>
              <a:gd name="connsiteX248" fmla="*/ 8804 w 10000"/>
              <a:gd name="connsiteY248" fmla="*/ 2946 h 10000"/>
              <a:gd name="connsiteX249" fmla="*/ 8651 w 10000"/>
              <a:gd name="connsiteY249" fmla="*/ 2714 h 10000"/>
              <a:gd name="connsiteX250" fmla="*/ 8543 w 10000"/>
              <a:gd name="connsiteY250" fmla="*/ 3178 h 10000"/>
              <a:gd name="connsiteX251" fmla="*/ 8447 w 10000"/>
              <a:gd name="connsiteY251" fmla="*/ 3101 h 10000"/>
              <a:gd name="connsiteX252" fmla="*/ 8339 w 10000"/>
              <a:gd name="connsiteY252" fmla="*/ 2791 h 10000"/>
              <a:gd name="connsiteX253" fmla="*/ 8392 w 10000"/>
              <a:gd name="connsiteY253" fmla="*/ 2403 h 10000"/>
              <a:gd name="connsiteX254" fmla="*/ 8287 w 10000"/>
              <a:gd name="connsiteY254" fmla="*/ 2170 h 10000"/>
              <a:gd name="connsiteX255" fmla="*/ 7977 w 10000"/>
              <a:gd name="connsiteY255" fmla="*/ 2016 h 10000"/>
              <a:gd name="connsiteX256" fmla="*/ 7870 w 10000"/>
              <a:gd name="connsiteY256" fmla="*/ 2016 h 10000"/>
              <a:gd name="connsiteX257" fmla="*/ 7821 w 10000"/>
              <a:gd name="connsiteY257" fmla="*/ 2170 h 10000"/>
              <a:gd name="connsiteX258" fmla="*/ 7870 w 10000"/>
              <a:gd name="connsiteY258" fmla="*/ 2325 h 10000"/>
              <a:gd name="connsiteX259" fmla="*/ 7462 w 10000"/>
              <a:gd name="connsiteY259" fmla="*/ 2248 h 10000"/>
              <a:gd name="connsiteX260" fmla="*/ 7510 w 10000"/>
              <a:gd name="connsiteY260" fmla="*/ 2016 h 10000"/>
              <a:gd name="connsiteX261" fmla="*/ 7252 w 10000"/>
              <a:gd name="connsiteY261" fmla="*/ 1938 h 10000"/>
              <a:gd name="connsiteX262" fmla="*/ 7096 w 10000"/>
              <a:gd name="connsiteY262" fmla="*/ 2093 h 10000"/>
              <a:gd name="connsiteX263" fmla="*/ 6794 w 10000"/>
              <a:gd name="connsiteY263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960 w 10000"/>
              <a:gd name="connsiteY246" fmla="*/ 2868 h 10000"/>
              <a:gd name="connsiteX247" fmla="*/ 8900 w 10000"/>
              <a:gd name="connsiteY247" fmla="*/ 2868 h 10000"/>
              <a:gd name="connsiteX248" fmla="*/ 8651 w 10000"/>
              <a:gd name="connsiteY248" fmla="*/ 2714 h 10000"/>
              <a:gd name="connsiteX249" fmla="*/ 8543 w 10000"/>
              <a:gd name="connsiteY249" fmla="*/ 3178 h 10000"/>
              <a:gd name="connsiteX250" fmla="*/ 8447 w 10000"/>
              <a:gd name="connsiteY250" fmla="*/ 3101 h 10000"/>
              <a:gd name="connsiteX251" fmla="*/ 8339 w 10000"/>
              <a:gd name="connsiteY251" fmla="*/ 2791 h 10000"/>
              <a:gd name="connsiteX252" fmla="*/ 8392 w 10000"/>
              <a:gd name="connsiteY252" fmla="*/ 2403 h 10000"/>
              <a:gd name="connsiteX253" fmla="*/ 8287 w 10000"/>
              <a:gd name="connsiteY253" fmla="*/ 2170 h 10000"/>
              <a:gd name="connsiteX254" fmla="*/ 7977 w 10000"/>
              <a:gd name="connsiteY254" fmla="*/ 2016 h 10000"/>
              <a:gd name="connsiteX255" fmla="*/ 7870 w 10000"/>
              <a:gd name="connsiteY255" fmla="*/ 2016 h 10000"/>
              <a:gd name="connsiteX256" fmla="*/ 7821 w 10000"/>
              <a:gd name="connsiteY256" fmla="*/ 2170 h 10000"/>
              <a:gd name="connsiteX257" fmla="*/ 7870 w 10000"/>
              <a:gd name="connsiteY257" fmla="*/ 2325 h 10000"/>
              <a:gd name="connsiteX258" fmla="*/ 7462 w 10000"/>
              <a:gd name="connsiteY258" fmla="*/ 2248 h 10000"/>
              <a:gd name="connsiteX259" fmla="*/ 7510 w 10000"/>
              <a:gd name="connsiteY259" fmla="*/ 2016 h 10000"/>
              <a:gd name="connsiteX260" fmla="*/ 7252 w 10000"/>
              <a:gd name="connsiteY260" fmla="*/ 1938 h 10000"/>
              <a:gd name="connsiteX261" fmla="*/ 7096 w 10000"/>
              <a:gd name="connsiteY261" fmla="*/ 2093 h 10000"/>
              <a:gd name="connsiteX262" fmla="*/ 6794 w 10000"/>
              <a:gd name="connsiteY262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960 w 10000"/>
              <a:gd name="connsiteY246" fmla="*/ 2868 h 10000"/>
              <a:gd name="connsiteX247" fmla="*/ 8900 w 10000"/>
              <a:gd name="connsiteY247" fmla="*/ 2868 h 10000"/>
              <a:gd name="connsiteX248" fmla="*/ 8543 w 10000"/>
              <a:gd name="connsiteY248" fmla="*/ 3178 h 10000"/>
              <a:gd name="connsiteX249" fmla="*/ 8447 w 10000"/>
              <a:gd name="connsiteY249" fmla="*/ 3101 h 10000"/>
              <a:gd name="connsiteX250" fmla="*/ 8339 w 10000"/>
              <a:gd name="connsiteY250" fmla="*/ 2791 h 10000"/>
              <a:gd name="connsiteX251" fmla="*/ 8392 w 10000"/>
              <a:gd name="connsiteY251" fmla="*/ 2403 h 10000"/>
              <a:gd name="connsiteX252" fmla="*/ 8287 w 10000"/>
              <a:gd name="connsiteY252" fmla="*/ 2170 h 10000"/>
              <a:gd name="connsiteX253" fmla="*/ 7977 w 10000"/>
              <a:gd name="connsiteY253" fmla="*/ 2016 h 10000"/>
              <a:gd name="connsiteX254" fmla="*/ 7870 w 10000"/>
              <a:gd name="connsiteY254" fmla="*/ 2016 h 10000"/>
              <a:gd name="connsiteX255" fmla="*/ 7821 w 10000"/>
              <a:gd name="connsiteY255" fmla="*/ 2170 h 10000"/>
              <a:gd name="connsiteX256" fmla="*/ 7870 w 10000"/>
              <a:gd name="connsiteY256" fmla="*/ 2325 h 10000"/>
              <a:gd name="connsiteX257" fmla="*/ 7462 w 10000"/>
              <a:gd name="connsiteY257" fmla="*/ 2248 h 10000"/>
              <a:gd name="connsiteX258" fmla="*/ 7510 w 10000"/>
              <a:gd name="connsiteY258" fmla="*/ 2016 h 10000"/>
              <a:gd name="connsiteX259" fmla="*/ 7252 w 10000"/>
              <a:gd name="connsiteY259" fmla="*/ 1938 h 10000"/>
              <a:gd name="connsiteX260" fmla="*/ 7096 w 10000"/>
              <a:gd name="connsiteY260" fmla="*/ 2093 h 10000"/>
              <a:gd name="connsiteX261" fmla="*/ 6794 w 10000"/>
              <a:gd name="connsiteY261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900 w 10000"/>
              <a:gd name="connsiteY246" fmla="*/ 2868 h 10000"/>
              <a:gd name="connsiteX247" fmla="*/ 8543 w 10000"/>
              <a:gd name="connsiteY247" fmla="*/ 3178 h 10000"/>
              <a:gd name="connsiteX248" fmla="*/ 8447 w 10000"/>
              <a:gd name="connsiteY248" fmla="*/ 3101 h 10000"/>
              <a:gd name="connsiteX249" fmla="*/ 8339 w 10000"/>
              <a:gd name="connsiteY249" fmla="*/ 2791 h 10000"/>
              <a:gd name="connsiteX250" fmla="*/ 8392 w 10000"/>
              <a:gd name="connsiteY250" fmla="*/ 2403 h 10000"/>
              <a:gd name="connsiteX251" fmla="*/ 8287 w 10000"/>
              <a:gd name="connsiteY251" fmla="*/ 2170 h 10000"/>
              <a:gd name="connsiteX252" fmla="*/ 7977 w 10000"/>
              <a:gd name="connsiteY252" fmla="*/ 2016 h 10000"/>
              <a:gd name="connsiteX253" fmla="*/ 7870 w 10000"/>
              <a:gd name="connsiteY253" fmla="*/ 2016 h 10000"/>
              <a:gd name="connsiteX254" fmla="*/ 7821 w 10000"/>
              <a:gd name="connsiteY254" fmla="*/ 2170 h 10000"/>
              <a:gd name="connsiteX255" fmla="*/ 7870 w 10000"/>
              <a:gd name="connsiteY255" fmla="*/ 2325 h 10000"/>
              <a:gd name="connsiteX256" fmla="*/ 7462 w 10000"/>
              <a:gd name="connsiteY256" fmla="*/ 2248 h 10000"/>
              <a:gd name="connsiteX257" fmla="*/ 7510 w 10000"/>
              <a:gd name="connsiteY257" fmla="*/ 2016 h 10000"/>
              <a:gd name="connsiteX258" fmla="*/ 7252 w 10000"/>
              <a:gd name="connsiteY258" fmla="*/ 1938 h 10000"/>
              <a:gd name="connsiteX259" fmla="*/ 7096 w 10000"/>
              <a:gd name="connsiteY259" fmla="*/ 2093 h 10000"/>
              <a:gd name="connsiteX260" fmla="*/ 6794 w 10000"/>
              <a:gd name="connsiteY260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543 w 10000"/>
              <a:gd name="connsiteY246" fmla="*/ 3178 h 10000"/>
              <a:gd name="connsiteX247" fmla="*/ 8447 w 10000"/>
              <a:gd name="connsiteY247" fmla="*/ 3101 h 10000"/>
              <a:gd name="connsiteX248" fmla="*/ 8339 w 10000"/>
              <a:gd name="connsiteY248" fmla="*/ 2791 h 10000"/>
              <a:gd name="connsiteX249" fmla="*/ 8392 w 10000"/>
              <a:gd name="connsiteY249" fmla="*/ 2403 h 10000"/>
              <a:gd name="connsiteX250" fmla="*/ 8287 w 10000"/>
              <a:gd name="connsiteY250" fmla="*/ 2170 h 10000"/>
              <a:gd name="connsiteX251" fmla="*/ 7977 w 10000"/>
              <a:gd name="connsiteY251" fmla="*/ 2016 h 10000"/>
              <a:gd name="connsiteX252" fmla="*/ 7870 w 10000"/>
              <a:gd name="connsiteY252" fmla="*/ 2016 h 10000"/>
              <a:gd name="connsiteX253" fmla="*/ 7821 w 10000"/>
              <a:gd name="connsiteY253" fmla="*/ 2170 h 10000"/>
              <a:gd name="connsiteX254" fmla="*/ 7870 w 10000"/>
              <a:gd name="connsiteY254" fmla="*/ 2325 h 10000"/>
              <a:gd name="connsiteX255" fmla="*/ 7462 w 10000"/>
              <a:gd name="connsiteY255" fmla="*/ 2248 h 10000"/>
              <a:gd name="connsiteX256" fmla="*/ 7510 w 10000"/>
              <a:gd name="connsiteY256" fmla="*/ 2016 h 10000"/>
              <a:gd name="connsiteX257" fmla="*/ 7252 w 10000"/>
              <a:gd name="connsiteY257" fmla="*/ 1938 h 10000"/>
              <a:gd name="connsiteX258" fmla="*/ 7096 w 10000"/>
              <a:gd name="connsiteY258" fmla="*/ 2093 h 10000"/>
              <a:gd name="connsiteX259" fmla="*/ 6794 w 10000"/>
              <a:gd name="connsiteY259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447 w 10000"/>
              <a:gd name="connsiteY246" fmla="*/ 3101 h 10000"/>
              <a:gd name="connsiteX247" fmla="*/ 8339 w 10000"/>
              <a:gd name="connsiteY247" fmla="*/ 2791 h 10000"/>
              <a:gd name="connsiteX248" fmla="*/ 8392 w 10000"/>
              <a:gd name="connsiteY248" fmla="*/ 2403 h 10000"/>
              <a:gd name="connsiteX249" fmla="*/ 8287 w 10000"/>
              <a:gd name="connsiteY249" fmla="*/ 2170 h 10000"/>
              <a:gd name="connsiteX250" fmla="*/ 7977 w 10000"/>
              <a:gd name="connsiteY250" fmla="*/ 2016 h 10000"/>
              <a:gd name="connsiteX251" fmla="*/ 7870 w 10000"/>
              <a:gd name="connsiteY251" fmla="*/ 2016 h 10000"/>
              <a:gd name="connsiteX252" fmla="*/ 7821 w 10000"/>
              <a:gd name="connsiteY252" fmla="*/ 2170 h 10000"/>
              <a:gd name="connsiteX253" fmla="*/ 7870 w 10000"/>
              <a:gd name="connsiteY253" fmla="*/ 2325 h 10000"/>
              <a:gd name="connsiteX254" fmla="*/ 7462 w 10000"/>
              <a:gd name="connsiteY254" fmla="*/ 2248 h 10000"/>
              <a:gd name="connsiteX255" fmla="*/ 7510 w 10000"/>
              <a:gd name="connsiteY255" fmla="*/ 2016 h 10000"/>
              <a:gd name="connsiteX256" fmla="*/ 7252 w 10000"/>
              <a:gd name="connsiteY256" fmla="*/ 1938 h 10000"/>
              <a:gd name="connsiteX257" fmla="*/ 7096 w 10000"/>
              <a:gd name="connsiteY257" fmla="*/ 2093 h 10000"/>
              <a:gd name="connsiteX258" fmla="*/ 6794 w 10000"/>
              <a:gd name="connsiteY258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9942 w 10000"/>
              <a:gd name="connsiteY244" fmla="*/ 6590 h 10000"/>
              <a:gd name="connsiteX245" fmla="*/ 10000 w 10000"/>
              <a:gd name="connsiteY245" fmla="*/ 6434 h 10000"/>
              <a:gd name="connsiteX246" fmla="*/ 8339 w 10000"/>
              <a:gd name="connsiteY246" fmla="*/ 2791 h 10000"/>
              <a:gd name="connsiteX247" fmla="*/ 8392 w 10000"/>
              <a:gd name="connsiteY247" fmla="*/ 2403 h 10000"/>
              <a:gd name="connsiteX248" fmla="*/ 8287 w 10000"/>
              <a:gd name="connsiteY248" fmla="*/ 2170 h 10000"/>
              <a:gd name="connsiteX249" fmla="*/ 7977 w 10000"/>
              <a:gd name="connsiteY249" fmla="*/ 2016 h 10000"/>
              <a:gd name="connsiteX250" fmla="*/ 7870 w 10000"/>
              <a:gd name="connsiteY250" fmla="*/ 2016 h 10000"/>
              <a:gd name="connsiteX251" fmla="*/ 7821 w 10000"/>
              <a:gd name="connsiteY251" fmla="*/ 2170 h 10000"/>
              <a:gd name="connsiteX252" fmla="*/ 7870 w 10000"/>
              <a:gd name="connsiteY252" fmla="*/ 2325 h 10000"/>
              <a:gd name="connsiteX253" fmla="*/ 7462 w 10000"/>
              <a:gd name="connsiteY253" fmla="*/ 2248 h 10000"/>
              <a:gd name="connsiteX254" fmla="*/ 7510 w 10000"/>
              <a:gd name="connsiteY254" fmla="*/ 2016 h 10000"/>
              <a:gd name="connsiteX255" fmla="*/ 7252 w 10000"/>
              <a:gd name="connsiteY255" fmla="*/ 1938 h 10000"/>
              <a:gd name="connsiteX256" fmla="*/ 7096 w 10000"/>
              <a:gd name="connsiteY256" fmla="*/ 2093 h 10000"/>
              <a:gd name="connsiteX257" fmla="*/ 6794 w 10000"/>
              <a:gd name="connsiteY257" fmla="*/ 1861 h 10000"/>
              <a:gd name="connsiteX0" fmla="*/ 6794 w 10000"/>
              <a:gd name="connsiteY0" fmla="*/ 1861 h 10000"/>
              <a:gd name="connsiteX1" fmla="*/ 6794 w 10000"/>
              <a:gd name="connsiteY1" fmla="*/ 1861 h 10000"/>
              <a:gd name="connsiteX2" fmla="*/ 6733 w 10000"/>
              <a:gd name="connsiteY2" fmla="*/ 1938 h 10000"/>
              <a:gd name="connsiteX3" fmla="*/ 6794 w 10000"/>
              <a:gd name="connsiteY3" fmla="*/ 2093 h 10000"/>
              <a:gd name="connsiteX4" fmla="*/ 6577 w 10000"/>
              <a:gd name="connsiteY4" fmla="*/ 2248 h 10000"/>
              <a:gd name="connsiteX5" fmla="*/ 6524 w 10000"/>
              <a:gd name="connsiteY5" fmla="*/ 2248 h 10000"/>
              <a:gd name="connsiteX6" fmla="*/ 6577 w 10000"/>
              <a:gd name="connsiteY6" fmla="*/ 2016 h 10000"/>
              <a:gd name="connsiteX7" fmla="*/ 7096 w 10000"/>
              <a:gd name="connsiteY7" fmla="*/ 1318 h 10000"/>
              <a:gd name="connsiteX8" fmla="*/ 7096 w 10000"/>
              <a:gd name="connsiteY8" fmla="*/ 853 h 10000"/>
              <a:gd name="connsiteX9" fmla="*/ 6891 w 10000"/>
              <a:gd name="connsiteY9" fmla="*/ 543 h 10000"/>
              <a:gd name="connsiteX10" fmla="*/ 6630 w 10000"/>
              <a:gd name="connsiteY10" fmla="*/ 543 h 10000"/>
              <a:gd name="connsiteX11" fmla="*/ 6630 w 10000"/>
              <a:gd name="connsiteY11" fmla="*/ 698 h 10000"/>
              <a:gd name="connsiteX12" fmla="*/ 6472 w 10000"/>
              <a:gd name="connsiteY12" fmla="*/ 698 h 10000"/>
              <a:gd name="connsiteX13" fmla="*/ 6577 w 10000"/>
              <a:gd name="connsiteY13" fmla="*/ 387 h 10000"/>
              <a:gd name="connsiteX14" fmla="*/ 6321 w 10000"/>
              <a:gd name="connsiteY14" fmla="*/ 310 h 10000"/>
              <a:gd name="connsiteX15" fmla="*/ 6472 w 10000"/>
              <a:gd name="connsiteY15" fmla="*/ 155 h 10000"/>
              <a:gd name="connsiteX16" fmla="*/ 6321 w 10000"/>
              <a:gd name="connsiteY16" fmla="*/ 0 h 10000"/>
              <a:gd name="connsiteX17" fmla="*/ 6061 w 10000"/>
              <a:gd name="connsiteY17" fmla="*/ 387 h 10000"/>
              <a:gd name="connsiteX18" fmla="*/ 6061 w 10000"/>
              <a:gd name="connsiteY18" fmla="*/ 698 h 10000"/>
              <a:gd name="connsiteX19" fmla="*/ 5903 w 10000"/>
              <a:gd name="connsiteY19" fmla="*/ 698 h 10000"/>
              <a:gd name="connsiteX20" fmla="*/ 5439 w 10000"/>
              <a:gd name="connsiteY20" fmla="*/ 853 h 10000"/>
              <a:gd name="connsiteX21" fmla="*/ 5023 w 10000"/>
              <a:gd name="connsiteY21" fmla="*/ 1240 h 10000"/>
              <a:gd name="connsiteX22" fmla="*/ 4867 w 10000"/>
              <a:gd name="connsiteY22" fmla="*/ 1551 h 10000"/>
              <a:gd name="connsiteX23" fmla="*/ 4922 w 10000"/>
              <a:gd name="connsiteY23" fmla="*/ 1938 h 10000"/>
              <a:gd name="connsiteX24" fmla="*/ 4351 w 10000"/>
              <a:gd name="connsiteY24" fmla="*/ 2093 h 10000"/>
              <a:gd name="connsiteX25" fmla="*/ 4405 w 10000"/>
              <a:gd name="connsiteY25" fmla="*/ 2559 h 10000"/>
              <a:gd name="connsiteX26" fmla="*/ 4560 w 10000"/>
              <a:gd name="connsiteY26" fmla="*/ 2791 h 10000"/>
              <a:gd name="connsiteX27" fmla="*/ 4455 w 10000"/>
              <a:gd name="connsiteY27" fmla="*/ 2868 h 10000"/>
              <a:gd name="connsiteX28" fmla="*/ 4301 w 10000"/>
              <a:gd name="connsiteY28" fmla="*/ 2559 h 10000"/>
              <a:gd name="connsiteX29" fmla="*/ 4147 w 10000"/>
              <a:gd name="connsiteY29" fmla="*/ 2480 h 10000"/>
              <a:gd name="connsiteX30" fmla="*/ 4090 w 10000"/>
              <a:gd name="connsiteY30" fmla="*/ 2559 h 10000"/>
              <a:gd name="connsiteX31" fmla="*/ 3986 w 10000"/>
              <a:gd name="connsiteY31" fmla="*/ 2403 h 10000"/>
              <a:gd name="connsiteX32" fmla="*/ 3884 w 10000"/>
              <a:gd name="connsiteY32" fmla="*/ 2248 h 10000"/>
              <a:gd name="connsiteX33" fmla="*/ 3884 w 10000"/>
              <a:gd name="connsiteY33" fmla="*/ 2325 h 10000"/>
              <a:gd name="connsiteX34" fmla="*/ 3940 w 10000"/>
              <a:gd name="connsiteY34" fmla="*/ 2559 h 10000"/>
              <a:gd name="connsiteX35" fmla="*/ 3780 w 10000"/>
              <a:gd name="connsiteY35" fmla="*/ 2946 h 10000"/>
              <a:gd name="connsiteX36" fmla="*/ 3884 w 10000"/>
              <a:gd name="connsiteY36" fmla="*/ 3256 h 10000"/>
              <a:gd name="connsiteX37" fmla="*/ 3831 w 10000"/>
              <a:gd name="connsiteY37" fmla="*/ 3566 h 10000"/>
              <a:gd name="connsiteX38" fmla="*/ 3831 w 10000"/>
              <a:gd name="connsiteY38" fmla="*/ 3799 h 10000"/>
              <a:gd name="connsiteX39" fmla="*/ 3986 w 10000"/>
              <a:gd name="connsiteY39" fmla="*/ 3799 h 10000"/>
              <a:gd name="connsiteX40" fmla="*/ 3884 w 10000"/>
              <a:gd name="connsiteY40" fmla="*/ 3876 h 10000"/>
              <a:gd name="connsiteX41" fmla="*/ 3940 w 10000"/>
              <a:gd name="connsiteY41" fmla="*/ 4263 h 10000"/>
              <a:gd name="connsiteX42" fmla="*/ 3627 w 10000"/>
              <a:gd name="connsiteY42" fmla="*/ 4652 h 10000"/>
              <a:gd name="connsiteX43" fmla="*/ 3570 w 10000"/>
              <a:gd name="connsiteY43" fmla="*/ 4574 h 10000"/>
              <a:gd name="connsiteX44" fmla="*/ 3780 w 10000"/>
              <a:gd name="connsiteY44" fmla="*/ 4186 h 10000"/>
              <a:gd name="connsiteX45" fmla="*/ 3831 w 10000"/>
              <a:gd name="connsiteY45" fmla="*/ 3954 h 10000"/>
              <a:gd name="connsiteX46" fmla="*/ 3723 w 10000"/>
              <a:gd name="connsiteY46" fmla="*/ 3799 h 10000"/>
              <a:gd name="connsiteX47" fmla="*/ 3723 w 10000"/>
              <a:gd name="connsiteY47" fmla="*/ 3023 h 10000"/>
              <a:gd name="connsiteX48" fmla="*/ 3677 w 10000"/>
              <a:gd name="connsiteY48" fmla="*/ 2868 h 10000"/>
              <a:gd name="connsiteX49" fmla="*/ 3723 w 10000"/>
              <a:gd name="connsiteY49" fmla="*/ 2403 h 10000"/>
              <a:gd name="connsiteX50" fmla="*/ 3627 w 10000"/>
              <a:gd name="connsiteY50" fmla="*/ 2325 h 10000"/>
              <a:gd name="connsiteX51" fmla="*/ 3677 w 10000"/>
              <a:gd name="connsiteY51" fmla="*/ 2248 h 10000"/>
              <a:gd name="connsiteX52" fmla="*/ 3627 w 10000"/>
              <a:gd name="connsiteY52" fmla="*/ 2093 h 10000"/>
              <a:gd name="connsiteX53" fmla="*/ 3518 w 10000"/>
              <a:gd name="connsiteY53" fmla="*/ 2170 h 10000"/>
              <a:gd name="connsiteX54" fmla="*/ 3262 w 10000"/>
              <a:gd name="connsiteY54" fmla="*/ 3178 h 10000"/>
              <a:gd name="connsiteX55" fmla="*/ 3262 w 10000"/>
              <a:gd name="connsiteY55" fmla="*/ 3566 h 10000"/>
              <a:gd name="connsiteX56" fmla="*/ 3419 w 10000"/>
              <a:gd name="connsiteY56" fmla="*/ 3876 h 10000"/>
              <a:gd name="connsiteX57" fmla="*/ 3419 w 10000"/>
              <a:gd name="connsiteY57" fmla="*/ 4031 h 10000"/>
              <a:gd name="connsiteX58" fmla="*/ 3262 w 10000"/>
              <a:gd name="connsiteY58" fmla="*/ 3876 h 10000"/>
              <a:gd name="connsiteX59" fmla="*/ 2644 w 10000"/>
              <a:gd name="connsiteY59" fmla="*/ 3256 h 10000"/>
              <a:gd name="connsiteX60" fmla="*/ 2591 w 10000"/>
              <a:gd name="connsiteY60" fmla="*/ 3411 h 10000"/>
              <a:gd name="connsiteX61" fmla="*/ 2797 w 10000"/>
              <a:gd name="connsiteY61" fmla="*/ 3799 h 10000"/>
              <a:gd name="connsiteX62" fmla="*/ 2691 w 10000"/>
              <a:gd name="connsiteY62" fmla="*/ 3876 h 10000"/>
              <a:gd name="connsiteX63" fmla="*/ 2644 w 10000"/>
              <a:gd name="connsiteY63" fmla="*/ 3799 h 10000"/>
              <a:gd name="connsiteX64" fmla="*/ 2333 w 10000"/>
              <a:gd name="connsiteY64" fmla="*/ 3954 h 10000"/>
              <a:gd name="connsiteX65" fmla="*/ 2281 w 10000"/>
              <a:gd name="connsiteY65" fmla="*/ 4109 h 10000"/>
              <a:gd name="connsiteX66" fmla="*/ 2228 w 10000"/>
              <a:gd name="connsiteY66" fmla="*/ 3954 h 10000"/>
              <a:gd name="connsiteX67" fmla="*/ 2228 w 10000"/>
              <a:gd name="connsiteY67" fmla="*/ 3799 h 10000"/>
              <a:gd name="connsiteX68" fmla="*/ 1707 w 10000"/>
              <a:gd name="connsiteY68" fmla="*/ 4263 h 10000"/>
              <a:gd name="connsiteX69" fmla="*/ 1707 w 10000"/>
              <a:gd name="connsiteY69" fmla="*/ 4418 h 10000"/>
              <a:gd name="connsiteX70" fmla="*/ 1606 w 10000"/>
              <a:gd name="connsiteY70" fmla="*/ 4496 h 10000"/>
              <a:gd name="connsiteX71" fmla="*/ 1450 w 10000"/>
              <a:gd name="connsiteY71" fmla="*/ 4341 h 10000"/>
              <a:gd name="connsiteX72" fmla="*/ 1606 w 10000"/>
              <a:gd name="connsiteY72" fmla="*/ 4186 h 10000"/>
              <a:gd name="connsiteX73" fmla="*/ 1553 w 10000"/>
              <a:gd name="connsiteY73" fmla="*/ 3954 h 10000"/>
              <a:gd name="connsiteX74" fmla="*/ 1347 w 10000"/>
              <a:gd name="connsiteY74" fmla="*/ 3876 h 10000"/>
              <a:gd name="connsiteX75" fmla="*/ 1399 w 10000"/>
              <a:gd name="connsiteY75" fmla="*/ 4031 h 10000"/>
              <a:gd name="connsiteX76" fmla="*/ 1399 w 10000"/>
              <a:gd name="connsiteY76" fmla="*/ 4418 h 10000"/>
              <a:gd name="connsiteX77" fmla="*/ 1450 w 10000"/>
              <a:gd name="connsiteY77" fmla="*/ 4574 h 10000"/>
              <a:gd name="connsiteX78" fmla="*/ 1399 w 10000"/>
              <a:gd name="connsiteY78" fmla="*/ 4729 h 10000"/>
              <a:gd name="connsiteX79" fmla="*/ 1241 w 10000"/>
              <a:gd name="connsiteY79" fmla="*/ 4652 h 10000"/>
              <a:gd name="connsiteX80" fmla="*/ 1036 w 10000"/>
              <a:gd name="connsiteY80" fmla="*/ 4884 h 10000"/>
              <a:gd name="connsiteX81" fmla="*/ 1136 w 10000"/>
              <a:gd name="connsiteY81" fmla="*/ 5194 h 10000"/>
              <a:gd name="connsiteX82" fmla="*/ 827 w 10000"/>
              <a:gd name="connsiteY82" fmla="*/ 5039 h 10000"/>
              <a:gd name="connsiteX83" fmla="*/ 778 w 10000"/>
              <a:gd name="connsiteY83" fmla="*/ 5116 h 10000"/>
              <a:gd name="connsiteX84" fmla="*/ 882 w 10000"/>
              <a:gd name="connsiteY84" fmla="*/ 5349 h 10000"/>
              <a:gd name="connsiteX85" fmla="*/ 778 w 10000"/>
              <a:gd name="connsiteY85" fmla="*/ 5349 h 10000"/>
              <a:gd name="connsiteX86" fmla="*/ 623 w 10000"/>
              <a:gd name="connsiteY86" fmla="*/ 5194 h 10000"/>
              <a:gd name="connsiteX87" fmla="*/ 623 w 10000"/>
              <a:gd name="connsiteY87" fmla="*/ 4729 h 10000"/>
              <a:gd name="connsiteX88" fmla="*/ 469 w 10000"/>
              <a:gd name="connsiteY88" fmla="*/ 4574 h 10000"/>
              <a:gd name="connsiteX89" fmla="*/ 414 w 10000"/>
              <a:gd name="connsiteY89" fmla="*/ 4418 h 10000"/>
              <a:gd name="connsiteX90" fmla="*/ 517 w 10000"/>
              <a:gd name="connsiteY90" fmla="*/ 4496 h 10000"/>
              <a:gd name="connsiteX91" fmla="*/ 930 w 10000"/>
              <a:gd name="connsiteY91" fmla="*/ 4729 h 10000"/>
              <a:gd name="connsiteX92" fmla="*/ 1187 w 10000"/>
              <a:gd name="connsiteY92" fmla="*/ 4496 h 10000"/>
              <a:gd name="connsiteX93" fmla="*/ 1136 w 10000"/>
              <a:gd name="connsiteY93" fmla="*/ 4263 h 10000"/>
              <a:gd name="connsiteX94" fmla="*/ 827 w 10000"/>
              <a:gd name="connsiteY94" fmla="*/ 3799 h 10000"/>
              <a:gd name="connsiteX95" fmla="*/ 517 w 10000"/>
              <a:gd name="connsiteY95" fmla="*/ 3644 h 10000"/>
              <a:gd name="connsiteX96" fmla="*/ 517 w 10000"/>
              <a:gd name="connsiteY96" fmla="*/ 3566 h 10000"/>
              <a:gd name="connsiteX97" fmla="*/ 414 w 10000"/>
              <a:gd name="connsiteY97" fmla="*/ 3488 h 10000"/>
              <a:gd name="connsiteX98" fmla="*/ 307 w 10000"/>
              <a:gd name="connsiteY98" fmla="*/ 3566 h 10000"/>
              <a:gd name="connsiteX99" fmla="*/ 307 w 10000"/>
              <a:gd name="connsiteY99" fmla="*/ 3644 h 10000"/>
              <a:gd name="connsiteX100" fmla="*/ 258 w 10000"/>
              <a:gd name="connsiteY100" fmla="*/ 3644 h 10000"/>
              <a:gd name="connsiteX101" fmla="*/ 156 w 10000"/>
              <a:gd name="connsiteY101" fmla="*/ 3799 h 10000"/>
              <a:gd name="connsiteX102" fmla="*/ 156 w 10000"/>
              <a:gd name="connsiteY102" fmla="*/ 4031 h 10000"/>
              <a:gd name="connsiteX103" fmla="*/ 258 w 10000"/>
              <a:gd name="connsiteY103" fmla="*/ 4186 h 10000"/>
              <a:gd name="connsiteX104" fmla="*/ 208 w 10000"/>
              <a:gd name="connsiteY104" fmla="*/ 4418 h 10000"/>
              <a:gd name="connsiteX105" fmla="*/ 258 w 10000"/>
              <a:gd name="connsiteY105" fmla="*/ 4807 h 10000"/>
              <a:gd name="connsiteX106" fmla="*/ 208 w 10000"/>
              <a:gd name="connsiteY106" fmla="*/ 5039 h 10000"/>
              <a:gd name="connsiteX107" fmla="*/ 307 w 10000"/>
              <a:gd name="connsiteY107" fmla="*/ 5271 h 10000"/>
              <a:gd name="connsiteX108" fmla="*/ 258 w 10000"/>
              <a:gd name="connsiteY108" fmla="*/ 5426 h 10000"/>
              <a:gd name="connsiteX109" fmla="*/ 361 w 10000"/>
              <a:gd name="connsiteY109" fmla="*/ 5582 h 10000"/>
              <a:gd name="connsiteX110" fmla="*/ 361 w 10000"/>
              <a:gd name="connsiteY110" fmla="*/ 5659 h 10000"/>
              <a:gd name="connsiteX111" fmla="*/ 208 w 10000"/>
              <a:gd name="connsiteY111" fmla="*/ 6047 h 10000"/>
              <a:gd name="connsiteX112" fmla="*/ 47 w 10000"/>
              <a:gd name="connsiteY112" fmla="*/ 6202 h 10000"/>
              <a:gd name="connsiteX113" fmla="*/ 101 w 10000"/>
              <a:gd name="connsiteY113" fmla="*/ 6202 h 10000"/>
              <a:gd name="connsiteX114" fmla="*/ 208 w 10000"/>
              <a:gd name="connsiteY114" fmla="*/ 6356 h 10000"/>
              <a:gd name="connsiteX115" fmla="*/ 101 w 10000"/>
              <a:gd name="connsiteY115" fmla="*/ 6512 h 10000"/>
              <a:gd name="connsiteX116" fmla="*/ 47 w 10000"/>
              <a:gd name="connsiteY116" fmla="*/ 6590 h 10000"/>
              <a:gd name="connsiteX117" fmla="*/ 0 w 10000"/>
              <a:gd name="connsiteY117" fmla="*/ 6590 h 10000"/>
              <a:gd name="connsiteX118" fmla="*/ 47 w 10000"/>
              <a:gd name="connsiteY118" fmla="*/ 6822 h 10000"/>
              <a:gd name="connsiteX119" fmla="*/ 47 w 10000"/>
              <a:gd name="connsiteY119" fmla="*/ 6900 h 10000"/>
              <a:gd name="connsiteX120" fmla="*/ 47 w 10000"/>
              <a:gd name="connsiteY120" fmla="*/ 6977 h 10000"/>
              <a:gd name="connsiteX121" fmla="*/ 47 w 10000"/>
              <a:gd name="connsiteY121" fmla="*/ 7054 h 10000"/>
              <a:gd name="connsiteX122" fmla="*/ 101 w 10000"/>
              <a:gd name="connsiteY122" fmla="*/ 7209 h 10000"/>
              <a:gd name="connsiteX123" fmla="*/ 258 w 10000"/>
              <a:gd name="connsiteY123" fmla="*/ 7287 h 10000"/>
              <a:gd name="connsiteX124" fmla="*/ 307 w 10000"/>
              <a:gd name="connsiteY124" fmla="*/ 7364 h 10000"/>
              <a:gd name="connsiteX125" fmla="*/ 307 w 10000"/>
              <a:gd name="connsiteY125" fmla="*/ 7520 h 10000"/>
              <a:gd name="connsiteX126" fmla="*/ 414 w 10000"/>
              <a:gd name="connsiteY126" fmla="*/ 7752 h 10000"/>
              <a:gd name="connsiteX127" fmla="*/ 469 w 10000"/>
              <a:gd name="connsiteY127" fmla="*/ 7752 h 10000"/>
              <a:gd name="connsiteX128" fmla="*/ 414 w 10000"/>
              <a:gd name="connsiteY128" fmla="*/ 7907 h 10000"/>
              <a:gd name="connsiteX129" fmla="*/ 361 w 10000"/>
              <a:gd name="connsiteY129" fmla="*/ 7830 h 10000"/>
              <a:gd name="connsiteX130" fmla="*/ 361 w 10000"/>
              <a:gd name="connsiteY130" fmla="*/ 7907 h 10000"/>
              <a:gd name="connsiteX131" fmla="*/ 414 w 10000"/>
              <a:gd name="connsiteY131" fmla="*/ 8062 h 10000"/>
              <a:gd name="connsiteX132" fmla="*/ 572 w 10000"/>
              <a:gd name="connsiteY132" fmla="*/ 8062 h 10000"/>
              <a:gd name="connsiteX133" fmla="*/ 623 w 10000"/>
              <a:gd name="connsiteY133" fmla="*/ 8140 h 10000"/>
              <a:gd name="connsiteX134" fmla="*/ 572 w 10000"/>
              <a:gd name="connsiteY134" fmla="*/ 8140 h 10000"/>
              <a:gd name="connsiteX135" fmla="*/ 623 w 10000"/>
              <a:gd name="connsiteY135" fmla="*/ 8217 h 10000"/>
              <a:gd name="connsiteX136" fmla="*/ 672 w 10000"/>
              <a:gd name="connsiteY136" fmla="*/ 8217 h 10000"/>
              <a:gd name="connsiteX137" fmla="*/ 724 w 10000"/>
              <a:gd name="connsiteY137" fmla="*/ 8372 h 10000"/>
              <a:gd name="connsiteX138" fmla="*/ 778 w 10000"/>
              <a:gd name="connsiteY138" fmla="*/ 8449 h 10000"/>
              <a:gd name="connsiteX139" fmla="*/ 827 w 10000"/>
              <a:gd name="connsiteY139" fmla="*/ 8372 h 10000"/>
              <a:gd name="connsiteX140" fmla="*/ 1089 w 10000"/>
              <a:gd name="connsiteY140" fmla="*/ 8605 h 10000"/>
              <a:gd name="connsiteX141" fmla="*/ 1036 w 10000"/>
              <a:gd name="connsiteY141" fmla="*/ 8915 h 10000"/>
              <a:gd name="connsiteX142" fmla="*/ 984 w 10000"/>
              <a:gd name="connsiteY142" fmla="*/ 8838 h 10000"/>
              <a:gd name="connsiteX143" fmla="*/ 930 w 10000"/>
              <a:gd name="connsiteY143" fmla="*/ 8915 h 10000"/>
              <a:gd name="connsiteX144" fmla="*/ 930 w 10000"/>
              <a:gd name="connsiteY144" fmla="*/ 9070 h 10000"/>
              <a:gd name="connsiteX145" fmla="*/ 984 w 10000"/>
              <a:gd name="connsiteY145" fmla="*/ 8993 h 10000"/>
              <a:gd name="connsiteX146" fmla="*/ 1036 w 10000"/>
              <a:gd name="connsiteY146" fmla="*/ 9070 h 10000"/>
              <a:gd name="connsiteX147" fmla="*/ 882 w 10000"/>
              <a:gd name="connsiteY147" fmla="*/ 9147 h 10000"/>
              <a:gd name="connsiteX148" fmla="*/ 930 w 10000"/>
              <a:gd name="connsiteY148" fmla="*/ 9225 h 10000"/>
              <a:gd name="connsiteX149" fmla="*/ 827 w 10000"/>
              <a:gd name="connsiteY149" fmla="*/ 9380 h 10000"/>
              <a:gd name="connsiteX150" fmla="*/ 778 w 10000"/>
              <a:gd name="connsiteY150" fmla="*/ 9380 h 10000"/>
              <a:gd name="connsiteX151" fmla="*/ 827 w 10000"/>
              <a:gd name="connsiteY151" fmla="*/ 9380 h 10000"/>
              <a:gd name="connsiteX152" fmla="*/ 1036 w 10000"/>
              <a:gd name="connsiteY152" fmla="*/ 9691 h 10000"/>
              <a:gd name="connsiteX153" fmla="*/ 1296 w 10000"/>
              <a:gd name="connsiteY153" fmla="*/ 9691 h 10000"/>
              <a:gd name="connsiteX154" fmla="*/ 1399 w 10000"/>
              <a:gd name="connsiteY154" fmla="*/ 9768 h 10000"/>
              <a:gd name="connsiteX155" fmla="*/ 1502 w 10000"/>
              <a:gd name="connsiteY155" fmla="*/ 9768 h 10000"/>
              <a:gd name="connsiteX156" fmla="*/ 1606 w 10000"/>
              <a:gd name="connsiteY156" fmla="*/ 9923 h 10000"/>
              <a:gd name="connsiteX157" fmla="*/ 1657 w 10000"/>
              <a:gd name="connsiteY157" fmla="*/ 10000 h 10000"/>
              <a:gd name="connsiteX158" fmla="*/ 1707 w 10000"/>
              <a:gd name="connsiteY158" fmla="*/ 10000 h 10000"/>
              <a:gd name="connsiteX159" fmla="*/ 1762 w 10000"/>
              <a:gd name="connsiteY159" fmla="*/ 9923 h 10000"/>
              <a:gd name="connsiteX160" fmla="*/ 1657 w 10000"/>
              <a:gd name="connsiteY160" fmla="*/ 9768 h 10000"/>
              <a:gd name="connsiteX161" fmla="*/ 1657 w 10000"/>
              <a:gd name="connsiteY161" fmla="*/ 9613 h 10000"/>
              <a:gd name="connsiteX162" fmla="*/ 1606 w 10000"/>
              <a:gd name="connsiteY162" fmla="*/ 9457 h 10000"/>
              <a:gd name="connsiteX163" fmla="*/ 1707 w 10000"/>
              <a:gd name="connsiteY163" fmla="*/ 9225 h 10000"/>
              <a:gd name="connsiteX164" fmla="*/ 1762 w 10000"/>
              <a:gd name="connsiteY164" fmla="*/ 9302 h 10000"/>
              <a:gd name="connsiteX165" fmla="*/ 1812 w 10000"/>
              <a:gd name="connsiteY165" fmla="*/ 9225 h 10000"/>
              <a:gd name="connsiteX166" fmla="*/ 1812 w 10000"/>
              <a:gd name="connsiteY166" fmla="*/ 9147 h 10000"/>
              <a:gd name="connsiteX167" fmla="*/ 1762 w 10000"/>
              <a:gd name="connsiteY167" fmla="*/ 9147 h 10000"/>
              <a:gd name="connsiteX168" fmla="*/ 1812 w 10000"/>
              <a:gd name="connsiteY168" fmla="*/ 9070 h 10000"/>
              <a:gd name="connsiteX169" fmla="*/ 1762 w 10000"/>
              <a:gd name="connsiteY169" fmla="*/ 8915 h 10000"/>
              <a:gd name="connsiteX170" fmla="*/ 1657 w 10000"/>
              <a:gd name="connsiteY170" fmla="*/ 8915 h 10000"/>
              <a:gd name="connsiteX171" fmla="*/ 1606 w 10000"/>
              <a:gd name="connsiteY171" fmla="*/ 8760 h 10000"/>
              <a:gd name="connsiteX172" fmla="*/ 1657 w 10000"/>
              <a:gd name="connsiteY172" fmla="*/ 8372 h 10000"/>
              <a:gd name="connsiteX173" fmla="*/ 1762 w 10000"/>
              <a:gd name="connsiteY173" fmla="*/ 8528 h 10000"/>
              <a:gd name="connsiteX174" fmla="*/ 1812 w 10000"/>
              <a:gd name="connsiteY174" fmla="*/ 8528 h 10000"/>
              <a:gd name="connsiteX175" fmla="*/ 1762 w 10000"/>
              <a:gd name="connsiteY175" fmla="*/ 8372 h 10000"/>
              <a:gd name="connsiteX176" fmla="*/ 1917 w 10000"/>
              <a:gd name="connsiteY176" fmla="*/ 8140 h 10000"/>
              <a:gd name="connsiteX177" fmla="*/ 2022 w 10000"/>
              <a:gd name="connsiteY177" fmla="*/ 8217 h 10000"/>
              <a:gd name="connsiteX178" fmla="*/ 2072 w 10000"/>
              <a:gd name="connsiteY178" fmla="*/ 8140 h 10000"/>
              <a:gd name="connsiteX179" fmla="*/ 2175 w 10000"/>
              <a:gd name="connsiteY179" fmla="*/ 8217 h 10000"/>
              <a:gd name="connsiteX180" fmla="*/ 2333 w 10000"/>
              <a:gd name="connsiteY180" fmla="*/ 8372 h 10000"/>
              <a:gd name="connsiteX181" fmla="*/ 2433 w 10000"/>
              <a:gd name="connsiteY181" fmla="*/ 8295 h 10000"/>
              <a:gd name="connsiteX182" fmla="*/ 2539 w 10000"/>
              <a:gd name="connsiteY182" fmla="*/ 8295 h 10000"/>
              <a:gd name="connsiteX183" fmla="*/ 2591 w 10000"/>
              <a:gd name="connsiteY183" fmla="*/ 8372 h 10000"/>
              <a:gd name="connsiteX184" fmla="*/ 2797 w 10000"/>
              <a:gd name="connsiteY184" fmla="*/ 8372 h 10000"/>
              <a:gd name="connsiteX185" fmla="*/ 2847 w 10000"/>
              <a:gd name="connsiteY185" fmla="*/ 8217 h 10000"/>
              <a:gd name="connsiteX186" fmla="*/ 2691 w 10000"/>
              <a:gd name="connsiteY186" fmla="*/ 8140 h 10000"/>
              <a:gd name="connsiteX187" fmla="*/ 2797 w 10000"/>
              <a:gd name="connsiteY187" fmla="*/ 8062 h 10000"/>
              <a:gd name="connsiteX188" fmla="*/ 2743 w 10000"/>
              <a:gd name="connsiteY188" fmla="*/ 7985 h 10000"/>
              <a:gd name="connsiteX189" fmla="*/ 2797 w 10000"/>
              <a:gd name="connsiteY189" fmla="*/ 7907 h 10000"/>
              <a:gd name="connsiteX190" fmla="*/ 2797 w 10000"/>
              <a:gd name="connsiteY190" fmla="*/ 7675 h 10000"/>
              <a:gd name="connsiteX191" fmla="*/ 2899 w 10000"/>
              <a:gd name="connsiteY191" fmla="*/ 7752 h 10000"/>
              <a:gd name="connsiteX192" fmla="*/ 3367 w 10000"/>
              <a:gd name="connsiteY192" fmla="*/ 7520 h 10000"/>
              <a:gd name="connsiteX193" fmla="*/ 3367 w 10000"/>
              <a:gd name="connsiteY193" fmla="*/ 7442 h 10000"/>
              <a:gd name="connsiteX194" fmla="*/ 3419 w 10000"/>
              <a:gd name="connsiteY194" fmla="*/ 7442 h 10000"/>
              <a:gd name="connsiteX195" fmla="*/ 3570 w 10000"/>
              <a:gd name="connsiteY195" fmla="*/ 7442 h 10000"/>
              <a:gd name="connsiteX196" fmla="*/ 3627 w 10000"/>
              <a:gd name="connsiteY196" fmla="*/ 7598 h 10000"/>
              <a:gd name="connsiteX197" fmla="*/ 3627 w 10000"/>
              <a:gd name="connsiteY197" fmla="*/ 7675 h 10000"/>
              <a:gd name="connsiteX198" fmla="*/ 3677 w 10000"/>
              <a:gd name="connsiteY198" fmla="*/ 7675 h 10000"/>
              <a:gd name="connsiteX199" fmla="*/ 3780 w 10000"/>
              <a:gd name="connsiteY199" fmla="*/ 7752 h 10000"/>
              <a:gd name="connsiteX200" fmla="*/ 3780 w 10000"/>
              <a:gd name="connsiteY200" fmla="*/ 7830 h 10000"/>
              <a:gd name="connsiteX201" fmla="*/ 3884 w 10000"/>
              <a:gd name="connsiteY201" fmla="*/ 7830 h 10000"/>
              <a:gd name="connsiteX202" fmla="*/ 3986 w 10000"/>
              <a:gd name="connsiteY202" fmla="*/ 7675 h 10000"/>
              <a:gd name="connsiteX203" fmla="*/ 4090 w 10000"/>
              <a:gd name="connsiteY203" fmla="*/ 7598 h 10000"/>
              <a:gd name="connsiteX204" fmla="*/ 4147 w 10000"/>
              <a:gd name="connsiteY204" fmla="*/ 7830 h 10000"/>
              <a:gd name="connsiteX205" fmla="*/ 4351 w 10000"/>
              <a:gd name="connsiteY205" fmla="*/ 8372 h 10000"/>
              <a:gd name="connsiteX206" fmla="*/ 4405 w 10000"/>
              <a:gd name="connsiteY206" fmla="*/ 8217 h 10000"/>
              <a:gd name="connsiteX207" fmla="*/ 4455 w 10000"/>
              <a:gd name="connsiteY207" fmla="*/ 8372 h 10000"/>
              <a:gd name="connsiteX208" fmla="*/ 4610 w 10000"/>
              <a:gd name="connsiteY208" fmla="*/ 8295 h 10000"/>
              <a:gd name="connsiteX209" fmla="*/ 4768 w 10000"/>
              <a:gd name="connsiteY209" fmla="*/ 8528 h 10000"/>
              <a:gd name="connsiteX210" fmla="*/ 4867 w 10000"/>
              <a:gd name="connsiteY210" fmla="*/ 8605 h 10000"/>
              <a:gd name="connsiteX211" fmla="*/ 4867 w 10000"/>
              <a:gd name="connsiteY211" fmla="*/ 8528 h 10000"/>
              <a:gd name="connsiteX212" fmla="*/ 4922 w 10000"/>
              <a:gd name="connsiteY212" fmla="*/ 8683 h 10000"/>
              <a:gd name="connsiteX213" fmla="*/ 4867 w 10000"/>
              <a:gd name="connsiteY213" fmla="*/ 8760 h 10000"/>
              <a:gd name="connsiteX214" fmla="*/ 4974 w 10000"/>
              <a:gd name="connsiteY214" fmla="*/ 8683 h 10000"/>
              <a:gd name="connsiteX215" fmla="*/ 5023 w 10000"/>
              <a:gd name="connsiteY215" fmla="*/ 8605 h 10000"/>
              <a:gd name="connsiteX216" fmla="*/ 5281 w 10000"/>
              <a:gd name="connsiteY216" fmla="*/ 8372 h 10000"/>
              <a:gd name="connsiteX217" fmla="*/ 5489 w 10000"/>
              <a:gd name="connsiteY217" fmla="*/ 8449 h 10000"/>
              <a:gd name="connsiteX218" fmla="*/ 5593 w 10000"/>
              <a:gd name="connsiteY218" fmla="*/ 8528 h 10000"/>
              <a:gd name="connsiteX219" fmla="*/ 5798 w 10000"/>
              <a:gd name="connsiteY219" fmla="*/ 8528 h 10000"/>
              <a:gd name="connsiteX220" fmla="*/ 5798 w 10000"/>
              <a:gd name="connsiteY220" fmla="*/ 8372 h 10000"/>
              <a:gd name="connsiteX221" fmla="*/ 5798 w 10000"/>
              <a:gd name="connsiteY221" fmla="*/ 8217 h 10000"/>
              <a:gd name="connsiteX222" fmla="*/ 5903 w 10000"/>
              <a:gd name="connsiteY222" fmla="*/ 8140 h 10000"/>
              <a:gd name="connsiteX223" fmla="*/ 6109 w 10000"/>
              <a:gd name="connsiteY223" fmla="*/ 8217 h 10000"/>
              <a:gd name="connsiteX224" fmla="*/ 6215 w 10000"/>
              <a:gd name="connsiteY224" fmla="*/ 8449 h 10000"/>
              <a:gd name="connsiteX225" fmla="*/ 6266 w 10000"/>
              <a:gd name="connsiteY225" fmla="*/ 8449 h 10000"/>
              <a:gd name="connsiteX226" fmla="*/ 6371 w 10000"/>
              <a:gd name="connsiteY226" fmla="*/ 8372 h 10000"/>
              <a:gd name="connsiteX227" fmla="*/ 6685 w 10000"/>
              <a:gd name="connsiteY227" fmla="*/ 8605 h 10000"/>
              <a:gd name="connsiteX228" fmla="*/ 6838 w 10000"/>
              <a:gd name="connsiteY228" fmla="*/ 8683 h 10000"/>
              <a:gd name="connsiteX229" fmla="*/ 7044 w 10000"/>
              <a:gd name="connsiteY229" fmla="*/ 8605 h 10000"/>
              <a:gd name="connsiteX230" fmla="*/ 7147 w 10000"/>
              <a:gd name="connsiteY230" fmla="*/ 8449 h 10000"/>
              <a:gd name="connsiteX231" fmla="*/ 7303 w 10000"/>
              <a:gd name="connsiteY231" fmla="*/ 8528 h 10000"/>
              <a:gd name="connsiteX232" fmla="*/ 7405 w 10000"/>
              <a:gd name="connsiteY232" fmla="*/ 8605 h 10000"/>
              <a:gd name="connsiteX233" fmla="*/ 9168 w 10000"/>
              <a:gd name="connsiteY233" fmla="*/ 7675 h 10000"/>
              <a:gd name="connsiteX234" fmla="*/ 9067 w 10000"/>
              <a:gd name="connsiteY234" fmla="*/ 7675 h 10000"/>
              <a:gd name="connsiteX235" fmla="*/ 9014 w 10000"/>
              <a:gd name="connsiteY235" fmla="*/ 7675 h 10000"/>
              <a:gd name="connsiteX236" fmla="*/ 8960 w 10000"/>
              <a:gd name="connsiteY236" fmla="*/ 7598 h 10000"/>
              <a:gd name="connsiteX237" fmla="*/ 8861 w 10000"/>
              <a:gd name="connsiteY237" fmla="*/ 7598 h 10000"/>
              <a:gd name="connsiteX238" fmla="*/ 8861 w 10000"/>
              <a:gd name="connsiteY238" fmla="*/ 7520 h 10000"/>
              <a:gd name="connsiteX239" fmla="*/ 9014 w 10000"/>
              <a:gd name="connsiteY239" fmla="*/ 7287 h 10000"/>
              <a:gd name="connsiteX240" fmla="*/ 9486 w 10000"/>
              <a:gd name="connsiteY240" fmla="*/ 6590 h 10000"/>
              <a:gd name="connsiteX241" fmla="*/ 9686 w 10000"/>
              <a:gd name="connsiteY241" fmla="*/ 6512 h 10000"/>
              <a:gd name="connsiteX242" fmla="*/ 9736 w 10000"/>
              <a:gd name="connsiteY242" fmla="*/ 6590 h 10000"/>
              <a:gd name="connsiteX243" fmla="*/ 9791 w 10000"/>
              <a:gd name="connsiteY243" fmla="*/ 6512 h 10000"/>
              <a:gd name="connsiteX244" fmla="*/ 10000 w 10000"/>
              <a:gd name="connsiteY244" fmla="*/ 6434 h 10000"/>
              <a:gd name="connsiteX245" fmla="*/ 8339 w 10000"/>
              <a:gd name="connsiteY245" fmla="*/ 2791 h 10000"/>
              <a:gd name="connsiteX246" fmla="*/ 8392 w 10000"/>
              <a:gd name="connsiteY246" fmla="*/ 2403 h 10000"/>
              <a:gd name="connsiteX247" fmla="*/ 8287 w 10000"/>
              <a:gd name="connsiteY247" fmla="*/ 2170 h 10000"/>
              <a:gd name="connsiteX248" fmla="*/ 7977 w 10000"/>
              <a:gd name="connsiteY248" fmla="*/ 2016 h 10000"/>
              <a:gd name="connsiteX249" fmla="*/ 7870 w 10000"/>
              <a:gd name="connsiteY249" fmla="*/ 2016 h 10000"/>
              <a:gd name="connsiteX250" fmla="*/ 7821 w 10000"/>
              <a:gd name="connsiteY250" fmla="*/ 2170 h 10000"/>
              <a:gd name="connsiteX251" fmla="*/ 7870 w 10000"/>
              <a:gd name="connsiteY251" fmla="*/ 2325 h 10000"/>
              <a:gd name="connsiteX252" fmla="*/ 7462 w 10000"/>
              <a:gd name="connsiteY252" fmla="*/ 2248 h 10000"/>
              <a:gd name="connsiteX253" fmla="*/ 7510 w 10000"/>
              <a:gd name="connsiteY253" fmla="*/ 2016 h 10000"/>
              <a:gd name="connsiteX254" fmla="*/ 7252 w 10000"/>
              <a:gd name="connsiteY254" fmla="*/ 1938 h 10000"/>
              <a:gd name="connsiteX255" fmla="*/ 7096 w 10000"/>
              <a:gd name="connsiteY255" fmla="*/ 2093 h 10000"/>
              <a:gd name="connsiteX256" fmla="*/ 6794 w 10000"/>
              <a:gd name="connsiteY256" fmla="*/ 1861 h 10000"/>
              <a:gd name="connsiteX0" fmla="*/ 6794 w 9791"/>
              <a:gd name="connsiteY0" fmla="*/ 1861 h 10000"/>
              <a:gd name="connsiteX1" fmla="*/ 6794 w 9791"/>
              <a:gd name="connsiteY1" fmla="*/ 1861 h 10000"/>
              <a:gd name="connsiteX2" fmla="*/ 6733 w 9791"/>
              <a:gd name="connsiteY2" fmla="*/ 1938 h 10000"/>
              <a:gd name="connsiteX3" fmla="*/ 6794 w 9791"/>
              <a:gd name="connsiteY3" fmla="*/ 2093 h 10000"/>
              <a:gd name="connsiteX4" fmla="*/ 6577 w 9791"/>
              <a:gd name="connsiteY4" fmla="*/ 2248 h 10000"/>
              <a:gd name="connsiteX5" fmla="*/ 6524 w 9791"/>
              <a:gd name="connsiteY5" fmla="*/ 2248 h 10000"/>
              <a:gd name="connsiteX6" fmla="*/ 6577 w 9791"/>
              <a:gd name="connsiteY6" fmla="*/ 2016 h 10000"/>
              <a:gd name="connsiteX7" fmla="*/ 7096 w 9791"/>
              <a:gd name="connsiteY7" fmla="*/ 1318 h 10000"/>
              <a:gd name="connsiteX8" fmla="*/ 7096 w 9791"/>
              <a:gd name="connsiteY8" fmla="*/ 853 h 10000"/>
              <a:gd name="connsiteX9" fmla="*/ 6891 w 9791"/>
              <a:gd name="connsiteY9" fmla="*/ 543 h 10000"/>
              <a:gd name="connsiteX10" fmla="*/ 6630 w 9791"/>
              <a:gd name="connsiteY10" fmla="*/ 543 h 10000"/>
              <a:gd name="connsiteX11" fmla="*/ 6630 w 9791"/>
              <a:gd name="connsiteY11" fmla="*/ 698 h 10000"/>
              <a:gd name="connsiteX12" fmla="*/ 6472 w 9791"/>
              <a:gd name="connsiteY12" fmla="*/ 698 h 10000"/>
              <a:gd name="connsiteX13" fmla="*/ 6577 w 9791"/>
              <a:gd name="connsiteY13" fmla="*/ 387 h 10000"/>
              <a:gd name="connsiteX14" fmla="*/ 6321 w 9791"/>
              <a:gd name="connsiteY14" fmla="*/ 310 h 10000"/>
              <a:gd name="connsiteX15" fmla="*/ 6472 w 9791"/>
              <a:gd name="connsiteY15" fmla="*/ 155 h 10000"/>
              <a:gd name="connsiteX16" fmla="*/ 6321 w 9791"/>
              <a:gd name="connsiteY16" fmla="*/ 0 h 10000"/>
              <a:gd name="connsiteX17" fmla="*/ 6061 w 9791"/>
              <a:gd name="connsiteY17" fmla="*/ 387 h 10000"/>
              <a:gd name="connsiteX18" fmla="*/ 6061 w 9791"/>
              <a:gd name="connsiteY18" fmla="*/ 698 h 10000"/>
              <a:gd name="connsiteX19" fmla="*/ 5903 w 9791"/>
              <a:gd name="connsiteY19" fmla="*/ 698 h 10000"/>
              <a:gd name="connsiteX20" fmla="*/ 5439 w 9791"/>
              <a:gd name="connsiteY20" fmla="*/ 853 h 10000"/>
              <a:gd name="connsiteX21" fmla="*/ 5023 w 9791"/>
              <a:gd name="connsiteY21" fmla="*/ 1240 h 10000"/>
              <a:gd name="connsiteX22" fmla="*/ 4867 w 9791"/>
              <a:gd name="connsiteY22" fmla="*/ 1551 h 10000"/>
              <a:gd name="connsiteX23" fmla="*/ 4922 w 9791"/>
              <a:gd name="connsiteY23" fmla="*/ 1938 h 10000"/>
              <a:gd name="connsiteX24" fmla="*/ 4351 w 9791"/>
              <a:gd name="connsiteY24" fmla="*/ 2093 h 10000"/>
              <a:gd name="connsiteX25" fmla="*/ 4405 w 9791"/>
              <a:gd name="connsiteY25" fmla="*/ 2559 h 10000"/>
              <a:gd name="connsiteX26" fmla="*/ 4560 w 9791"/>
              <a:gd name="connsiteY26" fmla="*/ 2791 h 10000"/>
              <a:gd name="connsiteX27" fmla="*/ 4455 w 9791"/>
              <a:gd name="connsiteY27" fmla="*/ 2868 h 10000"/>
              <a:gd name="connsiteX28" fmla="*/ 4301 w 9791"/>
              <a:gd name="connsiteY28" fmla="*/ 2559 h 10000"/>
              <a:gd name="connsiteX29" fmla="*/ 4147 w 9791"/>
              <a:gd name="connsiteY29" fmla="*/ 2480 h 10000"/>
              <a:gd name="connsiteX30" fmla="*/ 4090 w 9791"/>
              <a:gd name="connsiteY30" fmla="*/ 2559 h 10000"/>
              <a:gd name="connsiteX31" fmla="*/ 3986 w 9791"/>
              <a:gd name="connsiteY31" fmla="*/ 2403 h 10000"/>
              <a:gd name="connsiteX32" fmla="*/ 3884 w 9791"/>
              <a:gd name="connsiteY32" fmla="*/ 2248 h 10000"/>
              <a:gd name="connsiteX33" fmla="*/ 3884 w 9791"/>
              <a:gd name="connsiteY33" fmla="*/ 2325 h 10000"/>
              <a:gd name="connsiteX34" fmla="*/ 3940 w 9791"/>
              <a:gd name="connsiteY34" fmla="*/ 2559 h 10000"/>
              <a:gd name="connsiteX35" fmla="*/ 3780 w 9791"/>
              <a:gd name="connsiteY35" fmla="*/ 2946 h 10000"/>
              <a:gd name="connsiteX36" fmla="*/ 3884 w 9791"/>
              <a:gd name="connsiteY36" fmla="*/ 3256 h 10000"/>
              <a:gd name="connsiteX37" fmla="*/ 3831 w 9791"/>
              <a:gd name="connsiteY37" fmla="*/ 3566 h 10000"/>
              <a:gd name="connsiteX38" fmla="*/ 3831 w 9791"/>
              <a:gd name="connsiteY38" fmla="*/ 3799 h 10000"/>
              <a:gd name="connsiteX39" fmla="*/ 3986 w 9791"/>
              <a:gd name="connsiteY39" fmla="*/ 3799 h 10000"/>
              <a:gd name="connsiteX40" fmla="*/ 3884 w 9791"/>
              <a:gd name="connsiteY40" fmla="*/ 3876 h 10000"/>
              <a:gd name="connsiteX41" fmla="*/ 3940 w 9791"/>
              <a:gd name="connsiteY41" fmla="*/ 4263 h 10000"/>
              <a:gd name="connsiteX42" fmla="*/ 3627 w 9791"/>
              <a:gd name="connsiteY42" fmla="*/ 4652 h 10000"/>
              <a:gd name="connsiteX43" fmla="*/ 3570 w 9791"/>
              <a:gd name="connsiteY43" fmla="*/ 4574 h 10000"/>
              <a:gd name="connsiteX44" fmla="*/ 3780 w 9791"/>
              <a:gd name="connsiteY44" fmla="*/ 4186 h 10000"/>
              <a:gd name="connsiteX45" fmla="*/ 3831 w 9791"/>
              <a:gd name="connsiteY45" fmla="*/ 3954 h 10000"/>
              <a:gd name="connsiteX46" fmla="*/ 3723 w 9791"/>
              <a:gd name="connsiteY46" fmla="*/ 3799 h 10000"/>
              <a:gd name="connsiteX47" fmla="*/ 3723 w 9791"/>
              <a:gd name="connsiteY47" fmla="*/ 3023 h 10000"/>
              <a:gd name="connsiteX48" fmla="*/ 3677 w 9791"/>
              <a:gd name="connsiteY48" fmla="*/ 2868 h 10000"/>
              <a:gd name="connsiteX49" fmla="*/ 3723 w 9791"/>
              <a:gd name="connsiteY49" fmla="*/ 2403 h 10000"/>
              <a:gd name="connsiteX50" fmla="*/ 3627 w 9791"/>
              <a:gd name="connsiteY50" fmla="*/ 2325 h 10000"/>
              <a:gd name="connsiteX51" fmla="*/ 3677 w 9791"/>
              <a:gd name="connsiteY51" fmla="*/ 2248 h 10000"/>
              <a:gd name="connsiteX52" fmla="*/ 3627 w 9791"/>
              <a:gd name="connsiteY52" fmla="*/ 2093 h 10000"/>
              <a:gd name="connsiteX53" fmla="*/ 3518 w 9791"/>
              <a:gd name="connsiteY53" fmla="*/ 2170 h 10000"/>
              <a:gd name="connsiteX54" fmla="*/ 3262 w 9791"/>
              <a:gd name="connsiteY54" fmla="*/ 3178 h 10000"/>
              <a:gd name="connsiteX55" fmla="*/ 3262 w 9791"/>
              <a:gd name="connsiteY55" fmla="*/ 3566 h 10000"/>
              <a:gd name="connsiteX56" fmla="*/ 3419 w 9791"/>
              <a:gd name="connsiteY56" fmla="*/ 3876 h 10000"/>
              <a:gd name="connsiteX57" fmla="*/ 3419 w 9791"/>
              <a:gd name="connsiteY57" fmla="*/ 4031 h 10000"/>
              <a:gd name="connsiteX58" fmla="*/ 3262 w 9791"/>
              <a:gd name="connsiteY58" fmla="*/ 3876 h 10000"/>
              <a:gd name="connsiteX59" fmla="*/ 2644 w 9791"/>
              <a:gd name="connsiteY59" fmla="*/ 3256 h 10000"/>
              <a:gd name="connsiteX60" fmla="*/ 2591 w 9791"/>
              <a:gd name="connsiteY60" fmla="*/ 3411 h 10000"/>
              <a:gd name="connsiteX61" fmla="*/ 2797 w 9791"/>
              <a:gd name="connsiteY61" fmla="*/ 3799 h 10000"/>
              <a:gd name="connsiteX62" fmla="*/ 2691 w 9791"/>
              <a:gd name="connsiteY62" fmla="*/ 3876 h 10000"/>
              <a:gd name="connsiteX63" fmla="*/ 2644 w 9791"/>
              <a:gd name="connsiteY63" fmla="*/ 3799 h 10000"/>
              <a:gd name="connsiteX64" fmla="*/ 2333 w 9791"/>
              <a:gd name="connsiteY64" fmla="*/ 3954 h 10000"/>
              <a:gd name="connsiteX65" fmla="*/ 2281 w 9791"/>
              <a:gd name="connsiteY65" fmla="*/ 4109 h 10000"/>
              <a:gd name="connsiteX66" fmla="*/ 2228 w 9791"/>
              <a:gd name="connsiteY66" fmla="*/ 3954 h 10000"/>
              <a:gd name="connsiteX67" fmla="*/ 2228 w 9791"/>
              <a:gd name="connsiteY67" fmla="*/ 3799 h 10000"/>
              <a:gd name="connsiteX68" fmla="*/ 1707 w 9791"/>
              <a:gd name="connsiteY68" fmla="*/ 4263 h 10000"/>
              <a:gd name="connsiteX69" fmla="*/ 1707 w 9791"/>
              <a:gd name="connsiteY69" fmla="*/ 4418 h 10000"/>
              <a:gd name="connsiteX70" fmla="*/ 1606 w 9791"/>
              <a:gd name="connsiteY70" fmla="*/ 4496 h 10000"/>
              <a:gd name="connsiteX71" fmla="*/ 1450 w 9791"/>
              <a:gd name="connsiteY71" fmla="*/ 4341 h 10000"/>
              <a:gd name="connsiteX72" fmla="*/ 1606 w 9791"/>
              <a:gd name="connsiteY72" fmla="*/ 4186 h 10000"/>
              <a:gd name="connsiteX73" fmla="*/ 1553 w 9791"/>
              <a:gd name="connsiteY73" fmla="*/ 3954 h 10000"/>
              <a:gd name="connsiteX74" fmla="*/ 1347 w 9791"/>
              <a:gd name="connsiteY74" fmla="*/ 3876 h 10000"/>
              <a:gd name="connsiteX75" fmla="*/ 1399 w 9791"/>
              <a:gd name="connsiteY75" fmla="*/ 4031 h 10000"/>
              <a:gd name="connsiteX76" fmla="*/ 1399 w 9791"/>
              <a:gd name="connsiteY76" fmla="*/ 4418 h 10000"/>
              <a:gd name="connsiteX77" fmla="*/ 1450 w 9791"/>
              <a:gd name="connsiteY77" fmla="*/ 4574 h 10000"/>
              <a:gd name="connsiteX78" fmla="*/ 1399 w 9791"/>
              <a:gd name="connsiteY78" fmla="*/ 4729 h 10000"/>
              <a:gd name="connsiteX79" fmla="*/ 1241 w 9791"/>
              <a:gd name="connsiteY79" fmla="*/ 4652 h 10000"/>
              <a:gd name="connsiteX80" fmla="*/ 1036 w 9791"/>
              <a:gd name="connsiteY80" fmla="*/ 4884 h 10000"/>
              <a:gd name="connsiteX81" fmla="*/ 1136 w 9791"/>
              <a:gd name="connsiteY81" fmla="*/ 5194 h 10000"/>
              <a:gd name="connsiteX82" fmla="*/ 827 w 9791"/>
              <a:gd name="connsiteY82" fmla="*/ 5039 h 10000"/>
              <a:gd name="connsiteX83" fmla="*/ 778 w 9791"/>
              <a:gd name="connsiteY83" fmla="*/ 5116 h 10000"/>
              <a:gd name="connsiteX84" fmla="*/ 882 w 9791"/>
              <a:gd name="connsiteY84" fmla="*/ 5349 h 10000"/>
              <a:gd name="connsiteX85" fmla="*/ 778 w 9791"/>
              <a:gd name="connsiteY85" fmla="*/ 5349 h 10000"/>
              <a:gd name="connsiteX86" fmla="*/ 623 w 9791"/>
              <a:gd name="connsiteY86" fmla="*/ 5194 h 10000"/>
              <a:gd name="connsiteX87" fmla="*/ 623 w 9791"/>
              <a:gd name="connsiteY87" fmla="*/ 4729 h 10000"/>
              <a:gd name="connsiteX88" fmla="*/ 469 w 9791"/>
              <a:gd name="connsiteY88" fmla="*/ 4574 h 10000"/>
              <a:gd name="connsiteX89" fmla="*/ 414 w 9791"/>
              <a:gd name="connsiteY89" fmla="*/ 4418 h 10000"/>
              <a:gd name="connsiteX90" fmla="*/ 517 w 9791"/>
              <a:gd name="connsiteY90" fmla="*/ 4496 h 10000"/>
              <a:gd name="connsiteX91" fmla="*/ 930 w 9791"/>
              <a:gd name="connsiteY91" fmla="*/ 4729 h 10000"/>
              <a:gd name="connsiteX92" fmla="*/ 1187 w 9791"/>
              <a:gd name="connsiteY92" fmla="*/ 4496 h 10000"/>
              <a:gd name="connsiteX93" fmla="*/ 1136 w 9791"/>
              <a:gd name="connsiteY93" fmla="*/ 4263 h 10000"/>
              <a:gd name="connsiteX94" fmla="*/ 827 w 9791"/>
              <a:gd name="connsiteY94" fmla="*/ 3799 h 10000"/>
              <a:gd name="connsiteX95" fmla="*/ 517 w 9791"/>
              <a:gd name="connsiteY95" fmla="*/ 3644 h 10000"/>
              <a:gd name="connsiteX96" fmla="*/ 517 w 9791"/>
              <a:gd name="connsiteY96" fmla="*/ 3566 h 10000"/>
              <a:gd name="connsiteX97" fmla="*/ 414 w 9791"/>
              <a:gd name="connsiteY97" fmla="*/ 3488 h 10000"/>
              <a:gd name="connsiteX98" fmla="*/ 307 w 9791"/>
              <a:gd name="connsiteY98" fmla="*/ 3566 h 10000"/>
              <a:gd name="connsiteX99" fmla="*/ 307 w 9791"/>
              <a:gd name="connsiteY99" fmla="*/ 3644 h 10000"/>
              <a:gd name="connsiteX100" fmla="*/ 258 w 9791"/>
              <a:gd name="connsiteY100" fmla="*/ 3644 h 10000"/>
              <a:gd name="connsiteX101" fmla="*/ 156 w 9791"/>
              <a:gd name="connsiteY101" fmla="*/ 3799 h 10000"/>
              <a:gd name="connsiteX102" fmla="*/ 156 w 9791"/>
              <a:gd name="connsiteY102" fmla="*/ 4031 h 10000"/>
              <a:gd name="connsiteX103" fmla="*/ 258 w 9791"/>
              <a:gd name="connsiteY103" fmla="*/ 4186 h 10000"/>
              <a:gd name="connsiteX104" fmla="*/ 208 w 9791"/>
              <a:gd name="connsiteY104" fmla="*/ 4418 h 10000"/>
              <a:gd name="connsiteX105" fmla="*/ 258 w 9791"/>
              <a:gd name="connsiteY105" fmla="*/ 4807 h 10000"/>
              <a:gd name="connsiteX106" fmla="*/ 208 w 9791"/>
              <a:gd name="connsiteY106" fmla="*/ 5039 h 10000"/>
              <a:gd name="connsiteX107" fmla="*/ 307 w 9791"/>
              <a:gd name="connsiteY107" fmla="*/ 5271 h 10000"/>
              <a:gd name="connsiteX108" fmla="*/ 258 w 9791"/>
              <a:gd name="connsiteY108" fmla="*/ 5426 h 10000"/>
              <a:gd name="connsiteX109" fmla="*/ 361 w 9791"/>
              <a:gd name="connsiteY109" fmla="*/ 5582 h 10000"/>
              <a:gd name="connsiteX110" fmla="*/ 361 w 9791"/>
              <a:gd name="connsiteY110" fmla="*/ 5659 h 10000"/>
              <a:gd name="connsiteX111" fmla="*/ 208 w 9791"/>
              <a:gd name="connsiteY111" fmla="*/ 6047 h 10000"/>
              <a:gd name="connsiteX112" fmla="*/ 47 w 9791"/>
              <a:gd name="connsiteY112" fmla="*/ 6202 h 10000"/>
              <a:gd name="connsiteX113" fmla="*/ 101 w 9791"/>
              <a:gd name="connsiteY113" fmla="*/ 6202 h 10000"/>
              <a:gd name="connsiteX114" fmla="*/ 208 w 9791"/>
              <a:gd name="connsiteY114" fmla="*/ 6356 h 10000"/>
              <a:gd name="connsiteX115" fmla="*/ 101 w 9791"/>
              <a:gd name="connsiteY115" fmla="*/ 6512 h 10000"/>
              <a:gd name="connsiteX116" fmla="*/ 47 w 9791"/>
              <a:gd name="connsiteY116" fmla="*/ 6590 h 10000"/>
              <a:gd name="connsiteX117" fmla="*/ 0 w 9791"/>
              <a:gd name="connsiteY117" fmla="*/ 6590 h 10000"/>
              <a:gd name="connsiteX118" fmla="*/ 47 w 9791"/>
              <a:gd name="connsiteY118" fmla="*/ 6822 h 10000"/>
              <a:gd name="connsiteX119" fmla="*/ 47 w 9791"/>
              <a:gd name="connsiteY119" fmla="*/ 6900 h 10000"/>
              <a:gd name="connsiteX120" fmla="*/ 47 w 9791"/>
              <a:gd name="connsiteY120" fmla="*/ 6977 h 10000"/>
              <a:gd name="connsiteX121" fmla="*/ 47 w 9791"/>
              <a:gd name="connsiteY121" fmla="*/ 7054 h 10000"/>
              <a:gd name="connsiteX122" fmla="*/ 101 w 9791"/>
              <a:gd name="connsiteY122" fmla="*/ 7209 h 10000"/>
              <a:gd name="connsiteX123" fmla="*/ 258 w 9791"/>
              <a:gd name="connsiteY123" fmla="*/ 7287 h 10000"/>
              <a:gd name="connsiteX124" fmla="*/ 307 w 9791"/>
              <a:gd name="connsiteY124" fmla="*/ 7364 h 10000"/>
              <a:gd name="connsiteX125" fmla="*/ 307 w 9791"/>
              <a:gd name="connsiteY125" fmla="*/ 7520 h 10000"/>
              <a:gd name="connsiteX126" fmla="*/ 414 w 9791"/>
              <a:gd name="connsiteY126" fmla="*/ 7752 h 10000"/>
              <a:gd name="connsiteX127" fmla="*/ 469 w 9791"/>
              <a:gd name="connsiteY127" fmla="*/ 7752 h 10000"/>
              <a:gd name="connsiteX128" fmla="*/ 414 w 9791"/>
              <a:gd name="connsiteY128" fmla="*/ 7907 h 10000"/>
              <a:gd name="connsiteX129" fmla="*/ 361 w 9791"/>
              <a:gd name="connsiteY129" fmla="*/ 7830 h 10000"/>
              <a:gd name="connsiteX130" fmla="*/ 361 w 9791"/>
              <a:gd name="connsiteY130" fmla="*/ 7907 h 10000"/>
              <a:gd name="connsiteX131" fmla="*/ 414 w 9791"/>
              <a:gd name="connsiteY131" fmla="*/ 8062 h 10000"/>
              <a:gd name="connsiteX132" fmla="*/ 572 w 9791"/>
              <a:gd name="connsiteY132" fmla="*/ 8062 h 10000"/>
              <a:gd name="connsiteX133" fmla="*/ 623 w 9791"/>
              <a:gd name="connsiteY133" fmla="*/ 8140 h 10000"/>
              <a:gd name="connsiteX134" fmla="*/ 572 w 9791"/>
              <a:gd name="connsiteY134" fmla="*/ 8140 h 10000"/>
              <a:gd name="connsiteX135" fmla="*/ 623 w 9791"/>
              <a:gd name="connsiteY135" fmla="*/ 8217 h 10000"/>
              <a:gd name="connsiteX136" fmla="*/ 672 w 9791"/>
              <a:gd name="connsiteY136" fmla="*/ 8217 h 10000"/>
              <a:gd name="connsiteX137" fmla="*/ 724 w 9791"/>
              <a:gd name="connsiteY137" fmla="*/ 8372 h 10000"/>
              <a:gd name="connsiteX138" fmla="*/ 778 w 9791"/>
              <a:gd name="connsiteY138" fmla="*/ 8449 h 10000"/>
              <a:gd name="connsiteX139" fmla="*/ 827 w 9791"/>
              <a:gd name="connsiteY139" fmla="*/ 8372 h 10000"/>
              <a:gd name="connsiteX140" fmla="*/ 1089 w 9791"/>
              <a:gd name="connsiteY140" fmla="*/ 8605 h 10000"/>
              <a:gd name="connsiteX141" fmla="*/ 1036 w 9791"/>
              <a:gd name="connsiteY141" fmla="*/ 8915 h 10000"/>
              <a:gd name="connsiteX142" fmla="*/ 984 w 9791"/>
              <a:gd name="connsiteY142" fmla="*/ 8838 h 10000"/>
              <a:gd name="connsiteX143" fmla="*/ 930 w 9791"/>
              <a:gd name="connsiteY143" fmla="*/ 8915 h 10000"/>
              <a:gd name="connsiteX144" fmla="*/ 930 w 9791"/>
              <a:gd name="connsiteY144" fmla="*/ 9070 h 10000"/>
              <a:gd name="connsiteX145" fmla="*/ 984 w 9791"/>
              <a:gd name="connsiteY145" fmla="*/ 8993 h 10000"/>
              <a:gd name="connsiteX146" fmla="*/ 1036 w 9791"/>
              <a:gd name="connsiteY146" fmla="*/ 9070 h 10000"/>
              <a:gd name="connsiteX147" fmla="*/ 882 w 9791"/>
              <a:gd name="connsiteY147" fmla="*/ 9147 h 10000"/>
              <a:gd name="connsiteX148" fmla="*/ 930 w 9791"/>
              <a:gd name="connsiteY148" fmla="*/ 9225 h 10000"/>
              <a:gd name="connsiteX149" fmla="*/ 827 w 9791"/>
              <a:gd name="connsiteY149" fmla="*/ 9380 h 10000"/>
              <a:gd name="connsiteX150" fmla="*/ 778 w 9791"/>
              <a:gd name="connsiteY150" fmla="*/ 9380 h 10000"/>
              <a:gd name="connsiteX151" fmla="*/ 827 w 9791"/>
              <a:gd name="connsiteY151" fmla="*/ 9380 h 10000"/>
              <a:gd name="connsiteX152" fmla="*/ 1036 w 9791"/>
              <a:gd name="connsiteY152" fmla="*/ 9691 h 10000"/>
              <a:gd name="connsiteX153" fmla="*/ 1296 w 9791"/>
              <a:gd name="connsiteY153" fmla="*/ 9691 h 10000"/>
              <a:gd name="connsiteX154" fmla="*/ 1399 w 9791"/>
              <a:gd name="connsiteY154" fmla="*/ 9768 h 10000"/>
              <a:gd name="connsiteX155" fmla="*/ 1502 w 9791"/>
              <a:gd name="connsiteY155" fmla="*/ 9768 h 10000"/>
              <a:gd name="connsiteX156" fmla="*/ 1606 w 9791"/>
              <a:gd name="connsiteY156" fmla="*/ 9923 h 10000"/>
              <a:gd name="connsiteX157" fmla="*/ 1657 w 9791"/>
              <a:gd name="connsiteY157" fmla="*/ 10000 h 10000"/>
              <a:gd name="connsiteX158" fmla="*/ 1707 w 9791"/>
              <a:gd name="connsiteY158" fmla="*/ 10000 h 10000"/>
              <a:gd name="connsiteX159" fmla="*/ 1762 w 9791"/>
              <a:gd name="connsiteY159" fmla="*/ 9923 h 10000"/>
              <a:gd name="connsiteX160" fmla="*/ 1657 w 9791"/>
              <a:gd name="connsiteY160" fmla="*/ 9768 h 10000"/>
              <a:gd name="connsiteX161" fmla="*/ 1657 w 9791"/>
              <a:gd name="connsiteY161" fmla="*/ 9613 h 10000"/>
              <a:gd name="connsiteX162" fmla="*/ 1606 w 9791"/>
              <a:gd name="connsiteY162" fmla="*/ 9457 h 10000"/>
              <a:gd name="connsiteX163" fmla="*/ 1707 w 9791"/>
              <a:gd name="connsiteY163" fmla="*/ 9225 h 10000"/>
              <a:gd name="connsiteX164" fmla="*/ 1762 w 9791"/>
              <a:gd name="connsiteY164" fmla="*/ 9302 h 10000"/>
              <a:gd name="connsiteX165" fmla="*/ 1812 w 9791"/>
              <a:gd name="connsiteY165" fmla="*/ 9225 h 10000"/>
              <a:gd name="connsiteX166" fmla="*/ 1812 w 9791"/>
              <a:gd name="connsiteY166" fmla="*/ 9147 h 10000"/>
              <a:gd name="connsiteX167" fmla="*/ 1762 w 9791"/>
              <a:gd name="connsiteY167" fmla="*/ 9147 h 10000"/>
              <a:gd name="connsiteX168" fmla="*/ 1812 w 9791"/>
              <a:gd name="connsiteY168" fmla="*/ 9070 h 10000"/>
              <a:gd name="connsiteX169" fmla="*/ 1762 w 9791"/>
              <a:gd name="connsiteY169" fmla="*/ 8915 h 10000"/>
              <a:gd name="connsiteX170" fmla="*/ 1657 w 9791"/>
              <a:gd name="connsiteY170" fmla="*/ 8915 h 10000"/>
              <a:gd name="connsiteX171" fmla="*/ 1606 w 9791"/>
              <a:gd name="connsiteY171" fmla="*/ 8760 h 10000"/>
              <a:gd name="connsiteX172" fmla="*/ 1657 w 9791"/>
              <a:gd name="connsiteY172" fmla="*/ 8372 h 10000"/>
              <a:gd name="connsiteX173" fmla="*/ 1762 w 9791"/>
              <a:gd name="connsiteY173" fmla="*/ 8528 h 10000"/>
              <a:gd name="connsiteX174" fmla="*/ 1812 w 9791"/>
              <a:gd name="connsiteY174" fmla="*/ 8528 h 10000"/>
              <a:gd name="connsiteX175" fmla="*/ 1762 w 9791"/>
              <a:gd name="connsiteY175" fmla="*/ 8372 h 10000"/>
              <a:gd name="connsiteX176" fmla="*/ 1917 w 9791"/>
              <a:gd name="connsiteY176" fmla="*/ 8140 h 10000"/>
              <a:gd name="connsiteX177" fmla="*/ 2022 w 9791"/>
              <a:gd name="connsiteY177" fmla="*/ 8217 h 10000"/>
              <a:gd name="connsiteX178" fmla="*/ 2072 w 9791"/>
              <a:gd name="connsiteY178" fmla="*/ 8140 h 10000"/>
              <a:gd name="connsiteX179" fmla="*/ 2175 w 9791"/>
              <a:gd name="connsiteY179" fmla="*/ 8217 h 10000"/>
              <a:gd name="connsiteX180" fmla="*/ 2333 w 9791"/>
              <a:gd name="connsiteY180" fmla="*/ 8372 h 10000"/>
              <a:gd name="connsiteX181" fmla="*/ 2433 w 9791"/>
              <a:gd name="connsiteY181" fmla="*/ 8295 h 10000"/>
              <a:gd name="connsiteX182" fmla="*/ 2539 w 9791"/>
              <a:gd name="connsiteY182" fmla="*/ 8295 h 10000"/>
              <a:gd name="connsiteX183" fmla="*/ 2591 w 9791"/>
              <a:gd name="connsiteY183" fmla="*/ 8372 h 10000"/>
              <a:gd name="connsiteX184" fmla="*/ 2797 w 9791"/>
              <a:gd name="connsiteY184" fmla="*/ 8372 h 10000"/>
              <a:gd name="connsiteX185" fmla="*/ 2847 w 9791"/>
              <a:gd name="connsiteY185" fmla="*/ 8217 h 10000"/>
              <a:gd name="connsiteX186" fmla="*/ 2691 w 9791"/>
              <a:gd name="connsiteY186" fmla="*/ 8140 h 10000"/>
              <a:gd name="connsiteX187" fmla="*/ 2797 w 9791"/>
              <a:gd name="connsiteY187" fmla="*/ 8062 h 10000"/>
              <a:gd name="connsiteX188" fmla="*/ 2743 w 9791"/>
              <a:gd name="connsiteY188" fmla="*/ 7985 h 10000"/>
              <a:gd name="connsiteX189" fmla="*/ 2797 w 9791"/>
              <a:gd name="connsiteY189" fmla="*/ 7907 h 10000"/>
              <a:gd name="connsiteX190" fmla="*/ 2797 w 9791"/>
              <a:gd name="connsiteY190" fmla="*/ 7675 h 10000"/>
              <a:gd name="connsiteX191" fmla="*/ 2899 w 9791"/>
              <a:gd name="connsiteY191" fmla="*/ 7752 h 10000"/>
              <a:gd name="connsiteX192" fmla="*/ 3367 w 9791"/>
              <a:gd name="connsiteY192" fmla="*/ 7520 h 10000"/>
              <a:gd name="connsiteX193" fmla="*/ 3367 w 9791"/>
              <a:gd name="connsiteY193" fmla="*/ 7442 h 10000"/>
              <a:gd name="connsiteX194" fmla="*/ 3419 w 9791"/>
              <a:gd name="connsiteY194" fmla="*/ 7442 h 10000"/>
              <a:gd name="connsiteX195" fmla="*/ 3570 w 9791"/>
              <a:gd name="connsiteY195" fmla="*/ 7442 h 10000"/>
              <a:gd name="connsiteX196" fmla="*/ 3627 w 9791"/>
              <a:gd name="connsiteY196" fmla="*/ 7598 h 10000"/>
              <a:gd name="connsiteX197" fmla="*/ 3627 w 9791"/>
              <a:gd name="connsiteY197" fmla="*/ 7675 h 10000"/>
              <a:gd name="connsiteX198" fmla="*/ 3677 w 9791"/>
              <a:gd name="connsiteY198" fmla="*/ 7675 h 10000"/>
              <a:gd name="connsiteX199" fmla="*/ 3780 w 9791"/>
              <a:gd name="connsiteY199" fmla="*/ 7752 h 10000"/>
              <a:gd name="connsiteX200" fmla="*/ 3780 w 9791"/>
              <a:gd name="connsiteY200" fmla="*/ 7830 h 10000"/>
              <a:gd name="connsiteX201" fmla="*/ 3884 w 9791"/>
              <a:gd name="connsiteY201" fmla="*/ 7830 h 10000"/>
              <a:gd name="connsiteX202" fmla="*/ 3986 w 9791"/>
              <a:gd name="connsiteY202" fmla="*/ 7675 h 10000"/>
              <a:gd name="connsiteX203" fmla="*/ 4090 w 9791"/>
              <a:gd name="connsiteY203" fmla="*/ 7598 h 10000"/>
              <a:gd name="connsiteX204" fmla="*/ 4147 w 9791"/>
              <a:gd name="connsiteY204" fmla="*/ 7830 h 10000"/>
              <a:gd name="connsiteX205" fmla="*/ 4351 w 9791"/>
              <a:gd name="connsiteY205" fmla="*/ 8372 h 10000"/>
              <a:gd name="connsiteX206" fmla="*/ 4405 w 9791"/>
              <a:gd name="connsiteY206" fmla="*/ 8217 h 10000"/>
              <a:gd name="connsiteX207" fmla="*/ 4455 w 9791"/>
              <a:gd name="connsiteY207" fmla="*/ 8372 h 10000"/>
              <a:gd name="connsiteX208" fmla="*/ 4610 w 9791"/>
              <a:gd name="connsiteY208" fmla="*/ 8295 h 10000"/>
              <a:gd name="connsiteX209" fmla="*/ 4768 w 9791"/>
              <a:gd name="connsiteY209" fmla="*/ 8528 h 10000"/>
              <a:gd name="connsiteX210" fmla="*/ 4867 w 9791"/>
              <a:gd name="connsiteY210" fmla="*/ 8605 h 10000"/>
              <a:gd name="connsiteX211" fmla="*/ 4867 w 9791"/>
              <a:gd name="connsiteY211" fmla="*/ 8528 h 10000"/>
              <a:gd name="connsiteX212" fmla="*/ 4922 w 9791"/>
              <a:gd name="connsiteY212" fmla="*/ 8683 h 10000"/>
              <a:gd name="connsiteX213" fmla="*/ 4867 w 9791"/>
              <a:gd name="connsiteY213" fmla="*/ 8760 h 10000"/>
              <a:gd name="connsiteX214" fmla="*/ 4974 w 9791"/>
              <a:gd name="connsiteY214" fmla="*/ 8683 h 10000"/>
              <a:gd name="connsiteX215" fmla="*/ 5023 w 9791"/>
              <a:gd name="connsiteY215" fmla="*/ 8605 h 10000"/>
              <a:gd name="connsiteX216" fmla="*/ 5281 w 9791"/>
              <a:gd name="connsiteY216" fmla="*/ 8372 h 10000"/>
              <a:gd name="connsiteX217" fmla="*/ 5489 w 9791"/>
              <a:gd name="connsiteY217" fmla="*/ 8449 h 10000"/>
              <a:gd name="connsiteX218" fmla="*/ 5593 w 9791"/>
              <a:gd name="connsiteY218" fmla="*/ 8528 h 10000"/>
              <a:gd name="connsiteX219" fmla="*/ 5798 w 9791"/>
              <a:gd name="connsiteY219" fmla="*/ 8528 h 10000"/>
              <a:gd name="connsiteX220" fmla="*/ 5798 w 9791"/>
              <a:gd name="connsiteY220" fmla="*/ 8372 h 10000"/>
              <a:gd name="connsiteX221" fmla="*/ 5798 w 9791"/>
              <a:gd name="connsiteY221" fmla="*/ 8217 h 10000"/>
              <a:gd name="connsiteX222" fmla="*/ 5903 w 9791"/>
              <a:gd name="connsiteY222" fmla="*/ 8140 h 10000"/>
              <a:gd name="connsiteX223" fmla="*/ 6109 w 9791"/>
              <a:gd name="connsiteY223" fmla="*/ 8217 h 10000"/>
              <a:gd name="connsiteX224" fmla="*/ 6215 w 9791"/>
              <a:gd name="connsiteY224" fmla="*/ 8449 h 10000"/>
              <a:gd name="connsiteX225" fmla="*/ 6266 w 9791"/>
              <a:gd name="connsiteY225" fmla="*/ 8449 h 10000"/>
              <a:gd name="connsiteX226" fmla="*/ 6371 w 9791"/>
              <a:gd name="connsiteY226" fmla="*/ 8372 h 10000"/>
              <a:gd name="connsiteX227" fmla="*/ 6685 w 9791"/>
              <a:gd name="connsiteY227" fmla="*/ 8605 h 10000"/>
              <a:gd name="connsiteX228" fmla="*/ 6838 w 9791"/>
              <a:gd name="connsiteY228" fmla="*/ 8683 h 10000"/>
              <a:gd name="connsiteX229" fmla="*/ 7044 w 9791"/>
              <a:gd name="connsiteY229" fmla="*/ 8605 h 10000"/>
              <a:gd name="connsiteX230" fmla="*/ 7147 w 9791"/>
              <a:gd name="connsiteY230" fmla="*/ 8449 h 10000"/>
              <a:gd name="connsiteX231" fmla="*/ 7303 w 9791"/>
              <a:gd name="connsiteY231" fmla="*/ 8528 h 10000"/>
              <a:gd name="connsiteX232" fmla="*/ 7405 w 9791"/>
              <a:gd name="connsiteY232" fmla="*/ 8605 h 10000"/>
              <a:gd name="connsiteX233" fmla="*/ 9168 w 9791"/>
              <a:gd name="connsiteY233" fmla="*/ 7675 h 10000"/>
              <a:gd name="connsiteX234" fmla="*/ 9067 w 9791"/>
              <a:gd name="connsiteY234" fmla="*/ 7675 h 10000"/>
              <a:gd name="connsiteX235" fmla="*/ 9014 w 9791"/>
              <a:gd name="connsiteY235" fmla="*/ 7675 h 10000"/>
              <a:gd name="connsiteX236" fmla="*/ 8960 w 9791"/>
              <a:gd name="connsiteY236" fmla="*/ 7598 h 10000"/>
              <a:gd name="connsiteX237" fmla="*/ 8861 w 9791"/>
              <a:gd name="connsiteY237" fmla="*/ 7598 h 10000"/>
              <a:gd name="connsiteX238" fmla="*/ 8861 w 9791"/>
              <a:gd name="connsiteY238" fmla="*/ 7520 h 10000"/>
              <a:gd name="connsiteX239" fmla="*/ 9014 w 9791"/>
              <a:gd name="connsiteY239" fmla="*/ 7287 h 10000"/>
              <a:gd name="connsiteX240" fmla="*/ 9486 w 9791"/>
              <a:gd name="connsiteY240" fmla="*/ 6590 h 10000"/>
              <a:gd name="connsiteX241" fmla="*/ 9686 w 9791"/>
              <a:gd name="connsiteY241" fmla="*/ 6512 h 10000"/>
              <a:gd name="connsiteX242" fmla="*/ 9736 w 9791"/>
              <a:gd name="connsiteY242" fmla="*/ 6590 h 10000"/>
              <a:gd name="connsiteX243" fmla="*/ 9791 w 9791"/>
              <a:gd name="connsiteY243" fmla="*/ 6512 h 10000"/>
              <a:gd name="connsiteX244" fmla="*/ 8339 w 9791"/>
              <a:gd name="connsiteY244" fmla="*/ 2791 h 10000"/>
              <a:gd name="connsiteX245" fmla="*/ 8392 w 9791"/>
              <a:gd name="connsiteY245" fmla="*/ 2403 h 10000"/>
              <a:gd name="connsiteX246" fmla="*/ 8287 w 9791"/>
              <a:gd name="connsiteY246" fmla="*/ 2170 h 10000"/>
              <a:gd name="connsiteX247" fmla="*/ 7977 w 9791"/>
              <a:gd name="connsiteY247" fmla="*/ 2016 h 10000"/>
              <a:gd name="connsiteX248" fmla="*/ 7870 w 9791"/>
              <a:gd name="connsiteY248" fmla="*/ 2016 h 10000"/>
              <a:gd name="connsiteX249" fmla="*/ 7821 w 9791"/>
              <a:gd name="connsiteY249" fmla="*/ 2170 h 10000"/>
              <a:gd name="connsiteX250" fmla="*/ 7870 w 9791"/>
              <a:gd name="connsiteY250" fmla="*/ 2325 h 10000"/>
              <a:gd name="connsiteX251" fmla="*/ 7462 w 9791"/>
              <a:gd name="connsiteY251" fmla="*/ 2248 h 10000"/>
              <a:gd name="connsiteX252" fmla="*/ 7510 w 9791"/>
              <a:gd name="connsiteY252" fmla="*/ 2016 h 10000"/>
              <a:gd name="connsiteX253" fmla="*/ 7252 w 9791"/>
              <a:gd name="connsiteY253" fmla="*/ 1938 h 10000"/>
              <a:gd name="connsiteX254" fmla="*/ 7096 w 9791"/>
              <a:gd name="connsiteY254" fmla="*/ 2093 h 10000"/>
              <a:gd name="connsiteX255" fmla="*/ 6794 w 9791"/>
              <a:gd name="connsiteY255" fmla="*/ 1861 h 10000"/>
              <a:gd name="connsiteX0" fmla="*/ 6939 w 9944"/>
              <a:gd name="connsiteY0" fmla="*/ 1861 h 10000"/>
              <a:gd name="connsiteX1" fmla="*/ 6939 w 9944"/>
              <a:gd name="connsiteY1" fmla="*/ 1861 h 10000"/>
              <a:gd name="connsiteX2" fmla="*/ 6877 w 9944"/>
              <a:gd name="connsiteY2" fmla="*/ 1938 h 10000"/>
              <a:gd name="connsiteX3" fmla="*/ 6939 w 9944"/>
              <a:gd name="connsiteY3" fmla="*/ 2093 h 10000"/>
              <a:gd name="connsiteX4" fmla="*/ 6717 w 9944"/>
              <a:gd name="connsiteY4" fmla="*/ 2248 h 10000"/>
              <a:gd name="connsiteX5" fmla="*/ 6663 w 9944"/>
              <a:gd name="connsiteY5" fmla="*/ 2248 h 10000"/>
              <a:gd name="connsiteX6" fmla="*/ 6717 w 9944"/>
              <a:gd name="connsiteY6" fmla="*/ 2016 h 10000"/>
              <a:gd name="connsiteX7" fmla="*/ 7247 w 9944"/>
              <a:gd name="connsiteY7" fmla="*/ 1318 h 10000"/>
              <a:gd name="connsiteX8" fmla="*/ 7247 w 9944"/>
              <a:gd name="connsiteY8" fmla="*/ 853 h 10000"/>
              <a:gd name="connsiteX9" fmla="*/ 7038 w 9944"/>
              <a:gd name="connsiteY9" fmla="*/ 543 h 10000"/>
              <a:gd name="connsiteX10" fmla="*/ 6772 w 9944"/>
              <a:gd name="connsiteY10" fmla="*/ 543 h 10000"/>
              <a:gd name="connsiteX11" fmla="*/ 6772 w 9944"/>
              <a:gd name="connsiteY11" fmla="*/ 698 h 10000"/>
              <a:gd name="connsiteX12" fmla="*/ 6610 w 9944"/>
              <a:gd name="connsiteY12" fmla="*/ 698 h 10000"/>
              <a:gd name="connsiteX13" fmla="*/ 6717 w 9944"/>
              <a:gd name="connsiteY13" fmla="*/ 387 h 10000"/>
              <a:gd name="connsiteX14" fmla="*/ 6456 w 9944"/>
              <a:gd name="connsiteY14" fmla="*/ 310 h 10000"/>
              <a:gd name="connsiteX15" fmla="*/ 6610 w 9944"/>
              <a:gd name="connsiteY15" fmla="*/ 155 h 10000"/>
              <a:gd name="connsiteX16" fmla="*/ 6456 w 9944"/>
              <a:gd name="connsiteY16" fmla="*/ 0 h 10000"/>
              <a:gd name="connsiteX17" fmla="*/ 6190 w 9944"/>
              <a:gd name="connsiteY17" fmla="*/ 387 h 10000"/>
              <a:gd name="connsiteX18" fmla="*/ 6190 w 9944"/>
              <a:gd name="connsiteY18" fmla="*/ 698 h 10000"/>
              <a:gd name="connsiteX19" fmla="*/ 6029 w 9944"/>
              <a:gd name="connsiteY19" fmla="*/ 698 h 10000"/>
              <a:gd name="connsiteX20" fmla="*/ 5555 w 9944"/>
              <a:gd name="connsiteY20" fmla="*/ 853 h 10000"/>
              <a:gd name="connsiteX21" fmla="*/ 5130 w 9944"/>
              <a:gd name="connsiteY21" fmla="*/ 1240 h 10000"/>
              <a:gd name="connsiteX22" fmla="*/ 4971 w 9944"/>
              <a:gd name="connsiteY22" fmla="*/ 1551 h 10000"/>
              <a:gd name="connsiteX23" fmla="*/ 5027 w 9944"/>
              <a:gd name="connsiteY23" fmla="*/ 1938 h 10000"/>
              <a:gd name="connsiteX24" fmla="*/ 4444 w 9944"/>
              <a:gd name="connsiteY24" fmla="*/ 2093 h 10000"/>
              <a:gd name="connsiteX25" fmla="*/ 4499 w 9944"/>
              <a:gd name="connsiteY25" fmla="*/ 2559 h 10000"/>
              <a:gd name="connsiteX26" fmla="*/ 4657 w 9944"/>
              <a:gd name="connsiteY26" fmla="*/ 2791 h 10000"/>
              <a:gd name="connsiteX27" fmla="*/ 4550 w 9944"/>
              <a:gd name="connsiteY27" fmla="*/ 2868 h 10000"/>
              <a:gd name="connsiteX28" fmla="*/ 4393 w 9944"/>
              <a:gd name="connsiteY28" fmla="*/ 2559 h 10000"/>
              <a:gd name="connsiteX29" fmla="*/ 4236 w 9944"/>
              <a:gd name="connsiteY29" fmla="*/ 2480 h 10000"/>
              <a:gd name="connsiteX30" fmla="*/ 4177 w 9944"/>
              <a:gd name="connsiteY30" fmla="*/ 2559 h 10000"/>
              <a:gd name="connsiteX31" fmla="*/ 4071 w 9944"/>
              <a:gd name="connsiteY31" fmla="*/ 2403 h 10000"/>
              <a:gd name="connsiteX32" fmla="*/ 3967 w 9944"/>
              <a:gd name="connsiteY32" fmla="*/ 2248 h 10000"/>
              <a:gd name="connsiteX33" fmla="*/ 3967 w 9944"/>
              <a:gd name="connsiteY33" fmla="*/ 2325 h 10000"/>
              <a:gd name="connsiteX34" fmla="*/ 4024 w 9944"/>
              <a:gd name="connsiteY34" fmla="*/ 2559 h 10000"/>
              <a:gd name="connsiteX35" fmla="*/ 3861 w 9944"/>
              <a:gd name="connsiteY35" fmla="*/ 2946 h 10000"/>
              <a:gd name="connsiteX36" fmla="*/ 3967 w 9944"/>
              <a:gd name="connsiteY36" fmla="*/ 3256 h 10000"/>
              <a:gd name="connsiteX37" fmla="*/ 3913 w 9944"/>
              <a:gd name="connsiteY37" fmla="*/ 3566 h 10000"/>
              <a:gd name="connsiteX38" fmla="*/ 3913 w 9944"/>
              <a:gd name="connsiteY38" fmla="*/ 3799 h 10000"/>
              <a:gd name="connsiteX39" fmla="*/ 4071 w 9944"/>
              <a:gd name="connsiteY39" fmla="*/ 3799 h 10000"/>
              <a:gd name="connsiteX40" fmla="*/ 3967 w 9944"/>
              <a:gd name="connsiteY40" fmla="*/ 3876 h 10000"/>
              <a:gd name="connsiteX41" fmla="*/ 4024 w 9944"/>
              <a:gd name="connsiteY41" fmla="*/ 4263 h 10000"/>
              <a:gd name="connsiteX42" fmla="*/ 3704 w 9944"/>
              <a:gd name="connsiteY42" fmla="*/ 4652 h 10000"/>
              <a:gd name="connsiteX43" fmla="*/ 3646 w 9944"/>
              <a:gd name="connsiteY43" fmla="*/ 4574 h 10000"/>
              <a:gd name="connsiteX44" fmla="*/ 3861 w 9944"/>
              <a:gd name="connsiteY44" fmla="*/ 4186 h 10000"/>
              <a:gd name="connsiteX45" fmla="*/ 3913 w 9944"/>
              <a:gd name="connsiteY45" fmla="*/ 3954 h 10000"/>
              <a:gd name="connsiteX46" fmla="*/ 3802 w 9944"/>
              <a:gd name="connsiteY46" fmla="*/ 3799 h 10000"/>
              <a:gd name="connsiteX47" fmla="*/ 3802 w 9944"/>
              <a:gd name="connsiteY47" fmla="*/ 3023 h 10000"/>
              <a:gd name="connsiteX48" fmla="*/ 3755 w 9944"/>
              <a:gd name="connsiteY48" fmla="*/ 2868 h 10000"/>
              <a:gd name="connsiteX49" fmla="*/ 3802 w 9944"/>
              <a:gd name="connsiteY49" fmla="*/ 2403 h 10000"/>
              <a:gd name="connsiteX50" fmla="*/ 3704 w 9944"/>
              <a:gd name="connsiteY50" fmla="*/ 2325 h 10000"/>
              <a:gd name="connsiteX51" fmla="*/ 3755 w 9944"/>
              <a:gd name="connsiteY51" fmla="*/ 2248 h 10000"/>
              <a:gd name="connsiteX52" fmla="*/ 3704 w 9944"/>
              <a:gd name="connsiteY52" fmla="*/ 2093 h 10000"/>
              <a:gd name="connsiteX53" fmla="*/ 3593 w 9944"/>
              <a:gd name="connsiteY53" fmla="*/ 2170 h 10000"/>
              <a:gd name="connsiteX54" fmla="*/ 3332 w 9944"/>
              <a:gd name="connsiteY54" fmla="*/ 3178 h 10000"/>
              <a:gd name="connsiteX55" fmla="*/ 3332 w 9944"/>
              <a:gd name="connsiteY55" fmla="*/ 3566 h 10000"/>
              <a:gd name="connsiteX56" fmla="*/ 3492 w 9944"/>
              <a:gd name="connsiteY56" fmla="*/ 3876 h 10000"/>
              <a:gd name="connsiteX57" fmla="*/ 3492 w 9944"/>
              <a:gd name="connsiteY57" fmla="*/ 4031 h 10000"/>
              <a:gd name="connsiteX58" fmla="*/ 3332 w 9944"/>
              <a:gd name="connsiteY58" fmla="*/ 3876 h 10000"/>
              <a:gd name="connsiteX59" fmla="*/ 2700 w 9944"/>
              <a:gd name="connsiteY59" fmla="*/ 3256 h 10000"/>
              <a:gd name="connsiteX60" fmla="*/ 2646 w 9944"/>
              <a:gd name="connsiteY60" fmla="*/ 3411 h 10000"/>
              <a:gd name="connsiteX61" fmla="*/ 2857 w 9944"/>
              <a:gd name="connsiteY61" fmla="*/ 3799 h 10000"/>
              <a:gd name="connsiteX62" fmla="*/ 2748 w 9944"/>
              <a:gd name="connsiteY62" fmla="*/ 3876 h 10000"/>
              <a:gd name="connsiteX63" fmla="*/ 2700 w 9944"/>
              <a:gd name="connsiteY63" fmla="*/ 3799 h 10000"/>
              <a:gd name="connsiteX64" fmla="*/ 2383 w 9944"/>
              <a:gd name="connsiteY64" fmla="*/ 3954 h 10000"/>
              <a:gd name="connsiteX65" fmla="*/ 2330 w 9944"/>
              <a:gd name="connsiteY65" fmla="*/ 4109 h 10000"/>
              <a:gd name="connsiteX66" fmla="*/ 2276 w 9944"/>
              <a:gd name="connsiteY66" fmla="*/ 3954 h 10000"/>
              <a:gd name="connsiteX67" fmla="*/ 2276 w 9944"/>
              <a:gd name="connsiteY67" fmla="*/ 3799 h 10000"/>
              <a:gd name="connsiteX68" fmla="*/ 1743 w 9944"/>
              <a:gd name="connsiteY68" fmla="*/ 4263 h 10000"/>
              <a:gd name="connsiteX69" fmla="*/ 1743 w 9944"/>
              <a:gd name="connsiteY69" fmla="*/ 4418 h 10000"/>
              <a:gd name="connsiteX70" fmla="*/ 1640 w 9944"/>
              <a:gd name="connsiteY70" fmla="*/ 4496 h 10000"/>
              <a:gd name="connsiteX71" fmla="*/ 1481 w 9944"/>
              <a:gd name="connsiteY71" fmla="*/ 4341 h 10000"/>
              <a:gd name="connsiteX72" fmla="*/ 1640 w 9944"/>
              <a:gd name="connsiteY72" fmla="*/ 4186 h 10000"/>
              <a:gd name="connsiteX73" fmla="*/ 1586 w 9944"/>
              <a:gd name="connsiteY73" fmla="*/ 3954 h 10000"/>
              <a:gd name="connsiteX74" fmla="*/ 1376 w 9944"/>
              <a:gd name="connsiteY74" fmla="*/ 3876 h 10000"/>
              <a:gd name="connsiteX75" fmla="*/ 1429 w 9944"/>
              <a:gd name="connsiteY75" fmla="*/ 4031 h 10000"/>
              <a:gd name="connsiteX76" fmla="*/ 1429 w 9944"/>
              <a:gd name="connsiteY76" fmla="*/ 4418 h 10000"/>
              <a:gd name="connsiteX77" fmla="*/ 1481 w 9944"/>
              <a:gd name="connsiteY77" fmla="*/ 4574 h 10000"/>
              <a:gd name="connsiteX78" fmla="*/ 1429 w 9944"/>
              <a:gd name="connsiteY78" fmla="*/ 4729 h 10000"/>
              <a:gd name="connsiteX79" fmla="*/ 1267 w 9944"/>
              <a:gd name="connsiteY79" fmla="*/ 4652 h 10000"/>
              <a:gd name="connsiteX80" fmla="*/ 1058 w 9944"/>
              <a:gd name="connsiteY80" fmla="*/ 4884 h 10000"/>
              <a:gd name="connsiteX81" fmla="*/ 1160 w 9944"/>
              <a:gd name="connsiteY81" fmla="*/ 5194 h 10000"/>
              <a:gd name="connsiteX82" fmla="*/ 845 w 9944"/>
              <a:gd name="connsiteY82" fmla="*/ 5039 h 10000"/>
              <a:gd name="connsiteX83" fmla="*/ 795 w 9944"/>
              <a:gd name="connsiteY83" fmla="*/ 5116 h 10000"/>
              <a:gd name="connsiteX84" fmla="*/ 901 w 9944"/>
              <a:gd name="connsiteY84" fmla="*/ 5349 h 10000"/>
              <a:gd name="connsiteX85" fmla="*/ 795 w 9944"/>
              <a:gd name="connsiteY85" fmla="*/ 5349 h 10000"/>
              <a:gd name="connsiteX86" fmla="*/ 636 w 9944"/>
              <a:gd name="connsiteY86" fmla="*/ 5194 h 10000"/>
              <a:gd name="connsiteX87" fmla="*/ 636 w 9944"/>
              <a:gd name="connsiteY87" fmla="*/ 4729 h 10000"/>
              <a:gd name="connsiteX88" fmla="*/ 479 w 9944"/>
              <a:gd name="connsiteY88" fmla="*/ 4574 h 10000"/>
              <a:gd name="connsiteX89" fmla="*/ 423 w 9944"/>
              <a:gd name="connsiteY89" fmla="*/ 4418 h 10000"/>
              <a:gd name="connsiteX90" fmla="*/ 528 w 9944"/>
              <a:gd name="connsiteY90" fmla="*/ 4496 h 10000"/>
              <a:gd name="connsiteX91" fmla="*/ 950 w 9944"/>
              <a:gd name="connsiteY91" fmla="*/ 4729 h 10000"/>
              <a:gd name="connsiteX92" fmla="*/ 1212 w 9944"/>
              <a:gd name="connsiteY92" fmla="*/ 4496 h 10000"/>
              <a:gd name="connsiteX93" fmla="*/ 1160 w 9944"/>
              <a:gd name="connsiteY93" fmla="*/ 4263 h 10000"/>
              <a:gd name="connsiteX94" fmla="*/ 845 w 9944"/>
              <a:gd name="connsiteY94" fmla="*/ 3799 h 10000"/>
              <a:gd name="connsiteX95" fmla="*/ 528 w 9944"/>
              <a:gd name="connsiteY95" fmla="*/ 3644 h 10000"/>
              <a:gd name="connsiteX96" fmla="*/ 528 w 9944"/>
              <a:gd name="connsiteY96" fmla="*/ 3566 h 10000"/>
              <a:gd name="connsiteX97" fmla="*/ 423 w 9944"/>
              <a:gd name="connsiteY97" fmla="*/ 3488 h 10000"/>
              <a:gd name="connsiteX98" fmla="*/ 314 w 9944"/>
              <a:gd name="connsiteY98" fmla="*/ 3566 h 10000"/>
              <a:gd name="connsiteX99" fmla="*/ 314 w 9944"/>
              <a:gd name="connsiteY99" fmla="*/ 3644 h 10000"/>
              <a:gd name="connsiteX100" fmla="*/ 264 w 9944"/>
              <a:gd name="connsiteY100" fmla="*/ 3644 h 10000"/>
              <a:gd name="connsiteX101" fmla="*/ 159 w 9944"/>
              <a:gd name="connsiteY101" fmla="*/ 3799 h 10000"/>
              <a:gd name="connsiteX102" fmla="*/ 159 w 9944"/>
              <a:gd name="connsiteY102" fmla="*/ 4031 h 10000"/>
              <a:gd name="connsiteX103" fmla="*/ 264 w 9944"/>
              <a:gd name="connsiteY103" fmla="*/ 4186 h 10000"/>
              <a:gd name="connsiteX104" fmla="*/ 212 w 9944"/>
              <a:gd name="connsiteY104" fmla="*/ 4418 h 10000"/>
              <a:gd name="connsiteX105" fmla="*/ 264 w 9944"/>
              <a:gd name="connsiteY105" fmla="*/ 4807 h 10000"/>
              <a:gd name="connsiteX106" fmla="*/ 212 w 9944"/>
              <a:gd name="connsiteY106" fmla="*/ 5039 h 10000"/>
              <a:gd name="connsiteX107" fmla="*/ 314 w 9944"/>
              <a:gd name="connsiteY107" fmla="*/ 5271 h 10000"/>
              <a:gd name="connsiteX108" fmla="*/ 264 w 9944"/>
              <a:gd name="connsiteY108" fmla="*/ 5426 h 10000"/>
              <a:gd name="connsiteX109" fmla="*/ 369 w 9944"/>
              <a:gd name="connsiteY109" fmla="*/ 5582 h 10000"/>
              <a:gd name="connsiteX110" fmla="*/ 369 w 9944"/>
              <a:gd name="connsiteY110" fmla="*/ 5659 h 10000"/>
              <a:gd name="connsiteX111" fmla="*/ 212 w 9944"/>
              <a:gd name="connsiteY111" fmla="*/ 6047 h 10000"/>
              <a:gd name="connsiteX112" fmla="*/ 48 w 9944"/>
              <a:gd name="connsiteY112" fmla="*/ 6202 h 10000"/>
              <a:gd name="connsiteX113" fmla="*/ 103 w 9944"/>
              <a:gd name="connsiteY113" fmla="*/ 6202 h 10000"/>
              <a:gd name="connsiteX114" fmla="*/ 212 w 9944"/>
              <a:gd name="connsiteY114" fmla="*/ 6356 h 10000"/>
              <a:gd name="connsiteX115" fmla="*/ 103 w 9944"/>
              <a:gd name="connsiteY115" fmla="*/ 6512 h 10000"/>
              <a:gd name="connsiteX116" fmla="*/ 48 w 9944"/>
              <a:gd name="connsiteY116" fmla="*/ 6590 h 10000"/>
              <a:gd name="connsiteX117" fmla="*/ 0 w 9944"/>
              <a:gd name="connsiteY117" fmla="*/ 6590 h 10000"/>
              <a:gd name="connsiteX118" fmla="*/ 48 w 9944"/>
              <a:gd name="connsiteY118" fmla="*/ 6822 h 10000"/>
              <a:gd name="connsiteX119" fmla="*/ 48 w 9944"/>
              <a:gd name="connsiteY119" fmla="*/ 6900 h 10000"/>
              <a:gd name="connsiteX120" fmla="*/ 48 w 9944"/>
              <a:gd name="connsiteY120" fmla="*/ 6977 h 10000"/>
              <a:gd name="connsiteX121" fmla="*/ 48 w 9944"/>
              <a:gd name="connsiteY121" fmla="*/ 7054 h 10000"/>
              <a:gd name="connsiteX122" fmla="*/ 103 w 9944"/>
              <a:gd name="connsiteY122" fmla="*/ 7209 h 10000"/>
              <a:gd name="connsiteX123" fmla="*/ 264 w 9944"/>
              <a:gd name="connsiteY123" fmla="*/ 7287 h 10000"/>
              <a:gd name="connsiteX124" fmla="*/ 314 w 9944"/>
              <a:gd name="connsiteY124" fmla="*/ 7364 h 10000"/>
              <a:gd name="connsiteX125" fmla="*/ 314 w 9944"/>
              <a:gd name="connsiteY125" fmla="*/ 7520 h 10000"/>
              <a:gd name="connsiteX126" fmla="*/ 423 w 9944"/>
              <a:gd name="connsiteY126" fmla="*/ 7752 h 10000"/>
              <a:gd name="connsiteX127" fmla="*/ 479 w 9944"/>
              <a:gd name="connsiteY127" fmla="*/ 7752 h 10000"/>
              <a:gd name="connsiteX128" fmla="*/ 423 w 9944"/>
              <a:gd name="connsiteY128" fmla="*/ 7907 h 10000"/>
              <a:gd name="connsiteX129" fmla="*/ 369 w 9944"/>
              <a:gd name="connsiteY129" fmla="*/ 7830 h 10000"/>
              <a:gd name="connsiteX130" fmla="*/ 369 w 9944"/>
              <a:gd name="connsiteY130" fmla="*/ 7907 h 10000"/>
              <a:gd name="connsiteX131" fmla="*/ 423 w 9944"/>
              <a:gd name="connsiteY131" fmla="*/ 8062 h 10000"/>
              <a:gd name="connsiteX132" fmla="*/ 584 w 9944"/>
              <a:gd name="connsiteY132" fmla="*/ 8062 h 10000"/>
              <a:gd name="connsiteX133" fmla="*/ 636 w 9944"/>
              <a:gd name="connsiteY133" fmla="*/ 8140 h 10000"/>
              <a:gd name="connsiteX134" fmla="*/ 584 w 9944"/>
              <a:gd name="connsiteY134" fmla="*/ 8140 h 10000"/>
              <a:gd name="connsiteX135" fmla="*/ 636 w 9944"/>
              <a:gd name="connsiteY135" fmla="*/ 8217 h 10000"/>
              <a:gd name="connsiteX136" fmla="*/ 686 w 9944"/>
              <a:gd name="connsiteY136" fmla="*/ 8217 h 10000"/>
              <a:gd name="connsiteX137" fmla="*/ 739 w 9944"/>
              <a:gd name="connsiteY137" fmla="*/ 8372 h 10000"/>
              <a:gd name="connsiteX138" fmla="*/ 795 w 9944"/>
              <a:gd name="connsiteY138" fmla="*/ 8449 h 10000"/>
              <a:gd name="connsiteX139" fmla="*/ 845 w 9944"/>
              <a:gd name="connsiteY139" fmla="*/ 8372 h 10000"/>
              <a:gd name="connsiteX140" fmla="*/ 1112 w 9944"/>
              <a:gd name="connsiteY140" fmla="*/ 8605 h 10000"/>
              <a:gd name="connsiteX141" fmla="*/ 1058 w 9944"/>
              <a:gd name="connsiteY141" fmla="*/ 8915 h 10000"/>
              <a:gd name="connsiteX142" fmla="*/ 1005 w 9944"/>
              <a:gd name="connsiteY142" fmla="*/ 8838 h 10000"/>
              <a:gd name="connsiteX143" fmla="*/ 950 w 9944"/>
              <a:gd name="connsiteY143" fmla="*/ 8915 h 10000"/>
              <a:gd name="connsiteX144" fmla="*/ 950 w 9944"/>
              <a:gd name="connsiteY144" fmla="*/ 9070 h 10000"/>
              <a:gd name="connsiteX145" fmla="*/ 1005 w 9944"/>
              <a:gd name="connsiteY145" fmla="*/ 8993 h 10000"/>
              <a:gd name="connsiteX146" fmla="*/ 1058 w 9944"/>
              <a:gd name="connsiteY146" fmla="*/ 9070 h 10000"/>
              <a:gd name="connsiteX147" fmla="*/ 901 w 9944"/>
              <a:gd name="connsiteY147" fmla="*/ 9147 h 10000"/>
              <a:gd name="connsiteX148" fmla="*/ 950 w 9944"/>
              <a:gd name="connsiteY148" fmla="*/ 9225 h 10000"/>
              <a:gd name="connsiteX149" fmla="*/ 845 w 9944"/>
              <a:gd name="connsiteY149" fmla="*/ 9380 h 10000"/>
              <a:gd name="connsiteX150" fmla="*/ 795 w 9944"/>
              <a:gd name="connsiteY150" fmla="*/ 9380 h 10000"/>
              <a:gd name="connsiteX151" fmla="*/ 845 w 9944"/>
              <a:gd name="connsiteY151" fmla="*/ 9380 h 10000"/>
              <a:gd name="connsiteX152" fmla="*/ 1058 w 9944"/>
              <a:gd name="connsiteY152" fmla="*/ 9691 h 10000"/>
              <a:gd name="connsiteX153" fmla="*/ 1324 w 9944"/>
              <a:gd name="connsiteY153" fmla="*/ 9691 h 10000"/>
              <a:gd name="connsiteX154" fmla="*/ 1429 w 9944"/>
              <a:gd name="connsiteY154" fmla="*/ 9768 h 10000"/>
              <a:gd name="connsiteX155" fmla="*/ 1534 w 9944"/>
              <a:gd name="connsiteY155" fmla="*/ 9768 h 10000"/>
              <a:gd name="connsiteX156" fmla="*/ 1640 w 9944"/>
              <a:gd name="connsiteY156" fmla="*/ 9923 h 10000"/>
              <a:gd name="connsiteX157" fmla="*/ 1692 w 9944"/>
              <a:gd name="connsiteY157" fmla="*/ 10000 h 10000"/>
              <a:gd name="connsiteX158" fmla="*/ 1743 w 9944"/>
              <a:gd name="connsiteY158" fmla="*/ 10000 h 10000"/>
              <a:gd name="connsiteX159" fmla="*/ 1800 w 9944"/>
              <a:gd name="connsiteY159" fmla="*/ 9923 h 10000"/>
              <a:gd name="connsiteX160" fmla="*/ 1692 w 9944"/>
              <a:gd name="connsiteY160" fmla="*/ 9768 h 10000"/>
              <a:gd name="connsiteX161" fmla="*/ 1692 w 9944"/>
              <a:gd name="connsiteY161" fmla="*/ 9613 h 10000"/>
              <a:gd name="connsiteX162" fmla="*/ 1640 w 9944"/>
              <a:gd name="connsiteY162" fmla="*/ 9457 h 10000"/>
              <a:gd name="connsiteX163" fmla="*/ 1743 w 9944"/>
              <a:gd name="connsiteY163" fmla="*/ 9225 h 10000"/>
              <a:gd name="connsiteX164" fmla="*/ 1800 w 9944"/>
              <a:gd name="connsiteY164" fmla="*/ 9302 h 10000"/>
              <a:gd name="connsiteX165" fmla="*/ 1851 w 9944"/>
              <a:gd name="connsiteY165" fmla="*/ 9225 h 10000"/>
              <a:gd name="connsiteX166" fmla="*/ 1851 w 9944"/>
              <a:gd name="connsiteY166" fmla="*/ 9147 h 10000"/>
              <a:gd name="connsiteX167" fmla="*/ 1800 w 9944"/>
              <a:gd name="connsiteY167" fmla="*/ 9147 h 10000"/>
              <a:gd name="connsiteX168" fmla="*/ 1851 w 9944"/>
              <a:gd name="connsiteY168" fmla="*/ 9070 h 10000"/>
              <a:gd name="connsiteX169" fmla="*/ 1800 w 9944"/>
              <a:gd name="connsiteY169" fmla="*/ 8915 h 10000"/>
              <a:gd name="connsiteX170" fmla="*/ 1692 w 9944"/>
              <a:gd name="connsiteY170" fmla="*/ 8915 h 10000"/>
              <a:gd name="connsiteX171" fmla="*/ 1640 w 9944"/>
              <a:gd name="connsiteY171" fmla="*/ 8760 h 10000"/>
              <a:gd name="connsiteX172" fmla="*/ 1692 w 9944"/>
              <a:gd name="connsiteY172" fmla="*/ 8372 h 10000"/>
              <a:gd name="connsiteX173" fmla="*/ 1800 w 9944"/>
              <a:gd name="connsiteY173" fmla="*/ 8528 h 10000"/>
              <a:gd name="connsiteX174" fmla="*/ 1851 w 9944"/>
              <a:gd name="connsiteY174" fmla="*/ 8528 h 10000"/>
              <a:gd name="connsiteX175" fmla="*/ 1800 w 9944"/>
              <a:gd name="connsiteY175" fmla="*/ 8372 h 10000"/>
              <a:gd name="connsiteX176" fmla="*/ 1958 w 9944"/>
              <a:gd name="connsiteY176" fmla="*/ 8140 h 10000"/>
              <a:gd name="connsiteX177" fmla="*/ 2065 w 9944"/>
              <a:gd name="connsiteY177" fmla="*/ 8217 h 10000"/>
              <a:gd name="connsiteX178" fmla="*/ 2116 w 9944"/>
              <a:gd name="connsiteY178" fmla="*/ 8140 h 10000"/>
              <a:gd name="connsiteX179" fmla="*/ 2221 w 9944"/>
              <a:gd name="connsiteY179" fmla="*/ 8217 h 10000"/>
              <a:gd name="connsiteX180" fmla="*/ 2383 w 9944"/>
              <a:gd name="connsiteY180" fmla="*/ 8372 h 10000"/>
              <a:gd name="connsiteX181" fmla="*/ 2485 w 9944"/>
              <a:gd name="connsiteY181" fmla="*/ 8295 h 10000"/>
              <a:gd name="connsiteX182" fmla="*/ 2593 w 9944"/>
              <a:gd name="connsiteY182" fmla="*/ 8295 h 10000"/>
              <a:gd name="connsiteX183" fmla="*/ 2646 w 9944"/>
              <a:gd name="connsiteY183" fmla="*/ 8372 h 10000"/>
              <a:gd name="connsiteX184" fmla="*/ 2857 w 9944"/>
              <a:gd name="connsiteY184" fmla="*/ 8372 h 10000"/>
              <a:gd name="connsiteX185" fmla="*/ 2908 w 9944"/>
              <a:gd name="connsiteY185" fmla="*/ 8217 h 10000"/>
              <a:gd name="connsiteX186" fmla="*/ 2748 w 9944"/>
              <a:gd name="connsiteY186" fmla="*/ 8140 h 10000"/>
              <a:gd name="connsiteX187" fmla="*/ 2857 w 9944"/>
              <a:gd name="connsiteY187" fmla="*/ 8062 h 10000"/>
              <a:gd name="connsiteX188" fmla="*/ 2802 w 9944"/>
              <a:gd name="connsiteY188" fmla="*/ 7985 h 10000"/>
              <a:gd name="connsiteX189" fmla="*/ 2857 w 9944"/>
              <a:gd name="connsiteY189" fmla="*/ 7907 h 10000"/>
              <a:gd name="connsiteX190" fmla="*/ 2857 w 9944"/>
              <a:gd name="connsiteY190" fmla="*/ 7675 h 10000"/>
              <a:gd name="connsiteX191" fmla="*/ 2961 w 9944"/>
              <a:gd name="connsiteY191" fmla="*/ 7752 h 10000"/>
              <a:gd name="connsiteX192" fmla="*/ 3439 w 9944"/>
              <a:gd name="connsiteY192" fmla="*/ 7520 h 10000"/>
              <a:gd name="connsiteX193" fmla="*/ 3439 w 9944"/>
              <a:gd name="connsiteY193" fmla="*/ 7442 h 10000"/>
              <a:gd name="connsiteX194" fmla="*/ 3492 w 9944"/>
              <a:gd name="connsiteY194" fmla="*/ 7442 h 10000"/>
              <a:gd name="connsiteX195" fmla="*/ 3646 w 9944"/>
              <a:gd name="connsiteY195" fmla="*/ 7442 h 10000"/>
              <a:gd name="connsiteX196" fmla="*/ 3704 w 9944"/>
              <a:gd name="connsiteY196" fmla="*/ 7598 h 10000"/>
              <a:gd name="connsiteX197" fmla="*/ 3704 w 9944"/>
              <a:gd name="connsiteY197" fmla="*/ 7675 h 10000"/>
              <a:gd name="connsiteX198" fmla="*/ 3755 w 9944"/>
              <a:gd name="connsiteY198" fmla="*/ 7675 h 10000"/>
              <a:gd name="connsiteX199" fmla="*/ 3861 w 9944"/>
              <a:gd name="connsiteY199" fmla="*/ 7752 h 10000"/>
              <a:gd name="connsiteX200" fmla="*/ 3861 w 9944"/>
              <a:gd name="connsiteY200" fmla="*/ 7830 h 10000"/>
              <a:gd name="connsiteX201" fmla="*/ 3967 w 9944"/>
              <a:gd name="connsiteY201" fmla="*/ 7830 h 10000"/>
              <a:gd name="connsiteX202" fmla="*/ 4071 w 9944"/>
              <a:gd name="connsiteY202" fmla="*/ 7675 h 10000"/>
              <a:gd name="connsiteX203" fmla="*/ 4177 w 9944"/>
              <a:gd name="connsiteY203" fmla="*/ 7598 h 10000"/>
              <a:gd name="connsiteX204" fmla="*/ 4236 w 9944"/>
              <a:gd name="connsiteY204" fmla="*/ 7830 h 10000"/>
              <a:gd name="connsiteX205" fmla="*/ 4444 w 9944"/>
              <a:gd name="connsiteY205" fmla="*/ 8372 h 10000"/>
              <a:gd name="connsiteX206" fmla="*/ 4499 w 9944"/>
              <a:gd name="connsiteY206" fmla="*/ 8217 h 10000"/>
              <a:gd name="connsiteX207" fmla="*/ 4550 w 9944"/>
              <a:gd name="connsiteY207" fmla="*/ 8372 h 10000"/>
              <a:gd name="connsiteX208" fmla="*/ 4708 w 9944"/>
              <a:gd name="connsiteY208" fmla="*/ 8295 h 10000"/>
              <a:gd name="connsiteX209" fmla="*/ 4870 w 9944"/>
              <a:gd name="connsiteY209" fmla="*/ 8528 h 10000"/>
              <a:gd name="connsiteX210" fmla="*/ 4971 w 9944"/>
              <a:gd name="connsiteY210" fmla="*/ 8605 h 10000"/>
              <a:gd name="connsiteX211" fmla="*/ 4971 w 9944"/>
              <a:gd name="connsiteY211" fmla="*/ 8528 h 10000"/>
              <a:gd name="connsiteX212" fmla="*/ 5027 w 9944"/>
              <a:gd name="connsiteY212" fmla="*/ 8683 h 10000"/>
              <a:gd name="connsiteX213" fmla="*/ 4971 w 9944"/>
              <a:gd name="connsiteY213" fmla="*/ 8760 h 10000"/>
              <a:gd name="connsiteX214" fmla="*/ 5080 w 9944"/>
              <a:gd name="connsiteY214" fmla="*/ 8683 h 10000"/>
              <a:gd name="connsiteX215" fmla="*/ 5130 w 9944"/>
              <a:gd name="connsiteY215" fmla="*/ 8605 h 10000"/>
              <a:gd name="connsiteX216" fmla="*/ 5394 w 9944"/>
              <a:gd name="connsiteY216" fmla="*/ 8372 h 10000"/>
              <a:gd name="connsiteX217" fmla="*/ 5606 w 9944"/>
              <a:gd name="connsiteY217" fmla="*/ 8449 h 10000"/>
              <a:gd name="connsiteX218" fmla="*/ 5712 w 9944"/>
              <a:gd name="connsiteY218" fmla="*/ 8528 h 10000"/>
              <a:gd name="connsiteX219" fmla="*/ 5922 w 9944"/>
              <a:gd name="connsiteY219" fmla="*/ 8528 h 10000"/>
              <a:gd name="connsiteX220" fmla="*/ 5922 w 9944"/>
              <a:gd name="connsiteY220" fmla="*/ 8372 h 10000"/>
              <a:gd name="connsiteX221" fmla="*/ 5922 w 9944"/>
              <a:gd name="connsiteY221" fmla="*/ 8217 h 10000"/>
              <a:gd name="connsiteX222" fmla="*/ 6029 w 9944"/>
              <a:gd name="connsiteY222" fmla="*/ 8140 h 10000"/>
              <a:gd name="connsiteX223" fmla="*/ 6239 w 9944"/>
              <a:gd name="connsiteY223" fmla="*/ 8217 h 10000"/>
              <a:gd name="connsiteX224" fmla="*/ 6348 w 9944"/>
              <a:gd name="connsiteY224" fmla="*/ 8449 h 10000"/>
              <a:gd name="connsiteX225" fmla="*/ 6400 w 9944"/>
              <a:gd name="connsiteY225" fmla="*/ 8449 h 10000"/>
              <a:gd name="connsiteX226" fmla="*/ 6507 w 9944"/>
              <a:gd name="connsiteY226" fmla="*/ 8372 h 10000"/>
              <a:gd name="connsiteX227" fmla="*/ 6828 w 9944"/>
              <a:gd name="connsiteY227" fmla="*/ 8605 h 10000"/>
              <a:gd name="connsiteX228" fmla="*/ 6984 w 9944"/>
              <a:gd name="connsiteY228" fmla="*/ 8683 h 10000"/>
              <a:gd name="connsiteX229" fmla="*/ 7194 w 9944"/>
              <a:gd name="connsiteY229" fmla="*/ 8605 h 10000"/>
              <a:gd name="connsiteX230" fmla="*/ 7300 w 9944"/>
              <a:gd name="connsiteY230" fmla="*/ 8449 h 10000"/>
              <a:gd name="connsiteX231" fmla="*/ 7459 w 9944"/>
              <a:gd name="connsiteY231" fmla="*/ 8528 h 10000"/>
              <a:gd name="connsiteX232" fmla="*/ 7563 w 9944"/>
              <a:gd name="connsiteY232" fmla="*/ 8605 h 10000"/>
              <a:gd name="connsiteX233" fmla="*/ 9364 w 9944"/>
              <a:gd name="connsiteY233" fmla="*/ 7675 h 10000"/>
              <a:gd name="connsiteX234" fmla="*/ 9261 w 9944"/>
              <a:gd name="connsiteY234" fmla="*/ 7675 h 10000"/>
              <a:gd name="connsiteX235" fmla="*/ 9206 w 9944"/>
              <a:gd name="connsiteY235" fmla="*/ 7675 h 10000"/>
              <a:gd name="connsiteX236" fmla="*/ 9151 w 9944"/>
              <a:gd name="connsiteY236" fmla="*/ 7598 h 10000"/>
              <a:gd name="connsiteX237" fmla="*/ 9050 w 9944"/>
              <a:gd name="connsiteY237" fmla="*/ 7598 h 10000"/>
              <a:gd name="connsiteX238" fmla="*/ 9050 w 9944"/>
              <a:gd name="connsiteY238" fmla="*/ 7520 h 10000"/>
              <a:gd name="connsiteX239" fmla="*/ 9206 w 9944"/>
              <a:gd name="connsiteY239" fmla="*/ 7287 h 10000"/>
              <a:gd name="connsiteX240" fmla="*/ 9688 w 9944"/>
              <a:gd name="connsiteY240" fmla="*/ 6590 h 10000"/>
              <a:gd name="connsiteX241" fmla="*/ 9893 w 9944"/>
              <a:gd name="connsiteY241" fmla="*/ 6512 h 10000"/>
              <a:gd name="connsiteX242" fmla="*/ 9944 w 9944"/>
              <a:gd name="connsiteY242" fmla="*/ 6590 h 10000"/>
              <a:gd name="connsiteX243" fmla="*/ 8517 w 9944"/>
              <a:gd name="connsiteY243" fmla="*/ 2791 h 10000"/>
              <a:gd name="connsiteX244" fmla="*/ 8571 w 9944"/>
              <a:gd name="connsiteY244" fmla="*/ 2403 h 10000"/>
              <a:gd name="connsiteX245" fmla="*/ 8464 w 9944"/>
              <a:gd name="connsiteY245" fmla="*/ 2170 h 10000"/>
              <a:gd name="connsiteX246" fmla="*/ 8147 w 9944"/>
              <a:gd name="connsiteY246" fmla="*/ 2016 h 10000"/>
              <a:gd name="connsiteX247" fmla="*/ 8038 w 9944"/>
              <a:gd name="connsiteY247" fmla="*/ 2016 h 10000"/>
              <a:gd name="connsiteX248" fmla="*/ 7988 w 9944"/>
              <a:gd name="connsiteY248" fmla="*/ 2170 h 10000"/>
              <a:gd name="connsiteX249" fmla="*/ 8038 w 9944"/>
              <a:gd name="connsiteY249" fmla="*/ 2325 h 10000"/>
              <a:gd name="connsiteX250" fmla="*/ 7621 w 9944"/>
              <a:gd name="connsiteY250" fmla="*/ 2248 h 10000"/>
              <a:gd name="connsiteX251" fmla="*/ 7670 w 9944"/>
              <a:gd name="connsiteY251" fmla="*/ 2016 h 10000"/>
              <a:gd name="connsiteX252" fmla="*/ 7407 w 9944"/>
              <a:gd name="connsiteY252" fmla="*/ 1938 h 10000"/>
              <a:gd name="connsiteX253" fmla="*/ 7247 w 9944"/>
              <a:gd name="connsiteY253" fmla="*/ 2093 h 10000"/>
              <a:gd name="connsiteX254" fmla="*/ 6939 w 9944"/>
              <a:gd name="connsiteY254" fmla="*/ 1861 h 10000"/>
              <a:gd name="connsiteX0" fmla="*/ 6978 w 9949"/>
              <a:gd name="connsiteY0" fmla="*/ 1861 h 10000"/>
              <a:gd name="connsiteX1" fmla="*/ 6978 w 9949"/>
              <a:gd name="connsiteY1" fmla="*/ 1861 h 10000"/>
              <a:gd name="connsiteX2" fmla="*/ 6916 w 9949"/>
              <a:gd name="connsiteY2" fmla="*/ 1938 h 10000"/>
              <a:gd name="connsiteX3" fmla="*/ 6978 w 9949"/>
              <a:gd name="connsiteY3" fmla="*/ 2093 h 10000"/>
              <a:gd name="connsiteX4" fmla="*/ 6755 w 9949"/>
              <a:gd name="connsiteY4" fmla="*/ 2248 h 10000"/>
              <a:gd name="connsiteX5" fmla="*/ 6701 w 9949"/>
              <a:gd name="connsiteY5" fmla="*/ 2248 h 10000"/>
              <a:gd name="connsiteX6" fmla="*/ 6755 w 9949"/>
              <a:gd name="connsiteY6" fmla="*/ 2016 h 10000"/>
              <a:gd name="connsiteX7" fmla="*/ 7288 w 9949"/>
              <a:gd name="connsiteY7" fmla="*/ 1318 h 10000"/>
              <a:gd name="connsiteX8" fmla="*/ 7288 w 9949"/>
              <a:gd name="connsiteY8" fmla="*/ 853 h 10000"/>
              <a:gd name="connsiteX9" fmla="*/ 7078 w 9949"/>
              <a:gd name="connsiteY9" fmla="*/ 543 h 10000"/>
              <a:gd name="connsiteX10" fmla="*/ 6810 w 9949"/>
              <a:gd name="connsiteY10" fmla="*/ 543 h 10000"/>
              <a:gd name="connsiteX11" fmla="*/ 6810 w 9949"/>
              <a:gd name="connsiteY11" fmla="*/ 698 h 10000"/>
              <a:gd name="connsiteX12" fmla="*/ 6647 w 9949"/>
              <a:gd name="connsiteY12" fmla="*/ 698 h 10000"/>
              <a:gd name="connsiteX13" fmla="*/ 6755 w 9949"/>
              <a:gd name="connsiteY13" fmla="*/ 387 h 10000"/>
              <a:gd name="connsiteX14" fmla="*/ 6492 w 9949"/>
              <a:gd name="connsiteY14" fmla="*/ 310 h 10000"/>
              <a:gd name="connsiteX15" fmla="*/ 6647 w 9949"/>
              <a:gd name="connsiteY15" fmla="*/ 155 h 10000"/>
              <a:gd name="connsiteX16" fmla="*/ 6492 w 9949"/>
              <a:gd name="connsiteY16" fmla="*/ 0 h 10000"/>
              <a:gd name="connsiteX17" fmla="*/ 6225 w 9949"/>
              <a:gd name="connsiteY17" fmla="*/ 387 h 10000"/>
              <a:gd name="connsiteX18" fmla="*/ 6225 w 9949"/>
              <a:gd name="connsiteY18" fmla="*/ 698 h 10000"/>
              <a:gd name="connsiteX19" fmla="*/ 6063 w 9949"/>
              <a:gd name="connsiteY19" fmla="*/ 698 h 10000"/>
              <a:gd name="connsiteX20" fmla="*/ 5586 w 9949"/>
              <a:gd name="connsiteY20" fmla="*/ 853 h 10000"/>
              <a:gd name="connsiteX21" fmla="*/ 5159 w 9949"/>
              <a:gd name="connsiteY21" fmla="*/ 1240 h 10000"/>
              <a:gd name="connsiteX22" fmla="*/ 4999 w 9949"/>
              <a:gd name="connsiteY22" fmla="*/ 1551 h 10000"/>
              <a:gd name="connsiteX23" fmla="*/ 5055 w 9949"/>
              <a:gd name="connsiteY23" fmla="*/ 1938 h 10000"/>
              <a:gd name="connsiteX24" fmla="*/ 4469 w 9949"/>
              <a:gd name="connsiteY24" fmla="*/ 2093 h 10000"/>
              <a:gd name="connsiteX25" fmla="*/ 4524 w 9949"/>
              <a:gd name="connsiteY25" fmla="*/ 2559 h 10000"/>
              <a:gd name="connsiteX26" fmla="*/ 4683 w 9949"/>
              <a:gd name="connsiteY26" fmla="*/ 2791 h 10000"/>
              <a:gd name="connsiteX27" fmla="*/ 4576 w 9949"/>
              <a:gd name="connsiteY27" fmla="*/ 2868 h 10000"/>
              <a:gd name="connsiteX28" fmla="*/ 4418 w 9949"/>
              <a:gd name="connsiteY28" fmla="*/ 2559 h 10000"/>
              <a:gd name="connsiteX29" fmla="*/ 4260 w 9949"/>
              <a:gd name="connsiteY29" fmla="*/ 2480 h 10000"/>
              <a:gd name="connsiteX30" fmla="*/ 4201 w 9949"/>
              <a:gd name="connsiteY30" fmla="*/ 2559 h 10000"/>
              <a:gd name="connsiteX31" fmla="*/ 4094 w 9949"/>
              <a:gd name="connsiteY31" fmla="*/ 2403 h 10000"/>
              <a:gd name="connsiteX32" fmla="*/ 3989 w 9949"/>
              <a:gd name="connsiteY32" fmla="*/ 2248 h 10000"/>
              <a:gd name="connsiteX33" fmla="*/ 3989 w 9949"/>
              <a:gd name="connsiteY33" fmla="*/ 2325 h 10000"/>
              <a:gd name="connsiteX34" fmla="*/ 4047 w 9949"/>
              <a:gd name="connsiteY34" fmla="*/ 2559 h 10000"/>
              <a:gd name="connsiteX35" fmla="*/ 3883 w 9949"/>
              <a:gd name="connsiteY35" fmla="*/ 2946 h 10000"/>
              <a:gd name="connsiteX36" fmla="*/ 3989 w 9949"/>
              <a:gd name="connsiteY36" fmla="*/ 3256 h 10000"/>
              <a:gd name="connsiteX37" fmla="*/ 3935 w 9949"/>
              <a:gd name="connsiteY37" fmla="*/ 3566 h 10000"/>
              <a:gd name="connsiteX38" fmla="*/ 3935 w 9949"/>
              <a:gd name="connsiteY38" fmla="*/ 3799 h 10000"/>
              <a:gd name="connsiteX39" fmla="*/ 4094 w 9949"/>
              <a:gd name="connsiteY39" fmla="*/ 3799 h 10000"/>
              <a:gd name="connsiteX40" fmla="*/ 3989 w 9949"/>
              <a:gd name="connsiteY40" fmla="*/ 3876 h 10000"/>
              <a:gd name="connsiteX41" fmla="*/ 4047 w 9949"/>
              <a:gd name="connsiteY41" fmla="*/ 4263 h 10000"/>
              <a:gd name="connsiteX42" fmla="*/ 3725 w 9949"/>
              <a:gd name="connsiteY42" fmla="*/ 4652 h 10000"/>
              <a:gd name="connsiteX43" fmla="*/ 3667 w 9949"/>
              <a:gd name="connsiteY43" fmla="*/ 4574 h 10000"/>
              <a:gd name="connsiteX44" fmla="*/ 3883 w 9949"/>
              <a:gd name="connsiteY44" fmla="*/ 4186 h 10000"/>
              <a:gd name="connsiteX45" fmla="*/ 3935 w 9949"/>
              <a:gd name="connsiteY45" fmla="*/ 3954 h 10000"/>
              <a:gd name="connsiteX46" fmla="*/ 3823 w 9949"/>
              <a:gd name="connsiteY46" fmla="*/ 3799 h 10000"/>
              <a:gd name="connsiteX47" fmla="*/ 3823 w 9949"/>
              <a:gd name="connsiteY47" fmla="*/ 3023 h 10000"/>
              <a:gd name="connsiteX48" fmla="*/ 3776 w 9949"/>
              <a:gd name="connsiteY48" fmla="*/ 2868 h 10000"/>
              <a:gd name="connsiteX49" fmla="*/ 3823 w 9949"/>
              <a:gd name="connsiteY49" fmla="*/ 2403 h 10000"/>
              <a:gd name="connsiteX50" fmla="*/ 3725 w 9949"/>
              <a:gd name="connsiteY50" fmla="*/ 2325 h 10000"/>
              <a:gd name="connsiteX51" fmla="*/ 3776 w 9949"/>
              <a:gd name="connsiteY51" fmla="*/ 2248 h 10000"/>
              <a:gd name="connsiteX52" fmla="*/ 3725 w 9949"/>
              <a:gd name="connsiteY52" fmla="*/ 2093 h 10000"/>
              <a:gd name="connsiteX53" fmla="*/ 3613 w 9949"/>
              <a:gd name="connsiteY53" fmla="*/ 2170 h 10000"/>
              <a:gd name="connsiteX54" fmla="*/ 3351 w 9949"/>
              <a:gd name="connsiteY54" fmla="*/ 3178 h 10000"/>
              <a:gd name="connsiteX55" fmla="*/ 3351 w 9949"/>
              <a:gd name="connsiteY55" fmla="*/ 3566 h 10000"/>
              <a:gd name="connsiteX56" fmla="*/ 3512 w 9949"/>
              <a:gd name="connsiteY56" fmla="*/ 3876 h 10000"/>
              <a:gd name="connsiteX57" fmla="*/ 3512 w 9949"/>
              <a:gd name="connsiteY57" fmla="*/ 4031 h 10000"/>
              <a:gd name="connsiteX58" fmla="*/ 3351 w 9949"/>
              <a:gd name="connsiteY58" fmla="*/ 3876 h 10000"/>
              <a:gd name="connsiteX59" fmla="*/ 2715 w 9949"/>
              <a:gd name="connsiteY59" fmla="*/ 3256 h 10000"/>
              <a:gd name="connsiteX60" fmla="*/ 2661 w 9949"/>
              <a:gd name="connsiteY60" fmla="*/ 3411 h 10000"/>
              <a:gd name="connsiteX61" fmla="*/ 2873 w 9949"/>
              <a:gd name="connsiteY61" fmla="*/ 3799 h 10000"/>
              <a:gd name="connsiteX62" fmla="*/ 2763 w 9949"/>
              <a:gd name="connsiteY62" fmla="*/ 3876 h 10000"/>
              <a:gd name="connsiteX63" fmla="*/ 2715 w 9949"/>
              <a:gd name="connsiteY63" fmla="*/ 3799 h 10000"/>
              <a:gd name="connsiteX64" fmla="*/ 2396 w 9949"/>
              <a:gd name="connsiteY64" fmla="*/ 3954 h 10000"/>
              <a:gd name="connsiteX65" fmla="*/ 2343 w 9949"/>
              <a:gd name="connsiteY65" fmla="*/ 4109 h 10000"/>
              <a:gd name="connsiteX66" fmla="*/ 2289 w 9949"/>
              <a:gd name="connsiteY66" fmla="*/ 3954 h 10000"/>
              <a:gd name="connsiteX67" fmla="*/ 2289 w 9949"/>
              <a:gd name="connsiteY67" fmla="*/ 3799 h 10000"/>
              <a:gd name="connsiteX68" fmla="*/ 1753 w 9949"/>
              <a:gd name="connsiteY68" fmla="*/ 4263 h 10000"/>
              <a:gd name="connsiteX69" fmla="*/ 1753 w 9949"/>
              <a:gd name="connsiteY69" fmla="*/ 4418 h 10000"/>
              <a:gd name="connsiteX70" fmla="*/ 1649 w 9949"/>
              <a:gd name="connsiteY70" fmla="*/ 4496 h 10000"/>
              <a:gd name="connsiteX71" fmla="*/ 1489 w 9949"/>
              <a:gd name="connsiteY71" fmla="*/ 4341 h 10000"/>
              <a:gd name="connsiteX72" fmla="*/ 1649 w 9949"/>
              <a:gd name="connsiteY72" fmla="*/ 4186 h 10000"/>
              <a:gd name="connsiteX73" fmla="*/ 1595 w 9949"/>
              <a:gd name="connsiteY73" fmla="*/ 3954 h 10000"/>
              <a:gd name="connsiteX74" fmla="*/ 1384 w 9949"/>
              <a:gd name="connsiteY74" fmla="*/ 3876 h 10000"/>
              <a:gd name="connsiteX75" fmla="*/ 1437 w 9949"/>
              <a:gd name="connsiteY75" fmla="*/ 4031 h 10000"/>
              <a:gd name="connsiteX76" fmla="*/ 1437 w 9949"/>
              <a:gd name="connsiteY76" fmla="*/ 4418 h 10000"/>
              <a:gd name="connsiteX77" fmla="*/ 1489 w 9949"/>
              <a:gd name="connsiteY77" fmla="*/ 4574 h 10000"/>
              <a:gd name="connsiteX78" fmla="*/ 1437 w 9949"/>
              <a:gd name="connsiteY78" fmla="*/ 4729 h 10000"/>
              <a:gd name="connsiteX79" fmla="*/ 1274 w 9949"/>
              <a:gd name="connsiteY79" fmla="*/ 4652 h 10000"/>
              <a:gd name="connsiteX80" fmla="*/ 1064 w 9949"/>
              <a:gd name="connsiteY80" fmla="*/ 4884 h 10000"/>
              <a:gd name="connsiteX81" fmla="*/ 1167 w 9949"/>
              <a:gd name="connsiteY81" fmla="*/ 5194 h 10000"/>
              <a:gd name="connsiteX82" fmla="*/ 850 w 9949"/>
              <a:gd name="connsiteY82" fmla="*/ 5039 h 10000"/>
              <a:gd name="connsiteX83" fmla="*/ 799 w 9949"/>
              <a:gd name="connsiteY83" fmla="*/ 5116 h 10000"/>
              <a:gd name="connsiteX84" fmla="*/ 906 w 9949"/>
              <a:gd name="connsiteY84" fmla="*/ 5349 h 10000"/>
              <a:gd name="connsiteX85" fmla="*/ 799 w 9949"/>
              <a:gd name="connsiteY85" fmla="*/ 5349 h 10000"/>
              <a:gd name="connsiteX86" fmla="*/ 640 w 9949"/>
              <a:gd name="connsiteY86" fmla="*/ 5194 h 10000"/>
              <a:gd name="connsiteX87" fmla="*/ 640 w 9949"/>
              <a:gd name="connsiteY87" fmla="*/ 4729 h 10000"/>
              <a:gd name="connsiteX88" fmla="*/ 482 w 9949"/>
              <a:gd name="connsiteY88" fmla="*/ 4574 h 10000"/>
              <a:gd name="connsiteX89" fmla="*/ 425 w 9949"/>
              <a:gd name="connsiteY89" fmla="*/ 4418 h 10000"/>
              <a:gd name="connsiteX90" fmla="*/ 531 w 9949"/>
              <a:gd name="connsiteY90" fmla="*/ 4496 h 10000"/>
              <a:gd name="connsiteX91" fmla="*/ 955 w 9949"/>
              <a:gd name="connsiteY91" fmla="*/ 4729 h 10000"/>
              <a:gd name="connsiteX92" fmla="*/ 1219 w 9949"/>
              <a:gd name="connsiteY92" fmla="*/ 4496 h 10000"/>
              <a:gd name="connsiteX93" fmla="*/ 1167 w 9949"/>
              <a:gd name="connsiteY93" fmla="*/ 4263 h 10000"/>
              <a:gd name="connsiteX94" fmla="*/ 850 w 9949"/>
              <a:gd name="connsiteY94" fmla="*/ 3799 h 10000"/>
              <a:gd name="connsiteX95" fmla="*/ 531 w 9949"/>
              <a:gd name="connsiteY95" fmla="*/ 3644 h 10000"/>
              <a:gd name="connsiteX96" fmla="*/ 531 w 9949"/>
              <a:gd name="connsiteY96" fmla="*/ 3566 h 10000"/>
              <a:gd name="connsiteX97" fmla="*/ 425 w 9949"/>
              <a:gd name="connsiteY97" fmla="*/ 3488 h 10000"/>
              <a:gd name="connsiteX98" fmla="*/ 316 w 9949"/>
              <a:gd name="connsiteY98" fmla="*/ 3566 h 10000"/>
              <a:gd name="connsiteX99" fmla="*/ 316 w 9949"/>
              <a:gd name="connsiteY99" fmla="*/ 3644 h 10000"/>
              <a:gd name="connsiteX100" fmla="*/ 265 w 9949"/>
              <a:gd name="connsiteY100" fmla="*/ 3644 h 10000"/>
              <a:gd name="connsiteX101" fmla="*/ 160 w 9949"/>
              <a:gd name="connsiteY101" fmla="*/ 3799 h 10000"/>
              <a:gd name="connsiteX102" fmla="*/ 160 w 9949"/>
              <a:gd name="connsiteY102" fmla="*/ 4031 h 10000"/>
              <a:gd name="connsiteX103" fmla="*/ 265 w 9949"/>
              <a:gd name="connsiteY103" fmla="*/ 4186 h 10000"/>
              <a:gd name="connsiteX104" fmla="*/ 213 w 9949"/>
              <a:gd name="connsiteY104" fmla="*/ 4418 h 10000"/>
              <a:gd name="connsiteX105" fmla="*/ 265 w 9949"/>
              <a:gd name="connsiteY105" fmla="*/ 4807 h 10000"/>
              <a:gd name="connsiteX106" fmla="*/ 213 w 9949"/>
              <a:gd name="connsiteY106" fmla="*/ 5039 h 10000"/>
              <a:gd name="connsiteX107" fmla="*/ 316 w 9949"/>
              <a:gd name="connsiteY107" fmla="*/ 5271 h 10000"/>
              <a:gd name="connsiteX108" fmla="*/ 265 w 9949"/>
              <a:gd name="connsiteY108" fmla="*/ 5426 h 10000"/>
              <a:gd name="connsiteX109" fmla="*/ 371 w 9949"/>
              <a:gd name="connsiteY109" fmla="*/ 5582 h 10000"/>
              <a:gd name="connsiteX110" fmla="*/ 371 w 9949"/>
              <a:gd name="connsiteY110" fmla="*/ 5659 h 10000"/>
              <a:gd name="connsiteX111" fmla="*/ 213 w 9949"/>
              <a:gd name="connsiteY111" fmla="*/ 6047 h 10000"/>
              <a:gd name="connsiteX112" fmla="*/ 48 w 9949"/>
              <a:gd name="connsiteY112" fmla="*/ 6202 h 10000"/>
              <a:gd name="connsiteX113" fmla="*/ 104 w 9949"/>
              <a:gd name="connsiteY113" fmla="*/ 6202 h 10000"/>
              <a:gd name="connsiteX114" fmla="*/ 213 w 9949"/>
              <a:gd name="connsiteY114" fmla="*/ 6356 h 10000"/>
              <a:gd name="connsiteX115" fmla="*/ 104 w 9949"/>
              <a:gd name="connsiteY115" fmla="*/ 6512 h 10000"/>
              <a:gd name="connsiteX116" fmla="*/ 48 w 9949"/>
              <a:gd name="connsiteY116" fmla="*/ 6590 h 10000"/>
              <a:gd name="connsiteX117" fmla="*/ 0 w 9949"/>
              <a:gd name="connsiteY117" fmla="*/ 6590 h 10000"/>
              <a:gd name="connsiteX118" fmla="*/ 48 w 9949"/>
              <a:gd name="connsiteY118" fmla="*/ 6822 h 10000"/>
              <a:gd name="connsiteX119" fmla="*/ 48 w 9949"/>
              <a:gd name="connsiteY119" fmla="*/ 6900 h 10000"/>
              <a:gd name="connsiteX120" fmla="*/ 48 w 9949"/>
              <a:gd name="connsiteY120" fmla="*/ 6977 h 10000"/>
              <a:gd name="connsiteX121" fmla="*/ 48 w 9949"/>
              <a:gd name="connsiteY121" fmla="*/ 7054 h 10000"/>
              <a:gd name="connsiteX122" fmla="*/ 104 w 9949"/>
              <a:gd name="connsiteY122" fmla="*/ 7209 h 10000"/>
              <a:gd name="connsiteX123" fmla="*/ 265 w 9949"/>
              <a:gd name="connsiteY123" fmla="*/ 7287 h 10000"/>
              <a:gd name="connsiteX124" fmla="*/ 316 w 9949"/>
              <a:gd name="connsiteY124" fmla="*/ 7364 h 10000"/>
              <a:gd name="connsiteX125" fmla="*/ 316 w 9949"/>
              <a:gd name="connsiteY125" fmla="*/ 7520 h 10000"/>
              <a:gd name="connsiteX126" fmla="*/ 425 w 9949"/>
              <a:gd name="connsiteY126" fmla="*/ 7752 h 10000"/>
              <a:gd name="connsiteX127" fmla="*/ 482 w 9949"/>
              <a:gd name="connsiteY127" fmla="*/ 7752 h 10000"/>
              <a:gd name="connsiteX128" fmla="*/ 425 w 9949"/>
              <a:gd name="connsiteY128" fmla="*/ 7907 h 10000"/>
              <a:gd name="connsiteX129" fmla="*/ 371 w 9949"/>
              <a:gd name="connsiteY129" fmla="*/ 7830 h 10000"/>
              <a:gd name="connsiteX130" fmla="*/ 371 w 9949"/>
              <a:gd name="connsiteY130" fmla="*/ 7907 h 10000"/>
              <a:gd name="connsiteX131" fmla="*/ 425 w 9949"/>
              <a:gd name="connsiteY131" fmla="*/ 8062 h 10000"/>
              <a:gd name="connsiteX132" fmla="*/ 587 w 9949"/>
              <a:gd name="connsiteY132" fmla="*/ 8062 h 10000"/>
              <a:gd name="connsiteX133" fmla="*/ 640 w 9949"/>
              <a:gd name="connsiteY133" fmla="*/ 8140 h 10000"/>
              <a:gd name="connsiteX134" fmla="*/ 587 w 9949"/>
              <a:gd name="connsiteY134" fmla="*/ 8140 h 10000"/>
              <a:gd name="connsiteX135" fmla="*/ 640 w 9949"/>
              <a:gd name="connsiteY135" fmla="*/ 8217 h 10000"/>
              <a:gd name="connsiteX136" fmla="*/ 690 w 9949"/>
              <a:gd name="connsiteY136" fmla="*/ 8217 h 10000"/>
              <a:gd name="connsiteX137" fmla="*/ 743 w 9949"/>
              <a:gd name="connsiteY137" fmla="*/ 8372 h 10000"/>
              <a:gd name="connsiteX138" fmla="*/ 799 w 9949"/>
              <a:gd name="connsiteY138" fmla="*/ 8449 h 10000"/>
              <a:gd name="connsiteX139" fmla="*/ 850 w 9949"/>
              <a:gd name="connsiteY139" fmla="*/ 8372 h 10000"/>
              <a:gd name="connsiteX140" fmla="*/ 1118 w 9949"/>
              <a:gd name="connsiteY140" fmla="*/ 8605 h 10000"/>
              <a:gd name="connsiteX141" fmla="*/ 1064 w 9949"/>
              <a:gd name="connsiteY141" fmla="*/ 8915 h 10000"/>
              <a:gd name="connsiteX142" fmla="*/ 1011 w 9949"/>
              <a:gd name="connsiteY142" fmla="*/ 8838 h 10000"/>
              <a:gd name="connsiteX143" fmla="*/ 955 w 9949"/>
              <a:gd name="connsiteY143" fmla="*/ 8915 h 10000"/>
              <a:gd name="connsiteX144" fmla="*/ 955 w 9949"/>
              <a:gd name="connsiteY144" fmla="*/ 9070 h 10000"/>
              <a:gd name="connsiteX145" fmla="*/ 1011 w 9949"/>
              <a:gd name="connsiteY145" fmla="*/ 8993 h 10000"/>
              <a:gd name="connsiteX146" fmla="*/ 1064 w 9949"/>
              <a:gd name="connsiteY146" fmla="*/ 9070 h 10000"/>
              <a:gd name="connsiteX147" fmla="*/ 906 w 9949"/>
              <a:gd name="connsiteY147" fmla="*/ 9147 h 10000"/>
              <a:gd name="connsiteX148" fmla="*/ 955 w 9949"/>
              <a:gd name="connsiteY148" fmla="*/ 9225 h 10000"/>
              <a:gd name="connsiteX149" fmla="*/ 850 w 9949"/>
              <a:gd name="connsiteY149" fmla="*/ 9380 h 10000"/>
              <a:gd name="connsiteX150" fmla="*/ 799 w 9949"/>
              <a:gd name="connsiteY150" fmla="*/ 9380 h 10000"/>
              <a:gd name="connsiteX151" fmla="*/ 850 w 9949"/>
              <a:gd name="connsiteY151" fmla="*/ 9380 h 10000"/>
              <a:gd name="connsiteX152" fmla="*/ 1064 w 9949"/>
              <a:gd name="connsiteY152" fmla="*/ 9691 h 10000"/>
              <a:gd name="connsiteX153" fmla="*/ 1331 w 9949"/>
              <a:gd name="connsiteY153" fmla="*/ 9691 h 10000"/>
              <a:gd name="connsiteX154" fmla="*/ 1437 w 9949"/>
              <a:gd name="connsiteY154" fmla="*/ 9768 h 10000"/>
              <a:gd name="connsiteX155" fmla="*/ 1543 w 9949"/>
              <a:gd name="connsiteY155" fmla="*/ 9768 h 10000"/>
              <a:gd name="connsiteX156" fmla="*/ 1649 w 9949"/>
              <a:gd name="connsiteY156" fmla="*/ 9923 h 10000"/>
              <a:gd name="connsiteX157" fmla="*/ 1702 w 9949"/>
              <a:gd name="connsiteY157" fmla="*/ 10000 h 10000"/>
              <a:gd name="connsiteX158" fmla="*/ 1753 w 9949"/>
              <a:gd name="connsiteY158" fmla="*/ 10000 h 10000"/>
              <a:gd name="connsiteX159" fmla="*/ 1810 w 9949"/>
              <a:gd name="connsiteY159" fmla="*/ 9923 h 10000"/>
              <a:gd name="connsiteX160" fmla="*/ 1702 w 9949"/>
              <a:gd name="connsiteY160" fmla="*/ 9768 h 10000"/>
              <a:gd name="connsiteX161" fmla="*/ 1702 w 9949"/>
              <a:gd name="connsiteY161" fmla="*/ 9613 h 10000"/>
              <a:gd name="connsiteX162" fmla="*/ 1649 w 9949"/>
              <a:gd name="connsiteY162" fmla="*/ 9457 h 10000"/>
              <a:gd name="connsiteX163" fmla="*/ 1753 w 9949"/>
              <a:gd name="connsiteY163" fmla="*/ 9225 h 10000"/>
              <a:gd name="connsiteX164" fmla="*/ 1810 w 9949"/>
              <a:gd name="connsiteY164" fmla="*/ 9302 h 10000"/>
              <a:gd name="connsiteX165" fmla="*/ 1861 w 9949"/>
              <a:gd name="connsiteY165" fmla="*/ 9225 h 10000"/>
              <a:gd name="connsiteX166" fmla="*/ 1861 w 9949"/>
              <a:gd name="connsiteY166" fmla="*/ 9147 h 10000"/>
              <a:gd name="connsiteX167" fmla="*/ 1810 w 9949"/>
              <a:gd name="connsiteY167" fmla="*/ 9147 h 10000"/>
              <a:gd name="connsiteX168" fmla="*/ 1861 w 9949"/>
              <a:gd name="connsiteY168" fmla="*/ 9070 h 10000"/>
              <a:gd name="connsiteX169" fmla="*/ 1810 w 9949"/>
              <a:gd name="connsiteY169" fmla="*/ 8915 h 10000"/>
              <a:gd name="connsiteX170" fmla="*/ 1702 w 9949"/>
              <a:gd name="connsiteY170" fmla="*/ 8915 h 10000"/>
              <a:gd name="connsiteX171" fmla="*/ 1649 w 9949"/>
              <a:gd name="connsiteY171" fmla="*/ 8760 h 10000"/>
              <a:gd name="connsiteX172" fmla="*/ 1702 w 9949"/>
              <a:gd name="connsiteY172" fmla="*/ 8372 h 10000"/>
              <a:gd name="connsiteX173" fmla="*/ 1810 w 9949"/>
              <a:gd name="connsiteY173" fmla="*/ 8528 h 10000"/>
              <a:gd name="connsiteX174" fmla="*/ 1861 w 9949"/>
              <a:gd name="connsiteY174" fmla="*/ 8528 h 10000"/>
              <a:gd name="connsiteX175" fmla="*/ 1810 w 9949"/>
              <a:gd name="connsiteY175" fmla="*/ 8372 h 10000"/>
              <a:gd name="connsiteX176" fmla="*/ 1969 w 9949"/>
              <a:gd name="connsiteY176" fmla="*/ 8140 h 10000"/>
              <a:gd name="connsiteX177" fmla="*/ 2077 w 9949"/>
              <a:gd name="connsiteY177" fmla="*/ 8217 h 10000"/>
              <a:gd name="connsiteX178" fmla="*/ 2128 w 9949"/>
              <a:gd name="connsiteY178" fmla="*/ 8140 h 10000"/>
              <a:gd name="connsiteX179" fmla="*/ 2234 w 9949"/>
              <a:gd name="connsiteY179" fmla="*/ 8217 h 10000"/>
              <a:gd name="connsiteX180" fmla="*/ 2396 w 9949"/>
              <a:gd name="connsiteY180" fmla="*/ 8372 h 10000"/>
              <a:gd name="connsiteX181" fmla="*/ 2499 w 9949"/>
              <a:gd name="connsiteY181" fmla="*/ 8295 h 10000"/>
              <a:gd name="connsiteX182" fmla="*/ 2608 w 9949"/>
              <a:gd name="connsiteY182" fmla="*/ 8295 h 10000"/>
              <a:gd name="connsiteX183" fmla="*/ 2661 w 9949"/>
              <a:gd name="connsiteY183" fmla="*/ 8372 h 10000"/>
              <a:gd name="connsiteX184" fmla="*/ 2873 w 9949"/>
              <a:gd name="connsiteY184" fmla="*/ 8372 h 10000"/>
              <a:gd name="connsiteX185" fmla="*/ 2924 w 9949"/>
              <a:gd name="connsiteY185" fmla="*/ 8217 h 10000"/>
              <a:gd name="connsiteX186" fmla="*/ 2763 w 9949"/>
              <a:gd name="connsiteY186" fmla="*/ 8140 h 10000"/>
              <a:gd name="connsiteX187" fmla="*/ 2873 w 9949"/>
              <a:gd name="connsiteY187" fmla="*/ 8062 h 10000"/>
              <a:gd name="connsiteX188" fmla="*/ 2818 w 9949"/>
              <a:gd name="connsiteY188" fmla="*/ 7985 h 10000"/>
              <a:gd name="connsiteX189" fmla="*/ 2873 w 9949"/>
              <a:gd name="connsiteY189" fmla="*/ 7907 h 10000"/>
              <a:gd name="connsiteX190" fmla="*/ 2873 w 9949"/>
              <a:gd name="connsiteY190" fmla="*/ 7675 h 10000"/>
              <a:gd name="connsiteX191" fmla="*/ 2978 w 9949"/>
              <a:gd name="connsiteY191" fmla="*/ 7752 h 10000"/>
              <a:gd name="connsiteX192" fmla="*/ 3458 w 9949"/>
              <a:gd name="connsiteY192" fmla="*/ 7520 h 10000"/>
              <a:gd name="connsiteX193" fmla="*/ 3458 w 9949"/>
              <a:gd name="connsiteY193" fmla="*/ 7442 h 10000"/>
              <a:gd name="connsiteX194" fmla="*/ 3512 w 9949"/>
              <a:gd name="connsiteY194" fmla="*/ 7442 h 10000"/>
              <a:gd name="connsiteX195" fmla="*/ 3667 w 9949"/>
              <a:gd name="connsiteY195" fmla="*/ 7442 h 10000"/>
              <a:gd name="connsiteX196" fmla="*/ 3725 w 9949"/>
              <a:gd name="connsiteY196" fmla="*/ 7598 h 10000"/>
              <a:gd name="connsiteX197" fmla="*/ 3725 w 9949"/>
              <a:gd name="connsiteY197" fmla="*/ 7675 h 10000"/>
              <a:gd name="connsiteX198" fmla="*/ 3776 w 9949"/>
              <a:gd name="connsiteY198" fmla="*/ 7675 h 10000"/>
              <a:gd name="connsiteX199" fmla="*/ 3883 w 9949"/>
              <a:gd name="connsiteY199" fmla="*/ 7752 h 10000"/>
              <a:gd name="connsiteX200" fmla="*/ 3883 w 9949"/>
              <a:gd name="connsiteY200" fmla="*/ 7830 h 10000"/>
              <a:gd name="connsiteX201" fmla="*/ 3989 w 9949"/>
              <a:gd name="connsiteY201" fmla="*/ 7830 h 10000"/>
              <a:gd name="connsiteX202" fmla="*/ 4094 w 9949"/>
              <a:gd name="connsiteY202" fmla="*/ 7675 h 10000"/>
              <a:gd name="connsiteX203" fmla="*/ 4201 w 9949"/>
              <a:gd name="connsiteY203" fmla="*/ 7598 h 10000"/>
              <a:gd name="connsiteX204" fmla="*/ 4260 w 9949"/>
              <a:gd name="connsiteY204" fmla="*/ 7830 h 10000"/>
              <a:gd name="connsiteX205" fmla="*/ 4469 w 9949"/>
              <a:gd name="connsiteY205" fmla="*/ 8372 h 10000"/>
              <a:gd name="connsiteX206" fmla="*/ 4524 w 9949"/>
              <a:gd name="connsiteY206" fmla="*/ 8217 h 10000"/>
              <a:gd name="connsiteX207" fmla="*/ 4576 w 9949"/>
              <a:gd name="connsiteY207" fmla="*/ 8372 h 10000"/>
              <a:gd name="connsiteX208" fmla="*/ 4735 w 9949"/>
              <a:gd name="connsiteY208" fmla="*/ 8295 h 10000"/>
              <a:gd name="connsiteX209" fmla="*/ 4897 w 9949"/>
              <a:gd name="connsiteY209" fmla="*/ 8528 h 10000"/>
              <a:gd name="connsiteX210" fmla="*/ 4999 w 9949"/>
              <a:gd name="connsiteY210" fmla="*/ 8605 h 10000"/>
              <a:gd name="connsiteX211" fmla="*/ 4999 w 9949"/>
              <a:gd name="connsiteY211" fmla="*/ 8528 h 10000"/>
              <a:gd name="connsiteX212" fmla="*/ 5055 w 9949"/>
              <a:gd name="connsiteY212" fmla="*/ 8683 h 10000"/>
              <a:gd name="connsiteX213" fmla="*/ 4999 w 9949"/>
              <a:gd name="connsiteY213" fmla="*/ 8760 h 10000"/>
              <a:gd name="connsiteX214" fmla="*/ 5109 w 9949"/>
              <a:gd name="connsiteY214" fmla="*/ 8683 h 10000"/>
              <a:gd name="connsiteX215" fmla="*/ 5159 w 9949"/>
              <a:gd name="connsiteY215" fmla="*/ 8605 h 10000"/>
              <a:gd name="connsiteX216" fmla="*/ 5424 w 9949"/>
              <a:gd name="connsiteY216" fmla="*/ 8372 h 10000"/>
              <a:gd name="connsiteX217" fmla="*/ 5638 w 9949"/>
              <a:gd name="connsiteY217" fmla="*/ 8449 h 10000"/>
              <a:gd name="connsiteX218" fmla="*/ 5744 w 9949"/>
              <a:gd name="connsiteY218" fmla="*/ 8528 h 10000"/>
              <a:gd name="connsiteX219" fmla="*/ 5955 w 9949"/>
              <a:gd name="connsiteY219" fmla="*/ 8528 h 10000"/>
              <a:gd name="connsiteX220" fmla="*/ 5955 w 9949"/>
              <a:gd name="connsiteY220" fmla="*/ 8372 h 10000"/>
              <a:gd name="connsiteX221" fmla="*/ 5955 w 9949"/>
              <a:gd name="connsiteY221" fmla="*/ 8217 h 10000"/>
              <a:gd name="connsiteX222" fmla="*/ 6063 w 9949"/>
              <a:gd name="connsiteY222" fmla="*/ 8140 h 10000"/>
              <a:gd name="connsiteX223" fmla="*/ 6274 w 9949"/>
              <a:gd name="connsiteY223" fmla="*/ 8217 h 10000"/>
              <a:gd name="connsiteX224" fmla="*/ 6384 w 9949"/>
              <a:gd name="connsiteY224" fmla="*/ 8449 h 10000"/>
              <a:gd name="connsiteX225" fmla="*/ 6436 w 9949"/>
              <a:gd name="connsiteY225" fmla="*/ 8449 h 10000"/>
              <a:gd name="connsiteX226" fmla="*/ 6544 w 9949"/>
              <a:gd name="connsiteY226" fmla="*/ 8372 h 10000"/>
              <a:gd name="connsiteX227" fmla="*/ 6866 w 9949"/>
              <a:gd name="connsiteY227" fmla="*/ 8605 h 10000"/>
              <a:gd name="connsiteX228" fmla="*/ 7023 w 9949"/>
              <a:gd name="connsiteY228" fmla="*/ 8683 h 10000"/>
              <a:gd name="connsiteX229" fmla="*/ 7235 w 9949"/>
              <a:gd name="connsiteY229" fmla="*/ 8605 h 10000"/>
              <a:gd name="connsiteX230" fmla="*/ 7341 w 9949"/>
              <a:gd name="connsiteY230" fmla="*/ 8449 h 10000"/>
              <a:gd name="connsiteX231" fmla="*/ 7501 w 9949"/>
              <a:gd name="connsiteY231" fmla="*/ 8528 h 10000"/>
              <a:gd name="connsiteX232" fmla="*/ 7606 w 9949"/>
              <a:gd name="connsiteY232" fmla="*/ 8605 h 10000"/>
              <a:gd name="connsiteX233" fmla="*/ 9417 w 9949"/>
              <a:gd name="connsiteY233" fmla="*/ 7675 h 10000"/>
              <a:gd name="connsiteX234" fmla="*/ 9313 w 9949"/>
              <a:gd name="connsiteY234" fmla="*/ 7675 h 10000"/>
              <a:gd name="connsiteX235" fmla="*/ 9258 w 9949"/>
              <a:gd name="connsiteY235" fmla="*/ 7675 h 10000"/>
              <a:gd name="connsiteX236" fmla="*/ 9203 w 9949"/>
              <a:gd name="connsiteY236" fmla="*/ 7598 h 10000"/>
              <a:gd name="connsiteX237" fmla="*/ 9101 w 9949"/>
              <a:gd name="connsiteY237" fmla="*/ 7598 h 10000"/>
              <a:gd name="connsiteX238" fmla="*/ 9101 w 9949"/>
              <a:gd name="connsiteY238" fmla="*/ 7520 h 10000"/>
              <a:gd name="connsiteX239" fmla="*/ 9258 w 9949"/>
              <a:gd name="connsiteY239" fmla="*/ 7287 h 10000"/>
              <a:gd name="connsiteX240" fmla="*/ 9743 w 9949"/>
              <a:gd name="connsiteY240" fmla="*/ 6590 h 10000"/>
              <a:gd name="connsiteX241" fmla="*/ 9949 w 9949"/>
              <a:gd name="connsiteY241" fmla="*/ 6512 h 10000"/>
              <a:gd name="connsiteX242" fmla="*/ 8565 w 9949"/>
              <a:gd name="connsiteY242" fmla="*/ 2791 h 10000"/>
              <a:gd name="connsiteX243" fmla="*/ 8619 w 9949"/>
              <a:gd name="connsiteY243" fmla="*/ 2403 h 10000"/>
              <a:gd name="connsiteX244" fmla="*/ 8512 w 9949"/>
              <a:gd name="connsiteY244" fmla="*/ 2170 h 10000"/>
              <a:gd name="connsiteX245" fmla="*/ 8193 w 9949"/>
              <a:gd name="connsiteY245" fmla="*/ 2016 h 10000"/>
              <a:gd name="connsiteX246" fmla="*/ 8083 w 9949"/>
              <a:gd name="connsiteY246" fmla="*/ 2016 h 10000"/>
              <a:gd name="connsiteX247" fmla="*/ 8033 w 9949"/>
              <a:gd name="connsiteY247" fmla="*/ 2170 h 10000"/>
              <a:gd name="connsiteX248" fmla="*/ 8083 w 9949"/>
              <a:gd name="connsiteY248" fmla="*/ 2325 h 10000"/>
              <a:gd name="connsiteX249" fmla="*/ 7664 w 9949"/>
              <a:gd name="connsiteY249" fmla="*/ 2248 h 10000"/>
              <a:gd name="connsiteX250" fmla="*/ 7713 w 9949"/>
              <a:gd name="connsiteY250" fmla="*/ 2016 h 10000"/>
              <a:gd name="connsiteX251" fmla="*/ 7449 w 9949"/>
              <a:gd name="connsiteY251" fmla="*/ 1938 h 10000"/>
              <a:gd name="connsiteX252" fmla="*/ 7288 w 9949"/>
              <a:gd name="connsiteY252" fmla="*/ 2093 h 10000"/>
              <a:gd name="connsiteX253" fmla="*/ 6978 w 9949"/>
              <a:gd name="connsiteY253" fmla="*/ 1861 h 10000"/>
              <a:gd name="connsiteX0" fmla="*/ 7014 w 9793"/>
              <a:gd name="connsiteY0" fmla="*/ 1861 h 10000"/>
              <a:gd name="connsiteX1" fmla="*/ 7014 w 9793"/>
              <a:gd name="connsiteY1" fmla="*/ 1861 h 10000"/>
              <a:gd name="connsiteX2" fmla="*/ 6951 w 9793"/>
              <a:gd name="connsiteY2" fmla="*/ 1938 h 10000"/>
              <a:gd name="connsiteX3" fmla="*/ 7014 w 9793"/>
              <a:gd name="connsiteY3" fmla="*/ 2093 h 10000"/>
              <a:gd name="connsiteX4" fmla="*/ 6790 w 9793"/>
              <a:gd name="connsiteY4" fmla="*/ 2248 h 10000"/>
              <a:gd name="connsiteX5" fmla="*/ 6735 w 9793"/>
              <a:gd name="connsiteY5" fmla="*/ 2248 h 10000"/>
              <a:gd name="connsiteX6" fmla="*/ 6790 w 9793"/>
              <a:gd name="connsiteY6" fmla="*/ 2016 h 10000"/>
              <a:gd name="connsiteX7" fmla="*/ 7325 w 9793"/>
              <a:gd name="connsiteY7" fmla="*/ 1318 h 10000"/>
              <a:gd name="connsiteX8" fmla="*/ 7325 w 9793"/>
              <a:gd name="connsiteY8" fmla="*/ 853 h 10000"/>
              <a:gd name="connsiteX9" fmla="*/ 7114 w 9793"/>
              <a:gd name="connsiteY9" fmla="*/ 543 h 10000"/>
              <a:gd name="connsiteX10" fmla="*/ 6845 w 9793"/>
              <a:gd name="connsiteY10" fmla="*/ 543 h 10000"/>
              <a:gd name="connsiteX11" fmla="*/ 6845 w 9793"/>
              <a:gd name="connsiteY11" fmla="*/ 698 h 10000"/>
              <a:gd name="connsiteX12" fmla="*/ 6681 w 9793"/>
              <a:gd name="connsiteY12" fmla="*/ 698 h 10000"/>
              <a:gd name="connsiteX13" fmla="*/ 6790 w 9793"/>
              <a:gd name="connsiteY13" fmla="*/ 387 h 10000"/>
              <a:gd name="connsiteX14" fmla="*/ 6525 w 9793"/>
              <a:gd name="connsiteY14" fmla="*/ 310 h 10000"/>
              <a:gd name="connsiteX15" fmla="*/ 6681 w 9793"/>
              <a:gd name="connsiteY15" fmla="*/ 155 h 10000"/>
              <a:gd name="connsiteX16" fmla="*/ 6525 w 9793"/>
              <a:gd name="connsiteY16" fmla="*/ 0 h 10000"/>
              <a:gd name="connsiteX17" fmla="*/ 6257 w 9793"/>
              <a:gd name="connsiteY17" fmla="*/ 387 h 10000"/>
              <a:gd name="connsiteX18" fmla="*/ 6257 w 9793"/>
              <a:gd name="connsiteY18" fmla="*/ 698 h 10000"/>
              <a:gd name="connsiteX19" fmla="*/ 6094 w 9793"/>
              <a:gd name="connsiteY19" fmla="*/ 698 h 10000"/>
              <a:gd name="connsiteX20" fmla="*/ 5615 w 9793"/>
              <a:gd name="connsiteY20" fmla="*/ 853 h 10000"/>
              <a:gd name="connsiteX21" fmla="*/ 5185 w 9793"/>
              <a:gd name="connsiteY21" fmla="*/ 1240 h 10000"/>
              <a:gd name="connsiteX22" fmla="*/ 5025 w 9793"/>
              <a:gd name="connsiteY22" fmla="*/ 1551 h 10000"/>
              <a:gd name="connsiteX23" fmla="*/ 5081 w 9793"/>
              <a:gd name="connsiteY23" fmla="*/ 1938 h 10000"/>
              <a:gd name="connsiteX24" fmla="*/ 4492 w 9793"/>
              <a:gd name="connsiteY24" fmla="*/ 2093 h 10000"/>
              <a:gd name="connsiteX25" fmla="*/ 4547 w 9793"/>
              <a:gd name="connsiteY25" fmla="*/ 2559 h 10000"/>
              <a:gd name="connsiteX26" fmla="*/ 4707 w 9793"/>
              <a:gd name="connsiteY26" fmla="*/ 2791 h 10000"/>
              <a:gd name="connsiteX27" fmla="*/ 4599 w 9793"/>
              <a:gd name="connsiteY27" fmla="*/ 2868 h 10000"/>
              <a:gd name="connsiteX28" fmla="*/ 4441 w 9793"/>
              <a:gd name="connsiteY28" fmla="*/ 2559 h 10000"/>
              <a:gd name="connsiteX29" fmla="*/ 4282 w 9793"/>
              <a:gd name="connsiteY29" fmla="*/ 2480 h 10000"/>
              <a:gd name="connsiteX30" fmla="*/ 4223 w 9793"/>
              <a:gd name="connsiteY30" fmla="*/ 2559 h 10000"/>
              <a:gd name="connsiteX31" fmla="*/ 4115 w 9793"/>
              <a:gd name="connsiteY31" fmla="*/ 2403 h 10000"/>
              <a:gd name="connsiteX32" fmla="*/ 4009 w 9793"/>
              <a:gd name="connsiteY32" fmla="*/ 2248 h 10000"/>
              <a:gd name="connsiteX33" fmla="*/ 4009 w 9793"/>
              <a:gd name="connsiteY33" fmla="*/ 2325 h 10000"/>
              <a:gd name="connsiteX34" fmla="*/ 4068 w 9793"/>
              <a:gd name="connsiteY34" fmla="*/ 2559 h 10000"/>
              <a:gd name="connsiteX35" fmla="*/ 3903 w 9793"/>
              <a:gd name="connsiteY35" fmla="*/ 2946 h 10000"/>
              <a:gd name="connsiteX36" fmla="*/ 4009 w 9793"/>
              <a:gd name="connsiteY36" fmla="*/ 3256 h 10000"/>
              <a:gd name="connsiteX37" fmla="*/ 3955 w 9793"/>
              <a:gd name="connsiteY37" fmla="*/ 3566 h 10000"/>
              <a:gd name="connsiteX38" fmla="*/ 3955 w 9793"/>
              <a:gd name="connsiteY38" fmla="*/ 3799 h 10000"/>
              <a:gd name="connsiteX39" fmla="*/ 4115 w 9793"/>
              <a:gd name="connsiteY39" fmla="*/ 3799 h 10000"/>
              <a:gd name="connsiteX40" fmla="*/ 4009 w 9793"/>
              <a:gd name="connsiteY40" fmla="*/ 3876 h 10000"/>
              <a:gd name="connsiteX41" fmla="*/ 4068 w 9793"/>
              <a:gd name="connsiteY41" fmla="*/ 4263 h 10000"/>
              <a:gd name="connsiteX42" fmla="*/ 3744 w 9793"/>
              <a:gd name="connsiteY42" fmla="*/ 4652 h 10000"/>
              <a:gd name="connsiteX43" fmla="*/ 3686 w 9793"/>
              <a:gd name="connsiteY43" fmla="*/ 4574 h 10000"/>
              <a:gd name="connsiteX44" fmla="*/ 3903 w 9793"/>
              <a:gd name="connsiteY44" fmla="*/ 4186 h 10000"/>
              <a:gd name="connsiteX45" fmla="*/ 3955 w 9793"/>
              <a:gd name="connsiteY45" fmla="*/ 3954 h 10000"/>
              <a:gd name="connsiteX46" fmla="*/ 3843 w 9793"/>
              <a:gd name="connsiteY46" fmla="*/ 3799 h 10000"/>
              <a:gd name="connsiteX47" fmla="*/ 3843 w 9793"/>
              <a:gd name="connsiteY47" fmla="*/ 3023 h 10000"/>
              <a:gd name="connsiteX48" fmla="*/ 3795 w 9793"/>
              <a:gd name="connsiteY48" fmla="*/ 2868 h 10000"/>
              <a:gd name="connsiteX49" fmla="*/ 3843 w 9793"/>
              <a:gd name="connsiteY49" fmla="*/ 2403 h 10000"/>
              <a:gd name="connsiteX50" fmla="*/ 3744 w 9793"/>
              <a:gd name="connsiteY50" fmla="*/ 2325 h 10000"/>
              <a:gd name="connsiteX51" fmla="*/ 3795 w 9793"/>
              <a:gd name="connsiteY51" fmla="*/ 2248 h 10000"/>
              <a:gd name="connsiteX52" fmla="*/ 3744 w 9793"/>
              <a:gd name="connsiteY52" fmla="*/ 2093 h 10000"/>
              <a:gd name="connsiteX53" fmla="*/ 3632 w 9793"/>
              <a:gd name="connsiteY53" fmla="*/ 2170 h 10000"/>
              <a:gd name="connsiteX54" fmla="*/ 3368 w 9793"/>
              <a:gd name="connsiteY54" fmla="*/ 3178 h 10000"/>
              <a:gd name="connsiteX55" fmla="*/ 3368 w 9793"/>
              <a:gd name="connsiteY55" fmla="*/ 3566 h 10000"/>
              <a:gd name="connsiteX56" fmla="*/ 3530 w 9793"/>
              <a:gd name="connsiteY56" fmla="*/ 3876 h 10000"/>
              <a:gd name="connsiteX57" fmla="*/ 3530 w 9793"/>
              <a:gd name="connsiteY57" fmla="*/ 4031 h 10000"/>
              <a:gd name="connsiteX58" fmla="*/ 3368 w 9793"/>
              <a:gd name="connsiteY58" fmla="*/ 3876 h 10000"/>
              <a:gd name="connsiteX59" fmla="*/ 2729 w 9793"/>
              <a:gd name="connsiteY59" fmla="*/ 3256 h 10000"/>
              <a:gd name="connsiteX60" fmla="*/ 2675 w 9793"/>
              <a:gd name="connsiteY60" fmla="*/ 3411 h 10000"/>
              <a:gd name="connsiteX61" fmla="*/ 2888 w 9793"/>
              <a:gd name="connsiteY61" fmla="*/ 3799 h 10000"/>
              <a:gd name="connsiteX62" fmla="*/ 2777 w 9793"/>
              <a:gd name="connsiteY62" fmla="*/ 3876 h 10000"/>
              <a:gd name="connsiteX63" fmla="*/ 2729 w 9793"/>
              <a:gd name="connsiteY63" fmla="*/ 3799 h 10000"/>
              <a:gd name="connsiteX64" fmla="*/ 2408 w 9793"/>
              <a:gd name="connsiteY64" fmla="*/ 3954 h 10000"/>
              <a:gd name="connsiteX65" fmla="*/ 2355 w 9793"/>
              <a:gd name="connsiteY65" fmla="*/ 4109 h 10000"/>
              <a:gd name="connsiteX66" fmla="*/ 2301 w 9793"/>
              <a:gd name="connsiteY66" fmla="*/ 3954 h 10000"/>
              <a:gd name="connsiteX67" fmla="*/ 2301 w 9793"/>
              <a:gd name="connsiteY67" fmla="*/ 3799 h 10000"/>
              <a:gd name="connsiteX68" fmla="*/ 1762 w 9793"/>
              <a:gd name="connsiteY68" fmla="*/ 4263 h 10000"/>
              <a:gd name="connsiteX69" fmla="*/ 1762 w 9793"/>
              <a:gd name="connsiteY69" fmla="*/ 4418 h 10000"/>
              <a:gd name="connsiteX70" fmla="*/ 1657 w 9793"/>
              <a:gd name="connsiteY70" fmla="*/ 4496 h 10000"/>
              <a:gd name="connsiteX71" fmla="*/ 1497 w 9793"/>
              <a:gd name="connsiteY71" fmla="*/ 4341 h 10000"/>
              <a:gd name="connsiteX72" fmla="*/ 1657 w 9793"/>
              <a:gd name="connsiteY72" fmla="*/ 4186 h 10000"/>
              <a:gd name="connsiteX73" fmla="*/ 1603 w 9793"/>
              <a:gd name="connsiteY73" fmla="*/ 3954 h 10000"/>
              <a:gd name="connsiteX74" fmla="*/ 1391 w 9793"/>
              <a:gd name="connsiteY74" fmla="*/ 3876 h 10000"/>
              <a:gd name="connsiteX75" fmla="*/ 1444 w 9793"/>
              <a:gd name="connsiteY75" fmla="*/ 4031 h 10000"/>
              <a:gd name="connsiteX76" fmla="*/ 1444 w 9793"/>
              <a:gd name="connsiteY76" fmla="*/ 4418 h 10000"/>
              <a:gd name="connsiteX77" fmla="*/ 1497 w 9793"/>
              <a:gd name="connsiteY77" fmla="*/ 4574 h 10000"/>
              <a:gd name="connsiteX78" fmla="*/ 1444 w 9793"/>
              <a:gd name="connsiteY78" fmla="*/ 4729 h 10000"/>
              <a:gd name="connsiteX79" fmla="*/ 1281 w 9793"/>
              <a:gd name="connsiteY79" fmla="*/ 4652 h 10000"/>
              <a:gd name="connsiteX80" fmla="*/ 1069 w 9793"/>
              <a:gd name="connsiteY80" fmla="*/ 4884 h 10000"/>
              <a:gd name="connsiteX81" fmla="*/ 1173 w 9793"/>
              <a:gd name="connsiteY81" fmla="*/ 5194 h 10000"/>
              <a:gd name="connsiteX82" fmla="*/ 854 w 9793"/>
              <a:gd name="connsiteY82" fmla="*/ 5039 h 10000"/>
              <a:gd name="connsiteX83" fmla="*/ 803 w 9793"/>
              <a:gd name="connsiteY83" fmla="*/ 5116 h 10000"/>
              <a:gd name="connsiteX84" fmla="*/ 911 w 9793"/>
              <a:gd name="connsiteY84" fmla="*/ 5349 h 10000"/>
              <a:gd name="connsiteX85" fmla="*/ 803 w 9793"/>
              <a:gd name="connsiteY85" fmla="*/ 5349 h 10000"/>
              <a:gd name="connsiteX86" fmla="*/ 643 w 9793"/>
              <a:gd name="connsiteY86" fmla="*/ 5194 h 10000"/>
              <a:gd name="connsiteX87" fmla="*/ 643 w 9793"/>
              <a:gd name="connsiteY87" fmla="*/ 4729 h 10000"/>
              <a:gd name="connsiteX88" fmla="*/ 484 w 9793"/>
              <a:gd name="connsiteY88" fmla="*/ 4574 h 10000"/>
              <a:gd name="connsiteX89" fmla="*/ 427 w 9793"/>
              <a:gd name="connsiteY89" fmla="*/ 4418 h 10000"/>
              <a:gd name="connsiteX90" fmla="*/ 534 w 9793"/>
              <a:gd name="connsiteY90" fmla="*/ 4496 h 10000"/>
              <a:gd name="connsiteX91" fmla="*/ 960 w 9793"/>
              <a:gd name="connsiteY91" fmla="*/ 4729 h 10000"/>
              <a:gd name="connsiteX92" fmla="*/ 1225 w 9793"/>
              <a:gd name="connsiteY92" fmla="*/ 4496 h 10000"/>
              <a:gd name="connsiteX93" fmla="*/ 1173 w 9793"/>
              <a:gd name="connsiteY93" fmla="*/ 4263 h 10000"/>
              <a:gd name="connsiteX94" fmla="*/ 854 w 9793"/>
              <a:gd name="connsiteY94" fmla="*/ 3799 h 10000"/>
              <a:gd name="connsiteX95" fmla="*/ 534 w 9793"/>
              <a:gd name="connsiteY95" fmla="*/ 3644 h 10000"/>
              <a:gd name="connsiteX96" fmla="*/ 534 w 9793"/>
              <a:gd name="connsiteY96" fmla="*/ 3566 h 10000"/>
              <a:gd name="connsiteX97" fmla="*/ 427 w 9793"/>
              <a:gd name="connsiteY97" fmla="*/ 3488 h 10000"/>
              <a:gd name="connsiteX98" fmla="*/ 318 w 9793"/>
              <a:gd name="connsiteY98" fmla="*/ 3566 h 10000"/>
              <a:gd name="connsiteX99" fmla="*/ 318 w 9793"/>
              <a:gd name="connsiteY99" fmla="*/ 3644 h 10000"/>
              <a:gd name="connsiteX100" fmla="*/ 266 w 9793"/>
              <a:gd name="connsiteY100" fmla="*/ 3644 h 10000"/>
              <a:gd name="connsiteX101" fmla="*/ 161 w 9793"/>
              <a:gd name="connsiteY101" fmla="*/ 3799 h 10000"/>
              <a:gd name="connsiteX102" fmla="*/ 161 w 9793"/>
              <a:gd name="connsiteY102" fmla="*/ 4031 h 10000"/>
              <a:gd name="connsiteX103" fmla="*/ 266 w 9793"/>
              <a:gd name="connsiteY103" fmla="*/ 4186 h 10000"/>
              <a:gd name="connsiteX104" fmla="*/ 214 w 9793"/>
              <a:gd name="connsiteY104" fmla="*/ 4418 h 10000"/>
              <a:gd name="connsiteX105" fmla="*/ 266 w 9793"/>
              <a:gd name="connsiteY105" fmla="*/ 4807 h 10000"/>
              <a:gd name="connsiteX106" fmla="*/ 214 w 9793"/>
              <a:gd name="connsiteY106" fmla="*/ 5039 h 10000"/>
              <a:gd name="connsiteX107" fmla="*/ 318 w 9793"/>
              <a:gd name="connsiteY107" fmla="*/ 5271 h 10000"/>
              <a:gd name="connsiteX108" fmla="*/ 266 w 9793"/>
              <a:gd name="connsiteY108" fmla="*/ 5426 h 10000"/>
              <a:gd name="connsiteX109" fmla="*/ 373 w 9793"/>
              <a:gd name="connsiteY109" fmla="*/ 5582 h 10000"/>
              <a:gd name="connsiteX110" fmla="*/ 373 w 9793"/>
              <a:gd name="connsiteY110" fmla="*/ 5659 h 10000"/>
              <a:gd name="connsiteX111" fmla="*/ 214 w 9793"/>
              <a:gd name="connsiteY111" fmla="*/ 6047 h 10000"/>
              <a:gd name="connsiteX112" fmla="*/ 48 w 9793"/>
              <a:gd name="connsiteY112" fmla="*/ 6202 h 10000"/>
              <a:gd name="connsiteX113" fmla="*/ 105 w 9793"/>
              <a:gd name="connsiteY113" fmla="*/ 6202 h 10000"/>
              <a:gd name="connsiteX114" fmla="*/ 214 w 9793"/>
              <a:gd name="connsiteY114" fmla="*/ 6356 h 10000"/>
              <a:gd name="connsiteX115" fmla="*/ 105 w 9793"/>
              <a:gd name="connsiteY115" fmla="*/ 6512 h 10000"/>
              <a:gd name="connsiteX116" fmla="*/ 48 w 9793"/>
              <a:gd name="connsiteY116" fmla="*/ 6590 h 10000"/>
              <a:gd name="connsiteX117" fmla="*/ 0 w 9793"/>
              <a:gd name="connsiteY117" fmla="*/ 6590 h 10000"/>
              <a:gd name="connsiteX118" fmla="*/ 48 w 9793"/>
              <a:gd name="connsiteY118" fmla="*/ 6822 h 10000"/>
              <a:gd name="connsiteX119" fmla="*/ 48 w 9793"/>
              <a:gd name="connsiteY119" fmla="*/ 6900 h 10000"/>
              <a:gd name="connsiteX120" fmla="*/ 48 w 9793"/>
              <a:gd name="connsiteY120" fmla="*/ 6977 h 10000"/>
              <a:gd name="connsiteX121" fmla="*/ 48 w 9793"/>
              <a:gd name="connsiteY121" fmla="*/ 7054 h 10000"/>
              <a:gd name="connsiteX122" fmla="*/ 105 w 9793"/>
              <a:gd name="connsiteY122" fmla="*/ 7209 h 10000"/>
              <a:gd name="connsiteX123" fmla="*/ 266 w 9793"/>
              <a:gd name="connsiteY123" fmla="*/ 7287 h 10000"/>
              <a:gd name="connsiteX124" fmla="*/ 318 w 9793"/>
              <a:gd name="connsiteY124" fmla="*/ 7364 h 10000"/>
              <a:gd name="connsiteX125" fmla="*/ 318 w 9793"/>
              <a:gd name="connsiteY125" fmla="*/ 7520 h 10000"/>
              <a:gd name="connsiteX126" fmla="*/ 427 w 9793"/>
              <a:gd name="connsiteY126" fmla="*/ 7752 h 10000"/>
              <a:gd name="connsiteX127" fmla="*/ 484 w 9793"/>
              <a:gd name="connsiteY127" fmla="*/ 7752 h 10000"/>
              <a:gd name="connsiteX128" fmla="*/ 427 w 9793"/>
              <a:gd name="connsiteY128" fmla="*/ 7907 h 10000"/>
              <a:gd name="connsiteX129" fmla="*/ 373 w 9793"/>
              <a:gd name="connsiteY129" fmla="*/ 7830 h 10000"/>
              <a:gd name="connsiteX130" fmla="*/ 373 w 9793"/>
              <a:gd name="connsiteY130" fmla="*/ 7907 h 10000"/>
              <a:gd name="connsiteX131" fmla="*/ 427 w 9793"/>
              <a:gd name="connsiteY131" fmla="*/ 8062 h 10000"/>
              <a:gd name="connsiteX132" fmla="*/ 590 w 9793"/>
              <a:gd name="connsiteY132" fmla="*/ 8062 h 10000"/>
              <a:gd name="connsiteX133" fmla="*/ 643 w 9793"/>
              <a:gd name="connsiteY133" fmla="*/ 8140 h 10000"/>
              <a:gd name="connsiteX134" fmla="*/ 590 w 9793"/>
              <a:gd name="connsiteY134" fmla="*/ 8140 h 10000"/>
              <a:gd name="connsiteX135" fmla="*/ 643 w 9793"/>
              <a:gd name="connsiteY135" fmla="*/ 8217 h 10000"/>
              <a:gd name="connsiteX136" fmla="*/ 694 w 9793"/>
              <a:gd name="connsiteY136" fmla="*/ 8217 h 10000"/>
              <a:gd name="connsiteX137" fmla="*/ 747 w 9793"/>
              <a:gd name="connsiteY137" fmla="*/ 8372 h 10000"/>
              <a:gd name="connsiteX138" fmla="*/ 803 w 9793"/>
              <a:gd name="connsiteY138" fmla="*/ 8449 h 10000"/>
              <a:gd name="connsiteX139" fmla="*/ 854 w 9793"/>
              <a:gd name="connsiteY139" fmla="*/ 8372 h 10000"/>
              <a:gd name="connsiteX140" fmla="*/ 1124 w 9793"/>
              <a:gd name="connsiteY140" fmla="*/ 8605 h 10000"/>
              <a:gd name="connsiteX141" fmla="*/ 1069 w 9793"/>
              <a:gd name="connsiteY141" fmla="*/ 8915 h 10000"/>
              <a:gd name="connsiteX142" fmla="*/ 1016 w 9793"/>
              <a:gd name="connsiteY142" fmla="*/ 8838 h 10000"/>
              <a:gd name="connsiteX143" fmla="*/ 960 w 9793"/>
              <a:gd name="connsiteY143" fmla="*/ 8915 h 10000"/>
              <a:gd name="connsiteX144" fmla="*/ 960 w 9793"/>
              <a:gd name="connsiteY144" fmla="*/ 9070 h 10000"/>
              <a:gd name="connsiteX145" fmla="*/ 1016 w 9793"/>
              <a:gd name="connsiteY145" fmla="*/ 8993 h 10000"/>
              <a:gd name="connsiteX146" fmla="*/ 1069 w 9793"/>
              <a:gd name="connsiteY146" fmla="*/ 9070 h 10000"/>
              <a:gd name="connsiteX147" fmla="*/ 911 w 9793"/>
              <a:gd name="connsiteY147" fmla="*/ 9147 h 10000"/>
              <a:gd name="connsiteX148" fmla="*/ 960 w 9793"/>
              <a:gd name="connsiteY148" fmla="*/ 9225 h 10000"/>
              <a:gd name="connsiteX149" fmla="*/ 854 w 9793"/>
              <a:gd name="connsiteY149" fmla="*/ 9380 h 10000"/>
              <a:gd name="connsiteX150" fmla="*/ 803 w 9793"/>
              <a:gd name="connsiteY150" fmla="*/ 9380 h 10000"/>
              <a:gd name="connsiteX151" fmla="*/ 854 w 9793"/>
              <a:gd name="connsiteY151" fmla="*/ 9380 h 10000"/>
              <a:gd name="connsiteX152" fmla="*/ 1069 w 9793"/>
              <a:gd name="connsiteY152" fmla="*/ 9691 h 10000"/>
              <a:gd name="connsiteX153" fmla="*/ 1338 w 9793"/>
              <a:gd name="connsiteY153" fmla="*/ 9691 h 10000"/>
              <a:gd name="connsiteX154" fmla="*/ 1444 w 9793"/>
              <a:gd name="connsiteY154" fmla="*/ 9768 h 10000"/>
              <a:gd name="connsiteX155" fmla="*/ 1551 w 9793"/>
              <a:gd name="connsiteY155" fmla="*/ 9768 h 10000"/>
              <a:gd name="connsiteX156" fmla="*/ 1657 w 9793"/>
              <a:gd name="connsiteY156" fmla="*/ 9923 h 10000"/>
              <a:gd name="connsiteX157" fmla="*/ 1711 w 9793"/>
              <a:gd name="connsiteY157" fmla="*/ 10000 h 10000"/>
              <a:gd name="connsiteX158" fmla="*/ 1762 w 9793"/>
              <a:gd name="connsiteY158" fmla="*/ 10000 h 10000"/>
              <a:gd name="connsiteX159" fmla="*/ 1819 w 9793"/>
              <a:gd name="connsiteY159" fmla="*/ 9923 h 10000"/>
              <a:gd name="connsiteX160" fmla="*/ 1711 w 9793"/>
              <a:gd name="connsiteY160" fmla="*/ 9768 h 10000"/>
              <a:gd name="connsiteX161" fmla="*/ 1711 w 9793"/>
              <a:gd name="connsiteY161" fmla="*/ 9613 h 10000"/>
              <a:gd name="connsiteX162" fmla="*/ 1657 w 9793"/>
              <a:gd name="connsiteY162" fmla="*/ 9457 h 10000"/>
              <a:gd name="connsiteX163" fmla="*/ 1762 w 9793"/>
              <a:gd name="connsiteY163" fmla="*/ 9225 h 10000"/>
              <a:gd name="connsiteX164" fmla="*/ 1819 w 9793"/>
              <a:gd name="connsiteY164" fmla="*/ 9302 h 10000"/>
              <a:gd name="connsiteX165" fmla="*/ 1871 w 9793"/>
              <a:gd name="connsiteY165" fmla="*/ 9225 h 10000"/>
              <a:gd name="connsiteX166" fmla="*/ 1871 w 9793"/>
              <a:gd name="connsiteY166" fmla="*/ 9147 h 10000"/>
              <a:gd name="connsiteX167" fmla="*/ 1819 w 9793"/>
              <a:gd name="connsiteY167" fmla="*/ 9147 h 10000"/>
              <a:gd name="connsiteX168" fmla="*/ 1871 w 9793"/>
              <a:gd name="connsiteY168" fmla="*/ 9070 h 10000"/>
              <a:gd name="connsiteX169" fmla="*/ 1819 w 9793"/>
              <a:gd name="connsiteY169" fmla="*/ 8915 h 10000"/>
              <a:gd name="connsiteX170" fmla="*/ 1711 w 9793"/>
              <a:gd name="connsiteY170" fmla="*/ 8915 h 10000"/>
              <a:gd name="connsiteX171" fmla="*/ 1657 w 9793"/>
              <a:gd name="connsiteY171" fmla="*/ 8760 h 10000"/>
              <a:gd name="connsiteX172" fmla="*/ 1711 w 9793"/>
              <a:gd name="connsiteY172" fmla="*/ 8372 h 10000"/>
              <a:gd name="connsiteX173" fmla="*/ 1819 w 9793"/>
              <a:gd name="connsiteY173" fmla="*/ 8528 h 10000"/>
              <a:gd name="connsiteX174" fmla="*/ 1871 w 9793"/>
              <a:gd name="connsiteY174" fmla="*/ 8528 h 10000"/>
              <a:gd name="connsiteX175" fmla="*/ 1819 w 9793"/>
              <a:gd name="connsiteY175" fmla="*/ 8372 h 10000"/>
              <a:gd name="connsiteX176" fmla="*/ 1979 w 9793"/>
              <a:gd name="connsiteY176" fmla="*/ 8140 h 10000"/>
              <a:gd name="connsiteX177" fmla="*/ 2088 w 9793"/>
              <a:gd name="connsiteY177" fmla="*/ 8217 h 10000"/>
              <a:gd name="connsiteX178" fmla="*/ 2139 w 9793"/>
              <a:gd name="connsiteY178" fmla="*/ 8140 h 10000"/>
              <a:gd name="connsiteX179" fmla="*/ 2245 w 9793"/>
              <a:gd name="connsiteY179" fmla="*/ 8217 h 10000"/>
              <a:gd name="connsiteX180" fmla="*/ 2408 w 9793"/>
              <a:gd name="connsiteY180" fmla="*/ 8372 h 10000"/>
              <a:gd name="connsiteX181" fmla="*/ 2512 w 9793"/>
              <a:gd name="connsiteY181" fmla="*/ 8295 h 10000"/>
              <a:gd name="connsiteX182" fmla="*/ 2621 w 9793"/>
              <a:gd name="connsiteY182" fmla="*/ 8295 h 10000"/>
              <a:gd name="connsiteX183" fmla="*/ 2675 w 9793"/>
              <a:gd name="connsiteY183" fmla="*/ 8372 h 10000"/>
              <a:gd name="connsiteX184" fmla="*/ 2888 w 9793"/>
              <a:gd name="connsiteY184" fmla="*/ 8372 h 10000"/>
              <a:gd name="connsiteX185" fmla="*/ 2939 w 9793"/>
              <a:gd name="connsiteY185" fmla="*/ 8217 h 10000"/>
              <a:gd name="connsiteX186" fmla="*/ 2777 w 9793"/>
              <a:gd name="connsiteY186" fmla="*/ 8140 h 10000"/>
              <a:gd name="connsiteX187" fmla="*/ 2888 w 9793"/>
              <a:gd name="connsiteY187" fmla="*/ 8062 h 10000"/>
              <a:gd name="connsiteX188" fmla="*/ 2832 w 9793"/>
              <a:gd name="connsiteY188" fmla="*/ 7985 h 10000"/>
              <a:gd name="connsiteX189" fmla="*/ 2888 w 9793"/>
              <a:gd name="connsiteY189" fmla="*/ 7907 h 10000"/>
              <a:gd name="connsiteX190" fmla="*/ 2888 w 9793"/>
              <a:gd name="connsiteY190" fmla="*/ 7675 h 10000"/>
              <a:gd name="connsiteX191" fmla="*/ 2993 w 9793"/>
              <a:gd name="connsiteY191" fmla="*/ 7752 h 10000"/>
              <a:gd name="connsiteX192" fmla="*/ 3476 w 9793"/>
              <a:gd name="connsiteY192" fmla="*/ 7520 h 10000"/>
              <a:gd name="connsiteX193" fmla="*/ 3476 w 9793"/>
              <a:gd name="connsiteY193" fmla="*/ 7442 h 10000"/>
              <a:gd name="connsiteX194" fmla="*/ 3530 w 9793"/>
              <a:gd name="connsiteY194" fmla="*/ 7442 h 10000"/>
              <a:gd name="connsiteX195" fmla="*/ 3686 w 9793"/>
              <a:gd name="connsiteY195" fmla="*/ 7442 h 10000"/>
              <a:gd name="connsiteX196" fmla="*/ 3744 w 9793"/>
              <a:gd name="connsiteY196" fmla="*/ 7598 h 10000"/>
              <a:gd name="connsiteX197" fmla="*/ 3744 w 9793"/>
              <a:gd name="connsiteY197" fmla="*/ 7675 h 10000"/>
              <a:gd name="connsiteX198" fmla="*/ 3795 w 9793"/>
              <a:gd name="connsiteY198" fmla="*/ 7675 h 10000"/>
              <a:gd name="connsiteX199" fmla="*/ 3903 w 9793"/>
              <a:gd name="connsiteY199" fmla="*/ 7752 h 10000"/>
              <a:gd name="connsiteX200" fmla="*/ 3903 w 9793"/>
              <a:gd name="connsiteY200" fmla="*/ 7830 h 10000"/>
              <a:gd name="connsiteX201" fmla="*/ 4009 w 9793"/>
              <a:gd name="connsiteY201" fmla="*/ 7830 h 10000"/>
              <a:gd name="connsiteX202" fmla="*/ 4115 w 9793"/>
              <a:gd name="connsiteY202" fmla="*/ 7675 h 10000"/>
              <a:gd name="connsiteX203" fmla="*/ 4223 w 9793"/>
              <a:gd name="connsiteY203" fmla="*/ 7598 h 10000"/>
              <a:gd name="connsiteX204" fmla="*/ 4282 w 9793"/>
              <a:gd name="connsiteY204" fmla="*/ 7830 h 10000"/>
              <a:gd name="connsiteX205" fmla="*/ 4492 w 9793"/>
              <a:gd name="connsiteY205" fmla="*/ 8372 h 10000"/>
              <a:gd name="connsiteX206" fmla="*/ 4547 w 9793"/>
              <a:gd name="connsiteY206" fmla="*/ 8217 h 10000"/>
              <a:gd name="connsiteX207" fmla="*/ 4599 w 9793"/>
              <a:gd name="connsiteY207" fmla="*/ 8372 h 10000"/>
              <a:gd name="connsiteX208" fmla="*/ 4759 w 9793"/>
              <a:gd name="connsiteY208" fmla="*/ 8295 h 10000"/>
              <a:gd name="connsiteX209" fmla="*/ 4922 w 9793"/>
              <a:gd name="connsiteY209" fmla="*/ 8528 h 10000"/>
              <a:gd name="connsiteX210" fmla="*/ 5025 w 9793"/>
              <a:gd name="connsiteY210" fmla="*/ 8605 h 10000"/>
              <a:gd name="connsiteX211" fmla="*/ 5025 w 9793"/>
              <a:gd name="connsiteY211" fmla="*/ 8528 h 10000"/>
              <a:gd name="connsiteX212" fmla="*/ 5081 w 9793"/>
              <a:gd name="connsiteY212" fmla="*/ 8683 h 10000"/>
              <a:gd name="connsiteX213" fmla="*/ 5025 w 9793"/>
              <a:gd name="connsiteY213" fmla="*/ 8760 h 10000"/>
              <a:gd name="connsiteX214" fmla="*/ 5135 w 9793"/>
              <a:gd name="connsiteY214" fmla="*/ 8683 h 10000"/>
              <a:gd name="connsiteX215" fmla="*/ 5185 w 9793"/>
              <a:gd name="connsiteY215" fmla="*/ 8605 h 10000"/>
              <a:gd name="connsiteX216" fmla="*/ 5452 w 9793"/>
              <a:gd name="connsiteY216" fmla="*/ 8372 h 10000"/>
              <a:gd name="connsiteX217" fmla="*/ 5667 w 9793"/>
              <a:gd name="connsiteY217" fmla="*/ 8449 h 10000"/>
              <a:gd name="connsiteX218" fmla="*/ 5773 w 9793"/>
              <a:gd name="connsiteY218" fmla="*/ 8528 h 10000"/>
              <a:gd name="connsiteX219" fmla="*/ 5986 w 9793"/>
              <a:gd name="connsiteY219" fmla="*/ 8528 h 10000"/>
              <a:gd name="connsiteX220" fmla="*/ 5986 w 9793"/>
              <a:gd name="connsiteY220" fmla="*/ 8372 h 10000"/>
              <a:gd name="connsiteX221" fmla="*/ 5986 w 9793"/>
              <a:gd name="connsiteY221" fmla="*/ 8217 h 10000"/>
              <a:gd name="connsiteX222" fmla="*/ 6094 w 9793"/>
              <a:gd name="connsiteY222" fmla="*/ 8140 h 10000"/>
              <a:gd name="connsiteX223" fmla="*/ 6306 w 9793"/>
              <a:gd name="connsiteY223" fmla="*/ 8217 h 10000"/>
              <a:gd name="connsiteX224" fmla="*/ 6417 w 9793"/>
              <a:gd name="connsiteY224" fmla="*/ 8449 h 10000"/>
              <a:gd name="connsiteX225" fmla="*/ 6469 w 9793"/>
              <a:gd name="connsiteY225" fmla="*/ 8449 h 10000"/>
              <a:gd name="connsiteX226" fmla="*/ 6578 w 9793"/>
              <a:gd name="connsiteY226" fmla="*/ 8372 h 10000"/>
              <a:gd name="connsiteX227" fmla="*/ 6901 w 9793"/>
              <a:gd name="connsiteY227" fmla="*/ 8605 h 10000"/>
              <a:gd name="connsiteX228" fmla="*/ 7059 w 9793"/>
              <a:gd name="connsiteY228" fmla="*/ 8683 h 10000"/>
              <a:gd name="connsiteX229" fmla="*/ 7272 w 9793"/>
              <a:gd name="connsiteY229" fmla="*/ 8605 h 10000"/>
              <a:gd name="connsiteX230" fmla="*/ 7379 w 9793"/>
              <a:gd name="connsiteY230" fmla="*/ 8449 h 10000"/>
              <a:gd name="connsiteX231" fmla="*/ 7539 w 9793"/>
              <a:gd name="connsiteY231" fmla="*/ 8528 h 10000"/>
              <a:gd name="connsiteX232" fmla="*/ 7645 w 9793"/>
              <a:gd name="connsiteY232" fmla="*/ 8605 h 10000"/>
              <a:gd name="connsiteX233" fmla="*/ 9465 w 9793"/>
              <a:gd name="connsiteY233" fmla="*/ 7675 h 10000"/>
              <a:gd name="connsiteX234" fmla="*/ 9361 w 9793"/>
              <a:gd name="connsiteY234" fmla="*/ 7675 h 10000"/>
              <a:gd name="connsiteX235" fmla="*/ 9305 w 9793"/>
              <a:gd name="connsiteY235" fmla="*/ 7675 h 10000"/>
              <a:gd name="connsiteX236" fmla="*/ 9250 w 9793"/>
              <a:gd name="connsiteY236" fmla="*/ 7598 h 10000"/>
              <a:gd name="connsiteX237" fmla="*/ 9148 w 9793"/>
              <a:gd name="connsiteY237" fmla="*/ 7598 h 10000"/>
              <a:gd name="connsiteX238" fmla="*/ 9148 w 9793"/>
              <a:gd name="connsiteY238" fmla="*/ 7520 h 10000"/>
              <a:gd name="connsiteX239" fmla="*/ 9305 w 9793"/>
              <a:gd name="connsiteY239" fmla="*/ 7287 h 10000"/>
              <a:gd name="connsiteX240" fmla="*/ 9793 w 9793"/>
              <a:gd name="connsiteY240" fmla="*/ 6590 h 10000"/>
              <a:gd name="connsiteX241" fmla="*/ 8609 w 9793"/>
              <a:gd name="connsiteY241" fmla="*/ 2791 h 10000"/>
              <a:gd name="connsiteX242" fmla="*/ 8663 w 9793"/>
              <a:gd name="connsiteY242" fmla="*/ 2403 h 10000"/>
              <a:gd name="connsiteX243" fmla="*/ 8556 w 9793"/>
              <a:gd name="connsiteY243" fmla="*/ 2170 h 10000"/>
              <a:gd name="connsiteX244" fmla="*/ 8235 w 9793"/>
              <a:gd name="connsiteY244" fmla="*/ 2016 h 10000"/>
              <a:gd name="connsiteX245" fmla="*/ 8124 w 9793"/>
              <a:gd name="connsiteY245" fmla="*/ 2016 h 10000"/>
              <a:gd name="connsiteX246" fmla="*/ 8074 w 9793"/>
              <a:gd name="connsiteY246" fmla="*/ 2170 h 10000"/>
              <a:gd name="connsiteX247" fmla="*/ 8124 w 9793"/>
              <a:gd name="connsiteY247" fmla="*/ 2325 h 10000"/>
              <a:gd name="connsiteX248" fmla="*/ 7703 w 9793"/>
              <a:gd name="connsiteY248" fmla="*/ 2248 h 10000"/>
              <a:gd name="connsiteX249" fmla="*/ 7753 w 9793"/>
              <a:gd name="connsiteY249" fmla="*/ 2016 h 10000"/>
              <a:gd name="connsiteX250" fmla="*/ 7487 w 9793"/>
              <a:gd name="connsiteY250" fmla="*/ 1938 h 10000"/>
              <a:gd name="connsiteX251" fmla="*/ 7325 w 9793"/>
              <a:gd name="connsiteY251" fmla="*/ 2093 h 10000"/>
              <a:gd name="connsiteX252" fmla="*/ 7014 w 9793"/>
              <a:gd name="connsiteY252" fmla="*/ 1861 h 10000"/>
              <a:gd name="connsiteX0" fmla="*/ 7162 w 9665"/>
              <a:gd name="connsiteY0" fmla="*/ 1861 h 10000"/>
              <a:gd name="connsiteX1" fmla="*/ 7162 w 9665"/>
              <a:gd name="connsiteY1" fmla="*/ 1861 h 10000"/>
              <a:gd name="connsiteX2" fmla="*/ 7098 w 9665"/>
              <a:gd name="connsiteY2" fmla="*/ 1938 h 10000"/>
              <a:gd name="connsiteX3" fmla="*/ 7162 w 9665"/>
              <a:gd name="connsiteY3" fmla="*/ 2093 h 10000"/>
              <a:gd name="connsiteX4" fmla="*/ 6934 w 9665"/>
              <a:gd name="connsiteY4" fmla="*/ 2248 h 10000"/>
              <a:gd name="connsiteX5" fmla="*/ 6877 w 9665"/>
              <a:gd name="connsiteY5" fmla="*/ 2248 h 10000"/>
              <a:gd name="connsiteX6" fmla="*/ 6934 w 9665"/>
              <a:gd name="connsiteY6" fmla="*/ 2016 h 10000"/>
              <a:gd name="connsiteX7" fmla="*/ 7480 w 9665"/>
              <a:gd name="connsiteY7" fmla="*/ 1318 h 10000"/>
              <a:gd name="connsiteX8" fmla="*/ 7480 w 9665"/>
              <a:gd name="connsiteY8" fmla="*/ 853 h 10000"/>
              <a:gd name="connsiteX9" fmla="*/ 7264 w 9665"/>
              <a:gd name="connsiteY9" fmla="*/ 543 h 10000"/>
              <a:gd name="connsiteX10" fmla="*/ 6990 w 9665"/>
              <a:gd name="connsiteY10" fmla="*/ 543 h 10000"/>
              <a:gd name="connsiteX11" fmla="*/ 6990 w 9665"/>
              <a:gd name="connsiteY11" fmla="*/ 698 h 10000"/>
              <a:gd name="connsiteX12" fmla="*/ 6822 w 9665"/>
              <a:gd name="connsiteY12" fmla="*/ 698 h 10000"/>
              <a:gd name="connsiteX13" fmla="*/ 6934 w 9665"/>
              <a:gd name="connsiteY13" fmla="*/ 387 h 10000"/>
              <a:gd name="connsiteX14" fmla="*/ 6663 w 9665"/>
              <a:gd name="connsiteY14" fmla="*/ 310 h 10000"/>
              <a:gd name="connsiteX15" fmla="*/ 6822 w 9665"/>
              <a:gd name="connsiteY15" fmla="*/ 155 h 10000"/>
              <a:gd name="connsiteX16" fmla="*/ 6663 w 9665"/>
              <a:gd name="connsiteY16" fmla="*/ 0 h 10000"/>
              <a:gd name="connsiteX17" fmla="*/ 6389 w 9665"/>
              <a:gd name="connsiteY17" fmla="*/ 387 h 10000"/>
              <a:gd name="connsiteX18" fmla="*/ 6389 w 9665"/>
              <a:gd name="connsiteY18" fmla="*/ 698 h 10000"/>
              <a:gd name="connsiteX19" fmla="*/ 6223 w 9665"/>
              <a:gd name="connsiteY19" fmla="*/ 698 h 10000"/>
              <a:gd name="connsiteX20" fmla="*/ 5734 w 9665"/>
              <a:gd name="connsiteY20" fmla="*/ 853 h 10000"/>
              <a:gd name="connsiteX21" fmla="*/ 5295 w 9665"/>
              <a:gd name="connsiteY21" fmla="*/ 1240 h 10000"/>
              <a:gd name="connsiteX22" fmla="*/ 5131 w 9665"/>
              <a:gd name="connsiteY22" fmla="*/ 1551 h 10000"/>
              <a:gd name="connsiteX23" fmla="*/ 5188 w 9665"/>
              <a:gd name="connsiteY23" fmla="*/ 1938 h 10000"/>
              <a:gd name="connsiteX24" fmla="*/ 4587 w 9665"/>
              <a:gd name="connsiteY24" fmla="*/ 2093 h 10000"/>
              <a:gd name="connsiteX25" fmla="*/ 4643 w 9665"/>
              <a:gd name="connsiteY25" fmla="*/ 2559 h 10000"/>
              <a:gd name="connsiteX26" fmla="*/ 4806 w 9665"/>
              <a:gd name="connsiteY26" fmla="*/ 2791 h 10000"/>
              <a:gd name="connsiteX27" fmla="*/ 4696 w 9665"/>
              <a:gd name="connsiteY27" fmla="*/ 2868 h 10000"/>
              <a:gd name="connsiteX28" fmla="*/ 4535 w 9665"/>
              <a:gd name="connsiteY28" fmla="*/ 2559 h 10000"/>
              <a:gd name="connsiteX29" fmla="*/ 4373 w 9665"/>
              <a:gd name="connsiteY29" fmla="*/ 2480 h 10000"/>
              <a:gd name="connsiteX30" fmla="*/ 4312 w 9665"/>
              <a:gd name="connsiteY30" fmla="*/ 2559 h 10000"/>
              <a:gd name="connsiteX31" fmla="*/ 4202 w 9665"/>
              <a:gd name="connsiteY31" fmla="*/ 2403 h 10000"/>
              <a:gd name="connsiteX32" fmla="*/ 4094 w 9665"/>
              <a:gd name="connsiteY32" fmla="*/ 2248 h 10000"/>
              <a:gd name="connsiteX33" fmla="*/ 4094 w 9665"/>
              <a:gd name="connsiteY33" fmla="*/ 2325 h 10000"/>
              <a:gd name="connsiteX34" fmla="*/ 4154 w 9665"/>
              <a:gd name="connsiteY34" fmla="*/ 2559 h 10000"/>
              <a:gd name="connsiteX35" fmla="*/ 3985 w 9665"/>
              <a:gd name="connsiteY35" fmla="*/ 2946 h 10000"/>
              <a:gd name="connsiteX36" fmla="*/ 4094 w 9665"/>
              <a:gd name="connsiteY36" fmla="*/ 3256 h 10000"/>
              <a:gd name="connsiteX37" fmla="*/ 4039 w 9665"/>
              <a:gd name="connsiteY37" fmla="*/ 3566 h 10000"/>
              <a:gd name="connsiteX38" fmla="*/ 4039 w 9665"/>
              <a:gd name="connsiteY38" fmla="*/ 3799 h 10000"/>
              <a:gd name="connsiteX39" fmla="*/ 4202 w 9665"/>
              <a:gd name="connsiteY39" fmla="*/ 3799 h 10000"/>
              <a:gd name="connsiteX40" fmla="*/ 4094 w 9665"/>
              <a:gd name="connsiteY40" fmla="*/ 3876 h 10000"/>
              <a:gd name="connsiteX41" fmla="*/ 4154 w 9665"/>
              <a:gd name="connsiteY41" fmla="*/ 4263 h 10000"/>
              <a:gd name="connsiteX42" fmla="*/ 3823 w 9665"/>
              <a:gd name="connsiteY42" fmla="*/ 4652 h 10000"/>
              <a:gd name="connsiteX43" fmla="*/ 3764 w 9665"/>
              <a:gd name="connsiteY43" fmla="*/ 4574 h 10000"/>
              <a:gd name="connsiteX44" fmla="*/ 3985 w 9665"/>
              <a:gd name="connsiteY44" fmla="*/ 4186 h 10000"/>
              <a:gd name="connsiteX45" fmla="*/ 4039 w 9665"/>
              <a:gd name="connsiteY45" fmla="*/ 3954 h 10000"/>
              <a:gd name="connsiteX46" fmla="*/ 3924 w 9665"/>
              <a:gd name="connsiteY46" fmla="*/ 3799 h 10000"/>
              <a:gd name="connsiteX47" fmla="*/ 3924 w 9665"/>
              <a:gd name="connsiteY47" fmla="*/ 3023 h 10000"/>
              <a:gd name="connsiteX48" fmla="*/ 3875 w 9665"/>
              <a:gd name="connsiteY48" fmla="*/ 2868 h 10000"/>
              <a:gd name="connsiteX49" fmla="*/ 3924 w 9665"/>
              <a:gd name="connsiteY49" fmla="*/ 2403 h 10000"/>
              <a:gd name="connsiteX50" fmla="*/ 3823 w 9665"/>
              <a:gd name="connsiteY50" fmla="*/ 2325 h 10000"/>
              <a:gd name="connsiteX51" fmla="*/ 3875 w 9665"/>
              <a:gd name="connsiteY51" fmla="*/ 2248 h 10000"/>
              <a:gd name="connsiteX52" fmla="*/ 3823 w 9665"/>
              <a:gd name="connsiteY52" fmla="*/ 2093 h 10000"/>
              <a:gd name="connsiteX53" fmla="*/ 3709 w 9665"/>
              <a:gd name="connsiteY53" fmla="*/ 2170 h 10000"/>
              <a:gd name="connsiteX54" fmla="*/ 3439 w 9665"/>
              <a:gd name="connsiteY54" fmla="*/ 3178 h 10000"/>
              <a:gd name="connsiteX55" fmla="*/ 3439 w 9665"/>
              <a:gd name="connsiteY55" fmla="*/ 3566 h 10000"/>
              <a:gd name="connsiteX56" fmla="*/ 3605 w 9665"/>
              <a:gd name="connsiteY56" fmla="*/ 3876 h 10000"/>
              <a:gd name="connsiteX57" fmla="*/ 3605 w 9665"/>
              <a:gd name="connsiteY57" fmla="*/ 4031 h 10000"/>
              <a:gd name="connsiteX58" fmla="*/ 3439 w 9665"/>
              <a:gd name="connsiteY58" fmla="*/ 3876 h 10000"/>
              <a:gd name="connsiteX59" fmla="*/ 2787 w 9665"/>
              <a:gd name="connsiteY59" fmla="*/ 3256 h 10000"/>
              <a:gd name="connsiteX60" fmla="*/ 2732 w 9665"/>
              <a:gd name="connsiteY60" fmla="*/ 3411 h 10000"/>
              <a:gd name="connsiteX61" fmla="*/ 2949 w 9665"/>
              <a:gd name="connsiteY61" fmla="*/ 3799 h 10000"/>
              <a:gd name="connsiteX62" fmla="*/ 2836 w 9665"/>
              <a:gd name="connsiteY62" fmla="*/ 3876 h 10000"/>
              <a:gd name="connsiteX63" fmla="*/ 2787 w 9665"/>
              <a:gd name="connsiteY63" fmla="*/ 3799 h 10000"/>
              <a:gd name="connsiteX64" fmla="*/ 2459 w 9665"/>
              <a:gd name="connsiteY64" fmla="*/ 3954 h 10000"/>
              <a:gd name="connsiteX65" fmla="*/ 2405 w 9665"/>
              <a:gd name="connsiteY65" fmla="*/ 4109 h 10000"/>
              <a:gd name="connsiteX66" fmla="*/ 2350 w 9665"/>
              <a:gd name="connsiteY66" fmla="*/ 3954 h 10000"/>
              <a:gd name="connsiteX67" fmla="*/ 2350 w 9665"/>
              <a:gd name="connsiteY67" fmla="*/ 3799 h 10000"/>
              <a:gd name="connsiteX68" fmla="*/ 1799 w 9665"/>
              <a:gd name="connsiteY68" fmla="*/ 4263 h 10000"/>
              <a:gd name="connsiteX69" fmla="*/ 1799 w 9665"/>
              <a:gd name="connsiteY69" fmla="*/ 4418 h 10000"/>
              <a:gd name="connsiteX70" fmla="*/ 1692 w 9665"/>
              <a:gd name="connsiteY70" fmla="*/ 4496 h 10000"/>
              <a:gd name="connsiteX71" fmla="*/ 1529 w 9665"/>
              <a:gd name="connsiteY71" fmla="*/ 4341 h 10000"/>
              <a:gd name="connsiteX72" fmla="*/ 1692 w 9665"/>
              <a:gd name="connsiteY72" fmla="*/ 4186 h 10000"/>
              <a:gd name="connsiteX73" fmla="*/ 1637 w 9665"/>
              <a:gd name="connsiteY73" fmla="*/ 3954 h 10000"/>
              <a:gd name="connsiteX74" fmla="*/ 1420 w 9665"/>
              <a:gd name="connsiteY74" fmla="*/ 3876 h 10000"/>
              <a:gd name="connsiteX75" fmla="*/ 1475 w 9665"/>
              <a:gd name="connsiteY75" fmla="*/ 4031 h 10000"/>
              <a:gd name="connsiteX76" fmla="*/ 1475 w 9665"/>
              <a:gd name="connsiteY76" fmla="*/ 4418 h 10000"/>
              <a:gd name="connsiteX77" fmla="*/ 1529 w 9665"/>
              <a:gd name="connsiteY77" fmla="*/ 4574 h 10000"/>
              <a:gd name="connsiteX78" fmla="*/ 1475 w 9665"/>
              <a:gd name="connsiteY78" fmla="*/ 4729 h 10000"/>
              <a:gd name="connsiteX79" fmla="*/ 1308 w 9665"/>
              <a:gd name="connsiteY79" fmla="*/ 4652 h 10000"/>
              <a:gd name="connsiteX80" fmla="*/ 1092 w 9665"/>
              <a:gd name="connsiteY80" fmla="*/ 4884 h 10000"/>
              <a:gd name="connsiteX81" fmla="*/ 1198 w 9665"/>
              <a:gd name="connsiteY81" fmla="*/ 5194 h 10000"/>
              <a:gd name="connsiteX82" fmla="*/ 872 w 9665"/>
              <a:gd name="connsiteY82" fmla="*/ 5039 h 10000"/>
              <a:gd name="connsiteX83" fmla="*/ 820 w 9665"/>
              <a:gd name="connsiteY83" fmla="*/ 5116 h 10000"/>
              <a:gd name="connsiteX84" fmla="*/ 930 w 9665"/>
              <a:gd name="connsiteY84" fmla="*/ 5349 h 10000"/>
              <a:gd name="connsiteX85" fmla="*/ 820 w 9665"/>
              <a:gd name="connsiteY85" fmla="*/ 5349 h 10000"/>
              <a:gd name="connsiteX86" fmla="*/ 657 w 9665"/>
              <a:gd name="connsiteY86" fmla="*/ 5194 h 10000"/>
              <a:gd name="connsiteX87" fmla="*/ 657 w 9665"/>
              <a:gd name="connsiteY87" fmla="*/ 4729 h 10000"/>
              <a:gd name="connsiteX88" fmla="*/ 494 w 9665"/>
              <a:gd name="connsiteY88" fmla="*/ 4574 h 10000"/>
              <a:gd name="connsiteX89" fmla="*/ 436 w 9665"/>
              <a:gd name="connsiteY89" fmla="*/ 4418 h 10000"/>
              <a:gd name="connsiteX90" fmla="*/ 545 w 9665"/>
              <a:gd name="connsiteY90" fmla="*/ 4496 h 10000"/>
              <a:gd name="connsiteX91" fmla="*/ 980 w 9665"/>
              <a:gd name="connsiteY91" fmla="*/ 4729 h 10000"/>
              <a:gd name="connsiteX92" fmla="*/ 1251 w 9665"/>
              <a:gd name="connsiteY92" fmla="*/ 4496 h 10000"/>
              <a:gd name="connsiteX93" fmla="*/ 1198 w 9665"/>
              <a:gd name="connsiteY93" fmla="*/ 4263 h 10000"/>
              <a:gd name="connsiteX94" fmla="*/ 872 w 9665"/>
              <a:gd name="connsiteY94" fmla="*/ 3799 h 10000"/>
              <a:gd name="connsiteX95" fmla="*/ 545 w 9665"/>
              <a:gd name="connsiteY95" fmla="*/ 3644 h 10000"/>
              <a:gd name="connsiteX96" fmla="*/ 545 w 9665"/>
              <a:gd name="connsiteY96" fmla="*/ 3566 h 10000"/>
              <a:gd name="connsiteX97" fmla="*/ 436 w 9665"/>
              <a:gd name="connsiteY97" fmla="*/ 3488 h 10000"/>
              <a:gd name="connsiteX98" fmla="*/ 325 w 9665"/>
              <a:gd name="connsiteY98" fmla="*/ 3566 h 10000"/>
              <a:gd name="connsiteX99" fmla="*/ 325 w 9665"/>
              <a:gd name="connsiteY99" fmla="*/ 3644 h 10000"/>
              <a:gd name="connsiteX100" fmla="*/ 272 w 9665"/>
              <a:gd name="connsiteY100" fmla="*/ 3644 h 10000"/>
              <a:gd name="connsiteX101" fmla="*/ 164 w 9665"/>
              <a:gd name="connsiteY101" fmla="*/ 3799 h 10000"/>
              <a:gd name="connsiteX102" fmla="*/ 164 w 9665"/>
              <a:gd name="connsiteY102" fmla="*/ 4031 h 10000"/>
              <a:gd name="connsiteX103" fmla="*/ 272 w 9665"/>
              <a:gd name="connsiteY103" fmla="*/ 4186 h 10000"/>
              <a:gd name="connsiteX104" fmla="*/ 219 w 9665"/>
              <a:gd name="connsiteY104" fmla="*/ 4418 h 10000"/>
              <a:gd name="connsiteX105" fmla="*/ 272 w 9665"/>
              <a:gd name="connsiteY105" fmla="*/ 4807 h 10000"/>
              <a:gd name="connsiteX106" fmla="*/ 219 w 9665"/>
              <a:gd name="connsiteY106" fmla="*/ 5039 h 10000"/>
              <a:gd name="connsiteX107" fmla="*/ 325 w 9665"/>
              <a:gd name="connsiteY107" fmla="*/ 5271 h 10000"/>
              <a:gd name="connsiteX108" fmla="*/ 272 w 9665"/>
              <a:gd name="connsiteY108" fmla="*/ 5426 h 10000"/>
              <a:gd name="connsiteX109" fmla="*/ 381 w 9665"/>
              <a:gd name="connsiteY109" fmla="*/ 5582 h 10000"/>
              <a:gd name="connsiteX110" fmla="*/ 381 w 9665"/>
              <a:gd name="connsiteY110" fmla="*/ 5659 h 10000"/>
              <a:gd name="connsiteX111" fmla="*/ 219 w 9665"/>
              <a:gd name="connsiteY111" fmla="*/ 6047 h 10000"/>
              <a:gd name="connsiteX112" fmla="*/ 49 w 9665"/>
              <a:gd name="connsiteY112" fmla="*/ 6202 h 10000"/>
              <a:gd name="connsiteX113" fmla="*/ 107 w 9665"/>
              <a:gd name="connsiteY113" fmla="*/ 6202 h 10000"/>
              <a:gd name="connsiteX114" fmla="*/ 219 w 9665"/>
              <a:gd name="connsiteY114" fmla="*/ 6356 h 10000"/>
              <a:gd name="connsiteX115" fmla="*/ 107 w 9665"/>
              <a:gd name="connsiteY115" fmla="*/ 6512 h 10000"/>
              <a:gd name="connsiteX116" fmla="*/ 49 w 9665"/>
              <a:gd name="connsiteY116" fmla="*/ 6590 h 10000"/>
              <a:gd name="connsiteX117" fmla="*/ 0 w 9665"/>
              <a:gd name="connsiteY117" fmla="*/ 6590 h 10000"/>
              <a:gd name="connsiteX118" fmla="*/ 49 w 9665"/>
              <a:gd name="connsiteY118" fmla="*/ 6822 h 10000"/>
              <a:gd name="connsiteX119" fmla="*/ 49 w 9665"/>
              <a:gd name="connsiteY119" fmla="*/ 6900 h 10000"/>
              <a:gd name="connsiteX120" fmla="*/ 49 w 9665"/>
              <a:gd name="connsiteY120" fmla="*/ 6977 h 10000"/>
              <a:gd name="connsiteX121" fmla="*/ 49 w 9665"/>
              <a:gd name="connsiteY121" fmla="*/ 7054 h 10000"/>
              <a:gd name="connsiteX122" fmla="*/ 107 w 9665"/>
              <a:gd name="connsiteY122" fmla="*/ 7209 h 10000"/>
              <a:gd name="connsiteX123" fmla="*/ 272 w 9665"/>
              <a:gd name="connsiteY123" fmla="*/ 7287 h 10000"/>
              <a:gd name="connsiteX124" fmla="*/ 325 w 9665"/>
              <a:gd name="connsiteY124" fmla="*/ 7364 h 10000"/>
              <a:gd name="connsiteX125" fmla="*/ 325 w 9665"/>
              <a:gd name="connsiteY125" fmla="*/ 7520 h 10000"/>
              <a:gd name="connsiteX126" fmla="*/ 436 w 9665"/>
              <a:gd name="connsiteY126" fmla="*/ 7752 h 10000"/>
              <a:gd name="connsiteX127" fmla="*/ 494 w 9665"/>
              <a:gd name="connsiteY127" fmla="*/ 7752 h 10000"/>
              <a:gd name="connsiteX128" fmla="*/ 436 w 9665"/>
              <a:gd name="connsiteY128" fmla="*/ 7907 h 10000"/>
              <a:gd name="connsiteX129" fmla="*/ 381 w 9665"/>
              <a:gd name="connsiteY129" fmla="*/ 7830 h 10000"/>
              <a:gd name="connsiteX130" fmla="*/ 381 w 9665"/>
              <a:gd name="connsiteY130" fmla="*/ 7907 h 10000"/>
              <a:gd name="connsiteX131" fmla="*/ 436 w 9665"/>
              <a:gd name="connsiteY131" fmla="*/ 8062 h 10000"/>
              <a:gd name="connsiteX132" fmla="*/ 602 w 9665"/>
              <a:gd name="connsiteY132" fmla="*/ 8062 h 10000"/>
              <a:gd name="connsiteX133" fmla="*/ 657 w 9665"/>
              <a:gd name="connsiteY133" fmla="*/ 8140 h 10000"/>
              <a:gd name="connsiteX134" fmla="*/ 602 w 9665"/>
              <a:gd name="connsiteY134" fmla="*/ 8140 h 10000"/>
              <a:gd name="connsiteX135" fmla="*/ 657 w 9665"/>
              <a:gd name="connsiteY135" fmla="*/ 8217 h 10000"/>
              <a:gd name="connsiteX136" fmla="*/ 709 w 9665"/>
              <a:gd name="connsiteY136" fmla="*/ 8217 h 10000"/>
              <a:gd name="connsiteX137" fmla="*/ 763 w 9665"/>
              <a:gd name="connsiteY137" fmla="*/ 8372 h 10000"/>
              <a:gd name="connsiteX138" fmla="*/ 820 w 9665"/>
              <a:gd name="connsiteY138" fmla="*/ 8449 h 10000"/>
              <a:gd name="connsiteX139" fmla="*/ 872 w 9665"/>
              <a:gd name="connsiteY139" fmla="*/ 8372 h 10000"/>
              <a:gd name="connsiteX140" fmla="*/ 1148 w 9665"/>
              <a:gd name="connsiteY140" fmla="*/ 8605 h 10000"/>
              <a:gd name="connsiteX141" fmla="*/ 1092 w 9665"/>
              <a:gd name="connsiteY141" fmla="*/ 8915 h 10000"/>
              <a:gd name="connsiteX142" fmla="*/ 1037 w 9665"/>
              <a:gd name="connsiteY142" fmla="*/ 8838 h 10000"/>
              <a:gd name="connsiteX143" fmla="*/ 980 w 9665"/>
              <a:gd name="connsiteY143" fmla="*/ 8915 h 10000"/>
              <a:gd name="connsiteX144" fmla="*/ 980 w 9665"/>
              <a:gd name="connsiteY144" fmla="*/ 9070 h 10000"/>
              <a:gd name="connsiteX145" fmla="*/ 1037 w 9665"/>
              <a:gd name="connsiteY145" fmla="*/ 8993 h 10000"/>
              <a:gd name="connsiteX146" fmla="*/ 1092 w 9665"/>
              <a:gd name="connsiteY146" fmla="*/ 9070 h 10000"/>
              <a:gd name="connsiteX147" fmla="*/ 930 w 9665"/>
              <a:gd name="connsiteY147" fmla="*/ 9147 h 10000"/>
              <a:gd name="connsiteX148" fmla="*/ 980 w 9665"/>
              <a:gd name="connsiteY148" fmla="*/ 9225 h 10000"/>
              <a:gd name="connsiteX149" fmla="*/ 872 w 9665"/>
              <a:gd name="connsiteY149" fmla="*/ 9380 h 10000"/>
              <a:gd name="connsiteX150" fmla="*/ 820 w 9665"/>
              <a:gd name="connsiteY150" fmla="*/ 9380 h 10000"/>
              <a:gd name="connsiteX151" fmla="*/ 872 w 9665"/>
              <a:gd name="connsiteY151" fmla="*/ 9380 h 10000"/>
              <a:gd name="connsiteX152" fmla="*/ 1092 w 9665"/>
              <a:gd name="connsiteY152" fmla="*/ 9691 h 10000"/>
              <a:gd name="connsiteX153" fmla="*/ 1366 w 9665"/>
              <a:gd name="connsiteY153" fmla="*/ 9691 h 10000"/>
              <a:gd name="connsiteX154" fmla="*/ 1475 w 9665"/>
              <a:gd name="connsiteY154" fmla="*/ 9768 h 10000"/>
              <a:gd name="connsiteX155" fmla="*/ 1584 w 9665"/>
              <a:gd name="connsiteY155" fmla="*/ 9768 h 10000"/>
              <a:gd name="connsiteX156" fmla="*/ 1692 w 9665"/>
              <a:gd name="connsiteY156" fmla="*/ 9923 h 10000"/>
              <a:gd name="connsiteX157" fmla="*/ 1747 w 9665"/>
              <a:gd name="connsiteY157" fmla="*/ 10000 h 10000"/>
              <a:gd name="connsiteX158" fmla="*/ 1799 w 9665"/>
              <a:gd name="connsiteY158" fmla="*/ 10000 h 10000"/>
              <a:gd name="connsiteX159" fmla="*/ 1857 w 9665"/>
              <a:gd name="connsiteY159" fmla="*/ 9923 h 10000"/>
              <a:gd name="connsiteX160" fmla="*/ 1747 w 9665"/>
              <a:gd name="connsiteY160" fmla="*/ 9768 h 10000"/>
              <a:gd name="connsiteX161" fmla="*/ 1747 w 9665"/>
              <a:gd name="connsiteY161" fmla="*/ 9613 h 10000"/>
              <a:gd name="connsiteX162" fmla="*/ 1692 w 9665"/>
              <a:gd name="connsiteY162" fmla="*/ 9457 h 10000"/>
              <a:gd name="connsiteX163" fmla="*/ 1799 w 9665"/>
              <a:gd name="connsiteY163" fmla="*/ 9225 h 10000"/>
              <a:gd name="connsiteX164" fmla="*/ 1857 w 9665"/>
              <a:gd name="connsiteY164" fmla="*/ 9302 h 10000"/>
              <a:gd name="connsiteX165" fmla="*/ 1911 w 9665"/>
              <a:gd name="connsiteY165" fmla="*/ 9225 h 10000"/>
              <a:gd name="connsiteX166" fmla="*/ 1911 w 9665"/>
              <a:gd name="connsiteY166" fmla="*/ 9147 h 10000"/>
              <a:gd name="connsiteX167" fmla="*/ 1857 w 9665"/>
              <a:gd name="connsiteY167" fmla="*/ 9147 h 10000"/>
              <a:gd name="connsiteX168" fmla="*/ 1911 w 9665"/>
              <a:gd name="connsiteY168" fmla="*/ 9070 h 10000"/>
              <a:gd name="connsiteX169" fmla="*/ 1857 w 9665"/>
              <a:gd name="connsiteY169" fmla="*/ 8915 h 10000"/>
              <a:gd name="connsiteX170" fmla="*/ 1747 w 9665"/>
              <a:gd name="connsiteY170" fmla="*/ 8915 h 10000"/>
              <a:gd name="connsiteX171" fmla="*/ 1692 w 9665"/>
              <a:gd name="connsiteY171" fmla="*/ 8760 h 10000"/>
              <a:gd name="connsiteX172" fmla="*/ 1747 w 9665"/>
              <a:gd name="connsiteY172" fmla="*/ 8372 h 10000"/>
              <a:gd name="connsiteX173" fmla="*/ 1857 w 9665"/>
              <a:gd name="connsiteY173" fmla="*/ 8528 h 10000"/>
              <a:gd name="connsiteX174" fmla="*/ 1911 w 9665"/>
              <a:gd name="connsiteY174" fmla="*/ 8528 h 10000"/>
              <a:gd name="connsiteX175" fmla="*/ 1857 w 9665"/>
              <a:gd name="connsiteY175" fmla="*/ 8372 h 10000"/>
              <a:gd name="connsiteX176" fmla="*/ 2021 w 9665"/>
              <a:gd name="connsiteY176" fmla="*/ 8140 h 10000"/>
              <a:gd name="connsiteX177" fmla="*/ 2132 w 9665"/>
              <a:gd name="connsiteY177" fmla="*/ 8217 h 10000"/>
              <a:gd name="connsiteX178" fmla="*/ 2184 w 9665"/>
              <a:gd name="connsiteY178" fmla="*/ 8140 h 10000"/>
              <a:gd name="connsiteX179" fmla="*/ 2292 w 9665"/>
              <a:gd name="connsiteY179" fmla="*/ 8217 h 10000"/>
              <a:gd name="connsiteX180" fmla="*/ 2459 w 9665"/>
              <a:gd name="connsiteY180" fmla="*/ 8372 h 10000"/>
              <a:gd name="connsiteX181" fmla="*/ 2565 w 9665"/>
              <a:gd name="connsiteY181" fmla="*/ 8295 h 10000"/>
              <a:gd name="connsiteX182" fmla="*/ 2676 w 9665"/>
              <a:gd name="connsiteY182" fmla="*/ 8295 h 10000"/>
              <a:gd name="connsiteX183" fmla="*/ 2732 w 9665"/>
              <a:gd name="connsiteY183" fmla="*/ 8372 h 10000"/>
              <a:gd name="connsiteX184" fmla="*/ 2949 w 9665"/>
              <a:gd name="connsiteY184" fmla="*/ 8372 h 10000"/>
              <a:gd name="connsiteX185" fmla="*/ 3001 w 9665"/>
              <a:gd name="connsiteY185" fmla="*/ 8217 h 10000"/>
              <a:gd name="connsiteX186" fmla="*/ 2836 w 9665"/>
              <a:gd name="connsiteY186" fmla="*/ 8140 h 10000"/>
              <a:gd name="connsiteX187" fmla="*/ 2949 w 9665"/>
              <a:gd name="connsiteY187" fmla="*/ 8062 h 10000"/>
              <a:gd name="connsiteX188" fmla="*/ 2892 w 9665"/>
              <a:gd name="connsiteY188" fmla="*/ 7985 h 10000"/>
              <a:gd name="connsiteX189" fmla="*/ 2949 w 9665"/>
              <a:gd name="connsiteY189" fmla="*/ 7907 h 10000"/>
              <a:gd name="connsiteX190" fmla="*/ 2949 w 9665"/>
              <a:gd name="connsiteY190" fmla="*/ 7675 h 10000"/>
              <a:gd name="connsiteX191" fmla="*/ 3056 w 9665"/>
              <a:gd name="connsiteY191" fmla="*/ 7752 h 10000"/>
              <a:gd name="connsiteX192" fmla="*/ 3549 w 9665"/>
              <a:gd name="connsiteY192" fmla="*/ 7520 h 10000"/>
              <a:gd name="connsiteX193" fmla="*/ 3549 w 9665"/>
              <a:gd name="connsiteY193" fmla="*/ 7442 h 10000"/>
              <a:gd name="connsiteX194" fmla="*/ 3605 w 9665"/>
              <a:gd name="connsiteY194" fmla="*/ 7442 h 10000"/>
              <a:gd name="connsiteX195" fmla="*/ 3764 w 9665"/>
              <a:gd name="connsiteY195" fmla="*/ 7442 h 10000"/>
              <a:gd name="connsiteX196" fmla="*/ 3823 w 9665"/>
              <a:gd name="connsiteY196" fmla="*/ 7598 h 10000"/>
              <a:gd name="connsiteX197" fmla="*/ 3823 w 9665"/>
              <a:gd name="connsiteY197" fmla="*/ 7675 h 10000"/>
              <a:gd name="connsiteX198" fmla="*/ 3875 w 9665"/>
              <a:gd name="connsiteY198" fmla="*/ 7675 h 10000"/>
              <a:gd name="connsiteX199" fmla="*/ 3985 w 9665"/>
              <a:gd name="connsiteY199" fmla="*/ 7752 h 10000"/>
              <a:gd name="connsiteX200" fmla="*/ 3985 w 9665"/>
              <a:gd name="connsiteY200" fmla="*/ 7830 h 10000"/>
              <a:gd name="connsiteX201" fmla="*/ 4094 w 9665"/>
              <a:gd name="connsiteY201" fmla="*/ 7830 h 10000"/>
              <a:gd name="connsiteX202" fmla="*/ 4202 w 9665"/>
              <a:gd name="connsiteY202" fmla="*/ 7675 h 10000"/>
              <a:gd name="connsiteX203" fmla="*/ 4312 w 9665"/>
              <a:gd name="connsiteY203" fmla="*/ 7598 h 10000"/>
              <a:gd name="connsiteX204" fmla="*/ 4373 w 9665"/>
              <a:gd name="connsiteY204" fmla="*/ 7830 h 10000"/>
              <a:gd name="connsiteX205" fmla="*/ 4587 w 9665"/>
              <a:gd name="connsiteY205" fmla="*/ 8372 h 10000"/>
              <a:gd name="connsiteX206" fmla="*/ 4643 w 9665"/>
              <a:gd name="connsiteY206" fmla="*/ 8217 h 10000"/>
              <a:gd name="connsiteX207" fmla="*/ 4696 w 9665"/>
              <a:gd name="connsiteY207" fmla="*/ 8372 h 10000"/>
              <a:gd name="connsiteX208" fmla="*/ 4860 w 9665"/>
              <a:gd name="connsiteY208" fmla="*/ 8295 h 10000"/>
              <a:gd name="connsiteX209" fmla="*/ 5026 w 9665"/>
              <a:gd name="connsiteY209" fmla="*/ 8528 h 10000"/>
              <a:gd name="connsiteX210" fmla="*/ 5131 w 9665"/>
              <a:gd name="connsiteY210" fmla="*/ 8605 h 10000"/>
              <a:gd name="connsiteX211" fmla="*/ 5131 w 9665"/>
              <a:gd name="connsiteY211" fmla="*/ 8528 h 10000"/>
              <a:gd name="connsiteX212" fmla="*/ 5188 w 9665"/>
              <a:gd name="connsiteY212" fmla="*/ 8683 h 10000"/>
              <a:gd name="connsiteX213" fmla="*/ 5131 w 9665"/>
              <a:gd name="connsiteY213" fmla="*/ 8760 h 10000"/>
              <a:gd name="connsiteX214" fmla="*/ 5244 w 9665"/>
              <a:gd name="connsiteY214" fmla="*/ 8683 h 10000"/>
              <a:gd name="connsiteX215" fmla="*/ 5295 w 9665"/>
              <a:gd name="connsiteY215" fmla="*/ 8605 h 10000"/>
              <a:gd name="connsiteX216" fmla="*/ 5567 w 9665"/>
              <a:gd name="connsiteY216" fmla="*/ 8372 h 10000"/>
              <a:gd name="connsiteX217" fmla="*/ 5787 w 9665"/>
              <a:gd name="connsiteY217" fmla="*/ 8449 h 10000"/>
              <a:gd name="connsiteX218" fmla="*/ 5895 w 9665"/>
              <a:gd name="connsiteY218" fmla="*/ 8528 h 10000"/>
              <a:gd name="connsiteX219" fmla="*/ 6113 w 9665"/>
              <a:gd name="connsiteY219" fmla="*/ 8528 h 10000"/>
              <a:gd name="connsiteX220" fmla="*/ 6113 w 9665"/>
              <a:gd name="connsiteY220" fmla="*/ 8372 h 10000"/>
              <a:gd name="connsiteX221" fmla="*/ 6113 w 9665"/>
              <a:gd name="connsiteY221" fmla="*/ 8217 h 10000"/>
              <a:gd name="connsiteX222" fmla="*/ 6223 w 9665"/>
              <a:gd name="connsiteY222" fmla="*/ 8140 h 10000"/>
              <a:gd name="connsiteX223" fmla="*/ 6439 w 9665"/>
              <a:gd name="connsiteY223" fmla="*/ 8217 h 10000"/>
              <a:gd name="connsiteX224" fmla="*/ 6553 w 9665"/>
              <a:gd name="connsiteY224" fmla="*/ 8449 h 10000"/>
              <a:gd name="connsiteX225" fmla="*/ 6606 w 9665"/>
              <a:gd name="connsiteY225" fmla="*/ 8449 h 10000"/>
              <a:gd name="connsiteX226" fmla="*/ 6717 w 9665"/>
              <a:gd name="connsiteY226" fmla="*/ 8372 h 10000"/>
              <a:gd name="connsiteX227" fmla="*/ 7047 w 9665"/>
              <a:gd name="connsiteY227" fmla="*/ 8605 h 10000"/>
              <a:gd name="connsiteX228" fmla="*/ 7208 w 9665"/>
              <a:gd name="connsiteY228" fmla="*/ 8683 h 10000"/>
              <a:gd name="connsiteX229" fmla="*/ 7426 w 9665"/>
              <a:gd name="connsiteY229" fmla="*/ 8605 h 10000"/>
              <a:gd name="connsiteX230" fmla="*/ 7535 w 9665"/>
              <a:gd name="connsiteY230" fmla="*/ 8449 h 10000"/>
              <a:gd name="connsiteX231" fmla="*/ 7698 w 9665"/>
              <a:gd name="connsiteY231" fmla="*/ 8528 h 10000"/>
              <a:gd name="connsiteX232" fmla="*/ 7807 w 9665"/>
              <a:gd name="connsiteY232" fmla="*/ 8605 h 10000"/>
              <a:gd name="connsiteX233" fmla="*/ 9665 w 9665"/>
              <a:gd name="connsiteY233" fmla="*/ 7675 h 10000"/>
              <a:gd name="connsiteX234" fmla="*/ 9559 w 9665"/>
              <a:gd name="connsiteY234" fmla="*/ 7675 h 10000"/>
              <a:gd name="connsiteX235" fmla="*/ 9502 w 9665"/>
              <a:gd name="connsiteY235" fmla="*/ 7675 h 10000"/>
              <a:gd name="connsiteX236" fmla="*/ 9446 w 9665"/>
              <a:gd name="connsiteY236" fmla="*/ 7598 h 10000"/>
              <a:gd name="connsiteX237" fmla="*/ 9341 w 9665"/>
              <a:gd name="connsiteY237" fmla="*/ 7598 h 10000"/>
              <a:gd name="connsiteX238" fmla="*/ 9341 w 9665"/>
              <a:gd name="connsiteY238" fmla="*/ 7520 h 10000"/>
              <a:gd name="connsiteX239" fmla="*/ 9502 w 9665"/>
              <a:gd name="connsiteY239" fmla="*/ 7287 h 10000"/>
              <a:gd name="connsiteX240" fmla="*/ 8791 w 9665"/>
              <a:gd name="connsiteY240" fmla="*/ 2791 h 10000"/>
              <a:gd name="connsiteX241" fmla="*/ 8846 w 9665"/>
              <a:gd name="connsiteY241" fmla="*/ 2403 h 10000"/>
              <a:gd name="connsiteX242" fmla="*/ 8737 w 9665"/>
              <a:gd name="connsiteY242" fmla="*/ 2170 h 10000"/>
              <a:gd name="connsiteX243" fmla="*/ 8409 w 9665"/>
              <a:gd name="connsiteY243" fmla="*/ 2016 h 10000"/>
              <a:gd name="connsiteX244" fmla="*/ 8296 w 9665"/>
              <a:gd name="connsiteY244" fmla="*/ 2016 h 10000"/>
              <a:gd name="connsiteX245" fmla="*/ 8245 w 9665"/>
              <a:gd name="connsiteY245" fmla="*/ 2170 h 10000"/>
              <a:gd name="connsiteX246" fmla="*/ 8296 w 9665"/>
              <a:gd name="connsiteY246" fmla="*/ 2325 h 10000"/>
              <a:gd name="connsiteX247" fmla="*/ 7866 w 9665"/>
              <a:gd name="connsiteY247" fmla="*/ 2248 h 10000"/>
              <a:gd name="connsiteX248" fmla="*/ 7917 w 9665"/>
              <a:gd name="connsiteY248" fmla="*/ 2016 h 10000"/>
              <a:gd name="connsiteX249" fmla="*/ 7645 w 9665"/>
              <a:gd name="connsiteY249" fmla="*/ 1938 h 10000"/>
              <a:gd name="connsiteX250" fmla="*/ 7480 w 9665"/>
              <a:gd name="connsiteY250" fmla="*/ 2093 h 10000"/>
              <a:gd name="connsiteX251" fmla="*/ 7162 w 9665"/>
              <a:gd name="connsiteY251" fmla="*/ 1861 h 10000"/>
              <a:gd name="connsiteX0" fmla="*/ 7410 w 9890"/>
              <a:gd name="connsiteY0" fmla="*/ 1861 h 10000"/>
              <a:gd name="connsiteX1" fmla="*/ 7410 w 9890"/>
              <a:gd name="connsiteY1" fmla="*/ 1861 h 10000"/>
              <a:gd name="connsiteX2" fmla="*/ 7344 w 9890"/>
              <a:gd name="connsiteY2" fmla="*/ 1938 h 10000"/>
              <a:gd name="connsiteX3" fmla="*/ 7410 w 9890"/>
              <a:gd name="connsiteY3" fmla="*/ 2093 h 10000"/>
              <a:gd name="connsiteX4" fmla="*/ 7174 w 9890"/>
              <a:gd name="connsiteY4" fmla="*/ 2248 h 10000"/>
              <a:gd name="connsiteX5" fmla="*/ 7115 w 9890"/>
              <a:gd name="connsiteY5" fmla="*/ 2248 h 10000"/>
              <a:gd name="connsiteX6" fmla="*/ 7174 w 9890"/>
              <a:gd name="connsiteY6" fmla="*/ 2016 h 10000"/>
              <a:gd name="connsiteX7" fmla="*/ 7739 w 9890"/>
              <a:gd name="connsiteY7" fmla="*/ 1318 h 10000"/>
              <a:gd name="connsiteX8" fmla="*/ 7739 w 9890"/>
              <a:gd name="connsiteY8" fmla="*/ 853 h 10000"/>
              <a:gd name="connsiteX9" fmla="*/ 7516 w 9890"/>
              <a:gd name="connsiteY9" fmla="*/ 543 h 10000"/>
              <a:gd name="connsiteX10" fmla="*/ 7232 w 9890"/>
              <a:gd name="connsiteY10" fmla="*/ 543 h 10000"/>
              <a:gd name="connsiteX11" fmla="*/ 7232 w 9890"/>
              <a:gd name="connsiteY11" fmla="*/ 698 h 10000"/>
              <a:gd name="connsiteX12" fmla="*/ 7058 w 9890"/>
              <a:gd name="connsiteY12" fmla="*/ 698 h 10000"/>
              <a:gd name="connsiteX13" fmla="*/ 7174 w 9890"/>
              <a:gd name="connsiteY13" fmla="*/ 387 h 10000"/>
              <a:gd name="connsiteX14" fmla="*/ 6894 w 9890"/>
              <a:gd name="connsiteY14" fmla="*/ 310 h 10000"/>
              <a:gd name="connsiteX15" fmla="*/ 7058 w 9890"/>
              <a:gd name="connsiteY15" fmla="*/ 155 h 10000"/>
              <a:gd name="connsiteX16" fmla="*/ 6894 w 9890"/>
              <a:gd name="connsiteY16" fmla="*/ 0 h 10000"/>
              <a:gd name="connsiteX17" fmla="*/ 6610 w 9890"/>
              <a:gd name="connsiteY17" fmla="*/ 387 h 10000"/>
              <a:gd name="connsiteX18" fmla="*/ 6610 w 9890"/>
              <a:gd name="connsiteY18" fmla="*/ 698 h 10000"/>
              <a:gd name="connsiteX19" fmla="*/ 6439 w 9890"/>
              <a:gd name="connsiteY19" fmla="*/ 698 h 10000"/>
              <a:gd name="connsiteX20" fmla="*/ 5933 w 9890"/>
              <a:gd name="connsiteY20" fmla="*/ 853 h 10000"/>
              <a:gd name="connsiteX21" fmla="*/ 5479 w 9890"/>
              <a:gd name="connsiteY21" fmla="*/ 1240 h 10000"/>
              <a:gd name="connsiteX22" fmla="*/ 5309 w 9890"/>
              <a:gd name="connsiteY22" fmla="*/ 1551 h 10000"/>
              <a:gd name="connsiteX23" fmla="*/ 5368 w 9890"/>
              <a:gd name="connsiteY23" fmla="*/ 1938 h 10000"/>
              <a:gd name="connsiteX24" fmla="*/ 4746 w 9890"/>
              <a:gd name="connsiteY24" fmla="*/ 2093 h 10000"/>
              <a:gd name="connsiteX25" fmla="*/ 4804 w 9890"/>
              <a:gd name="connsiteY25" fmla="*/ 2559 h 10000"/>
              <a:gd name="connsiteX26" fmla="*/ 4973 w 9890"/>
              <a:gd name="connsiteY26" fmla="*/ 2791 h 10000"/>
              <a:gd name="connsiteX27" fmla="*/ 4859 w 9890"/>
              <a:gd name="connsiteY27" fmla="*/ 2868 h 10000"/>
              <a:gd name="connsiteX28" fmla="*/ 4692 w 9890"/>
              <a:gd name="connsiteY28" fmla="*/ 2559 h 10000"/>
              <a:gd name="connsiteX29" fmla="*/ 4525 w 9890"/>
              <a:gd name="connsiteY29" fmla="*/ 2480 h 10000"/>
              <a:gd name="connsiteX30" fmla="*/ 4461 w 9890"/>
              <a:gd name="connsiteY30" fmla="*/ 2559 h 10000"/>
              <a:gd name="connsiteX31" fmla="*/ 4348 w 9890"/>
              <a:gd name="connsiteY31" fmla="*/ 2403 h 10000"/>
              <a:gd name="connsiteX32" fmla="*/ 4236 w 9890"/>
              <a:gd name="connsiteY32" fmla="*/ 2248 h 10000"/>
              <a:gd name="connsiteX33" fmla="*/ 4236 w 9890"/>
              <a:gd name="connsiteY33" fmla="*/ 2325 h 10000"/>
              <a:gd name="connsiteX34" fmla="*/ 4298 w 9890"/>
              <a:gd name="connsiteY34" fmla="*/ 2559 h 10000"/>
              <a:gd name="connsiteX35" fmla="*/ 4123 w 9890"/>
              <a:gd name="connsiteY35" fmla="*/ 2946 h 10000"/>
              <a:gd name="connsiteX36" fmla="*/ 4236 w 9890"/>
              <a:gd name="connsiteY36" fmla="*/ 3256 h 10000"/>
              <a:gd name="connsiteX37" fmla="*/ 4179 w 9890"/>
              <a:gd name="connsiteY37" fmla="*/ 3566 h 10000"/>
              <a:gd name="connsiteX38" fmla="*/ 4179 w 9890"/>
              <a:gd name="connsiteY38" fmla="*/ 3799 h 10000"/>
              <a:gd name="connsiteX39" fmla="*/ 4348 w 9890"/>
              <a:gd name="connsiteY39" fmla="*/ 3799 h 10000"/>
              <a:gd name="connsiteX40" fmla="*/ 4236 w 9890"/>
              <a:gd name="connsiteY40" fmla="*/ 3876 h 10000"/>
              <a:gd name="connsiteX41" fmla="*/ 4298 w 9890"/>
              <a:gd name="connsiteY41" fmla="*/ 4263 h 10000"/>
              <a:gd name="connsiteX42" fmla="*/ 3956 w 9890"/>
              <a:gd name="connsiteY42" fmla="*/ 4652 h 10000"/>
              <a:gd name="connsiteX43" fmla="*/ 3894 w 9890"/>
              <a:gd name="connsiteY43" fmla="*/ 4574 h 10000"/>
              <a:gd name="connsiteX44" fmla="*/ 4123 w 9890"/>
              <a:gd name="connsiteY44" fmla="*/ 4186 h 10000"/>
              <a:gd name="connsiteX45" fmla="*/ 4179 w 9890"/>
              <a:gd name="connsiteY45" fmla="*/ 3954 h 10000"/>
              <a:gd name="connsiteX46" fmla="*/ 4060 w 9890"/>
              <a:gd name="connsiteY46" fmla="*/ 3799 h 10000"/>
              <a:gd name="connsiteX47" fmla="*/ 4060 w 9890"/>
              <a:gd name="connsiteY47" fmla="*/ 3023 h 10000"/>
              <a:gd name="connsiteX48" fmla="*/ 4009 w 9890"/>
              <a:gd name="connsiteY48" fmla="*/ 2868 h 10000"/>
              <a:gd name="connsiteX49" fmla="*/ 4060 w 9890"/>
              <a:gd name="connsiteY49" fmla="*/ 2403 h 10000"/>
              <a:gd name="connsiteX50" fmla="*/ 3956 w 9890"/>
              <a:gd name="connsiteY50" fmla="*/ 2325 h 10000"/>
              <a:gd name="connsiteX51" fmla="*/ 4009 w 9890"/>
              <a:gd name="connsiteY51" fmla="*/ 2248 h 10000"/>
              <a:gd name="connsiteX52" fmla="*/ 3956 w 9890"/>
              <a:gd name="connsiteY52" fmla="*/ 2093 h 10000"/>
              <a:gd name="connsiteX53" fmla="*/ 3838 w 9890"/>
              <a:gd name="connsiteY53" fmla="*/ 2170 h 10000"/>
              <a:gd name="connsiteX54" fmla="*/ 3558 w 9890"/>
              <a:gd name="connsiteY54" fmla="*/ 3178 h 10000"/>
              <a:gd name="connsiteX55" fmla="*/ 3558 w 9890"/>
              <a:gd name="connsiteY55" fmla="*/ 3566 h 10000"/>
              <a:gd name="connsiteX56" fmla="*/ 3730 w 9890"/>
              <a:gd name="connsiteY56" fmla="*/ 3876 h 10000"/>
              <a:gd name="connsiteX57" fmla="*/ 3730 w 9890"/>
              <a:gd name="connsiteY57" fmla="*/ 4031 h 10000"/>
              <a:gd name="connsiteX58" fmla="*/ 3558 w 9890"/>
              <a:gd name="connsiteY58" fmla="*/ 3876 h 10000"/>
              <a:gd name="connsiteX59" fmla="*/ 2884 w 9890"/>
              <a:gd name="connsiteY59" fmla="*/ 3256 h 10000"/>
              <a:gd name="connsiteX60" fmla="*/ 2827 w 9890"/>
              <a:gd name="connsiteY60" fmla="*/ 3411 h 10000"/>
              <a:gd name="connsiteX61" fmla="*/ 3051 w 9890"/>
              <a:gd name="connsiteY61" fmla="*/ 3799 h 10000"/>
              <a:gd name="connsiteX62" fmla="*/ 2934 w 9890"/>
              <a:gd name="connsiteY62" fmla="*/ 3876 h 10000"/>
              <a:gd name="connsiteX63" fmla="*/ 2884 w 9890"/>
              <a:gd name="connsiteY63" fmla="*/ 3799 h 10000"/>
              <a:gd name="connsiteX64" fmla="*/ 2544 w 9890"/>
              <a:gd name="connsiteY64" fmla="*/ 3954 h 10000"/>
              <a:gd name="connsiteX65" fmla="*/ 2488 w 9890"/>
              <a:gd name="connsiteY65" fmla="*/ 4109 h 10000"/>
              <a:gd name="connsiteX66" fmla="*/ 2431 w 9890"/>
              <a:gd name="connsiteY66" fmla="*/ 3954 h 10000"/>
              <a:gd name="connsiteX67" fmla="*/ 2431 w 9890"/>
              <a:gd name="connsiteY67" fmla="*/ 3799 h 10000"/>
              <a:gd name="connsiteX68" fmla="*/ 1861 w 9890"/>
              <a:gd name="connsiteY68" fmla="*/ 4263 h 10000"/>
              <a:gd name="connsiteX69" fmla="*/ 1861 w 9890"/>
              <a:gd name="connsiteY69" fmla="*/ 4418 h 10000"/>
              <a:gd name="connsiteX70" fmla="*/ 1751 w 9890"/>
              <a:gd name="connsiteY70" fmla="*/ 4496 h 10000"/>
              <a:gd name="connsiteX71" fmla="*/ 1582 w 9890"/>
              <a:gd name="connsiteY71" fmla="*/ 4341 h 10000"/>
              <a:gd name="connsiteX72" fmla="*/ 1751 w 9890"/>
              <a:gd name="connsiteY72" fmla="*/ 4186 h 10000"/>
              <a:gd name="connsiteX73" fmla="*/ 1694 w 9890"/>
              <a:gd name="connsiteY73" fmla="*/ 3954 h 10000"/>
              <a:gd name="connsiteX74" fmla="*/ 1469 w 9890"/>
              <a:gd name="connsiteY74" fmla="*/ 3876 h 10000"/>
              <a:gd name="connsiteX75" fmla="*/ 1526 w 9890"/>
              <a:gd name="connsiteY75" fmla="*/ 4031 h 10000"/>
              <a:gd name="connsiteX76" fmla="*/ 1526 w 9890"/>
              <a:gd name="connsiteY76" fmla="*/ 4418 h 10000"/>
              <a:gd name="connsiteX77" fmla="*/ 1582 w 9890"/>
              <a:gd name="connsiteY77" fmla="*/ 4574 h 10000"/>
              <a:gd name="connsiteX78" fmla="*/ 1526 w 9890"/>
              <a:gd name="connsiteY78" fmla="*/ 4729 h 10000"/>
              <a:gd name="connsiteX79" fmla="*/ 1353 w 9890"/>
              <a:gd name="connsiteY79" fmla="*/ 4652 h 10000"/>
              <a:gd name="connsiteX80" fmla="*/ 1130 w 9890"/>
              <a:gd name="connsiteY80" fmla="*/ 4884 h 10000"/>
              <a:gd name="connsiteX81" fmla="*/ 1240 w 9890"/>
              <a:gd name="connsiteY81" fmla="*/ 5194 h 10000"/>
              <a:gd name="connsiteX82" fmla="*/ 902 w 9890"/>
              <a:gd name="connsiteY82" fmla="*/ 5039 h 10000"/>
              <a:gd name="connsiteX83" fmla="*/ 848 w 9890"/>
              <a:gd name="connsiteY83" fmla="*/ 5116 h 10000"/>
              <a:gd name="connsiteX84" fmla="*/ 962 w 9890"/>
              <a:gd name="connsiteY84" fmla="*/ 5349 h 10000"/>
              <a:gd name="connsiteX85" fmla="*/ 848 w 9890"/>
              <a:gd name="connsiteY85" fmla="*/ 5349 h 10000"/>
              <a:gd name="connsiteX86" fmla="*/ 680 w 9890"/>
              <a:gd name="connsiteY86" fmla="*/ 5194 h 10000"/>
              <a:gd name="connsiteX87" fmla="*/ 680 w 9890"/>
              <a:gd name="connsiteY87" fmla="*/ 4729 h 10000"/>
              <a:gd name="connsiteX88" fmla="*/ 511 w 9890"/>
              <a:gd name="connsiteY88" fmla="*/ 4574 h 10000"/>
              <a:gd name="connsiteX89" fmla="*/ 451 w 9890"/>
              <a:gd name="connsiteY89" fmla="*/ 4418 h 10000"/>
              <a:gd name="connsiteX90" fmla="*/ 564 w 9890"/>
              <a:gd name="connsiteY90" fmla="*/ 4496 h 10000"/>
              <a:gd name="connsiteX91" fmla="*/ 1014 w 9890"/>
              <a:gd name="connsiteY91" fmla="*/ 4729 h 10000"/>
              <a:gd name="connsiteX92" fmla="*/ 1294 w 9890"/>
              <a:gd name="connsiteY92" fmla="*/ 4496 h 10000"/>
              <a:gd name="connsiteX93" fmla="*/ 1240 w 9890"/>
              <a:gd name="connsiteY93" fmla="*/ 4263 h 10000"/>
              <a:gd name="connsiteX94" fmla="*/ 902 w 9890"/>
              <a:gd name="connsiteY94" fmla="*/ 3799 h 10000"/>
              <a:gd name="connsiteX95" fmla="*/ 564 w 9890"/>
              <a:gd name="connsiteY95" fmla="*/ 3644 h 10000"/>
              <a:gd name="connsiteX96" fmla="*/ 564 w 9890"/>
              <a:gd name="connsiteY96" fmla="*/ 3566 h 10000"/>
              <a:gd name="connsiteX97" fmla="*/ 451 w 9890"/>
              <a:gd name="connsiteY97" fmla="*/ 3488 h 10000"/>
              <a:gd name="connsiteX98" fmla="*/ 336 w 9890"/>
              <a:gd name="connsiteY98" fmla="*/ 3566 h 10000"/>
              <a:gd name="connsiteX99" fmla="*/ 336 w 9890"/>
              <a:gd name="connsiteY99" fmla="*/ 3644 h 10000"/>
              <a:gd name="connsiteX100" fmla="*/ 281 w 9890"/>
              <a:gd name="connsiteY100" fmla="*/ 3644 h 10000"/>
              <a:gd name="connsiteX101" fmla="*/ 170 w 9890"/>
              <a:gd name="connsiteY101" fmla="*/ 3799 h 10000"/>
              <a:gd name="connsiteX102" fmla="*/ 170 w 9890"/>
              <a:gd name="connsiteY102" fmla="*/ 4031 h 10000"/>
              <a:gd name="connsiteX103" fmla="*/ 281 w 9890"/>
              <a:gd name="connsiteY103" fmla="*/ 4186 h 10000"/>
              <a:gd name="connsiteX104" fmla="*/ 227 w 9890"/>
              <a:gd name="connsiteY104" fmla="*/ 4418 h 10000"/>
              <a:gd name="connsiteX105" fmla="*/ 281 w 9890"/>
              <a:gd name="connsiteY105" fmla="*/ 4807 h 10000"/>
              <a:gd name="connsiteX106" fmla="*/ 227 w 9890"/>
              <a:gd name="connsiteY106" fmla="*/ 5039 h 10000"/>
              <a:gd name="connsiteX107" fmla="*/ 336 w 9890"/>
              <a:gd name="connsiteY107" fmla="*/ 5271 h 10000"/>
              <a:gd name="connsiteX108" fmla="*/ 281 w 9890"/>
              <a:gd name="connsiteY108" fmla="*/ 5426 h 10000"/>
              <a:gd name="connsiteX109" fmla="*/ 394 w 9890"/>
              <a:gd name="connsiteY109" fmla="*/ 5582 h 10000"/>
              <a:gd name="connsiteX110" fmla="*/ 394 w 9890"/>
              <a:gd name="connsiteY110" fmla="*/ 5659 h 10000"/>
              <a:gd name="connsiteX111" fmla="*/ 227 w 9890"/>
              <a:gd name="connsiteY111" fmla="*/ 6047 h 10000"/>
              <a:gd name="connsiteX112" fmla="*/ 51 w 9890"/>
              <a:gd name="connsiteY112" fmla="*/ 6202 h 10000"/>
              <a:gd name="connsiteX113" fmla="*/ 111 w 9890"/>
              <a:gd name="connsiteY113" fmla="*/ 6202 h 10000"/>
              <a:gd name="connsiteX114" fmla="*/ 227 w 9890"/>
              <a:gd name="connsiteY114" fmla="*/ 6356 h 10000"/>
              <a:gd name="connsiteX115" fmla="*/ 111 w 9890"/>
              <a:gd name="connsiteY115" fmla="*/ 6512 h 10000"/>
              <a:gd name="connsiteX116" fmla="*/ 51 w 9890"/>
              <a:gd name="connsiteY116" fmla="*/ 6590 h 10000"/>
              <a:gd name="connsiteX117" fmla="*/ 0 w 9890"/>
              <a:gd name="connsiteY117" fmla="*/ 6590 h 10000"/>
              <a:gd name="connsiteX118" fmla="*/ 51 w 9890"/>
              <a:gd name="connsiteY118" fmla="*/ 6822 h 10000"/>
              <a:gd name="connsiteX119" fmla="*/ 51 w 9890"/>
              <a:gd name="connsiteY119" fmla="*/ 6900 h 10000"/>
              <a:gd name="connsiteX120" fmla="*/ 51 w 9890"/>
              <a:gd name="connsiteY120" fmla="*/ 6977 h 10000"/>
              <a:gd name="connsiteX121" fmla="*/ 51 w 9890"/>
              <a:gd name="connsiteY121" fmla="*/ 7054 h 10000"/>
              <a:gd name="connsiteX122" fmla="*/ 111 w 9890"/>
              <a:gd name="connsiteY122" fmla="*/ 7209 h 10000"/>
              <a:gd name="connsiteX123" fmla="*/ 281 w 9890"/>
              <a:gd name="connsiteY123" fmla="*/ 7287 h 10000"/>
              <a:gd name="connsiteX124" fmla="*/ 336 w 9890"/>
              <a:gd name="connsiteY124" fmla="*/ 7364 h 10000"/>
              <a:gd name="connsiteX125" fmla="*/ 336 w 9890"/>
              <a:gd name="connsiteY125" fmla="*/ 7520 h 10000"/>
              <a:gd name="connsiteX126" fmla="*/ 451 w 9890"/>
              <a:gd name="connsiteY126" fmla="*/ 7752 h 10000"/>
              <a:gd name="connsiteX127" fmla="*/ 511 w 9890"/>
              <a:gd name="connsiteY127" fmla="*/ 7752 h 10000"/>
              <a:gd name="connsiteX128" fmla="*/ 451 w 9890"/>
              <a:gd name="connsiteY128" fmla="*/ 7907 h 10000"/>
              <a:gd name="connsiteX129" fmla="*/ 394 w 9890"/>
              <a:gd name="connsiteY129" fmla="*/ 7830 h 10000"/>
              <a:gd name="connsiteX130" fmla="*/ 394 w 9890"/>
              <a:gd name="connsiteY130" fmla="*/ 7907 h 10000"/>
              <a:gd name="connsiteX131" fmla="*/ 451 w 9890"/>
              <a:gd name="connsiteY131" fmla="*/ 8062 h 10000"/>
              <a:gd name="connsiteX132" fmla="*/ 623 w 9890"/>
              <a:gd name="connsiteY132" fmla="*/ 8062 h 10000"/>
              <a:gd name="connsiteX133" fmla="*/ 680 w 9890"/>
              <a:gd name="connsiteY133" fmla="*/ 8140 h 10000"/>
              <a:gd name="connsiteX134" fmla="*/ 623 w 9890"/>
              <a:gd name="connsiteY134" fmla="*/ 8140 h 10000"/>
              <a:gd name="connsiteX135" fmla="*/ 680 w 9890"/>
              <a:gd name="connsiteY135" fmla="*/ 8217 h 10000"/>
              <a:gd name="connsiteX136" fmla="*/ 734 w 9890"/>
              <a:gd name="connsiteY136" fmla="*/ 8217 h 10000"/>
              <a:gd name="connsiteX137" fmla="*/ 789 w 9890"/>
              <a:gd name="connsiteY137" fmla="*/ 8372 h 10000"/>
              <a:gd name="connsiteX138" fmla="*/ 848 w 9890"/>
              <a:gd name="connsiteY138" fmla="*/ 8449 h 10000"/>
              <a:gd name="connsiteX139" fmla="*/ 902 w 9890"/>
              <a:gd name="connsiteY139" fmla="*/ 8372 h 10000"/>
              <a:gd name="connsiteX140" fmla="*/ 1188 w 9890"/>
              <a:gd name="connsiteY140" fmla="*/ 8605 h 10000"/>
              <a:gd name="connsiteX141" fmla="*/ 1130 w 9890"/>
              <a:gd name="connsiteY141" fmla="*/ 8915 h 10000"/>
              <a:gd name="connsiteX142" fmla="*/ 1073 w 9890"/>
              <a:gd name="connsiteY142" fmla="*/ 8838 h 10000"/>
              <a:gd name="connsiteX143" fmla="*/ 1014 w 9890"/>
              <a:gd name="connsiteY143" fmla="*/ 8915 h 10000"/>
              <a:gd name="connsiteX144" fmla="*/ 1014 w 9890"/>
              <a:gd name="connsiteY144" fmla="*/ 9070 h 10000"/>
              <a:gd name="connsiteX145" fmla="*/ 1073 w 9890"/>
              <a:gd name="connsiteY145" fmla="*/ 8993 h 10000"/>
              <a:gd name="connsiteX146" fmla="*/ 1130 w 9890"/>
              <a:gd name="connsiteY146" fmla="*/ 9070 h 10000"/>
              <a:gd name="connsiteX147" fmla="*/ 962 w 9890"/>
              <a:gd name="connsiteY147" fmla="*/ 9147 h 10000"/>
              <a:gd name="connsiteX148" fmla="*/ 1014 w 9890"/>
              <a:gd name="connsiteY148" fmla="*/ 9225 h 10000"/>
              <a:gd name="connsiteX149" fmla="*/ 902 w 9890"/>
              <a:gd name="connsiteY149" fmla="*/ 9380 h 10000"/>
              <a:gd name="connsiteX150" fmla="*/ 848 w 9890"/>
              <a:gd name="connsiteY150" fmla="*/ 9380 h 10000"/>
              <a:gd name="connsiteX151" fmla="*/ 902 w 9890"/>
              <a:gd name="connsiteY151" fmla="*/ 9380 h 10000"/>
              <a:gd name="connsiteX152" fmla="*/ 1130 w 9890"/>
              <a:gd name="connsiteY152" fmla="*/ 9691 h 10000"/>
              <a:gd name="connsiteX153" fmla="*/ 1413 w 9890"/>
              <a:gd name="connsiteY153" fmla="*/ 9691 h 10000"/>
              <a:gd name="connsiteX154" fmla="*/ 1526 w 9890"/>
              <a:gd name="connsiteY154" fmla="*/ 9768 h 10000"/>
              <a:gd name="connsiteX155" fmla="*/ 1639 w 9890"/>
              <a:gd name="connsiteY155" fmla="*/ 9768 h 10000"/>
              <a:gd name="connsiteX156" fmla="*/ 1751 w 9890"/>
              <a:gd name="connsiteY156" fmla="*/ 9923 h 10000"/>
              <a:gd name="connsiteX157" fmla="*/ 1808 w 9890"/>
              <a:gd name="connsiteY157" fmla="*/ 10000 h 10000"/>
              <a:gd name="connsiteX158" fmla="*/ 1861 w 9890"/>
              <a:gd name="connsiteY158" fmla="*/ 10000 h 10000"/>
              <a:gd name="connsiteX159" fmla="*/ 1921 w 9890"/>
              <a:gd name="connsiteY159" fmla="*/ 9923 h 10000"/>
              <a:gd name="connsiteX160" fmla="*/ 1808 w 9890"/>
              <a:gd name="connsiteY160" fmla="*/ 9768 h 10000"/>
              <a:gd name="connsiteX161" fmla="*/ 1808 w 9890"/>
              <a:gd name="connsiteY161" fmla="*/ 9613 h 10000"/>
              <a:gd name="connsiteX162" fmla="*/ 1751 w 9890"/>
              <a:gd name="connsiteY162" fmla="*/ 9457 h 10000"/>
              <a:gd name="connsiteX163" fmla="*/ 1861 w 9890"/>
              <a:gd name="connsiteY163" fmla="*/ 9225 h 10000"/>
              <a:gd name="connsiteX164" fmla="*/ 1921 w 9890"/>
              <a:gd name="connsiteY164" fmla="*/ 9302 h 10000"/>
              <a:gd name="connsiteX165" fmla="*/ 1977 w 9890"/>
              <a:gd name="connsiteY165" fmla="*/ 9225 h 10000"/>
              <a:gd name="connsiteX166" fmla="*/ 1977 w 9890"/>
              <a:gd name="connsiteY166" fmla="*/ 9147 h 10000"/>
              <a:gd name="connsiteX167" fmla="*/ 1921 w 9890"/>
              <a:gd name="connsiteY167" fmla="*/ 9147 h 10000"/>
              <a:gd name="connsiteX168" fmla="*/ 1977 w 9890"/>
              <a:gd name="connsiteY168" fmla="*/ 9070 h 10000"/>
              <a:gd name="connsiteX169" fmla="*/ 1921 w 9890"/>
              <a:gd name="connsiteY169" fmla="*/ 8915 h 10000"/>
              <a:gd name="connsiteX170" fmla="*/ 1808 w 9890"/>
              <a:gd name="connsiteY170" fmla="*/ 8915 h 10000"/>
              <a:gd name="connsiteX171" fmla="*/ 1751 w 9890"/>
              <a:gd name="connsiteY171" fmla="*/ 8760 h 10000"/>
              <a:gd name="connsiteX172" fmla="*/ 1808 w 9890"/>
              <a:gd name="connsiteY172" fmla="*/ 8372 h 10000"/>
              <a:gd name="connsiteX173" fmla="*/ 1921 w 9890"/>
              <a:gd name="connsiteY173" fmla="*/ 8528 h 10000"/>
              <a:gd name="connsiteX174" fmla="*/ 1977 w 9890"/>
              <a:gd name="connsiteY174" fmla="*/ 8528 h 10000"/>
              <a:gd name="connsiteX175" fmla="*/ 1921 w 9890"/>
              <a:gd name="connsiteY175" fmla="*/ 8372 h 10000"/>
              <a:gd name="connsiteX176" fmla="*/ 2091 w 9890"/>
              <a:gd name="connsiteY176" fmla="*/ 8140 h 10000"/>
              <a:gd name="connsiteX177" fmla="*/ 2206 w 9890"/>
              <a:gd name="connsiteY177" fmla="*/ 8217 h 10000"/>
              <a:gd name="connsiteX178" fmla="*/ 2260 w 9890"/>
              <a:gd name="connsiteY178" fmla="*/ 8140 h 10000"/>
              <a:gd name="connsiteX179" fmla="*/ 2371 w 9890"/>
              <a:gd name="connsiteY179" fmla="*/ 8217 h 10000"/>
              <a:gd name="connsiteX180" fmla="*/ 2544 w 9890"/>
              <a:gd name="connsiteY180" fmla="*/ 8372 h 10000"/>
              <a:gd name="connsiteX181" fmla="*/ 2654 w 9890"/>
              <a:gd name="connsiteY181" fmla="*/ 8295 h 10000"/>
              <a:gd name="connsiteX182" fmla="*/ 2769 w 9890"/>
              <a:gd name="connsiteY182" fmla="*/ 8295 h 10000"/>
              <a:gd name="connsiteX183" fmla="*/ 2827 w 9890"/>
              <a:gd name="connsiteY183" fmla="*/ 8372 h 10000"/>
              <a:gd name="connsiteX184" fmla="*/ 3051 w 9890"/>
              <a:gd name="connsiteY184" fmla="*/ 8372 h 10000"/>
              <a:gd name="connsiteX185" fmla="*/ 3105 w 9890"/>
              <a:gd name="connsiteY185" fmla="*/ 8217 h 10000"/>
              <a:gd name="connsiteX186" fmla="*/ 2934 w 9890"/>
              <a:gd name="connsiteY186" fmla="*/ 8140 h 10000"/>
              <a:gd name="connsiteX187" fmla="*/ 3051 w 9890"/>
              <a:gd name="connsiteY187" fmla="*/ 8062 h 10000"/>
              <a:gd name="connsiteX188" fmla="*/ 2992 w 9890"/>
              <a:gd name="connsiteY188" fmla="*/ 7985 h 10000"/>
              <a:gd name="connsiteX189" fmla="*/ 3051 w 9890"/>
              <a:gd name="connsiteY189" fmla="*/ 7907 h 10000"/>
              <a:gd name="connsiteX190" fmla="*/ 3051 w 9890"/>
              <a:gd name="connsiteY190" fmla="*/ 7675 h 10000"/>
              <a:gd name="connsiteX191" fmla="*/ 3162 w 9890"/>
              <a:gd name="connsiteY191" fmla="*/ 7752 h 10000"/>
              <a:gd name="connsiteX192" fmla="*/ 3672 w 9890"/>
              <a:gd name="connsiteY192" fmla="*/ 7520 h 10000"/>
              <a:gd name="connsiteX193" fmla="*/ 3672 w 9890"/>
              <a:gd name="connsiteY193" fmla="*/ 7442 h 10000"/>
              <a:gd name="connsiteX194" fmla="*/ 3730 w 9890"/>
              <a:gd name="connsiteY194" fmla="*/ 7442 h 10000"/>
              <a:gd name="connsiteX195" fmla="*/ 3894 w 9890"/>
              <a:gd name="connsiteY195" fmla="*/ 7442 h 10000"/>
              <a:gd name="connsiteX196" fmla="*/ 3956 w 9890"/>
              <a:gd name="connsiteY196" fmla="*/ 7598 h 10000"/>
              <a:gd name="connsiteX197" fmla="*/ 3956 w 9890"/>
              <a:gd name="connsiteY197" fmla="*/ 7675 h 10000"/>
              <a:gd name="connsiteX198" fmla="*/ 4009 w 9890"/>
              <a:gd name="connsiteY198" fmla="*/ 7675 h 10000"/>
              <a:gd name="connsiteX199" fmla="*/ 4123 w 9890"/>
              <a:gd name="connsiteY199" fmla="*/ 7752 h 10000"/>
              <a:gd name="connsiteX200" fmla="*/ 4123 w 9890"/>
              <a:gd name="connsiteY200" fmla="*/ 7830 h 10000"/>
              <a:gd name="connsiteX201" fmla="*/ 4236 w 9890"/>
              <a:gd name="connsiteY201" fmla="*/ 7830 h 10000"/>
              <a:gd name="connsiteX202" fmla="*/ 4348 w 9890"/>
              <a:gd name="connsiteY202" fmla="*/ 7675 h 10000"/>
              <a:gd name="connsiteX203" fmla="*/ 4461 w 9890"/>
              <a:gd name="connsiteY203" fmla="*/ 7598 h 10000"/>
              <a:gd name="connsiteX204" fmla="*/ 4525 w 9890"/>
              <a:gd name="connsiteY204" fmla="*/ 7830 h 10000"/>
              <a:gd name="connsiteX205" fmla="*/ 4746 w 9890"/>
              <a:gd name="connsiteY205" fmla="*/ 8372 h 10000"/>
              <a:gd name="connsiteX206" fmla="*/ 4804 w 9890"/>
              <a:gd name="connsiteY206" fmla="*/ 8217 h 10000"/>
              <a:gd name="connsiteX207" fmla="*/ 4859 w 9890"/>
              <a:gd name="connsiteY207" fmla="*/ 8372 h 10000"/>
              <a:gd name="connsiteX208" fmla="*/ 5028 w 9890"/>
              <a:gd name="connsiteY208" fmla="*/ 8295 h 10000"/>
              <a:gd name="connsiteX209" fmla="*/ 5200 w 9890"/>
              <a:gd name="connsiteY209" fmla="*/ 8528 h 10000"/>
              <a:gd name="connsiteX210" fmla="*/ 5309 w 9890"/>
              <a:gd name="connsiteY210" fmla="*/ 8605 h 10000"/>
              <a:gd name="connsiteX211" fmla="*/ 5309 w 9890"/>
              <a:gd name="connsiteY211" fmla="*/ 8528 h 10000"/>
              <a:gd name="connsiteX212" fmla="*/ 5368 w 9890"/>
              <a:gd name="connsiteY212" fmla="*/ 8683 h 10000"/>
              <a:gd name="connsiteX213" fmla="*/ 5309 w 9890"/>
              <a:gd name="connsiteY213" fmla="*/ 8760 h 10000"/>
              <a:gd name="connsiteX214" fmla="*/ 5426 w 9890"/>
              <a:gd name="connsiteY214" fmla="*/ 8683 h 10000"/>
              <a:gd name="connsiteX215" fmla="*/ 5479 w 9890"/>
              <a:gd name="connsiteY215" fmla="*/ 8605 h 10000"/>
              <a:gd name="connsiteX216" fmla="*/ 5760 w 9890"/>
              <a:gd name="connsiteY216" fmla="*/ 8372 h 10000"/>
              <a:gd name="connsiteX217" fmla="*/ 5988 w 9890"/>
              <a:gd name="connsiteY217" fmla="*/ 8449 h 10000"/>
              <a:gd name="connsiteX218" fmla="*/ 6099 w 9890"/>
              <a:gd name="connsiteY218" fmla="*/ 8528 h 10000"/>
              <a:gd name="connsiteX219" fmla="*/ 6325 w 9890"/>
              <a:gd name="connsiteY219" fmla="*/ 8528 h 10000"/>
              <a:gd name="connsiteX220" fmla="*/ 6325 w 9890"/>
              <a:gd name="connsiteY220" fmla="*/ 8372 h 10000"/>
              <a:gd name="connsiteX221" fmla="*/ 6325 w 9890"/>
              <a:gd name="connsiteY221" fmla="*/ 8217 h 10000"/>
              <a:gd name="connsiteX222" fmla="*/ 6439 w 9890"/>
              <a:gd name="connsiteY222" fmla="*/ 8140 h 10000"/>
              <a:gd name="connsiteX223" fmla="*/ 6662 w 9890"/>
              <a:gd name="connsiteY223" fmla="*/ 8217 h 10000"/>
              <a:gd name="connsiteX224" fmla="*/ 6780 w 9890"/>
              <a:gd name="connsiteY224" fmla="*/ 8449 h 10000"/>
              <a:gd name="connsiteX225" fmla="*/ 6835 w 9890"/>
              <a:gd name="connsiteY225" fmla="*/ 8449 h 10000"/>
              <a:gd name="connsiteX226" fmla="*/ 6950 w 9890"/>
              <a:gd name="connsiteY226" fmla="*/ 8372 h 10000"/>
              <a:gd name="connsiteX227" fmla="*/ 7291 w 9890"/>
              <a:gd name="connsiteY227" fmla="*/ 8605 h 10000"/>
              <a:gd name="connsiteX228" fmla="*/ 7458 w 9890"/>
              <a:gd name="connsiteY228" fmla="*/ 8683 h 10000"/>
              <a:gd name="connsiteX229" fmla="*/ 7683 w 9890"/>
              <a:gd name="connsiteY229" fmla="*/ 8605 h 10000"/>
              <a:gd name="connsiteX230" fmla="*/ 7796 w 9890"/>
              <a:gd name="connsiteY230" fmla="*/ 8449 h 10000"/>
              <a:gd name="connsiteX231" fmla="*/ 7965 w 9890"/>
              <a:gd name="connsiteY231" fmla="*/ 8528 h 10000"/>
              <a:gd name="connsiteX232" fmla="*/ 8078 w 9890"/>
              <a:gd name="connsiteY232" fmla="*/ 8605 h 10000"/>
              <a:gd name="connsiteX233" fmla="*/ 9890 w 9890"/>
              <a:gd name="connsiteY233" fmla="*/ 7675 h 10000"/>
              <a:gd name="connsiteX234" fmla="*/ 9831 w 9890"/>
              <a:gd name="connsiteY234" fmla="*/ 7675 h 10000"/>
              <a:gd name="connsiteX235" fmla="*/ 9773 w 9890"/>
              <a:gd name="connsiteY235" fmla="*/ 7598 h 10000"/>
              <a:gd name="connsiteX236" fmla="*/ 9665 w 9890"/>
              <a:gd name="connsiteY236" fmla="*/ 7598 h 10000"/>
              <a:gd name="connsiteX237" fmla="*/ 9665 w 9890"/>
              <a:gd name="connsiteY237" fmla="*/ 7520 h 10000"/>
              <a:gd name="connsiteX238" fmla="*/ 9831 w 9890"/>
              <a:gd name="connsiteY238" fmla="*/ 7287 h 10000"/>
              <a:gd name="connsiteX239" fmla="*/ 9096 w 9890"/>
              <a:gd name="connsiteY239" fmla="*/ 2791 h 10000"/>
              <a:gd name="connsiteX240" fmla="*/ 9153 w 9890"/>
              <a:gd name="connsiteY240" fmla="*/ 2403 h 10000"/>
              <a:gd name="connsiteX241" fmla="*/ 9040 w 9890"/>
              <a:gd name="connsiteY241" fmla="*/ 2170 h 10000"/>
              <a:gd name="connsiteX242" fmla="*/ 8700 w 9890"/>
              <a:gd name="connsiteY242" fmla="*/ 2016 h 10000"/>
              <a:gd name="connsiteX243" fmla="*/ 8584 w 9890"/>
              <a:gd name="connsiteY243" fmla="*/ 2016 h 10000"/>
              <a:gd name="connsiteX244" fmla="*/ 8531 w 9890"/>
              <a:gd name="connsiteY244" fmla="*/ 2170 h 10000"/>
              <a:gd name="connsiteX245" fmla="*/ 8584 w 9890"/>
              <a:gd name="connsiteY245" fmla="*/ 2325 h 10000"/>
              <a:gd name="connsiteX246" fmla="*/ 8139 w 9890"/>
              <a:gd name="connsiteY246" fmla="*/ 2248 h 10000"/>
              <a:gd name="connsiteX247" fmla="*/ 8191 w 9890"/>
              <a:gd name="connsiteY247" fmla="*/ 2016 h 10000"/>
              <a:gd name="connsiteX248" fmla="*/ 7910 w 9890"/>
              <a:gd name="connsiteY248" fmla="*/ 1938 h 10000"/>
              <a:gd name="connsiteX249" fmla="*/ 7739 w 9890"/>
              <a:gd name="connsiteY249" fmla="*/ 2093 h 10000"/>
              <a:gd name="connsiteX250" fmla="*/ 7410 w 9890"/>
              <a:gd name="connsiteY250" fmla="*/ 1861 h 10000"/>
              <a:gd name="connsiteX0" fmla="*/ 7492 w 9940"/>
              <a:gd name="connsiteY0" fmla="*/ 1861 h 10000"/>
              <a:gd name="connsiteX1" fmla="*/ 7492 w 9940"/>
              <a:gd name="connsiteY1" fmla="*/ 1861 h 10000"/>
              <a:gd name="connsiteX2" fmla="*/ 7426 w 9940"/>
              <a:gd name="connsiteY2" fmla="*/ 1938 h 10000"/>
              <a:gd name="connsiteX3" fmla="*/ 7492 w 9940"/>
              <a:gd name="connsiteY3" fmla="*/ 2093 h 10000"/>
              <a:gd name="connsiteX4" fmla="*/ 7254 w 9940"/>
              <a:gd name="connsiteY4" fmla="*/ 2248 h 10000"/>
              <a:gd name="connsiteX5" fmla="*/ 7194 w 9940"/>
              <a:gd name="connsiteY5" fmla="*/ 2248 h 10000"/>
              <a:gd name="connsiteX6" fmla="*/ 7254 w 9940"/>
              <a:gd name="connsiteY6" fmla="*/ 2016 h 10000"/>
              <a:gd name="connsiteX7" fmla="*/ 7825 w 9940"/>
              <a:gd name="connsiteY7" fmla="*/ 1318 h 10000"/>
              <a:gd name="connsiteX8" fmla="*/ 7825 w 9940"/>
              <a:gd name="connsiteY8" fmla="*/ 853 h 10000"/>
              <a:gd name="connsiteX9" fmla="*/ 7600 w 9940"/>
              <a:gd name="connsiteY9" fmla="*/ 543 h 10000"/>
              <a:gd name="connsiteX10" fmla="*/ 7312 w 9940"/>
              <a:gd name="connsiteY10" fmla="*/ 543 h 10000"/>
              <a:gd name="connsiteX11" fmla="*/ 7312 w 9940"/>
              <a:gd name="connsiteY11" fmla="*/ 698 h 10000"/>
              <a:gd name="connsiteX12" fmla="*/ 7137 w 9940"/>
              <a:gd name="connsiteY12" fmla="*/ 698 h 10000"/>
              <a:gd name="connsiteX13" fmla="*/ 7254 w 9940"/>
              <a:gd name="connsiteY13" fmla="*/ 387 h 10000"/>
              <a:gd name="connsiteX14" fmla="*/ 6971 w 9940"/>
              <a:gd name="connsiteY14" fmla="*/ 310 h 10000"/>
              <a:gd name="connsiteX15" fmla="*/ 7137 w 9940"/>
              <a:gd name="connsiteY15" fmla="*/ 155 h 10000"/>
              <a:gd name="connsiteX16" fmla="*/ 6971 w 9940"/>
              <a:gd name="connsiteY16" fmla="*/ 0 h 10000"/>
              <a:gd name="connsiteX17" fmla="*/ 6684 w 9940"/>
              <a:gd name="connsiteY17" fmla="*/ 387 h 10000"/>
              <a:gd name="connsiteX18" fmla="*/ 6684 w 9940"/>
              <a:gd name="connsiteY18" fmla="*/ 698 h 10000"/>
              <a:gd name="connsiteX19" fmla="*/ 6511 w 9940"/>
              <a:gd name="connsiteY19" fmla="*/ 698 h 10000"/>
              <a:gd name="connsiteX20" fmla="*/ 5999 w 9940"/>
              <a:gd name="connsiteY20" fmla="*/ 853 h 10000"/>
              <a:gd name="connsiteX21" fmla="*/ 5540 w 9940"/>
              <a:gd name="connsiteY21" fmla="*/ 1240 h 10000"/>
              <a:gd name="connsiteX22" fmla="*/ 5368 w 9940"/>
              <a:gd name="connsiteY22" fmla="*/ 1551 h 10000"/>
              <a:gd name="connsiteX23" fmla="*/ 5428 w 9940"/>
              <a:gd name="connsiteY23" fmla="*/ 1938 h 10000"/>
              <a:gd name="connsiteX24" fmla="*/ 4799 w 9940"/>
              <a:gd name="connsiteY24" fmla="*/ 2093 h 10000"/>
              <a:gd name="connsiteX25" fmla="*/ 4857 w 9940"/>
              <a:gd name="connsiteY25" fmla="*/ 2559 h 10000"/>
              <a:gd name="connsiteX26" fmla="*/ 5028 w 9940"/>
              <a:gd name="connsiteY26" fmla="*/ 2791 h 10000"/>
              <a:gd name="connsiteX27" fmla="*/ 4913 w 9940"/>
              <a:gd name="connsiteY27" fmla="*/ 2868 h 10000"/>
              <a:gd name="connsiteX28" fmla="*/ 4744 w 9940"/>
              <a:gd name="connsiteY28" fmla="*/ 2559 h 10000"/>
              <a:gd name="connsiteX29" fmla="*/ 4575 w 9940"/>
              <a:gd name="connsiteY29" fmla="*/ 2480 h 10000"/>
              <a:gd name="connsiteX30" fmla="*/ 4511 w 9940"/>
              <a:gd name="connsiteY30" fmla="*/ 2559 h 10000"/>
              <a:gd name="connsiteX31" fmla="*/ 4396 w 9940"/>
              <a:gd name="connsiteY31" fmla="*/ 2403 h 10000"/>
              <a:gd name="connsiteX32" fmla="*/ 4283 w 9940"/>
              <a:gd name="connsiteY32" fmla="*/ 2248 h 10000"/>
              <a:gd name="connsiteX33" fmla="*/ 4283 w 9940"/>
              <a:gd name="connsiteY33" fmla="*/ 2325 h 10000"/>
              <a:gd name="connsiteX34" fmla="*/ 4346 w 9940"/>
              <a:gd name="connsiteY34" fmla="*/ 2559 h 10000"/>
              <a:gd name="connsiteX35" fmla="*/ 4169 w 9940"/>
              <a:gd name="connsiteY35" fmla="*/ 2946 h 10000"/>
              <a:gd name="connsiteX36" fmla="*/ 4283 w 9940"/>
              <a:gd name="connsiteY36" fmla="*/ 3256 h 10000"/>
              <a:gd name="connsiteX37" fmla="*/ 4225 w 9940"/>
              <a:gd name="connsiteY37" fmla="*/ 3566 h 10000"/>
              <a:gd name="connsiteX38" fmla="*/ 4225 w 9940"/>
              <a:gd name="connsiteY38" fmla="*/ 3799 h 10000"/>
              <a:gd name="connsiteX39" fmla="*/ 4396 w 9940"/>
              <a:gd name="connsiteY39" fmla="*/ 3799 h 10000"/>
              <a:gd name="connsiteX40" fmla="*/ 4283 w 9940"/>
              <a:gd name="connsiteY40" fmla="*/ 3876 h 10000"/>
              <a:gd name="connsiteX41" fmla="*/ 4346 w 9940"/>
              <a:gd name="connsiteY41" fmla="*/ 4263 h 10000"/>
              <a:gd name="connsiteX42" fmla="*/ 4000 w 9940"/>
              <a:gd name="connsiteY42" fmla="*/ 4652 h 10000"/>
              <a:gd name="connsiteX43" fmla="*/ 3937 w 9940"/>
              <a:gd name="connsiteY43" fmla="*/ 4574 h 10000"/>
              <a:gd name="connsiteX44" fmla="*/ 4169 w 9940"/>
              <a:gd name="connsiteY44" fmla="*/ 4186 h 10000"/>
              <a:gd name="connsiteX45" fmla="*/ 4225 w 9940"/>
              <a:gd name="connsiteY45" fmla="*/ 3954 h 10000"/>
              <a:gd name="connsiteX46" fmla="*/ 4105 w 9940"/>
              <a:gd name="connsiteY46" fmla="*/ 3799 h 10000"/>
              <a:gd name="connsiteX47" fmla="*/ 4105 w 9940"/>
              <a:gd name="connsiteY47" fmla="*/ 3023 h 10000"/>
              <a:gd name="connsiteX48" fmla="*/ 4054 w 9940"/>
              <a:gd name="connsiteY48" fmla="*/ 2868 h 10000"/>
              <a:gd name="connsiteX49" fmla="*/ 4105 w 9940"/>
              <a:gd name="connsiteY49" fmla="*/ 2403 h 10000"/>
              <a:gd name="connsiteX50" fmla="*/ 4000 w 9940"/>
              <a:gd name="connsiteY50" fmla="*/ 2325 h 10000"/>
              <a:gd name="connsiteX51" fmla="*/ 4054 w 9940"/>
              <a:gd name="connsiteY51" fmla="*/ 2248 h 10000"/>
              <a:gd name="connsiteX52" fmla="*/ 4000 w 9940"/>
              <a:gd name="connsiteY52" fmla="*/ 2093 h 10000"/>
              <a:gd name="connsiteX53" fmla="*/ 3881 w 9940"/>
              <a:gd name="connsiteY53" fmla="*/ 2170 h 10000"/>
              <a:gd name="connsiteX54" fmla="*/ 3598 w 9940"/>
              <a:gd name="connsiteY54" fmla="*/ 3178 h 10000"/>
              <a:gd name="connsiteX55" fmla="*/ 3598 w 9940"/>
              <a:gd name="connsiteY55" fmla="*/ 3566 h 10000"/>
              <a:gd name="connsiteX56" fmla="*/ 3771 w 9940"/>
              <a:gd name="connsiteY56" fmla="*/ 3876 h 10000"/>
              <a:gd name="connsiteX57" fmla="*/ 3771 w 9940"/>
              <a:gd name="connsiteY57" fmla="*/ 4031 h 10000"/>
              <a:gd name="connsiteX58" fmla="*/ 3598 w 9940"/>
              <a:gd name="connsiteY58" fmla="*/ 3876 h 10000"/>
              <a:gd name="connsiteX59" fmla="*/ 2916 w 9940"/>
              <a:gd name="connsiteY59" fmla="*/ 3256 h 10000"/>
              <a:gd name="connsiteX60" fmla="*/ 2858 w 9940"/>
              <a:gd name="connsiteY60" fmla="*/ 3411 h 10000"/>
              <a:gd name="connsiteX61" fmla="*/ 3085 w 9940"/>
              <a:gd name="connsiteY61" fmla="*/ 3799 h 10000"/>
              <a:gd name="connsiteX62" fmla="*/ 2967 w 9940"/>
              <a:gd name="connsiteY62" fmla="*/ 3876 h 10000"/>
              <a:gd name="connsiteX63" fmla="*/ 2916 w 9940"/>
              <a:gd name="connsiteY63" fmla="*/ 3799 h 10000"/>
              <a:gd name="connsiteX64" fmla="*/ 2572 w 9940"/>
              <a:gd name="connsiteY64" fmla="*/ 3954 h 10000"/>
              <a:gd name="connsiteX65" fmla="*/ 2516 w 9940"/>
              <a:gd name="connsiteY65" fmla="*/ 4109 h 10000"/>
              <a:gd name="connsiteX66" fmla="*/ 2458 w 9940"/>
              <a:gd name="connsiteY66" fmla="*/ 3954 h 10000"/>
              <a:gd name="connsiteX67" fmla="*/ 2458 w 9940"/>
              <a:gd name="connsiteY67" fmla="*/ 3799 h 10000"/>
              <a:gd name="connsiteX68" fmla="*/ 1882 w 9940"/>
              <a:gd name="connsiteY68" fmla="*/ 4263 h 10000"/>
              <a:gd name="connsiteX69" fmla="*/ 1882 w 9940"/>
              <a:gd name="connsiteY69" fmla="*/ 4418 h 10000"/>
              <a:gd name="connsiteX70" fmla="*/ 1770 w 9940"/>
              <a:gd name="connsiteY70" fmla="*/ 4496 h 10000"/>
              <a:gd name="connsiteX71" fmla="*/ 1600 w 9940"/>
              <a:gd name="connsiteY71" fmla="*/ 4341 h 10000"/>
              <a:gd name="connsiteX72" fmla="*/ 1770 w 9940"/>
              <a:gd name="connsiteY72" fmla="*/ 4186 h 10000"/>
              <a:gd name="connsiteX73" fmla="*/ 1713 w 9940"/>
              <a:gd name="connsiteY73" fmla="*/ 3954 h 10000"/>
              <a:gd name="connsiteX74" fmla="*/ 1485 w 9940"/>
              <a:gd name="connsiteY74" fmla="*/ 3876 h 10000"/>
              <a:gd name="connsiteX75" fmla="*/ 1543 w 9940"/>
              <a:gd name="connsiteY75" fmla="*/ 4031 h 10000"/>
              <a:gd name="connsiteX76" fmla="*/ 1543 w 9940"/>
              <a:gd name="connsiteY76" fmla="*/ 4418 h 10000"/>
              <a:gd name="connsiteX77" fmla="*/ 1600 w 9940"/>
              <a:gd name="connsiteY77" fmla="*/ 4574 h 10000"/>
              <a:gd name="connsiteX78" fmla="*/ 1543 w 9940"/>
              <a:gd name="connsiteY78" fmla="*/ 4729 h 10000"/>
              <a:gd name="connsiteX79" fmla="*/ 1368 w 9940"/>
              <a:gd name="connsiteY79" fmla="*/ 4652 h 10000"/>
              <a:gd name="connsiteX80" fmla="*/ 1143 w 9940"/>
              <a:gd name="connsiteY80" fmla="*/ 4884 h 10000"/>
              <a:gd name="connsiteX81" fmla="*/ 1254 w 9940"/>
              <a:gd name="connsiteY81" fmla="*/ 5194 h 10000"/>
              <a:gd name="connsiteX82" fmla="*/ 912 w 9940"/>
              <a:gd name="connsiteY82" fmla="*/ 5039 h 10000"/>
              <a:gd name="connsiteX83" fmla="*/ 857 w 9940"/>
              <a:gd name="connsiteY83" fmla="*/ 5116 h 10000"/>
              <a:gd name="connsiteX84" fmla="*/ 973 w 9940"/>
              <a:gd name="connsiteY84" fmla="*/ 5349 h 10000"/>
              <a:gd name="connsiteX85" fmla="*/ 857 w 9940"/>
              <a:gd name="connsiteY85" fmla="*/ 5349 h 10000"/>
              <a:gd name="connsiteX86" fmla="*/ 688 w 9940"/>
              <a:gd name="connsiteY86" fmla="*/ 5194 h 10000"/>
              <a:gd name="connsiteX87" fmla="*/ 688 w 9940"/>
              <a:gd name="connsiteY87" fmla="*/ 4729 h 10000"/>
              <a:gd name="connsiteX88" fmla="*/ 517 w 9940"/>
              <a:gd name="connsiteY88" fmla="*/ 4574 h 10000"/>
              <a:gd name="connsiteX89" fmla="*/ 456 w 9940"/>
              <a:gd name="connsiteY89" fmla="*/ 4418 h 10000"/>
              <a:gd name="connsiteX90" fmla="*/ 570 w 9940"/>
              <a:gd name="connsiteY90" fmla="*/ 4496 h 10000"/>
              <a:gd name="connsiteX91" fmla="*/ 1025 w 9940"/>
              <a:gd name="connsiteY91" fmla="*/ 4729 h 10000"/>
              <a:gd name="connsiteX92" fmla="*/ 1308 w 9940"/>
              <a:gd name="connsiteY92" fmla="*/ 4496 h 10000"/>
              <a:gd name="connsiteX93" fmla="*/ 1254 w 9940"/>
              <a:gd name="connsiteY93" fmla="*/ 4263 h 10000"/>
              <a:gd name="connsiteX94" fmla="*/ 912 w 9940"/>
              <a:gd name="connsiteY94" fmla="*/ 3799 h 10000"/>
              <a:gd name="connsiteX95" fmla="*/ 570 w 9940"/>
              <a:gd name="connsiteY95" fmla="*/ 3644 h 10000"/>
              <a:gd name="connsiteX96" fmla="*/ 570 w 9940"/>
              <a:gd name="connsiteY96" fmla="*/ 3566 h 10000"/>
              <a:gd name="connsiteX97" fmla="*/ 456 w 9940"/>
              <a:gd name="connsiteY97" fmla="*/ 3488 h 10000"/>
              <a:gd name="connsiteX98" fmla="*/ 340 w 9940"/>
              <a:gd name="connsiteY98" fmla="*/ 3566 h 10000"/>
              <a:gd name="connsiteX99" fmla="*/ 340 w 9940"/>
              <a:gd name="connsiteY99" fmla="*/ 3644 h 10000"/>
              <a:gd name="connsiteX100" fmla="*/ 284 w 9940"/>
              <a:gd name="connsiteY100" fmla="*/ 3644 h 10000"/>
              <a:gd name="connsiteX101" fmla="*/ 172 w 9940"/>
              <a:gd name="connsiteY101" fmla="*/ 3799 h 10000"/>
              <a:gd name="connsiteX102" fmla="*/ 172 w 9940"/>
              <a:gd name="connsiteY102" fmla="*/ 4031 h 10000"/>
              <a:gd name="connsiteX103" fmla="*/ 284 w 9940"/>
              <a:gd name="connsiteY103" fmla="*/ 4186 h 10000"/>
              <a:gd name="connsiteX104" fmla="*/ 230 w 9940"/>
              <a:gd name="connsiteY104" fmla="*/ 4418 h 10000"/>
              <a:gd name="connsiteX105" fmla="*/ 284 w 9940"/>
              <a:gd name="connsiteY105" fmla="*/ 4807 h 10000"/>
              <a:gd name="connsiteX106" fmla="*/ 230 w 9940"/>
              <a:gd name="connsiteY106" fmla="*/ 5039 h 10000"/>
              <a:gd name="connsiteX107" fmla="*/ 340 w 9940"/>
              <a:gd name="connsiteY107" fmla="*/ 5271 h 10000"/>
              <a:gd name="connsiteX108" fmla="*/ 284 w 9940"/>
              <a:gd name="connsiteY108" fmla="*/ 5426 h 10000"/>
              <a:gd name="connsiteX109" fmla="*/ 398 w 9940"/>
              <a:gd name="connsiteY109" fmla="*/ 5582 h 10000"/>
              <a:gd name="connsiteX110" fmla="*/ 398 w 9940"/>
              <a:gd name="connsiteY110" fmla="*/ 5659 h 10000"/>
              <a:gd name="connsiteX111" fmla="*/ 230 w 9940"/>
              <a:gd name="connsiteY111" fmla="*/ 6047 h 10000"/>
              <a:gd name="connsiteX112" fmla="*/ 52 w 9940"/>
              <a:gd name="connsiteY112" fmla="*/ 6202 h 10000"/>
              <a:gd name="connsiteX113" fmla="*/ 112 w 9940"/>
              <a:gd name="connsiteY113" fmla="*/ 6202 h 10000"/>
              <a:gd name="connsiteX114" fmla="*/ 230 w 9940"/>
              <a:gd name="connsiteY114" fmla="*/ 6356 h 10000"/>
              <a:gd name="connsiteX115" fmla="*/ 112 w 9940"/>
              <a:gd name="connsiteY115" fmla="*/ 6512 h 10000"/>
              <a:gd name="connsiteX116" fmla="*/ 52 w 9940"/>
              <a:gd name="connsiteY116" fmla="*/ 6590 h 10000"/>
              <a:gd name="connsiteX117" fmla="*/ 0 w 9940"/>
              <a:gd name="connsiteY117" fmla="*/ 6590 h 10000"/>
              <a:gd name="connsiteX118" fmla="*/ 52 w 9940"/>
              <a:gd name="connsiteY118" fmla="*/ 6822 h 10000"/>
              <a:gd name="connsiteX119" fmla="*/ 52 w 9940"/>
              <a:gd name="connsiteY119" fmla="*/ 6900 h 10000"/>
              <a:gd name="connsiteX120" fmla="*/ 52 w 9940"/>
              <a:gd name="connsiteY120" fmla="*/ 6977 h 10000"/>
              <a:gd name="connsiteX121" fmla="*/ 52 w 9940"/>
              <a:gd name="connsiteY121" fmla="*/ 7054 h 10000"/>
              <a:gd name="connsiteX122" fmla="*/ 112 w 9940"/>
              <a:gd name="connsiteY122" fmla="*/ 7209 h 10000"/>
              <a:gd name="connsiteX123" fmla="*/ 284 w 9940"/>
              <a:gd name="connsiteY123" fmla="*/ 7287 h 10000"/>
              <a:gd name="connsiteX124" fmla="*/ 340 w 9940"/>
              <a:gd name="connsiteY124" fmla="*/ 7364 h 10000"/>
              <a:gd name="connsiteX125" fmla="*/ 340 w 9940"/>
              <a:gd name="connsiteY125" fmla="*/ 7520 h 10000"/>
              <a:gd name="connsiteX126" fmla="*/ 456 w 9940"/>
              <a:gd name="connsiteY126" fmla="*/ 7752 h 10000"/>
              <a:gd name="connsiteX127" fmla="*/ 517 w 9940"/>
              <a:gd name="connsiteY127" fmla="*/ 7752 h 10000"/>
              <a:gd name="connsiteX128" fmla="*/ 456 w 9940"/>
              <a:gd name="connsiteY128" fmla="*/ 7907 h 10000"/>
              <a:gd name="connsiteX129" fmla="*/ 398 w 9940"/>
              <a:gd name="connsiteY129" fmla="*/ 7830 h 10000"/>
              <a:gd name="connsiteX130" fmla="*/ 398 w 9940"/>
              <a:gd name="connsiteY130" fmla="*/ 7907 h 10000"/>
              <a:gd name="connsiteX131" fmla="*/ 456 w 9940"/>
              <a:gd name="connsiteY131" fmla="*/ 8062 h 10000"/>
              <a:gd name="connsiteX132" fmla="*/ 630 w 9940"/>
              <a:gd name="connsiteY132" fmla="*/ 8062 h 10000"/>
              <a:gd name="connsiteX133" fmla="*/ 688 w 9940"/>
              <a:gd name="connsiteY133" fmla="*/ 8140 h 10000"/>
              <a:gd name="connsiteX134" fmla="*/ 630 w 9940"/>
              <a:gd name="connsiteY134" fmla="*/ 8140 h 10000"/>
              <a:gd name="connsiteX135" fmla="*/ 688 w 9940"/>
              <a:gd name="connsiteY135" fmla="*/ 8217 h 10000"/>
              <a:gd name="connsiteX136" fmla="*/ 742 w 9940"/>
              <a:gd name="connsiteY136" fmla="*/ 8217 h 10000"/>
              <a:gd name="connsiteX137" fmla="*/ 798 w 9940"/>
              <a:gd name="connsiteY137" fmla="*/ 8372 h 10000"/>
              <a:gd name="connsiteX138" fmla="*/ 857 w 9940"/>
              <a:gd name="connsiteY138" fmla="*/ 8449 h 10000"/>
              <a:gd name="connsiteX139" fmla="*/ 912 w 9940"/>
              <a:gd name="connsiteY139" fmla="*/ 8372 h 10000"/>
              <a:gd name="connsiteX140" fmla="*/ 1201 w 9940"/>
              <a:gd name="connsiteY140" fmla="*/ 8605 h 10000"/>
              <a:gd name="connsiteX141" fmla="*/ 1143 w 9940"/>
              <a:gd name="connsiteY141" fmla="*/ 8915 h 10000"/>
              <a:gd name="connsiteX142" fmla="*/ 1085 w 9940"/>
              <a:gd name="connsiteY142" fmla="*/ 8838 h 10000"/>
              <a:gd name="connsiteX143" fmla="*/ 1025 w 9940"/>
              <a:gd name="connsiteY143" fmla="*/ 8915 h 10000"/>
              <a:gd name="connsiteX144" fmla="*/ 1025 w 9940"/>
              <a:gd name="connsiteY144" fmla="*/ 9070 h 10000"/>
              <a:gd name="connsiteX145" fmla="*/ 1085 w 9940"/>
              <a:gd name="connsiteY145" fmla="*/ 8993 h 10000"/>
              <a:gd name="connsiteX146" fmla="*/ 1143 w 9940"/>
              <a:gd name="connsiteY146" fmla="*/ 9070 h 10000"/>
              <a:gd name="connsiteX147" fmla="*/ 973 w 9940"/>
              <a:gd name="connsiteY147" fmla="*/ 9147 h 10000"/>
              <a:gd name="connsiteX148" fmla="*/ 1025 w 9940"/>
              <a:gd name="connsiteY148" fmla="*/ 9225 h 10000"/>
              <a:gd name="connsiteX149" fmla="*/ 912 w 9940"/>
              <a:gd name="connsiteY149" fmla="*/ 9380 h 10000"/>
              <a:gd name="connsiteX150" fmla="*/ 857 w 9940"/>
              <a:gd name="connsiteY150" fmla="*/ 9380 h 10000"/>
              <a:gd name="connsiteX151" fmla="*/ 912 w 9940"/>
              <a:gd name="connsiteY151" fmla="*/ 9380 h 10000"/>
              <a:gd name="connsiteX152" fmla="*/ 1143 w 9940"/>
              <a:gd name="connsiteY152" fmla="*/ 9691 h 10000"/>
              <a:gd name="connsiteX153" fmla="*/ 1429 w 9940"/>
              <a:gd name="connsiteY153" fmla="*/ 9691 h 10000"/>
              <a:gd name="connsiteX154" fmla="*/ 1543 w 9940"/>
              <a:gd name="connsiteY154" fmla="*/ 9768 h 10000"/>
              <a:gd name="connsiteX155" fmla="*/ 1657 w 9940"/>
              <a:gd name="connsiteY155" fmla="*/ 9768 h 10000"/>
              <a:gd name="connsiteX156" fmla="*/ 1770 w 9940"/>
              <a:gd name="connsiteY156" fmla="*/ 9923 h 10000"/>
              <a:gd name="connsiteX157" fmla="*/ 1828 w 9940"/>
              <a:gd name="connsiteY157" fmla="*/ 10000 h 10000"/>
              <a:gd name="connsiteX158" fmla="*/ 1882 w 9940"/>
              <a:gd name="connsiteY158" fmla="*/ 10000 h 10000"/>
              <a:gd name="connsiteX159" fmla="*/ 1942 w 9940"/>
              <a:gd name="connsiteY159" fmla="*/ 9923 h 10000"/>
              <a:gd name="connsiteX160" fmla="*/ 1828 w 9940"/>
              <a:gd name="connsiteY160" fmla="*/ 9768 h 10000"/>
              <a:gd name="connsiteX161" fmla="*/ 1828 w 9940"/>
              <a:gd name="connsiteY161" fmla="*/ 9613 h 10000"/>
              <a:gd name="connsiteX162" fmla="*/ 1770 w 9940"/>
              <a:gd name="connsiteY162" fmla="*/ 9457 h 10000"/>
              <a:gd name="connsiteX163" fmla="*/ 1882 w 9940"/>
              <a:gd name="connsiteY163" fmla="*/ 9225 h 10000"/>
              <a:gd name="connsiteX164" fmla="*/ 1942 w 9940"/>
              <a:gd name="connsiteY164" fmla="*/ 9302 h 10000"/>
              <a:gd name="connsiteX165" fmla="*/ 1999 w 9940"/>
              <a:gd name="connsiteY165" fmla="*/ 9225 h 10000"/>
              <a:gd name="connsiteX166" fmla="*/ 1999 w 9940"/>
              <a:gd name="connsiteY166" fmla="*/ 9147 h 10000"/>
              <a:gd name="connsiteX167" fmla="*/ 1942 w 9940"/>
              <a:gd name="connsiteY167" fmla="*/ 9147 h 10000"/>
              <a:gd name="connsiteX168" fmla="*/ 1999 w 9940"/>
              <a:gd name="connsiteY168" fmla="*/ 9070 h 10000"/>
              <a:gd name="connsiteX169" fmla="*/ 1942 w 9940"/>
              <a:gd name="connsiteY169" fmla="*/ 8915 h 10000"/>
              <a:gd name="connsiteX170" fmla="*/ 1828 w 9940"/>
              <a:gd name="connsiteY170" fmla="*/ 8915 h 10000"/>
              <a:gd name="connsiteX171" fmla="*/ 1770 w 9940"/>
              <a:gd name="connsiteY171" fmla="*/ 8760 h 10000"/>
              <a:gd name="connsiteX172" fmla="*/ 1828 w 9940"/>
              <a:gd name="connsiteY172" fmla="*/ 8372 h 10000"/>
              <a:gd name="connsiteX173" fmla="*/ 1942 w 9940"/>
              <a:gd name="connsiteY173" fmla="*/ 8528 h 10000"/>
              <a:gd name="connsiteX174" fmla="*/ 1999 w 9940"/>
              <a:gd name="connsiteY174" fmla="*/ 8528 h 10000"/>
              <a:gd name="connsiteX175" fmla="*/ 1942 w 9940"/>
              <a:gd name="connsiteY175" fmla="*/ 8372 h 10000"/>
              <a:gd name="connsiteX176" fmla="*/ 2114 w 9940"/>
              <a:gd name="connsiteY176" fmla="*/ 8140 h 10000"/>
              <a:gd name="connsiteX177" fmla="*/ 2231 w 9940"/>
              <a:gd name="connsiteY177" fmla="*/ 8217 h 10000"/>
              <a:gd name="connsiteX178" fmla="*/ 2285 w 9940"/>
              <a:gd name="connsiteY178" fmla="*/ 8140 h 10000"/>
              <a:gd name="connsiteX179" fmla="*/ 2397 w 9940"/>
              <a:gd name="connsiteY179" fmla="*/ 8217 h 10000"/>
              <a:gd name="connsiteX180" fmla="*/ 2572 w 9940"/>
              <a:gd name="connsiteY180" fmla="*/ 8372 h 10000"/>
              <a:gd name="connsiteX181" fmla="*/ 2684 w 9940"/>
              <a:gd name="connsiteY181" fmla="*/ 8295 h 10000"/>
              <a:gd name="connsiteX182" fmla="*/ 2800 w 9940"/>
              <a:gd name="connsiteY182" fmla="*/ 8295 h 10000"/>
              <a:gd name="connsiteX183" fmla="*/ 2858 w 9940"/>
              <a:gd name="connsiteY183" fmla="*/ 8372 h 10000"/>
              <a:gd name="connsiteX184" fmla="*/ 3085 w 9940"/>
              <a:gd name="connsiteY184" fmla="*/ 8372 h 10000"/>
              <a:gd name="connsiteX185" fmla="*/ 3140 w 9940"/>
              <a:gd name="connsiteY185" fmla="*/ 8217 h 10000"/>
              <a:gd name="connsiteX186" fmla="*/ 2967 w 9940"/>
              <a:gd name="connsiteY186" fmla="*/ 8140 h 10000"/>
              <a:gd name="connsiteX187" fmla="*/ 3085 w 9940"/>
              <a:gd name="connsiteY187" fmla="*/ 8062 h 10000"/>
              <a:gd name="connsiteX188" fmla="*/ 3025 w 9940"/>
              <a:gd name="connsiteY188" fmla="*/ 7985 h 10000"/>
              <a:gd name="connsiteX189" fmla="*/ 3085 w 9940"/>
              <a:gd name="connsiteY189" fmla="*/ 7907 h 10000"/>
              <a:gd name="connsiteX190" fmla="*/ 3085 w 9940"/>
              <a:gd name="connsiteY190" fmla="*/ 7675 h 10000"/>
              <a:gd name="connsiteX191" fmla="*/ 3197 w 9940"/>
              <a:gd name="connsiteY191" fmla="*/ 7752 h 10000"/>
              <a:gd name="connsiteX192" fmla="*/ 3713 w 9940"/>
              <a:gd name="connsiteY192" fmla="*/ 7520 h 10000"/>
              <a:gd name="connsiteX193" fmla="*/ 3713 w 9940"/>
              <a:gd name="connsiteY193" fmla="*/ 7442 h 10000"/>
              <a:gd name="connsiteX194" fmla="*/ 3771 w 9940"/>
              <a:gd name="connsiteY194" fmla="*/ 7442 h 10000"/>
              <a:gd name="connsiteX195" fmla="*/ 3937 w 9940"/>
              <a:gd name="connsiteY195" fmla="*/ 7442 h 10000"/>
              <a:gd name="connsiteX196" fmla="*/ 4000 w 9940"/>
              <a:gd name="connsiteY196" fmla="*/ 7598 h 10000"/>
              <a:gd name="connsiteX197" fmla="*/ 4000 w 9940"/>
              <a:gd name="connsiteY197" fmla="*/ 7675 h 10000"/>
              <a:gd name="connsiteX198" fmla="*/ 4054 w 9940"/>
              <a:gd name="connsiteY198" fmla="*/ 7675 h 10000"/>
              <a:gd name="connsiteX199" fmla="*/ 4169 w 9940"/>
              <a:gd name="connsiteY199" fmla="*/ 7752 h 10000"/>
              <a:gd name="connsiteX200" fmla="*/ 4169 w 9940"/>
              <a:gd name="connsiteY200" fmla="*/ 7830 h 10000"/>
              <a:gd name="connsiteX201" fmla="*/ 4283 w 9940"/>
              <a:gd name="connsiteY201" fmla="*/ 7830 h 10000"/>
              <a:gd name="connsiteX202" fmla="*/ 4396 w 9940"/>
              <a:gd name="connsiteY202" fmla="*/ 7675 h 10000"/>
              <a:gd name="connsiteX203" fmla="*/ 4511 w 9940"/>
              <a:gd name="connsiteY203" fmla="*/ 7598 h 10000"/>
              <a:gd name="connsiteX204" fmla="*/ 4575 w 9940"/>
              <a:gd name="connsiteY204" fmla="*/ 7830 h 10000"/>
              <a:gd name="connsiteX205" fmla="*/ 4799 w 9940"/>
              <a:gd name="connsiteY205" fmla="*/ 8372 h 10000"/>
              <a:gd name="connsiteX206" fmla="*/ 4857 w 9940"/>
              <a:gd name="connsiteY206" fmla="*/ 8217 h 10000"/>
              <a:gd name="connsiteX207" fmla="*/ 4913 w 9940"/>
              <a:gd name="connsiteY207" fmla="*/ 8372 h 10000"/>
              <a:gd name="connsiteX208" fmla="*/ 5084 w 9940"/>
              <a:gd name="connsiteY208" fmla="*/ 8295 h 10000"/>
              <a:gd name="connsiteX209" fmla="*/ 5258 w 9940"/>
              <a:gd name="connsiteY209" fmla="*/ 8528 h 10000"/>
              <a:gd name="connsiteX210" fmla="*/ 5368 w 9940"/>
              <a:gd name="connsiteY210" fmla="*/ 8605 h 10000"/>
              <a:gd name="connsiteX211" fmla="*/ 5368 w 9940"/>
              <a:gd name="connsiteY211" fmla="*/ 8528 h 10000"/>
              <a:gd name="connsiteX212" fmla="*/ 5428 w 9940"/>
              <a:gd name="connsiteY212" fmla="*/ 8683 h 10000"/>
              <a:gd name="connsiteX213" fmla="*/ 5368 w 9940"/>
              <a:gd name="connsiteY213" fmla="*/ 8760 h 10000"/>
              <a:gd name="connsiteX214" fmla="*/ 5486 w 9940"/>
              <a:gd name="connsiteY214" fmla="*/ 8683 h 10000"/>
              <a:gd name="connsiteX215" fmla="*/ 5540 w 9940"/>
              <a:gd name="connsiteY215" fmla="*/ 8605 h 10000"/>
              <a:gd name="connsiteX216" fmla="*/ 5824 w 9940"/>
              <a:gd name="connsiteY216" fmla="*/ 8372 h 10000"/>
              <a:gd name="connsiteX217" fmla="*/ 6055 w 9940"/>
              <a:gd name="connsiteY217" fmla="*/ 8449 h 10000"/>
              <a:gd name="connsiteX218" fmla="*/ 6167 w 9940"/>
              <a:gd name="connsiteY218" fmla="*/ 8528 h 10000"/>
              <a:gd name="connsiteX219" fmla="*/ 6395 w 9940"/>
              <a:gd name="connsiteY219" fmla="*/ 8528 h 10000"/>
              <a:gd name="connsiteX220" fmla="*/ 6395 w 9940"/>
              <a:gd name="connsiteY220" fmla="*/ 8372 h 10000"/>
              <a:gd name="connsiteX221" fmla="*/ 6395 w 9940"/>
              <a:gd name="connsiteY221" fmla="*/ 8217 h 10000"/>
              <a:gd name="connsiteX222" fmla="*/ 6511 w 9940"/>
              <a:gd name="connsiteY222" fmla="*/ 8140 h 10000"/>
              <a:gd name="connsiteX223" fmla="*/ 6736 w 9940"/>
              <a:gd name="connsiteY223" fmla="*/ 8217 h 10000"/>
              <a:gd name="connsiteX224" fmla="*/ 6855 w 9940"/>
              <a:gd name="connsiteY224" fmla="*/ 8449 h 10000"/>
              <a:gd name="connsiteX225" fmla="*/ 6911 w 9940"/>
              <a:gd name="connsiteY225" fmla="*/ 8449 h 10000"/>
              <a:gd name="connsiteX226" fmla="*/ 7027 w 9940"/>
              <a:gd name="connsiteY226" fmla="*/ 8372 h 10000"/>
              <a:gd name="connsiteX227" fmla="*/ 7372 w 9940"/>
              <a:gd name="connsiteY227" fmla="*/ 8605 h 10000"/>
              <a:gd name="connsiteX228" fmla="*/ 7541 w 9940"/>
              <a:gd name="connsiteY228" fmla="*/ 8683 h 10000"/>
              <a:gd name="connsiteX229" fmla="*/ 7768 w 9940"/>
              <a:gd name="connsiteY229" fmla="*/ 8605 h 10000"/>
              <a:gd name="connsiteX230" fmla="*/ 7883 w 9940"/>
              <a:gd name="connsiteY230" fmla="*/ 8449 h 10000"/>
              <a:gd name="connsiteX231" fmla="*/ 8054 w 9940"/>
              <a:gd name="connsiteY231" fmla="*/ 8528 h 10000"/>
              <a:gd name="connsiteX232" fmla="*/ 8168 w 9940"/>
              <a:gd name="connsiteY232" fmla="*/ 8605 h 10000"/>
              <a:gd name="connsiteX233" fmla="*/ 9940 w 9940"/>
              <a:gd name="connsiteY233" fmla="*/ 7675 h 10000"/>
              <a:gd name="connsiteX234" fmla="*/ 9882 w 9940"/>
              <a:gd name="connsiteY234" fmla="*/ 7598 h 10000"/>
              <a:gd name="connsiteX235" fmla="*/ 9772 w 9940"/>
              <a:gd name="connsiteY235" fmla="*/ 7598 h 10000"/>
              <a:gd name="connsiteX236" fmla="*/ 9772 w 9940"/>
              <a:gd name="connsiteY236" fmla="*/ 7520 h 10000"/>
              <a:gd name="connsiteX237" fmla="*/ 9940 w 9940"/>
              <a:gd name="connsiteY237" fmla="*/ 7287 h 10000"/>
              <a:gd name="connsiteX238" fmla="*/ 9197 w 9940"/>
              <a:gd name="connsiteY238" fmla="*/ 2791 h 10000"/>
              <a:gd name="connsiteX239" fmla="*/ 9255 w 9940"/>
              <a:gd name="connsiteY239" fmla="*/ 2403 h 10000"/>
              <a:gd name="connsiteX240" fmla="*/ 9141 w 9940"/>
              <a:gd name="connsiteY240" fmla="*/ 2170 h 10000"/>
              <a:gd name="connsiteX241" fmla="*/ 8797 w 9940"/>
              <a:gd name="connsiteY241" fmla="*/ 2016 h 10000"/>
              <a:gd name="connsiteX242" fmla="*/ 8679 w 9940"/>
              <a:gd name="connsiteY242" fmla="*/ 2016 h 10000"/>
              <a:gd name="connsiteX243" fmla="*/ 8626 w 9940"/>
              <a:gd name="connsiteY243" fmla="*/ 2170 h 10000"/>
              <a:gd name="connsiteX244" fmla="*/ 8679 w 9940"/>
              <a:gd name="connsiteY244" fmla="*/ 2325 h 10000"/>
              <a:gd name="connsiteX245" fmla="*/ 8230 w 9940"/>
              <a:gd name="connsiteY245" fmla="*/ 2248 h 10000"/>
              <a:gd name="connsiteX246" fmla="*/ 8282 w 9940"/>
              <a:gd name="connsiteY246" fmla="*/ 2016 h 10000"/>
              <a:gd name="connsiteX247" fmla="*/ 7998 w 9940"/>
              <a:gd name="connsiteY247" fmla="*/ 1938 h 10000"/>
              <a:gd name="connsiteX248" fmla="*/ 7825 w 9940"/>
              <a:gd name="connsiteY248" fmla="*/ 2093 h 10000"/>
              <a:gd name="connsiteX249" fmla="*/ 7492 w 9940"/>
              <a:gd name="connsiteY249" fmla="*/ 1861 h 10000"/>
              <a:gd name="connsiteX0" fmla="*/ 7537 w 10000"/>
              <a:gd name="connsiteY0" fmla="*/ 1861 h 10000"/>
              <a:gd name="connsiteX1" fmla="*/ 7537 w 10000"/>
              <a:gd name="connsiteY1" fmla="*/ 1861 h 10000"/>
              <a:gd name="connsiteX2" fmla="*/ 7471 w 10000"/>
              <a:gd name="connsiteY2" fmla="*/ 1938 h 10000"/>
              <a:gd name="connsiteX3" fmla="*/ 7537 w 10000"/>
              <a:gd name="connsiteY3" fmla="*/ 2093 h 10000"/>
              <a:gd name="connsiteX4" fmla="*/ 7298 w 10000"/>
              <a:gd name="connsiteY4" fmla="*/ 2248 h 10000"/>
              <a:gd name="connsiteX5" fmla="*/ 7237 w 10000"/>
              <a:gd name="connsiteY5" fmla="*/ 2248 h 10000"/>
              <a:gd name="connsiteX6" fmla="*/ 7298 w 10000"/>
              <a:gd name="connsiteY6" fmla="*/ 2016 h 10000"/>
              <a:gd name="connsiteX7" fmla="*/ 7872 w 10000"/>
              <a:gd name="connsiteY7" fmla="*/ 1318 h 10000"/>
              <a:gd name="connsiteX8" fmla="*/ 7872 w 10000"/>
              <a:gd name="connsiteY8" fmla="*/ 853 h 10000"/>
              <a:gd name="connsiteX9" fmla="*/ 7646 w 10000"/>
              <a:gd name="connsiteY9" fmla="*/ 543 h 10000"/>
              <a:gd name="connsiteX10" fmla="*/ 7356 w 10000"/>
              <a:gd name="connsiteY10" fmla="*/ 543 h 10000"/>
              <a:gd name="connsiteX11" fmla="*/ 7356 w 10000"/>
              <a:gd name="connsiteY11" fmla="*/ 698 h 10000"/>
              <a:gd name="connsiteX12" fmla="*/ 7180 w 10000"/>
              <a:gd name="connsiteY12" fmla="*/ 698 h 10000"/>
              <a:gd name="connsiteX13" fmla="*/ 7298 w 10000"/>
              <a:gd name="connsiteY13" fmla="*/ 387 h 10000"/>
              <a:gd name="connsiteX14" fmla="*/ 7013 w 10000"/>
              <a:gd name="connsiteY14" fmla="*/ 310 h 10000"/>
              <a:gd name="connsiteX15" fmla="*/ 7180 w 10000"/>
              <a:gd name="connsiteY15" fmla="*/ 155 h 10000"/>
              <a:gd name="connsiteX16" fmla="*/ 7013 w 10000"/>
              <a:gd name="connsiteY16" fmla="*/ 0 h 10000"/>
              <a:gd name="connsiteX17" fmla="*/ 6724 w 10000"/>
              <a:gd name="connsiteY17" fmla="*/ 387 h 10000"/>
              <a:gd name="connsiteX18" fmla="*/ 6724 w 10000"/>
              <a:gd name="connsiteY18" fmla="*/ 698 h 10000"/>
              <a:gd name="connsiteX19" fmla="*/ 6550 w 10000"/>
              <a:gd name="connsiteY19" fmla="*/ 698 h 10000"/>
              <a:gd name="connsiteX20" fmla="*/ 6035 w 10000"/>
              <a:gd name="connsiteY20" fmla="*/ 853 h 10000"/>
              <a:gd name="connsiteX21" fmla="*/ 5573 w 10000"/>
              <a:gd name="connsiteY21" fmla="*/ 1240 h 10000"/>
              <a:gd name="connsiteX22" fmla="*/ 5400 w 10000"/>
              <a:gd name="connsiteY22" fmla="*/ 1551 h 10000"/>
              <a:gd name="connsiteX23" fmla="*/ 5461 w 10000"/>
              <a:gd name="connsiteY23" fmla="*/ 1938 h 10000"/>
              <a:gd name="connsiteX24" fmla="*/ 4828 w 10000"/>
              <a:gd name="connsiteY24" fmla="*/ 2093 h 10000"/>
              <a:gd name="connsiteX25" fmla="*/ 4886 w 10000"/>
              <a:gd name="connsiteY25" fmla="*/ 2559 h 10000"/>
              <a:gd name="connsiteX26" fmla="*/ 5058 w 10000"/>
              <a:gd name="connsiteY26" fmla="*/ 2791 h 10000"/>
              <a:gd name="connsiteX27" fmla="*/ 4943 w 10000"/>
              <a:gd name="connsiteY27" fmla="*/ 2868 h 10000"/>
              <a:gd name="connsiteX28" fmla="*/ 4773 w 10000"/>
              <a:gd name="connsiteY28" fmla="*/ 2559 h 10000"/>
              <a:gd name="connsiteX29" fmla="*/ 4603 w 10000"/>
              <a:gd name="connsiteY29" fmla="*/ 2480 h 10000"/>
              <a:gd name="connsiteX30" fmla="*/ 4538 w 10000"/>
              <a:gd name="connsiteY30" fmla="*/ 2559 h 10000"/>
              <a:gd name="connsiteX31" fmla="*/ 4423 w 10000"/>
              <a:gd name="connsiteY31" fmla="*/ 2403 h 10000"/>
              <a:gd name="connsiteX32" fmla="*/ 4309 w 10000"/>
              <a:gd name="connsiteY32" fmla="*/ 2248 h 10000"/>
              <a:gd name="connsiteX33" fmla="*/ 4309 w 10000"/>
              <a:gd name="connsiteY33" fmla="*/ 2325 h 10000"/>
              <a:gd name="connsiteX34" fmla="*/ 4372 w 10000"/>
              <a:gd name="connsiteY34" fmla="*/ 2559 h 10000"/>
              <a:gd name="connsiteX35" fmla="*/ 4194 w 10000"/>
              <a:gd name="connsiteY35" fmla="*/ 2946 h 10000"/>
              <a:gd name="connsiteX36" fmla="*/ 4309 w 10000"/>
              <a:gd name="connsiteY36" fmla="*/ 3256 h 10000"/>
              <a:gd name="connsiteX37" fmla="*/ 4251 w 10000"/>
              <a:gd name="connsiteY37" fmla="*/ 3566 h 10000"/>
              <a:gd name="connsiteX38" fmla="*/ 4251 w 10000"/>
              <a:gd name="connsiteY38" fmla="*/ 3799 h 10000"/>
              <a:gd name="connsiteX39" fmla="*/ 4423 w 10000"/>
              <a:gd name="connsiteY39" fmla="*/ 3799 h 10000"/>
              <a:gd name="connsiteX40" fmla="*/ 4309 w 10000"/>
              <a:gd name="connsiteY40" fmla="*/ 3876 h 10000"/>
              <a:gd name="connsiteX41" fmla="*/ 4372 w 10000"/>
              <a:gd name="connsiteY41" fmla="*/ 4263 h 10000"/>
              <a:gd name="connsiteX42" fmla="*/ 4024 w 10000"/>
              <a:gd name="connsiteY42" fmla="*/ 4652 h 10000"/>
              <a:gd name="connsiteX43" fmla="*/ 3961 w 10000"/>
              <a:gd name="connsiteY43" fmla="*/ 4574 h 10000"/>
              <a:gd name="connsiteX44" fmla="*/ 4194 w 10000"/>
              <a:gd name="connsiteY44" fmla="*/ 4186 h 10000"/>
              <a:gd name="connsiteX45" fmla="*/ 4251 w 10000"/>
              <a:gd name="connsiteY45" fmla="*/ 3954 h 10000"/>
              <a:gd name="connsiteX46" fmla="*/ 4130 w 10000"/>
              <a:gd name="connsiteY46" fmla="*/ 3799 h 10000"/>
              <a:gd name="connsiteX47" fmla="*/ 4130 w 10000"/>
              <a:gd name="connsiteY47" fmla="*/ 3023 h 10000"/>
              <a:gd name="connsiteX48" fmla="*/ 4078 w 10000"/>
              <a:gd name="connsiteY48" fmla="*/ 2868 h 10000"/>
              <a:gd name="connsiteX49" fmla="*/ 4130 w 10000"/>
              <a:gd name="connsiteY49" fmla="*/ 2403 h 10000"/>
              <a:gd name="connsiteX50" fmla="*/ 4024 w 10000"/>
              <a:gd name="connsiteY50" fmla="*/ 2325 h 10000"/>
              <a:gd name="connsiteX51" fmla="*/ 4078 w 10000"/>
              <a:gd name="connsiteY51" fmla="*/ 2248 h 10000"/>
              <a:gd name="connsiteX52" fmla="*/ 4024 w 10000"/>
              <a:gd name="connsiteY52" fmla="*/ 2093 h 10000"/>
              <a:gd name="connsiteX53" fmla="*/ 3904 w 10000"/>
              <a:gd name="connsiteY53" fmla="*/ 2170 h 10000"/>
              <a:gd name="connsiteX54" fmla="*/ 3620 w 10000"/>
              <a:gd name="connsiteY54" fmla="*/ 3178 h 10000"/>
              <a:gd name="connsiteX55" fmla="*/ 3620 w 10000"/>
              <a:gd name="connsiteY55" fmla="*/ 3566 h 10000"/>
              <a:gd name="connsiteX56" fmla="*/ 3794 w 10000"/>
              <a:gd name="connsiteY56" fmla="*/ 3876 h 10000"/>
              <a:gd name="connsiteX57" fmla="*/ 3794 w 10000"/>
              <a:gd name="connsiteY57" fmla="*/ 4031 h 10000"/>
              <a:gd name="connsiteX58" fmla="*/ 3620 w 10000"/>
              <a:gd name="connsiteY58" fmla="*/ 3876 h 10000"/>
              <a:gd name="connsiteX59" fmla="*/ 2934 w 10000"/>
              <a:gd name="connsiteY59" fmla="*/ 3256 h 10000"/>
              <a:gd name="connsiteX60" fmla="*/ 2875 w 10000"/>
              <a:gd name="connsiteY60" fmla="*/ 3411 h 10000"/>
              <a:gd name="connsiteX61" fmla="*/ 3104 w 10000"/>
              <a:gd name="connsiteY61" fmla="*/ 3799 h 10000"/>
              <a:gd name="connsiteX62" fmla="*/ 2985 w 10000"/>
              <a:gd name="connsiteY62" fmla="*/ 3876 h 10000"/>
              <a:gd name="connsiteX63" fmla="*/ 2934 w 10000"/>
              <a:gd name="connsiteY63" fmla="*/ 3799 h 10000"/>
              <a:gd name="connsiteX64" fmla="*/ 2588 w 10000"/>
              <a:gd name="connsiteY64" fmla="*/ 3954 h 10000"/>
              <a:gd name="connsiteX65" fmla="*/ 2531 w 10000"/>
              <a:gd name="connsiteY65" fmla="*/ 4109 h 10000"/>
              <a:gd name="connsiteX66" fmla="*/ 2473 w 10000"/>
              <a:gd name="connsiteY66" fmla="*/ 3954 h 10000"/>
              <a:gd name="connsiteX67" fmla="*/ 2473 w 10000"/>
              <a:gd name="connsiteY67" fmla="*/ 3799 h 10000"/>
              <a:gd name="connsiteX68" fmla="*/ 1893 w 10000"/>
              <a:gd name="connsiteY68" fmla="*/ 4263 h 10000"/>
              <a:gd name="connsiteX69" fmla="*/ 1893 w 10000"/>
              <a:gd name="connsiteY69" fmla="*/ 4418 h 10000"/>
              <a:gd name="connsiteX70" fmla="*/ 1781 w 10000"/>
              <a:gd name="connsiteY70" fmla="*/ 4496 h 10000"/>
              <a:gd name="connsiteX71" fmla="*/ 1610 w 10000"/>
              <a:gd name="connsiteY71" fmla="*/ 4341 h 10000"/>
              <a:gd name="connsiteX72" fmla="*/ 1781 w 10000"/>
              <a:gd name="connsiteY72" fmla="*/ 4186 h 10000"/>
              <a:gd name="connsiteX73" fmla="*/ 1723 w 10000"/>
              <a:gd name="connsiteY73" fmla="*/ 3954 h 10000"/>
              <a:gd name="connsiteX74" fmla="*/ 1494 w 10000"/>
              <a:gd name="connsiteY74" fmla="*/ 3876 h 10000"/>
              <a:gd name="connsiteX75" fmla="*/ 1552 w 10000"/>
              <a:gd name="connsiteY75" fmla="*/ 4031 h 10000"/>
              <a:gd name="connsiteX76" fmla="*/ 1552 w 10000"/>
              <a:gd name="connsiteY76" fmla="*/ 4418 h 10000"/>
              <a:gd name="connsiteX77" fmla="*/ 1610 w 10000"/>
              <a:gd name="connsiteY77" fmla="*/ 4574 h 10000"/>
              <a:gd name="connsiteX78" fmla="*/ 1552 w 10000"/>
              <a:gd name="connsiteY78" fmla="*/ 4729 h 10000"/>
              <a:gd name="connsiteX79" fmla="*/ 1376 w 10000"/>
              <a:gd name="connsiteY79" fmla="*/ 4652 h 10000"/>
              <a:gd name="connsiteX80" fmla="*/ 1150 w 10000"/>
              <a:gd name="connsiteY80" fmla="*/ 4884 h 10000"/>
              <a:gd name="connsiteX81" fmla="*/ 1262 w 10000"/>
              <a:gd name="connsiteY81" fmla="*/ 5194 h 10000"/>
              <a:gd name="connsiteX82" fmla="*/ 918 w 10000"/>
              <a:gd name="connsiteY82" fmla="*/ 5039 h 10000"/>
              <a:gd name="connsiteX83" fmla="*/ 862 w 10000"/>
              <a:gd name="connsiteY83" fmla="*/ 5116 h 10000"/>
              <a:gd name="connsiteX84" fmla="*/ 979 w 10000"/>
              <a:gd name="connsiteY84" fmla="*/ 5349 h 10000"/>
              <a:gd name="connsiteX85" fmla="*/ 862 w 10000"/>
              <a:gd name="connsiteY85" fmla="*/ 5349 h 10000"/>
              <a:gd name="connsiteX86" fmla="*/ 692 w 10000"/>
              <a:gd name="connsiteY86" fmla="*/ 5194 h 10000"/>
              <a:gd name="connsiteX87" fmla="*/ 692 w 10000"/>
              <a:gd name="connsiteY87" fmla="*/ 4729 h 10000"/>
              <a:gd name="connsiteX88" fmla="*/ 520 w 10000"/>
              <a:gd name="connsiteY88" fmla="*/ 4574 h 10000"/>
              <a:gd name="connsiteX89" fmla="*/ 459 w 10000"/>
              <a:gd name="connsiteY89" fmla="*/ 4418 h 10000"/>
              <a:gd name="connsiteX90" fmla="*/ 573 w 10000"/>
              <a:gd name="connsiteY90" fmla="*/ 4496 h 10000"/>
              <a:gd name="connsiteX91" fmla="*/ 1031 w 10000"/>
              <a:gd name="connsiteY91" fmla="*/ 4729 h 10000"/>
              <a:gd name="connsiteX92" fmla="*/ 1316 w 10000"/>
              <a:gd name="connsiteY92" fmla="*/ 4496 h 10000"/>
              <a:gd name="connsiteX93" fmla="*/ 1262 w 10000"/>
              <a:gd name="connsiteY93" fmla="*/ 4263 h 10000"/>
              <a:gd name="connsiteX94" fmla="*/ 918 w 10000"/>
              <a:gd name="connsiteY94" fmla="*/ 3799 h 10000"/>
              <a:gd name="connsiteX95" fmla="*/ 573 w 10000"/>
              <a:gd name="connsiteY95" fmla="*/ 3644 h 10000"/>
              <a:gd name="connsiteX96" fmla="*/ 573 w 10000"/>
              <a:gd name="connsiteY96" fmla="*/ 3566 h 10000"/>
              <a:gd name="connsiteX97" fmla="*/ 459 w 10000"/>
              <a:gd name="connsiteY97" fmla="*/ 3488 h 10000"/>
              <a:gd name="connsiteX98" fmla="*/ 342 w 10000"/>
              <a:gd name="connsiteY98" fmla="*/ 3566 h 10000"/>
              <a:gd name="connsiteX99" fmla="*/ 342 w 10000"/>
              <a:gd name="connsiteY99" fmla="*/ 3644 h 10000"/>
              <a:gd name="connsiteX100" fmla="*/ 286 w 10000"/>
              <a:gd name="connsiteY100" fmla="*/ 3644 h 10000"/>
              <a:gd name="connsiteX101" fmla="*/ 173 w 10000"/>
              <a:gd name="connsiteY101" fmla="*/ 3799 h 10000"/>
              <a:gd name="connsiteX102" fmla="*/ 173 w 10000"/>
              <a:gd name="connsiteY102" fmla="*/ 4031 h 10000"/>
              <a:gd name="connsiteX103" fmla="*/ 286 w 10000"/>
              <a:gd name="connsiteY103" fmla="*/ 4186 h 10000"/>
              <a:gd name="connsiteX104" fmla="*/ 231 w 10000"/>
              <a:gd name="connsiteY104" fmla="*/ 4418 h 10000"/>
              <a:gd name="connsiteX105" fmla="*/ 286 w 10000"/>
              <a:gd name="connsiteY105" fmla="*/ 4807 h 10000"/>
              <a:gd name="connsiteX106" fmla="*/ 231 w 10000"/>
              <a:gd name="connsiteY106" fmla="*/ 5039 h 10000"/>
              <a:gd name="connsiteX107" fmla="*/ 342 w 10000"/>
              <a:gd name="connsiteY107" fmla="*/ 5271 h 10000"/>
              <a:gd name="connsiteX108" fmla="*/ 286 w 10000"/>
              <a:gd name="connsiteY108" fmla="*/ 5426 h 10000"/>
              <a:gd name="connsiteX109" fmla="*/ 400 w 10000"/>
              <a:gd name="connsiteY109" fmla="*/ 5582 h 10000"/>
              <a:gd name="connsiteX110" fmla="*/ 400 w 10000"/>
              <a:gd name="connsiteY110" fmla="*/ 5659 h 10000"/>
              <a:gd name="connsiteX111" fmla="*/ 231 w 10000"/>
              <a:gd name="connsiteY111" fmla="*/ 6047 h 10000"/>
              <a:gd name="connsiteX112" fmla="*/ 52 w 10000"/>
              <a:gd name="connsiteY112" fmla="*/ 6202 h 10000"/>
              <a:gd name="connsiteX113" fmla="*/ 113 w 10000"/>
              <a:gd name="connsiteY113" fmla="*/ 6202 h 10000"/>
              <a:gd name="connsiteX114" fmla="*/ 231 w 10000"/>
              <a:gd name="connsiteY114" fmla="*/ 6356 h 10000"/>
              <a:gd name="connsiteX115" fmla="*/ 113 w 10000"/>
              <a:gd name="connsiteY115" fmla="*/ 6512 h 10000"/>
              <a:gd name="connsiteX116" fmla="*/ 52 w 10000"/>
              <a:gd name="connsiteY116" fmla="*/ 6590 h 10000"/>
              <a:gd name="connsiteX117" fmla="*/ 0 w 10000"/>
              <a:gd name="connsiteY117" fmla="*/ 6590 h 10000"/>
              <a:gd name="connsiteX118" fmla="*/ 52 w 10000"/>
              <a:gd name="connsiteY118" fmla="*/ 6822 h 10000"/>
              <a:gd name="connsiteX119" fmla="*/ 52 w 10000"/>
              <a:gd name="connsiteY119" fmla="*/ 6900 h 10000"/>
              <a:gd name="connsiteX120" fmla="*/ 52 w 10000"/>
              <a:gd name="connsiteY120" fmla="*/ 6977 h 10000"/>
              <a:gd name="connsiteX121" fmla="*/ 52 w 10000"/>
              <a:gd name="connsiteY121" fmla="*/ 7054 h 10000"/>
              <a:gd name="connsiteX122" fmla="*/ 113 w 10000"/>
              <a:gd name="connsiteY122" fmla="*/ 7209 h 10000"/>
              <a:gd name="connsiteX123" fmla="*/ 286 w 10000"/>
              <a:gd name="connsiteY123" fmla="*/ 7287 h 10000"/>
              <a:gd name="connsiteX124" fmla="*/ 342 w 10000"/>
              <a:gd name="connsiteY124" fmla="*/ 7364 h 10000"/>
              <a:gd name="connsiteX125" fmla="*/ 342 w 10000"/>
              <a:gd name="connsiteY125" fmla="*/ 7520 h 10000"/>
              <a:gd name="connsiteX126" fmla="*/ 459 w 10000"/>
              <a:gd name="connsiteY126" fmla="*/ 7752 h 10000"/>
              <a:gd name="connsiteX127" fmla="*/ 520 w 10000"/>
              <a:gd name="connsiteY127" fmla="*/ 7752 h 10000"/>
              <a:gd name="connsiteX128" fmla="*/ 459 w 10000"/>
              <a:gd name="connsiteY128" fmla="*/ 7907 h 10000"/>
              <a:gd name="connsiteX129" fmla="*/ 400 w 10000"/>
              <a:gd name="connsiteY129" fmla="*/ 7830 h 10000"/>
              <a:gd name="connsiteX130" fmla="*/ 400 w 10000"/>
              <a:gd name="connsiteY130" fmla="*/ 7907 h 10000"/>
              <a:gd name="connsiteX131" fmla="*/ 459 w 10000"/>
              <a:gd name="connsiteY131" fmla="*/ 8062 h 10000"/>
              <a:gd name="connsiteX132" fmla="*/ 634 w 10000"/>
              <a:gd name="connsiteY132" fmla="*/ 8062 h 10000"/>
              <a:gd name="connsiteX133" fmla="*/ 692 w 10000"/>
              <a:gd name="connsiteY133" fmla="*/ 8140 h 10000"/>
              <a:gd name="connsiteX134" fmla="*/ 634 w 10000"/>
              <a:gd name="connsiteY134" fmla="*/ 8140 h 10000"/>
              <a:gd name="connsiteX135" fmla="*/ 692 w 10000"/>
              <a:gd name="connsiteY135" fmla="*/ 8217 h 10000"/>
              <a:gd name="connsiteX136" fmla="*/ 746 w 10000"/>
              <a:gd name="connsiteY136" fmla="*/ 8217 h 10000"/>
              <a:gd name="connsiteX137" fmla="*/ 803 w 10000"/>
              <a:gd name="connsiteY137" fmla="*/ 8372 h 10000"/>
              <a:gd name="connsiteX138" fmla="*/ 862 w 10000"/>
              <a:gd name="connsiteY138" fmla="*/ 8449 h 10000"/>
              <a:gd name="connsiteX139" fmla="*/ 918 w 10000"/>
              <a:gd name="connsiteY139" fmla="*/ 8372 h 10000"/>
              <a:gd name="connsiteX140" fmla="*/ 1208 w 10000"/>
              <a:gd name="connsiteY140" fmla="*/ 8605 h 10000"/>
              <a:gd name="connsiteX141" fmla="*/ 1150 w 10000"/>
              <a:gd name="connsiteY141" fmla="*/ 8915 h 10000"/>
              <a:gd name="connsiteX142" fmla="*/ 1092 w 10000"/>
              <a:gd name="connsiteY142" fmla="*/ 8838 h 10000"/>
              <a:gd name="connsiteX143" fmla="*/ 1031 w 10000"/>
              <a:gd name="connsiteY143" fmla="*/ 8915 h 10000"/>
              <a:gd name="connsiteX144" fmla="*/ 1031 w 10000"/>
              <a:gd name="connsiteY144" fmla="*/ 9070 h 10000"/>
              <a:gd name="connsiteX145" fmla="*/ 1092 w 10000"/>
              <a:gd name="connsiteY145" fmla="*/ 8993 h 10000"/>
              <a:gd name="connsiteX146" fmla="*/ 1150 w 10000"/>
              <a:gd name="connsiteY146" fmla="*/ 9070 h 10000"/>
              <a:gd name="connsiteX147" fmla="*/ 979 w 10000"/>
              <a:gd name="connsiteY147" fmla="*/ 9147 h 10000"/>
              <a:gd name="connsiteX148" fmla="*/ 1031 w 10000"/>
              <a:gd name="connsiteY148" fmla="*/ 9225 h 10000"/>
              <a:gd name="connsiteX149" fmla="*/ 918 w 10000"/>
              <a:gd name="connsiteY149" fmla="*/ 9380 h 10000"/>
              <a:gd name="connsiteX150" fmla="*/ 862 w 10000"/>
              <a:gd name="connsiteY150" fmla="*/ 9380 h 10000"/>
              <a:gd name="connsiteX151" fmla="*/ 918 w 10000"/>
              <a:gd name="connsiteY151" fmla="*/ 9380 h 10000"/>
              <a:gd name="connsiteX152" fmla="*/ 1150 w 10000"/>
              <a:gd name="connsiteY152" fmla="*/ 9691 h 10000"/>
              <a:gd name="connsiteX153" fmla="*/ 1438 w 10000"/>
              <a:gd name="connsiteY153" fmla="*/ 9691 h 10000"/>
              <a:gd name="connsiteX154" fmla="*/ 1552 w 10000"/>
              <a:gd name="connsiteY154" fmla="*/ 9768 h 10000"/>
              <a:gd name="connsiteX155" fmla="*/ 1667 w 10000"/>
              <a:gd name="connsiteY155" fmla="*/ 9768 h 10000"/>
              <a:gd name="connsiteX156" fmla="*/ 1781 w 10000"/>
              <a:gd name="connsiteY156" fmla="*/ 9923 h 10000"/>
              <a:gd name="connsiteX157" fmla="*/ 1839 w 10000"/>
              <a:gd name="connsiteY157" fmla="*/ 10000 h 10000"/>
              <a:gd name="connsiteX158" fmla="*/ 1893 w 10000"/>
              <a:gd name="connsiteY158" fmla="*/ 10000 h 10000"/>
              <a:gd name="connsiteX159" fmla="*/ 1954 w 10000"/>
              <a:gd name="connsiteY159" fmla="*/ 9923 h 10000"/>
              <a:gd name="connsiteX160" fmla="*/ 1839 w 10000"/>
              <a:gd name="connsiteY160" fmla="*/ 9768 h 10000"/>
              <a:gd name="connsiteX161" fmla="*/ 1839 w 10000"/>
              <a:gd name="connsiteY161" fmla="*/ 9613 h 10000"/>
              <a:gd name="connsiteX162" fmla="*/ 1781 w 10000"/>
              <a:gd name="connsiteY162" fmla="*/ 9457 h 10000"/>
              <a:gd name="connsiteX163" fmla="*/ 1893 w 10000"/>
              <a:gd name="connsiteY163" fmla="*/ 9225 h 10000"/>
              <a:gd name="connsiteX164" fmla="*/ 1954 w 10000"/>
              <a:gd name="connsiteY164" fmla="*/ 9302 h 10000"/>
              <a:gd name="connsiteX165" fmla="*/ 2011 w 10000"/>
              <a:gd name="connsiteY165" fmla="*/ 9225 h 10000"/>
              <a:gd name="connsiteX166" fmla="*/ 2011 w 10000"/>
              <a:gd name="connsiteY166" fmla="*/ 9147 h 10000"/>
              <a:gd name="connsiteX167" fmla="*/ 1954 w 10000"/>
              <a:gd name="connsiteY167" fmla="*/ 9147 h 10000"/>
              <a:gd name="connsiteX168" fmla="*/ 2011 w 10000"/>
              <a:gd name="connsiteY168" fmla="*/ 9070 h 10000"/>
              <a:gd name="connsiteX169" fmla="*/ 1954 w 10000"/>
              <a:gd name="connsiteY169" fmla="*/ 8915 h 10000"/>
              <a:gd name="connsiteX170" fmla="*/ 1839 w 10000"/>
              <a:gd name="connsiteY170" fmla="*/ 8915 h 10000"/>
              <a:gd name="connsiteX171" fmla="*/ 1781 w 10000"/>
              <a:gd name="connsiteY171" fmla="*/ 8760 h 10000"/>
              <a:gd name="connsiteX172" fmla="*/ 1839 w 10000"/>
              <a:gd name="connsiteY172" fmla="*/ 8372 h 10000"/>
              <a:gd name="connsiteX173" fmla="*/ 1954 w 10000"/>
              <a:gd name="connsiteY173" fmla="*/ 8528 h 10000"/>
              <a:gd name="connsiteX174" fmla="*/ 2011 w 10000"/>
              <a:gd name="connsiteY174" fmla="*/ 8528 h 10000"/>
              <a:gd name="connsiteX175" fmla="*/ 1954 w 10000"/>
              <a:gd name="connsiteY175" fmla="*/ 8372 h 10000"/>
              <a:gd name="connsiteX176" fmla="*/ 2127 w 10000"/>
              <a:gd name="connsiteY176" fmla="*/ 8140 h 10000"/>
              <a:gd name="connsiteX177" fmla="*/ 2244 w 10000"/>
              <a:gd name="connsiteY177" fmla="*/ 8217 h 10000"/>
              <a:gd name="connsiteX178" fmla="*/ 2299 w 10000"/>
              <a:gd name="connsiteY178" fmla="*/ 8140 h 10000"/>
              <a:gd name="connsiteX179" fmla="*/ 2411 w 10000"/>
              <a:gd name="connsiteY179" fmla="*/ 8217 h 10000"/>
              <a:gd name="connsiteX180" fmla="*/ 2588 w 10000"/>
              <a:gd name="connsiteY180" fmla="*/ 8372 h 10000"/>
              <a:gd name="connsiteX181" fmla="*/ 2700 w 10000"/>
              <a:gd name="connsiteY181" fmla="*/ 8295 h 10000"/>
              <a:gd name="connsiteX182" fmla="*/ 2817 w 10000"/>
              <a:gd name="connsiteY182" fmla="*/ 8295 h 10000"/>
              <a:gd name="connsiteX183" fmla="*/ 2875 w 10000"/>
              <a:gd name="connsiteY183" fmla="*/ 8372 h 10000"/>
              <a:gd name="connsiteX184" fmla="*/ 3104 w 10000"/>
              <a:gd name="connsiteY184" fmla="*/ 8372 h 10000"/>
              <a:gd name="connsiteX185" fmla="*/ 3159 w 10000"/>
              <a:gd name="connsiteY185" fmla="*/ 8217 h 10000"/>
              <a:gd name="connsiteX186" fmla="*/ 2985 w 10000"/>
              <a:gd name="connsiteY186" fmla="*/ 8140 h 10000"/>
              <a:gd name="connsiteX187" fmla="*/ 3104 w 10000"/>
              <a:gd name="connsiteY187" fmla="*/ 8062 h 10000"/>
              <a:gd name="connsiteX188" fmla="*/ 3043 w 10000"/>
              <a:gd name="connsiteY188" fmla="*/ 7985 h 10000"/>
              <a:gd name="connsiteX189" fmla="*/ 3104 w 10000"/>
              <a:gd name="connsiteY189" fmla="*/ 7907 h 10000"/>
              <a:gd name="connsiteX190" fmla="*/ 3104 w 10000"/>
              <a:gd name="connsiteY190" fmla="*/ 7675 h 10000"/>
              <a:gd name="connsiteX191" fmla="*/ 3216 w 10000"/>
              <a:gd name="connsiteY191" fmla="*/ 7752 h 10000"/>
              <a:gd name="connsiteX192" fmla="*/ 3735 w 10000"/>
              <a:gd name="connsiteY192" fmla="*/ 7520 h 10000"/>
              <a:gd name="connsiteX193" fmla="*/ 3735 w 10000"/>
              <a:gd name="connsiteY193" fmla="*/ 7442 h 10000"/>
              <a:gd name="connsiteX194" fmla="*/ 3794 w 10000"/>
              <a:gd name="connsiteY194" fmla="*/ 7442 h 10000"/>
              <a:gd name="connsiteX195" fmla="*/ 3961 w 10000"/>
              <a:gd name="connsiteY195" fmla="*/ 7442 h 10000"/>
              <a:gd name="connsiteX196" fmla="*/ 4024 w 10000"/>
              <a:gd name="connsiteY196" fmla="*/ 7598 h 10000"/>
              <a:gd name="connsiteX197" fmla="*/ 4024 w 10000"/>
              <a:gd name="connsiteY197" fmla="*/ 7675 h 10000"/>
              <a:gd name="connsiteX198" fmla="*/ 4078 w 10000"/>
              <a:gd name="connsiteY198" fmla="*/ 7675 h 10000"/>
              <a:gd name="connsiteX199" fmla="*/ 4194 w 10000"/>
              <a:gd name="connsiteY199" fmla="*/ 7752 h 10000"/>
              <a:gd name="connsiteX200" fmla="*/ 4194 w 10000"/>
              <a:gd name="connsiteY200" fmla="*/ 7830 h 10000"/>
              <a:gd name="connsiteX201" fmla="*/ 4309 w 10000"/>
              <a:gd name="connsiteY201" fmla="*/ 7830 h 10000"/>
              <a:gd name="connsiteX202" fmla="*/ 4423 w 10000"/>
              <a:gd name="connsiteY202" fmla="*/ 7675 h 10000"/>
              <a:gd name="connsiteX203" fmla="*/ 4538 w 10000"/>
              <a:gd name="connsiteY203" fmla="*/ 7598 h 10000"/>
              <a:gd name="connsiteX204" fmla="*/ 4603 w 10000"/>
              <a:gd name="connsiteY204" fmla="*/ 7830 h 10000"/>
              <a:gd name="connsiteX205" fmla="*/ 4828 w 10000"/>
              <a:gd name="connsiteY205" fmla="*/ 8372 h 10000"/>
              <a:gd name="connsiteX206" fmla="*/ 4886 w 10000"/>
              <a:gd name="connsiteY206" fmla="*/ 8217 h 10000"/>
              <a:gd name="connsiteX207" fmla="*/ 4943 w 10000"/>
              <a:gd name="connsiteY207" fmla="*/ 8372 h 10000"/>
              <a:gd name="connsiteX208" fmla="*/ 5115 w 10000"/>
              <a:gd name="connsiteY208" fmla="*/ 8295 h 10000"/>
              <a:gd name="connsiteX209" fmla="*/ 5290 w 10000"/>
              <a:gd name="connsiteY209" fmla="*/ 8528 h 10000"/>
              <a:gd name="connsiteX210" fmla="*/ 5400 w 10000"/>
              <a:gd name="connsiteY210" fmla="*/ 8605 h 10000"/>
              <a:gd name="connsiteX211" fmla="*/ 5400 w 10000"/>
              <a:gd name="connsiteY211" fmla="*/ 8528 h 10000"/>
              <a:gd name="connsiteX212" fmla="*/ 5461 w 10000"/>
              <a:gd name="connsiteY212" fmla="*/ 8683 h 10000"/>
              <a:gd name="connsiteX213" fmla="*/ 5400 w 10000"/>
              <a:gd name="connsiteY213" fmla="*/ 8760 h 10000"/>
              <a:gd name="connsiteX214" fmla="*/ 5519 w 10000"/>
              <a:gd name="connsiteY214" fmla="*/ 8683 h 10000"/>
              <a:gd name="connsiteX215" fmla="*/ 5573 w 10000"/>
              <a:gd name="connsiteY215" fmla="*/ 8605 h 10000"/>
              <a:gd name="connsiteX216" fmla="*/ 5859 w 10000"/>
              <a:gd name="connsiteY216" fmla="*/ 8372 h 10000"/>
              <a:gd name="connsiteX217" fmla="*/ 6092 w 10000"/>
              <a:gd name="connsiteY217" fmla="*/ 8449 h 10000"/>
              <a:gd name="connsiteX218" fmla="*/ 6204 w 10000"/>
              <a:gd name="connsiteY218" fmla="*/ 8528 h 10000"/>
              <a:gd name="connsiteX219" fmla="*/ 6434 w 10000"/>
              <a:gd name="connsiteY219" fmla="*/ 8528 h 10000"/>
              <a:gd name="connsiteX220" fmla="*/ 6434 w 10000"/>
              <a:gd name="connsiteY220" fmla="*/ 8372 h 10000"/>
              <a:gd name="connsiteX221" fmla="*/ 6434 w 10000"/>
              <a:gd name="connsiteY221" fmla="*/ 8217 h 10000"/>
              <a:gd name="connsiteX222" fmla="*/ 6550 w 10000"/>
              <a:gd name="connsiteY222" fmla="*/ 8140 h 10000"/>
              <a:gd name="connsiteX223" fmla="*/ 6777 w 10000"/>
              <a:gd name="connsiteY223" fmla="*/ 8217 h 10000"/>
              <a:gd name="connsiteX224" fmla="*/ 6896 w 10000"/>
              <a:gd name="connsiteY224" fmla="*/ 8449 h 10000"/>
              <a:gd name="connsiteX225" fmla="*/ 6953 w 10000"/>
              <a:gd name="connsiteY225" fmla="*/ 8449 h 10000"/>
              <a:gd name="connsiteX226" fmla="*/ 7069 w 10000"/>
              <a:gd name="connsiteY226" fmla="*/ 8372 h 10000"/>
              <a:gd name="connsiteX227" fmla="*/ 7416 w 10000"/>
              <a:gd name="connsiteY227" fmla="*/ 8605 h 10000"/>
              <a:gd name="connsiteX228" fmla="*/ 7587 w 10000"/>
              <a:gd name="connsiteY228" fmla="*/ 8683 h 10000"/>
              <a:gd name="connsiteX229" fmla="*/ 7815 w 10000"/>
              <a:gd name="connsiteY229" fmla="*/ 8605 h 10000"/>
              <a:gd name="connsiteX230" fmla="*/ 7931 w 10000"/>
              <a:gd name="connsiteY230" fmla="*/ 8449 h 10000"/>
              <a:gd name="connsiteX231" fmla="*/ 8103 w 10000"/>
              <a:gd name="connsiteY231" fmla="*/ 8528 h 10000"/>
              <a:gd name="connsiteX232" fmla="*/ 8217 w 10000"/>
              <a:gd name="connsiteY232" fmla="*/ 8605 h 10000"/>
              <a:gd name="connsiteX233" fmla="*/ 9942 w 10000"/>
              <a:gd name="connsiteY233" fmla="*/ 7598 h 10000"/>
              <a:gd name="connsiteX234" fmla="*/ 9831 w 10000"/>
              <a:gd name="connsiteY234" fmla="*/ 7598 h 10000"/>
              <a:gd name="connsiteX235" fmla="*/ 9831 w 10000"/>
              <a:gd name="connsiteY235" fmla="*/ 7520 h 10000"/>
              <a:gd name="connsiteX236" fmla="*/ 10000 w 10000"/>
              <a:gd name="connsiteY236" fmla="*/ 7287 h 10000"/>
              <a:gd name="connsiteX237" fmla="*/ 9253 w 10000"/>
              <a:gd name="connsiteY237" fmla="*/ 2791 h 10000"/>
              <a:gd name="connsiteX238" fmla="*/ 9311 w 10000"/>
              <a:gd name="connsiteY238" fmla="*/ 2403 h 10000"/>
              <a:gd name="connsiteX239" fmla="*/ 9196 w 10000"/>
              <a:gd name="connsiteY239" fmla="*/ 2170 h 10000"/>
              <a:gd name="connsiteX240" fmla="*/ 8850 w 10000"/>
              <a:gd name="connsiteY240" fmla="*/ 2016 h 10000"/>
              <a:gd name="connsiteX241" fmla="*/ 8731 w 10000"/>
              <a:gd name="connsiteY241" fmla="*/ 2016 h 10000"/>
              <a:gd name="connsiteX242" fmla="*/ 8678 w 10000"/>
              <a:gd name="connsiteY242" fmla="*/ 2170 h 10000"/>
              <a:gd name="connsiteX243" fmla="*/ 8731 w 10000"/>
              <a:gd name="connsiteY243" fmla="*/ 2325 h 10000"/>
              <a:gd name="connsiteX244" fmla="*/ 8280 w 10000"/>
              <a:gd name="connsiteY244" fmla="*/ 2248 h 10000"/>
              <a:gd name="connsiteX245" fmla="*/ 8332 w 10000"/>
              <a:gd name="connsiteY245" fmla="*/ 2016 h 10000"/>
              <a:gd name="connsiteX246" fmla="*/ 8046 w 10000"/>
              <a:gd name="connsiteY246" fmla="*/ 1938 h 10000"/>
              <a:gd name="connsiteX247" fmla="*/ 7872 w 10000"/>
              <a:gd name="connsiteY247" fmla="*/ 2093 h 10000"/>
              <a:gd name="connsiteX248" fmla="*/ 7537 w 10000"/>
              <a:gd name="connsiteY248" fmla="*/ 1861 h 10000"/>
              <a:gd name="connsiteX0" fmla="*/ 7537 w 10000"/>
              <a:gd name="connsiteY0" fmla="*/ 1861 h 10000"/>
              <a:gd name="connsiteX1" fmla="*/ 7537 w 10000"/>
              <a:gd name="connsiteY1" fmla="*/ 1861 h 10000"/>
              <a:gd name="connsiteX2" fmla="*/ 7471 w 10000"/>
              <a:gd name="connsiteY2" fmla="*/ 1938 h 10000"/>
              <a:gd name="connsiteX3" fmla="*/ 7537 w 10000"/>
              <a:gd name="connsiteY3" fmla="*/ 2093 h 10000"/>
              <a:gd name="connsiteX4" fmla="*/ 7298 w 10000"/>
              <a:gd name="connsiteY4" fmla="*/ 2248 h 10000"/>
              <a:gd name="connsiteX5" fmla="*/ 7237 w 10000"/>
              <a:gd name="connsiteY5" fmla="*/ 2248 h 10000"/>
              <a:gd name="connsiteX6" fmla="*/ 7298 w 10000"/>
              <a:gd name="connsiteY6" fmla="*/ 2016 h 10000"/>
              <a:gd name="connsiteX7" fmla="*/ 7872 w 10000"/>
              <a:gd name="connsiteY7" fmla="*/ 1318 h 10000"/>
              <a:gd name="connsiteX8" fmla="*/ 7872 w 10000"/>
              <a:gd name="connsiteY8" fmla="*/ 853 h 10000"/>
              <a:gd name="connsiteX9" fmla="*/ 7646 w 10000"/>
              <a:gd name="connsiteY9" fmla="*/ 543 h 10000"/>
              <a:gd name="connsiteX10" fmla="*/ 7356 w 10000"/>
              <a:gd name="connsiteY10" fmla="*/ 543 h 10000"/>
              <a:gd name="connsiteX11" fmla="*/ 7356 w 10000"/>
              <a:gd name="connsiteY11" fmla="*/ 698 h 10000"/>
              <a:gd name="connsiteX12" fmla="*/ 7180 w 10000"/>
              <a:gd name="connsiteY12" fmla="*/ 698 h 10000"/>
              <a:gd name="connsiteX13" fmla="*/ 7298 w 10000"/>
              <a:gd name="connsiteY13" fmla="*/ 387 h 10000"/>
              <a:gd name="connsiteX14" fmla="*/ 7013 w 10000"/>
              <a:gd name="connsiteY14" fmla="*/ 310 h 10000"/>
              <a:gd name="connsiteX15" fmla="*/ 7180 w 10000"/>
              <a:gd name="connsiteY15" fmla="*/ 155 h 10000"/>
              <a:gd name="connsiteX16" fmla="*/ 7013 w 10000"/>
              <a:gd name="connsiteY16" fmla="*/ 0 h 10000"/>
              <a:gd name="connsiteX17" fmla="*/ 6724 w 10000"/>
              <a:gd name="connsiteY17" fmla="*/ 387 h 10000"/>
              <a:gd name="connsiteX18" fmla="*/ 6724 w 10000"/>
              <a:gd name="connsiteY18" fmla="*/ 698 h 10000"/>
              <a:gd name="connsiteX19" fmla="*/ 6550 w 10000"/>
              <a:gd name="connsiteY19" fmla="*/ 698 h 10000"/>
              <a:gd name="connsiteX20" fmla="*/ 6035 w 10000"/>
              <a:gd name="connsiteY20" fmla="*/ 853 h 10000"/>
              <a:gd name="connsiteX21" fmla="*/ 5573 w 10000"/>
              <a:gd name="connsiteY21" fmla="*/ 1240 h 10000"/>
              <a:gd name="connsiteX22" fmla="*/ 5400 w 10000"/>
              <a:gd name="connsiteY22" fmla="*/ 1551 h 10000"/>
              <a:gd name="connsiteX23" fmla="*/ 5461 w 10000"/>
              <a:gd name="connsiteY23" fmla="*/ 1938 h 10000"/>
              <a:gd name="connsiteX24" fmla="*/ 4828 w 10000"/>
              <a:gd name="connsiteY24" fmla="*/ 2093 h 10000"/>
              <a:gd name="connsiteX25" fmla="*/ 4886 w 10000"/>
              <a:gd name="connsiteY25" fmla="*/ 2559 h 10000"/>
              <a:gd name="connsiteX26" fmla="*/ 5058 w 10000"/>
              <a:gd name="connsiteY26" fmla="*/ 2791 h 10000"/>
              <a:gd name="connsiteX27" fmla="*/ 4943 w 10000"/>
              <a:gd name="connsiteY27" fmla="*/ 2868 h 10000"/>
              <a:gd name="connsiteX28" fmla="*/ 4773 w 10000"/>
              <a:gd name="connsiteY28" fmla="*/ 2559 h 10000"/>
              <a:gd name="connsiteX29" fmla="*/ 4603 w 10000"/>
              <a:gd name="connsiteY29" fmla="*/ 2480 h 10000"/>
              <a:gd name="connsiteX30" fmla="*/ 4538 w 10000"/>
              <a:gd name="connsiteY30" fmla="*/ 2559 h 10000"/>
              <a:gd name="connsiteX31" fmla="*/ 4423 w 10000"/>
              <a:gd name="connsiteY31" fmla="*/ 2403 h 10000"/>
              <a:gd name="connsiteX32" fmla="*/ 4309 w 10000"/>
              <a:gd name="connsiteY32" fmla="*/ 2248 h 10000"/>
              <a:gd name="connsiteX33" fmla="*/ 4309 w 10000"/>
              <a:gd name="connsiteY33" fmla="*/ 2325 h 10000"/>
              <a:gd name="connsiteX34" fmla="*/ 4372 w 10000"/>
              <a:gd name="connsiteY34" fmla="*/ 2559 h 10000"/>
              <a:gd name="connsiteX35" fmla="*/ 4194 w 10000"/>
              <a:gd name="connsiteY35" fmla="*/ 2946 h 10000"/>
              <a:gd name="connsiteX36" fmla="*/ 4309 w 10000"/>
              <a:gd name="connsiteY36" fmla="*/ 3256 h 10000"/>
              <a:gd name="connsiteX37" fmla="*/ 4251 w 10000"/>
              <a:gd name="connsiteY37" fmla="*/ 3566 h 10000"/>
              <a:gd name="connsiteX38" fmla="*/ 4251 w 10000"/>
              <a:gd name="connsiteY38" fmla="*/ 3799 h 10000"/>
              <a:gd name="connsiteX39" fmla="*/ 4423 w 10000"/>
              <a:gd name="connsiteY39" fmla="*/ 3799 h 10000"/>
              <a:gd name="connsiteX40" fmla="*/ 4309 w 10000"/>
              <a:gd name="connsiteY40" fmla="*/ 3876 h 10000"/>
              <a:gd name="connsiteX41" fmla="*/ 4372 w 10000"/>
              <a:gd name="connsiteY41" fmla="*/ 4263 h 10000"/>
              <a:gd name="connsiteX42" fmla="*/ 4024 w 10000"/>
              <a:gd name="connsiteY42" fmla="*/ 4652 h 10000"/>
              <a:gd name="connsiteX43" fmla="*/ 3961 w 10000"/>
              <a:gd name="connsiteY43" fmla="*/ 4574 h 10000"/>
              <a:gd name="connsiteX44" fmla="*/ 4194 w 10000"/>
              <a:gd name="connsiteY44" fmla="*/ 4186 h 10000"/>
              <a:gd name="connsiteX45" fmla="*/ 4251 w 10000"/>
              <a:gd name="connsiteY45" fmla="*/ 3954 h 10000"/>
              <a:gd name="connsiteX46" fmla="*/ 4130 w 10000"/>
              <a:gd name="connsiteY46" fmla="*/ 3799 h 10000"/>
              <a:gd name="connsiteX47" fmla="*/ 4130 w 10000"/>
              <a:gd name="connsiteY47" fmla="*/ 3023 h 10000"/>
              <a:gd name="connsiteX48" fmla="*/ 4078 w 10000"/>
              <a:gd name="connsiteY48" fmla="*/ 2868 h 10000"/>
              <a:gd name="connsiteX49" fmla="*/ 4130 w 10000"/>
              <a:gd name="connsiteY49" fmla="*/ 2403 h 10000"/>
              <a:gd name="connsiteX50" fmla="*/ 4024 w 10000"/>
              <a:gd name="connsiteY50" fmla="*/ 2325 h 10000"/>
              <a:gd name="connsiteX51" fmla="*/ 4078 w 10000"/>
              <a:gd name="connsiteY51" fmla="*/ 2248 h 10000"/>
              <a:gd name="connsiteX52" fmla="*/ 4024 w 10000"/>
              <a:gd name="connsiteY52" fmla="*/ 2093 h 10000"/>
              <a:gd name="connsiteX53" fmla="*/ 3904 w 10000"/>
              <a:gd name="connsiteY53" fmla="*/ 2170 h 10000"/>
              <a:gd name="connsiteX54" fmla="*/ 3620 w 10000"/>
              <a:gd name="connsiteY54" fmla="*/ 3178 h 10000"/>
              <a:gd name="connsiteX55" fmla="*/ 3620 w 10000"/>
              <a:gd name="connsiteY55" fmla="*/ 3566 h 10000"/>
              <a:gd name="connsiteX56" fmla="*/ 3794 w 10000"/>
              <a:gd name="connsiteY56" fmla="*/ 3876 h 10000"/>
              <a:gd name="connsiteX57" fmla="*/ 3794 w 10000"/>
              <a:gd name="connsiteY57" fmla="*/ 4031 h 10000"/>
              <a:gd name="connsiteX58" fmla="*/ 3620 w 10000"/>
              <a:gd name="connsiteY58" fmla="*/ 3876 h 10000"/>
              <a:gd name="connsiteX59" fmla="*/ 2934 w 10000"/>
              <a:gd name="connsiteY59" fmla="*/ 3256 h 10000"/>
              <a:gd name="connsiteX60" fmla="*/ 2875 w 10000"/>
              <a:gd name="connsiteY60" fmla="*/ 3411 h 10000"/>
              <a:gd name="connsiteX61" fmla="*/ 3104 w 10000"/>
              <a:gd name="connsiteY61" fmla="*/ 3799 h 10000"/>
              <a:gd name="connsiteX62" fmla="*/ 2985 w 10000"/>
              <a:gd name="connsiteY62" fmla="*/ 3876 h 10000"/>
              <a:gd name="connsiteX63" fmla="*/ 2934 w 10000"/>
              <a:gd name="connsiteY63" fmla="*/ 3799 h 10000"/>
              <a:gd name="connsiteX64" fmla="*/ 2588 w 10000"/>
              <a:gd name="connsiteY64" fmla="*/ 3954 h 10000"/>
              <a:gd name="connsiteX65" fmla="*/ 2531 w 10000"/>
              <a:gd name="connsiteY65" fmla="*/ 4109 h 10000"/>
              <a:gd name="connsiteX66" fmla="*/ 2473 w 10000"/>
              <a:gd name="connsiteY66" fmla="*/ 3954 h 10000"/>
              <a:gd name="connsiteX67" fmla="*/ 2473 w 10000"/>
              <a:gd name="connsiteY67" fmla="*/ 3799 h 10000"/>
              <a:gd name="connsiteX68" fmla="*/ 1893 w 10000"/>
              <a:gd name="connsiteY68" fmla="*/ 4263 h 10000"/>
              <a:gd name="connsiteX69" fmla="*/ 1893 w 10000"/>
              <a:gd name="connsiteY69" fmla="*/ 4418 h 10000"/>
              <a:gd name="connsiteX70" fmla="*/ 1781 w 10000"/>
              <a:gd name="connsiteY70" fmla="*/ 4496 h 10000"/>
              <a:gd name="connsiteX71" fmla="*/ 1610 w 10000"/>
              <a:gd name="connsiteY71" fmla="*/ 4341 h 10000"/>
              <a:gd name="connsiteX72" fmla="*/ 1781 w 10000"/>
              <a:gd name="connsiteY72" fmla="*/ 4186 h 10000"/>
              <a:gd name="connsiteX73" fmla="*/ 1723 w 10000"/>
              <a:gd name="connsiteY73" fmla="*/ 3954 h 10000"/>
              <a:gd name="connsiteX74" fmla="*/ 1494 w 10000"/>
              <a:gd name="connsiteY74" fmla="*/ 3876 h 10000"/>
              <a:gd name="connsiteX75" fmla="*/ 1552 w 10000"/>
              <a:gd name="connsiteY75" fmla="*/ 4031 h 10000"/>
              <a:gd name="connsiteX76" fmla="*/ 1552 w 10000"/>
              <a:gd name="connsiteY76" fmla="*/ 4418 h 10000"/>
              <a:gd name="connsiteX77" fmla="*/ 1610 w 10000"/>
              <a:gd name="connsiteY77" fmla="*/ 4574 h 10000"/>
              <a:gd name="connsiteX78" fmla="*/ 1552 w 10000"/>
              <a:gd name="connsiteY78" fmla="*/ 4729 h 10000"/>
              <a:gd name="connsiteX79" fmla="*/ 1376 w 10000"/>
              <a:gd name="connsiteY79" fmla="*/ 4652 h 10000"/>
              <a:gd name="connsiteX80" fmla="*/ 1150 w 10000"/>
              <a:gd name="connsiteY80" fmla="*/ 4884 h 10000"/>
              <a:gd name="connsiteX81" fmla="*/ 1262 w 10000"/>
              <a:gd name="connsiteY81" fmla="*/ 5194 h 10000"/>
              <a:gd name="connsiteX82" fmla="*/ 918 w 10000"/>
              <a:gd name="connsiteY82" fmla="*/ 5039 h 10000"/>
              <a:gd name="connsiteX83" fmla="*/ 862 w 10000"/>
              <a:gd name="connsiteY83" fmla="*/ 5116 h 10000"/>
              <a:gd name="connsiteX84" fmla="*/ 979 w 10000"/>
              <a:gd name="connsiteY84" fmla="*/ 5349 h 10000"/>
              <a:gd name="connsiteX85" fmla="*/ 862 w 10000"/>
              <a:gd name="connsiteY85" fmla="*/ 5349 h 10000"/>
              <a:gd name="connsiteX86" fmla="*/ 692 w 10000"/>
              <a:gd name="connsiteY86" fmla="*/ 5194 h 10000"/>
              <a:gd name="connsiteX87" fmla="*/ 692 w 10000"/>
              <a:gd name="connsiteY87" fmla="*/ 4729 h 10000"/>
              <a:gd name="connsiteX88" fmla="*/ 520 w 10000"/>
              <a:gd name="connsiteY88" fmla="*/ 4574 h 10000"/>
              <a:gd name="connsiteX89" fmla="*/ 459 w 10000"/>
              <a:gd name="connsiteY89" fmla="*/ 4418 h 10000"/>
              <a:gd name="connsiteX90" fmla="*/ 573 w 10000"/>
              <a:gd name="connsiteY90" fmla="*/ 4496 h 10000"/>
              <a:gd name="connsiteX91" fmla="*/ 1031 w 10000"/>
              <a:gd name="connsiteY91" fmla="*/ 4729 h 10000"/>
              <a:gd name="connsiteX92" fmla="*/ 1316 w 10000"/>
              <a:gd name="connsiteY92" fmla="*/ 4496 h 10000"/>
              <a:gd name="connsiteX93" fmla="*/ 1262 w 10000"/>
              <a:gd name="connsiteY93" fmla="*/ 4263 h 10000"/>
              <a:gd name="connsiteX94" fmla="*/ 918 w 10000"/>
              <a:gd name="connsiteY94" fmla="*/ 3799 h 10000"/>
              <a:gd name="connsiteX95" fmla="*/ 573 w 10000"/>
              <a:gd name="connsiteY95" fmla="*/ 3644 h 10000"/>
              <a:gd name="connsiteX96" fmla="*/ 573 w 10000"/>
              <a:gd name="connsiteY96" fmla="*/ 3566 h 10000"/>
              <a:gd name="connsiteX97" fmla="*/ 459 w 10000"/>
              <a:gd name="connsiteY97" fmla="*/ 3488 h 10000"/>
              <a:gd name="connsiteX98" fmla="*/ 342 w 10000"/>
              <a:gd name="connsiteY98" fmla="*/ 3566 h 10000"/>
              <a:gd name="connsiteX99" fmla="*/ 342 w 10000"/>
              <a:gd name="connsiteY99" fmla="*/ 3644 h 10000"/>
              <a:gd name="connsiteX100" fmla="*/ 286 w 10000"/>
              <a:gd name="connsiteY100" fmla="*/ 3644 h 10000"/>
              <a:gd name="connsiteX101" fmla="*/ 173 w 10000"/>
              <a:gd name="connsiteY101" fmla="*/ 3799 h 10000"/>
              <a:gd name="connsiteX102" fmla="*/ 173 w 10000"/>
              <a:gd name="connsiteY102" fmla="*/ 4031 h 10000"/>
              <a:gd name="connsiteX103" fmla="*/ 286 w 10000"/>
              <a:gd name="connsiteY103" fmla="*/ 4186 h 10000"/>
              <a:gd name="connsiteX104" fmla="*/ 231 w 10000"/>
              <a:gd name="connsiteY104" fmla="*/ 4418 h 10000"/>
              <a:gd name="connsiteX105" fmla="*/ 286 w 10000"/>
              <a:gd name="connsiteY105" fmla="*/ 4807 h 10000"/>
              <a:gd name="connsiteX106" fmla="*/ 231 w 10000"/>
              <a:gd name="connsiteY106" fmla="*/ 5039 h 10000"/>
              <a:gd name="connsiteX107" fmla="*/ 342 w 10000"/>
              <a:gd name="connsiteY107" fmla="*/ 5271 h 10000"/>
              <a:gd name="connsiteX108" fmla="*/ 286 w 10000"/>
              <a:gd name="connsiteY108" fmla="*/ 5426 h 10000"/>
              <a:gd name="connsiteX109" fmla="*/ 400 w 10000"/>
              <a:gd name="connsiteY109" fmla="*/ 5582 h 10000"/>
              <a:gd name="connsiteX110" fmla="*/ 400 w 10000"/>
              <a:gd name="connsiteY110" fmla="*/ 5659 h 10000"/>
              <a:gd name="connsiteX111" fmla="*/ 231 w 10000"/>
              <a:gd name="connsiteY111" fmla="*/ 6047 h 10000"/>
              <a:gd name="connsiteX112" fmla="*/ 52 w 10000"/>
              <a:gd name="connsiteY112" fmla="*/ 6202 h 10000"/>
              <a:gd name="connsiteX113" fmla="*/ 113 w 10000"/>
              <a:gd name="connsiteY113" fmla="*/ 6202 h 10000"/>
              <a:gd name="connsiteX114" fmla="*/ 231 w 10000"/>
              <a:gd name="connsiteY114" fmla="*/ 6356 h 10000"/>
              <a:gd name="connsiteX115" fmla="*/ 113 w 10000"/>
              <a:gd name="connsiteY115" fmla="*/ 6512 h 10000"/>
              <a:gd name="connsiteX116" fmla="*/ 52 w 10000"/>
              <a:gd name="connsiteY116" fmla="*/ 6590 h 10000"/>
              <a:gd name="connsiteX117" fmla="*/ 0 w 10000"/>
              <a:gd name="connsiteY117" fmla="*/ 6590 h 10000"/>
              <a:gd name="connsiteX118" fmla="*/ 52 w 10000"/>
              <a:gd name="connsiteY118" fmla="*/ 6822 h 10000"/>
              <a:gd name="connsiteX119" fmla="*/ 52 w 10000"/>
              <a:gd name="connsiteY119" fmla="*/ 6900 h 10000"/>
              <a:gd name="connsiteX120" fmla="*/ 52 w 10000"/>
              <a:gd name="connsiteY120" fmla="*/ 6977 h 10000"/>
              <a:gd name="connsiteX121" fmla="*/ 52 w 10000"/>
              <a:gd name="connsiteY121" fmla="*/ 7054 h 10000"/>
              <a:gd name="connsiteX122" fmla="*/ 113 w 10000"/>
              <a:gd name="connsiteY122" fmla="*/ 7209 h 10000"/>
              <a:gd name="connsiteX123" fmla="*/ 286 w 10000"/>
              <a:gd name="connsiteY123" fmla="*/ 7287 h 10000"/>
              <a:gd name="connsiteX124" fmla="*/ 342 w 10000"/>
              <a:gd name="connsiteY124" fmla="*/ 7364 h 10000"/>
              <a:gd name="connsiteX125" fmla="*/ 342 w 10000"/>
              <a:gd name="connsiteY125" fmla="*/ 7520 h 10000"/>
              <a:gd name="connsiteX126" fmla="*/ 459 w 10000"/>
              <a:gd name="connsiteY126" fmla="*/ 7752 h 10000"/>
              <a:gd name="connsiteX127" fmla="*/ 520 w 10000"/>
              <a:gd name="connsiteY127" fmla="*/ 7752 h 10000"/>
              <a:gd name="connsiteX128" fmla="*/ 459 w 10000"/>
              <a:gd name="connsiteY128" fmla="*/ 7907 h 10000"/>
              <a:gd name="connsiteX129" fmla="*/ 400 w 10000"/>
              <a:gd name="connsiteY129" fmla="*/ 7830 h 10000"/>
              <a:gd name="connsiteX130" fmla="*/ 400 w 10000"/>
              <a:gd name="connsiteY130" fmla="*/ 7907 h 10000"/>
              <a:gd name="connsiteX131" fmla="*/ 459 w 10000"/>
              <a:gd name="connsiteY131" fmla="*/ 8062 h 10000"/>
              <a:gd name="connsiteX132" fmla="*/ 634 w 10000"/>
              <a:gd name="connsiteY132" fmla="*/ 8062 h 10000"/>
              <a:gd name="connsiteX133" fmla="*/ 692 w 10000"/>
              <a:gd name="connsiteY133" fmla="*/ 8140 h 10000"/>
              <a:gd name="connsiteX134" fmla="*/ 634 w 10000"/>
              <a:gd name="connsiteY134" fmla="*/ 8140 h 10000"/>
              <a:gd name="connsiteX135" fmla="*/ 692 w 10000"/>
              <a:gd name="connsiteY135" fmla="*/ 8217 h 10000"/>
              <a:gd name="connsiteX136" fmla="*/ 746 w 10000"/>
              <a:gd name="connsiteY136" fmla="*/ 8217 h 10000"/>
              <a:gd name="connsiteX137" fmla="*/ 803 w 10000"/>
              <a:gd name="connsiteY137" fmla="*/ 8372 h 10000"/>
              <a:gd name="connsiteX138" fmla="*/ 862 w 10000"/>
              <a:gd name="connsiteY138" fmla="*/ 8449 h 10000"/>
              <a:gd name="connsiteX139" fmla="*/ 918 w 10000"/>
              <a:gd name="connsiteY139" fmla="*/ 8372 h 10000"/>
              <a:gd name="connsiteX140" fmla="*/ 1208 w 10000"/>
              <a:gd name="connsiteY140" fmla="*/ 8605 h 10000"/>
              <a:gd name="connsiteX141" fmla="*/ 1150 w 10000"/>
              <a:gd name="connsiteY141" fmla="*/ 8915 h 10000"/>
              <a:gd name="connsiteX142" fmla="*/ 1092 w 10000"/>
              <a:gd name="connsiteY142" fmla="*/ 8838 h 10000"/>
              <a:gd name="connsiteX143" fmla="*/ 1031 w 10000"/>
              <a:gd name="connsiteY143" fmla="*/ 8915 h 10000"/>
              <a:gd name="connsiteX144" fmla="*/ 1031 w 10000"/>
              <a:gd name="connsiteY144" fmla="*/ 9070 h 10000"/>
              <a:gd name="connsiteX145" fmla="*/ 1092 w 10000"/>
              <a:gd name="connsiteY145" fmla="*/ 8993 h 10000"/>
              <a:gd name="connsiteX146" fmla="*/ 1150 w 10000"/>
              <a:gd name="connsiteY146" fmla="*/ 9070 h 10000"/>
              <a:gd name="connsiteX147" fmla="*/ 979 w 10000"/>
              <a:gd name="connsiteY147" fmla="*/ 9147 h 10000"/>
              <a:gd name="connsiteX148" fmla="*/ 1031 w 10000"/>
              <a:gd name="connsiteY148" fmla="*/ 9225 h 10000"/>
              <a:gd name="connsiteX149" fmla="*/ 918 w 10000"/>
              <a:gd name="connsiteY149" fmla="*/ 9380 h 10000"/>
              <a:gd name="connsiteX150" fmla="*/ 862 w 10000"/>
              <a:gd name="connsiteY150" fmla="*/ 9380 h 10000"/>
              <a:gd name="connsiteX151" fmla="*/ 918 w 10000"/>
              <a:gd name="connsiteY151" fmla="*/ 9380 h 10000"/>
              <a:gd name="connsiteX152" fmla="*/ 1150 w 10000"/>
              <a:gd name="connsiteY152" fmla="*/ 9691 h 10000"/>
              <a:gd name="connsiteX153" fmla="*/ 1438 w 10000"/>
              <a:gd name="connsiteY153" fmla="*/ 9691 h 10000"/>
              <a:gd name="connsiteX154" fmla="*/ 1552 w 10000"/>
              <a:gd name="connsiteY154" fmla="*/ 9768 h 10000"/>
              <a:gd name="connsiteX155" fmla="*/ 1667 w 10000"/>
              <a:gd name="connsiteY155" fmla="*/ 9768 h 10000"/>
              <a:gd name="connsiteX156" fmla="*/ 1781 w 10000"/>
              <a:gd name="connsiteY156" fmla="*/ 9923 h 10000"/>
              <a:gd name="connsiteX157" fmla="*/ 1839 w 10000"/>
              <a:gd name="connsiteY157" fmla="*/ 10000 h 10000"/>
              <a:gd name="connsiteX158" fmla="*/ 1893 w 10000"/>
              <a:gd name="connsiteY158" fmla="*/ 10000 h 10000"/>
              <a:gd name="connsiteX159" fmla="*/ 1954 w 10000"/>
              <a:gd name="connsiteY159" fmla="*/ 9923 h 10000"/>
              <a:gd name="connsiteX160" fmla="*/ 1839 w 10000"/>
              <a:gd name="connsiteY160" fmla="*/ 9768 h 10000"/>
              <a:gd name="connsiteX161" fmla="*/ 1839 w 10000"/>
              <a:gd name="connsiteY161" fmla="*/ 9613 h 10000"/>
              <a:gd name="connsiteX162" fmla="*/ 1781 w 10000"/>
              <a:gd name="connsiteY162" fmla="*/ 9457 h 10000"/>
              <a:gd name="connsiteX163" fmla="*/ 1893 w 10000"/>
              <a:gd name="connsiteY163" fmla="*/ 9225 h 10000"/>
              <a:gd name="connsiteX164" fmla="*/ 1954 w 10000"/>
              <a:gd name="connsiteY164" fmla="*/ 9302 h 10000"/>
              <a:gd name="connsiteX165" fmla="*/ 2011 w 10000"/>
              <a:gd name="connsiteY165" fmla="*/ 9225 h 10000"/>
              <a:gd name="connsiteX166" fmla="*/ 2011 w 10000"/>
              <a:gd name="connsiteY166" fmla="*/ 9147 h 10000"/>
              <a:gd name="connsiteX167" fmla="*/ 1954 w 10000"/>
              <a:gd name="connsiteY167" fmla="*/ 9147 h 10000"/>
              <a:gd name="connsiteX168" fmla="*/ 2011 w 10000"/>
              <a:gd name="connsiteY168" fmla="*/ 9070 h 10000"/>
              <a:gd name="connsiteX169" fmla="*/ 1954 w 10000"/>
              <a:gd name="connsiteY169" fmla="*/ 8915 h 10000"/>
              <a:gd name="connsiteX170" fmla="*/ 1839 w 10000"/>
              <a:gd name="connsiteY170" fmla="*/ 8915 h 10000"/>
              <a:gd name="connsiteX171" fmla="*/ 1781 w 10000"/>
              <a:gd name="connsiteY171" fmla="*/ 8760 h 10000"/>
              <a:gd name="connsiteX172" fmla="*/ 1839 w 10000"/>
              <a:gd name="connsiteY172" fmla="*/ 8372 h 10000"/>
              <a:gd name="connsiteX173" fmla="*/ 1954 w 10000"/>
              <a:gd name="connsiteY173" fmla="*/ 8528 h 10000"/>
              <a:gd name="connsiteX174" fmla="*/ 2011 w 10000"/>
              <a:gd name="connsiteY174" fmla="*/ 8528 h 10000"/>
              <a:gd name="connsiteX175" fmla="*/ 1954 w 10000"/>
              <a:gd name="connsiteY175" fmla="*/ 8372 h 10000"/>
              <a:gd name="connsiteX176" fmla="*/ 2127 w 10000"/>
              <a:gd name="connsiteY176" fmla="*/ 8140 h 10000"/>
              <a:gd name="connsiteX177" fmla="*/ 2244 w 10000"/>
              <a:gd name="connsiteY177" fmla="*/ 8217 h 10000"/>
              <a:gd name="connsiteX178" fmla="*/ 2299 w 10000"/>
              <a:gd name="connsiteY178" fmla="*/ 8140 h 10000"/>
              <a:gd name="connsiteX179" fmla="*/ 2411 w 10000"/>
              <a:gd name="connsiteY179" fmla="*/ 8217 h 10000"/>
              <a:gd name="connsiteX180" fmla="*/ 2588 w 10000"/>
              <a:gd name="connsiteY180" fmla="*/ 8372 h 10000"/>
              <a:gd name="connsiteX181" fmla="*/ 2700 w 10000"/>
              <a:gd name="connsiteY181" fmla="*/ 8295 h 10000"/>
              <a:gd name="connsiteX182" fmla="*/ 2817 w 10000"/>
              <a:gd name="connsiteY182" fmla="*/ 8295 h 10000"/>
              <a:gd name="connsiteX183" fmla="*/ 2875 w 10000"/>
              <a:gd name="connsiteY183" fmla="*/ 8372 h 10000"/>
              <a:gd name="connsiteX184" fmla="*/ 3104 w 10000"/>
              <a:gd name="connsiteY184" fmla="*/ 8372 h 10000"/>
              <a:gd name="connsiteX185" fmla="*/ 3159 w 10000"/>
              <a:gd name="connsiteY185" fmla="*/ 8217 h 10000"/>
              <a:gd name="connsiteX186" fmla="*/ 2985 w 10000"/>
              <a:gd name="connsiteY186" fmla="*/ 8140 h 10000"/>
              <a:gd name="connsiteX187" fmla="*/ 3104 w 10000"/>
              <a:gd name="connsiteY187" fmla="*/ 8062 h 10000"/>
              <a:gd name="connsiteX188" fmla="*/ 3043 w 10000"/>
              <a:gd name="connsiteY188" fmla="*/ 7985 h 10000"/>
              <a:gd name="connsiteX189" fmla="*/ 3104 w 10000"/>
              <a:gd name="connsiteY189" fmla="*/ 7907 h 10000"/>
              <a:gd name="connsiteX190" fmla="*/ 3104 w 10000"/>
              <a:gd name="connsiteY190" fmla="*/ 7675 h 10000"/>
              <a:gd name="connsiteX191" fmla="*/ 3216 w 10000"/>
              <a:gd name="connsiteY191" fmla="*/ 7752 h 10000"/>
              <a:gd name="connsiteX192" fmla="*/ 3735 w 10000"/>
              <a:gd name="connsiteY192" fmla="*/ 7520 h 10000"/>
              <a:gd name="connsiteX193" fmla="*/ 3735 w 10000"/>
              <a:gd name="connsiteY193" fmla="*/ 7442 h 10000"/>
              <a:gd name="connsiteX194" fmla="*/ 3794 w 10000"/>
              <a:gd name="connsiteY194" fmla="*/ 7442 h 10000"/>
              <a:gd name="connsiteX195" fmla="*/ 3961 w 10000"/>
              <a:gd name="connsiteY195" fmla="*/ 7442 h 10000"/>
              <a:gd name="connsiteX196" fmla="*/ 4024 w 10000"/>
              <a:gd name="connsiteY196" fmla="*/ 7598 h 10000"/>
              <a:gd name="connsiteX197" fmla="*/ 4024 w 10000"/>
              <a:gd name="connsiteY197" fmla="*/ 7675 h 10000"/>
              <a:gd name="connsiteX198" fmla="*/ 4078 w 10000"/>
              <a:gd name="connsiteY198" fmla="*/ 7675 h 10000"/>
              <a:gd name="connsiteX199" fmla="*/ 4194 w 10000"/>
              <a:gd name="connsiteY199" fmla="*/ 7752 h 10000"/>
              <a:gd name="connsiteX200" fmla="*/ 4194 w 10000"/>
              <a:gd name="connsiteY200" fmla="*/ 7830 h 10000"/>
              <a:gd name="connsiteX201" fmla="*/ 4309 w 10000"/>
              <a:gd name="connsiteY201" fmla="*/ 7830 h 10000"/>
              <a:gd name="connsiteX202" fmla="*/ 4423 w 10000"/>
              <a:gd name="connsiteY202" fmla="*/ 7675 h 10000"/>
              <a:gd name="connsiteX203" fmla="*/ 4538 w 10000"/>
              <a:gd name="connsiteY203" fmla="*/ 7598 h 10000"/>
              <a:gd name="connsiteX204" fmla="*/ 4603 w 10000"/>
              <a:gd name="connsiteY204" fmla="*/ 7830 h 10000"/>
              <a:gd name="connsiteX205" fmla="*/ 4828 w 10000"/>
              <a:gd name="connsiteY205" fmla="*/ 8372 h 10000"/>
              <a:gd name="connsiteX206" fmla="*/ 4886 w 10000"/>
              <a:gd name="connsiteY206" fmla="*/ 8217 h 10000"/>
              <a:gd name="connsiteX207" fmla="*/ 4943 w 10000"/>
              <a:gd name="connsiteY207" fmla="*/ 8372 h 10000"/>
              <a:gd name="connsiteX208" fmla="*/ 5115 w 10000"/>
              <a:gd name="connsiteY208" fmla="*/ 8295 h 10000"/>
              <a:gd name="connsiteX209" fmla="*/ 5290 w 10000"/>
              <a:gd name="connsiteY209" fmla="*/ 8528 h 10000"/>
              <a:gd name="connsiteX210" fmla="*/ 5400 w 10000"/>
              <a:gd name="connsiteY210" fmla="*/ 8605 h 10000"/>
              <a:gd name="connsiteX211" fmla="*/ 5400 w 10000"/>
              <a:gd name="connsiteY211" fmla="*/ 8528 h 10000"/>
              <a:gd name="connsiteX212" fmla="*/ 5461 w 10000"/>
              <a:gd name="connsiteY212" fmla="*/ 8683 h 10000"/>
              <a:gd name="connsiteX213" fmla="*/ 5400 w 10000"/>
              <a:gd name="connsiteY213" fmla="*/ 8760 h 10000"/>
              <a:gd name="connsiteX214" fmla="*/ 5519 w 10000"/>
              <a:gd name="connsiteY214" fmla="*/ 8683 h 10000"/>
              <a:gd name="connsiteX215" fmla="*/ 5573 w 10000"/>
              <a:gd name="connsiteY215" fmla="*/ 8605 h 10000"/>
              <a:gd name="connsiteX216" fmla="*/ 5859 w 10000"/>
              <a:gd name="connsiteY216" fmla="*/ 8372 h 10000"/>
              <a:gd name="connsiteX217" fmla="*/ 6092 w 10000"/>
              <a:gd name="connsiteY217" fmla="*/ 8449 h 10000"/>
              <a:gd name="connsiteX218" fmla="*/ 6204 w 10000"/>
              <a:gd name="connsiteY218" fmla="*/ 8528 h 10000"/>
              <a:gd name="connsiteX219" fmla="*/ 6434 w 10000"/>
              <a:gd name="connsiteY219" fmla="*/ 8528 h 10000"/>
              <a:gd name="connsiteX220" fmla="*/ 6434 w 10000"/>
              <a:gd name="connsiteY220" fmla="*/ 8372 h 10000"/>
              <a:gd name="connsiteX221" fmla="*/ 6434 w 10000"/>
              <a:gd name="connsiteY221" fmla="*/ 8217 h 10000"/>
              <a:gd name="connsiteX222" fmla="*/ 6550 w 10000"/>
              <a:gd name="connsiteY222" fmla="*/ 8140 h 10000"/>
              <a:gd name="connsiteX223" fmla="*/ 6777 w 10000"/>
              <a:gd name="connsiteY223" fmla="*/ 8217 h 10000"/>
              <a:gd name="connsiteX224" fmla="*/ 6896 w 10000"/>
              <a:gd name="connsiteY224" fmla="*/ 8449 h 10000"/>
              <a:gd name="connsiteX225" fmla="*/ 6953 w 10000"/>
              <a:gd name="connsiteY225" fmla="*/ 8449 h 10000"/>
              <a:gd name="connsiteX226" fmla="*/ 7069 w 10000"/>
              <a:gd name="connsiteY226" fmla="*/ 8372 h 10000"/>
              <a:gd name="connsiteX227" fmla="*/ 7416 w 10000"/>
              <a:gd name="connsiteY227" fmla="*/ 8605 h 10000"/>
              <a:gd name="connsiteX228" fmla="*/ 7587 w 10000"/>
              <a:gd name="connsiteY228" fmla="*/ 8683 h 10000"/>
              <a:gd name="connsiteX229" fmla="*/ 7815 w 10000"/>
              <a:gd name="connsiteY229" fmla="*/ 8605 h 10000"/>
              <a:gd name="connsiteX230" fmla="*/ 7931 w 10000"/>
              <a:gd name="connsiteY230" fmla="*/ 8449 h 10000"/>
              <a:gd name="connsiteX231" fmla="*/ 8103 w 10000"/>
              <a:gd name="connsiteY231" fmla="*/ 8528 h 10000"/>
              <a:gd name="connsiteX232" fmla="*/ 8217 w 10000"/>
              <a:gd name="connsiteY232" fmla="*/ 8605 h 10000"/>
              <a:gd name="connsiteX233" fmla="*/ 9831 w 10000"/>
              <a:gd name="connsiteY233" fmla="*/ 7598 h 10000"/>
              <a:gd name="connsiteX234" fmla="*/ 9831 w 10000"/>
              <a:gd name="connsiteY234" fmla="*/ 7520 h 10000"/>
              <a:gd name="connsiteX235" fmla="*/ 10000 w 10000"/>
              <a:gd name="connsiteY235" fmla="*/ 7287 h 10000"/>
              <a:gd name="connsiteX236" fmla="*/ 9253 w 10000"/>
              <a:gd name="connsiteY236" fmla="*/ 2791 h 10000"/>
              <a:gd name="connsiteX237" fmla="*/ 9311 w 10000"/>
              <a:gd name="connsiteY237" fmla="*/ 2403 h 10000"/>
              <a:gd name="connsiteX238" fmla="*/ 9196 w 10000"/>
              <a:gd name="connsiteY238" fmla="*/ 2170 h 10000"/>
              <a:gd name="connsiteX239" fmla="*/ 8850 w 10000"/>
              <a:gd name="connsiteY239" fmla="*/ 2016 h 10000"/>
              <a:gd name="connsiteX240" fmla="*/ 8731 w 10000"/>
              <a:gd name="connsiteY240" fmla="*/ 2016 h 10000"/>
              <a:gd name="connsiteX241" fmla="*/ 8678 w 10000"/>
              <a:gd name="connsiteY241" fmla="*/ 2170 h 10000"/>
              <a:gd name="connsiteX242" fmla="*/ 8731 w 10000"/>
              <a:gd name="connsiteY242" fmla="*/ 2325 h 10000"/>
              <a:gd name="connsiteX243" fmla="*/ 8280 w 10000"/>
              <a:gd name="connsiteY243" fmla="*/ 2248 h 10000"/>
              <a:gd name="connsiteX244" fmla="*/ 8332 w 10000"/>
              <a:gd name="connsiteY244" fmla="*/ 2016 h 10000"/>
              <a:gd name="connsiteX245" fmla="*/ 8046 w 10000"/>
              <a:gd name="connsiteY245" fmla="*/ 1938 h 10000"/>
              <a:gd name="connsiteX246" fmla="*/ 7872 w 10000"/>
              <a:gd name="connsiteY246" fmla="*/ 2093 h 10000"/>
              <a:gd name="connsiteX247" fmla="*/ 7537 w 10000"/>
              <a:gd name="connsiteY247" fmla="*/ 1861 h 10000"/>
              <a:gd name="connsiteX0" fmla="*/ 7537 w 10000"/>
              <a:gd name="connsiteY0" fmla="*/ 1861 h 10000"/>
              <a:gd name="connsiteX1" fmla="*/ 7537 w 10000"/>
              <a:gd name="connsiteY1" fmla="*/ 1861 h 10000"/>
              <a:gd name="connsiteX2" fmla="*/ 7471 w 10000"/>
              <a:gd name="connsiteY2" fmla="*/ 1938 h 10000"/>
              <a:gd name="connsiteX3" fmla="*/ 7537 w 10000"/>
              <a:gd name="connsiteY3" fmla="*/ 2093 h 10000"/>
              <a:gd name="connsiteX4" fmla="*/ 7298 w 10000"/>
              <a:gd name="connsiteY4" fmla="*/ 2248 h 10000"/>
              <a:gd name="connsiteX5" fmla="*/ 7237 w 10000"/>
              <a:gd name="connsiteY5" fmla="*/ 2248 h 10000"/>
              <a:gd name="connsiteX6" fmla="*/ 7298 w 10000"/>
              <a:gd name="connsiteY6" fmla="*/ 2016 h 10000"/>
              <a:gd name="connsiteX7" fmla="*/ 7872 w 10000"/>
              <a:gd name="connsiteY7" fmla="*/ 1318 h 10000"/>
              <a:gd name="connsiteX8" fmla="*/ 7872 w 10000"/>
              <a:gd name="connsiteY8" fmla="*/ 853 h 10000"/>
              <a:gd name="connsiteX9" fmla="*/ 7646 w 10000"/>
              <a:gd name="connsiteY9" fmla="*/ 543 h 10000"/>
              <a:gd name="connsiteX10" fmla="*/ 7356 w 10000"/>
              <a:gd name="connsiteY10" fmla="*/ 543 h 10000"/>
              <a:gd name="connsiteX11" fmla="*/ 7356 w 10000"/>
              <a:gd name="connsiteY11" fmla="*/ 698 h 10000"/>
              <a:gd name="connsiteX12" fmla="*/ 7180 w 10000"/>
              <a:gd name="connsiteY12" fmla="*/ 698 h 10000"/>
              <a:gd name="connsiteX13" fmla="*/ 7298 w 10000"/>
              <a:gd name="connsiteY13" fmla="*/ 387 h 10000"/>
              <a:gd name="connsiteX14" fmla="*/ 7013 w 10000"/>
              <a:gd name="connsiteY14" fmla="*/ 310 h 10000"/>
              <a:gd name="connsiteX15" fmla="*/ 7180 w 10000"/>
              <a:gd name="connsiteY15" fmla="*/ 155 h 10000"/>
              <a:gd name="connsiteX16" fmla="*/ 7013 w 10000"/>
              <a:gd name="connsiteY16" fmla="*/ 0 h 10000"/>
              <a:gd name="connsiteX17" fmla="*/ 6724 w 10000"/>
              <a:gd name="connsiteY17" fmla="*/ 387 h 10000"/>
              <a:gd name="connsiteX18" fmla="*/ 6724 w 10000"/>
              <a:gd name="connsiteY18" fmla="*/ 698 h 10000"/>
              <a:gd name="connsiteX19" fmla="*/ 6550 w 10000"/>
              <a:gd name="connsiteY19" fmla="*/ 698 h 10000"/>
              <a:gd name="connsiteX20" fmla="*/ 6035 w 10000"/>
              <a:gd name="connsiteY20" fmla="*/ 853 h 10000"/>
              <a:gd name="connsiteX21" fmla="*/ 5573 w 10000"/>
              <a:gd name="connsiteY21" fmla="*/ 1240 h 10000"/>
              <a:gd name="connsiteX22" fmla="*/ 5400 w 10000"/>
              <a:gd name="connsiteY22" fmla="*/ 1551 h 10000"/>
              <a:gd name="connsiteX23" fmla="*/ 5461 w 10000"/>
              <a:gd name="connsiteY23" fmla="*/ 1938 h 10000"/>
              <a:gd name="connsiteX24" fmla="*/ 4828 w 10000"/>
              <a:gd name="connsiteY24" fmla="*/ 2093 h 10000"/>
              <a:gd name="connsiteX25" fmla="*/ 4886 w 10000"/>
              <a:gd name="connsiteY25" fmla="*/ 2559 h 10000"/>
              <a:gd name="connsiteX26" fmla="*/ 5058 w 10000"/>
              <a:gd name="connsiteY26" fmla="*/ 2791 h 10000"/>
              <a:gd name="connsiteX27" fmla="*/ 4943 w 10000"/>
              <a:gd name="connsiteY27" fmla="*/ 2868 h 10000"/>
              <a:gd name="connsiteX28" fmla="*/ 4773 w 10000"/>
              <a:gd name="connsiteY28" fmla="*/ 2559 h 10000"/>
              <a:gd name="connsiteX29" fmla="*/ 4603 w 10000"/>
              <a:gd name="connsiteY29" fmla="*/ 2480 h 10000"/>
              <a:gd name="connsiteX30" fmla="*/ 4538 w 10000"/>
              <a:gd name="connsiteY30" fmla="*/ 2559 h 10000"/>
              <a:gd name="connsiteX31" fmla="*/ 4423 w 10000"/>
              <a:gd name="connsiteY31" fmla="*/ 2403 h 10000"/>
              <a:gd name="connsiteX32" fmla="*/ 4309 w 10000"/>
              <a:gd name="connsiteY32" fmla="*/ 2248 h 10000"/>
              <a:gd name="connsiteX33" fmla="*/ 4309 w 10000"/>
              <a:gd name="connsiteY33" fmla="*/ 2325 h 10000"/>
              <a:gd name="connsiteX34" fmla="*/ 4372 w 10000"/>
              <a:gd name="connsiteY34" fmla="*/ 2559 h 10000"/>
              <a:gd name="connsiteX35" fmla="*/ 4194 w 10000"/>
              <a:gd name="connsiteY35" fmla="*/ 2946 h 10000"/>
              <a:gd name="connsiteX36" fmla="*/ 4309 w 10000"/>
              <a:gd name="connsiteY36" fmla="*/ 3256 h 10000"/>
              <a:gd name="connsiteX37" fmla="*/ 4251 w 10000"/>
              <a:gd name="connsiteY37" fmla="*/ 3566 h 10000"/>
              <a:gd name="connsiteX38" fmla="*/ 4251 w 10000"/>
              <a:gd name="connsiteY38" fmla="*/ 3799 h 10000"/>
              <a:gd name="connsiteX39" fmla="*/ 4423 w 10000"/>
              <a:gd name="connsiteY39" fmla="*/ 3799 h 10000"/>
              <a:gd name="connsiteX40" fmla="*/ 4309 w 10000"/>
              <a:gd name="connsiteY40" fmla="*/ 3876 h 10000"/>
              <a:gd name="connsiteX41" fmla="*/ 4372 w 10000"/>
              <a:gd name="connsiteY41" fmla="*/ 4263 h 10000"/>
              <a:gd name="connsiteX42" fmla="*/ 4024 w 10000"/>
              <a:gd name="connsiteY42" fmla="*/ 4652 h 10000"/>
              <a:gd name="connsiteX43" fmla="*/ 3961 w 10000"/>
              <a:gd name="connsiteY43" fmla="*/ 4574 h 10000"/>
              <a:gd name="connsiteX44" fmla="*/ 4194 w 10000"/>
              <a:gd name="connsiteY44" fmla="*/ 4186 h 10000"/>
              <a:gd name="connsiteX45" fmla="*/ 4251 w 10000"/>
              <a:gd name="connsiteY45" fmla="*/ 3954 h 10000"/>
              <a:gd name="connsiteX46" fmla="*/ 4130 w 10000"/>
              <a:gd name="connsiteY46" fmla="*/ 3799 h 10000"/>
              <a:gd name="connsiteX47" fmla="*/ 4130 w 10000"/>
              <a:gd name="connsiteY47" fmla="*/ 3023 h 10000"/>
              <a:gd name="connsiteX48" fmla="*/ 4078 w 10000"/>
              <a:gd name="connsiteY48" fmla="*/ 2868 h 10000"/>
              <a:gd name="connsiteX49" fmla="*/ 4130 w 10000"/>
              <a:gd name="connsiteY49" fmla="*/ 2403 h 10000"/>
              <a:gd name="connsiteX50" fmla="*/ 4024 w 10000"/>
              <a:gd name="connsiteY50" fmla="*/ 2325 h 10000"/>
              <a:gd name="connsiteX51" fmla="*/ 4078 w 10000"/>
              <a:gd name="connsiteY51" fmla="*/ 2248 h 10000"/>
              <a:gd name="connsiteX52" fmla="*/ 4024 w 10000"/>
              <a:gd name="connsiteY52" fmla="*/ 2093 h 10000"/>
              <a:gd name="connsiteX53" fmla="*/ 3904 w 10000"/>
              <a:gd name="connsiteY53" fmla="*/ 2170 h 10000"/>
              <a:gd name="connsiteX54" fmla="*/ 3620 w 10000"/>
              <a:gd name="connsiteY54" fmla="*/ 3178 h 10000"/>
              <a:gd name="connsiteX55" fmla="*/ 3620 w 10000"/>
              <a:gd name="connsiteY55" fmla="*/ 3566 h 10000"/>
              <a:gd name="connsiteX56" fmla="*/ 3794 w 10000"/>
              <a:gd name="connsiteY56" fmla="*/ 3876 h 10000"/>
              <a:gd name="connsiteX57" fmla="*/ 3794 w 10000"/>
              <a:gd name="connsiteY57" fmla="*/ 4031 h 10000"/>
              <a:gd name="connsiteX58" fmla="*/ 3620 w 10000"/>
              <a:gd name="connsiteY58" fmla="*/ 3876 h 10000"/>
              <a:gd name="connsiteX59" fmla="*/ 2934 w 10000"/>
              <a:gd name="connsiteY59" fmla="*/ 3256 h 10000"/>
              <a:gd name="connsiteX60" fmla="*/ 2875 w 10000"/>
              <a:gd name="connsiteY60" fmla="*/ 3411 h 10000"/>
              <a:gd name="connsiteX61" fmla="*/ 3104 w 10000"/>
              <a:gd name="connsiteY61" fmla="*/ 3799 h 10000"/>
              <a:gd name="connsiteX62" fmla="*/ 2985 w 10000"/>
              <a:gd name="connsiteY62" fmla="*/ 3876 h 10000"/>
              <a:gd name="connsiteX63" fmla="*/ 2934 w 10000"/>
              <a:gd name="connsiteY63" fmla="*/ 3799 h 10000"/>
              <a:gd name="connsiteX64" fmla="*/ 2588 w 10000"/>
              <a:gd name="connsiteY64" fmla="*/ 3954 h 10000"/>
              <a:gd name="connsiteX65" fmla="*/ 2531 w 10000"/>
              <a:gd name="connsiteY65" fmla="*/ 4109 h 10000"/>
              <a:gd name="connsiteX66" fmla="*/ 2473 w 10000"/>
              <a:gd name="connsiteY66" fmla="*/ 3954 h 10000"/>
              <a:gd name="connsiteX67" fmla="*/ 2473 w 10000"/>
              <a:gd name="connsiteY67" fmla="*/ 3799 h 10000"/>
              <a:gd name="connsiteX68" fmla="*/ 1893 w 10000"/>
              <a:gd name="connsiteY68" fmla="*/ 4263 h 10000"/>
              <a:gd name="connsiteX69" fmla="*/ 1893 w 10000"/>
              <a:gd name="connsiteY69" fmla="*/ 4418 h 10000"/>
              <a:gd name="connsiteX70" fmla="*/ 1781 w 10000"/>
              <a:gd name="connsiteY70" fmla="*/ 4496 h 10000"/>
              <a:gd name="connsiteX71" fmla="*/ 1610 w 10000"/>
              <a:gd name="connsiteY71" fmla="*/ 4341 h 10000"/>
              <a:gd name="connsiteX72" fmla="*/ 1781 w 10000"/>
              <a:gd name="connsiteY72" fmla="*/ 4186 h 10000"/>
              <a:gd name="connsiteX73" fmla="*/ 1723 w 10000"/>
              <a:gd name="connsiteY73" fmla="*/ 3954 h 10000"/>
              <a:gd name="connsiteX74" fmla="*/ 1494 w 10000"/>
              <a:gd name="connsiteY74" fmla="*/ 3876 h 10000"/>
              <a:gd name="connsiteX75" fmla="*/ 1552 w 10000"/>
              <a:gd name="connsiteY75" fmla="*/ 4031 h 10000"/>
              <a:gd name="connsiteX76" fmla="*/ 1552 w 10000"/>
              <a:gd name="connsiteY76" fmla="*/ 4418 h 10000"/>
              <a:gd name="connsiteX77" fmla="*/ 1610 w 10000"/>
              <a:gd name="connsiteY77" fmla="*/ 4574 h 10000"/>
              <a:gd name="connsiteX78" fmla="*/ 1552 w 10000"/>
              <a:gd name="connsiteY78" fmla="*/ 4729 h 10000"/>
              <a:gd name="connsiteX79" fmla="*/ 1376 w 10000"/>
              <a:gd name="connsiteY79" fmla="*/ 4652 h 10000"/>
              <a:gd name="connsiteX80" fmla="*/ 1150 w 10000"/>
              <a:gd name="connsiteY80" fmla="*/ 4884 h 10000"/>
              <a:gd name="connsiteX81" fmla="*/ 1262 w 10000"/>
              <a:gd name="connsiteY81" fmla="*/ 5194 h 10000"/>
              <a:gd name="connsiteX82" fmla="*/ 918 w 10000"/>
              <a:gd name="connsiteY82" fmla="*/ 5039 h 10000"/>
              <a:gd name="connsiteX83" fmla="*/ 862 w 10000"/>
              <a:gd name="connsiteY83" fmla="*/ 5116 h 10000"/>
              <a:gd name="connsiteX84" fmla="*/ 979 w 10000"/>
              <a:gd name="connsiteY84" fmla="*/ 5349 h 10000"/>
              <a:gd name="connsiteX85" fmla="*/ 862 w 10000"/>
              <a:gd name="connsiteY85" fmla="*/ 5349 h 10000"/>
              <a:gd name="connsiteX86" fmla="*/ 692 w 10000"/>
              <a:gd name="connsiteY86" fmla="*/ 5194 h 10000"/>
              <a:gd name="connsiteX87" fmla="*/ 692 w 10000"/>
              <a:gd name="connsiteY87" fmla="*/ 4729 h 10000"/>
              <a:gd name="connsiteX88" fmla="*/ 520 w 10000"/>
              <a:gd name="connsiteY88" fmla="*/ 4574 h 10000"/>
              <a:gd name="connsiteX89" fmla="*/ 459 w 10000"/>
              <a:gd name="connsiteY89" fmla="*/ 4418 h 10000"/>
              <a:gd name="connsiteX90" fmla="*/ 573 w 10000"/>
              <a:gd name="connsiteY90" fmla="*/ 4496 h 10000"/>
              <a:gd name="connsiteX91" fmla="*/ 1031 w 10000"/>
              <a:gd name="connsiteY91" fmla="*/ 4729 h 10000"/>
              <a:gd name="connsiteX92" fmla="*/ 1316 w 10000"/>
              <a:gd name="connsiteY92" fmla="*/ 4496 h 10000"/>
              <a:gd name="connsiteX93" fmla="*/ 1262 w 10000"/>
              <a:gd name="connsiteY93" fmla="*/ 4263 h 10000"/>
              <a:gd name="connsiteX94" fmla="*/ 918 w 10000"/>
              <a:gd name="connsiteY94" fmla="*/ 3799 h 10000"/>
              <a:gd name="connsiteX95" fmla="*/ 573 w 10000"/>
              <a:gd name="connsiteY95" fmla="*/ 3644 h 10000"/>
              <a:gd name="connsiteX96" fmla="*/ 573 w 10000"/>
              <a:gd name="connsiteY96" fmla="*/ 3566 h 10000"/>
              <a:gd name="connsiteX97" fmla="*/ 459 w 10000"/>
              <a:gd name="connsiteY97" fmla="*/ 3488 h 10000"/>
              <a:gd name="connsiteX98" fmla="*/ 342 w 10000"/>
              <a:gd name="connsiteY98" fmla="*/ 3566 h 10000"/>
              <a:gd name="connsiteX99" fmla="*/ 342 w 10000"/>
              <a:gd name="connsiteY99" fmla="*/ 3644 h 10000"/>
              <a:gd name="connsiteX100" fmla="*/ 286 w 10000"/>
              <a:gd name="connsiteY100" fmla="*/ 3644 h 10000"/>
              <a:gd name="connsiteX101" fmla="*/ 173 w 10000"/>
              <a:gd name="connsiteY101" fmla="*/ 3799 h 10000"/>
              <a:gd name="connsiteX102" fmla="*/ 173 w 10000"/>
              <a:gd name="connsiteY102" fmla="*/ 4031 h 10000"/>
              <a:gd name="connsiteX103" fmla="*/ 286 w 10000"/>
              <a:gd name="connsiteY103" fmla="*/ 4186 h 10000"/>
              <a:gd name="connsiteX104" fmla="*/ 231 w 10000"/>
              <a:gd name="connsiteY104" fmla="*/ 4418 h 10000"/>
              <a:gd name="connsiteX105" fmla="*/ 286 w 10000"/>
              <a:gd name="connsiteY105" fmla="*/ 4807 h 10000"/>
              <a:gd name="connsiteX106" fmla="*/ 231 w 10000"/>
              <a:gd name="connsiteY106" fmla="*/ 5039 h 10000"/>
              <a:gd name="connsiteX107" fmla="*/ 342 w 10000"/>
              <a:gd name="connsiteY107" fmla="*/ 5271 h 10000"/>
              <a:gd name="connsiteX108" fmla="*/ 286 w 10000"/>
              <a:gd name="connsiteY108" fmla="*/ 5426 h 10000"/>
              <a:gd name="connsiteX109" fmla="*/ 400 w 10000"/>
              <a:gd name="connsiteY109" fmla="*/ 5582 h 10000"/>
              <a:gd name="connsiteX110" fmla="*/ 400 w 10000"/>
              <a:gd name="connsiteY110" fmla="*/ 5659 h 10000"/>
              <a:gd name="connsiteX111" fmla="*/ 231 w 10000"/>
              <a:gd name="connsiteY111" fmla="*/ 6047 h 10000"/>
              <a:gd name="connsiteX112" fmla="*/ 52 w 10000"/>
              <a:gd name="connsiteY112" fmla="*/ 6202 h 10000"/>
              <a:gd name="connsiteX113" fmla="*/ 113 w 10000"/>
              <a:gd name="connsiteY113" fmla="*/ 6202 h 10000"/>
              <a:gd name="connsiteX114" fmla="*/ 231 w 10000"/>
              <a:gd name="connsiteY114" fmla="*/ 6356 h 10000"/>
              <a:gd name="connsiteX115" fmla="*/ 113 w 10000"/>
              <a:gd name="connsiteY115" fmla="*/ 6512 h 10000"/>
              <a:gd name="connsiteX116" fmla="*/ 52 w 10000"/>
              <a:gd name="connsiteY116" fmla="*/ 6590 h 10000"/>
              <a:gd name="connsiteX117" fmla="*/ 0 w 10000"/>
              <a:gd name="connsiteY117" fmla="*/ 6590 h 10000"/>
              <a:gd name="connsiteX118" fmla="*/ 52 w 10000"/>
              <a:gd name="connsiteY118" fmla="*/ 6822 h 10000"/>
              <a:gd name="connsiteX119" fmla="*/ 52 w 10000"/>
              <a:gd name="connsiteY119" fmla="*/ 6900 h 10000"/>
              <a:gd name="connsiteX120" fmla="*/ 52 w 10000"/>
              <a:gd name="connsiteY120" fmla="*/ 6977 h 10000"/>
              <a:gd name="connsiteX121" fmla="*/ 52 w 10000"/>
              <a:gd name="connsiteY121" fmla="*/ 7054 h 10000"/>
              <a:gd name="connsiteX122" fmla="*/ 113 w 10000"/>
              <a:gd name="connsiteY122" fmla="*/ 7209 h 10000"/>
              <a:gd name="connsiteX123" fmla="*/ 286 w 10000"/>
              <a:gd name="connsiteY123" fmla="*/ 7287 h 10000"/>
              <a:gd name="connsiteX124" fmla="*/ 342 w 10000"/>
              <a:gd name="connsiteY124" fmla="*/ 7364 h 10000"/>
              <a:gd name="connsiteX125" fmla="*/ 342 w 10000"/>
              <a:gd name="connsiteY125" fmla="*/ 7520 h 10000"/>
              <a:gd name="connsiteX126" fmla="*/ 459 w 10000"/>
              <a:gd name="connsiteY126" fmla="*/ 7752 h 10000"/>
              <a:gd name="connsiteX127" fmla="*/ 520 w 10000"/>
              <a:gd name="connsiteY127" fmla="*/ 7752 h 10000"/>
              <a:gd name="connsiteX128" fmla="*/ 459 w 10000"/>
              <a:gd name="connsiteY128" fmla="*/ 7907 h 10000"/>
              <a:gd name="connsiteX129" fmla="*/ 400 w 10000"/>
              <a:gd name="connsiteY129" fmla="*/ 7830 h 10000"/>
              <a:gd name="connsiteX130" fmla="*/ 400 w 10000"/>
              <a:gd name="connsiteY130" fmla="*/ 7907 h 10000"/>
              <a:gd name="connsiteX131" fmla="*/ 459 w 10000"/>
              <a:gd name="connsiteY131" fmla="*/ 8062 h 10000"/>
              <a:gd name="connsiteX132" fmla="*/ 634 w 10000"/>
              <a:gd name="connsiteY132" fmla="*/ 8062 h 10000"/>
              <a:gd name="connsiteX133" fmla="*/ 692 w 10000"/>
              <a:gd name="connsiteY133" fmla="*/ 8140 h 10000"/>
              <a:gd name="connsiteX134" fmla="*/ 634 w 10000"/>
              <a:gd name="connsiteY134" fmla="*/ 8140 h 10000"/>
              <a:gd name="connsiteX135" fmla="*/ 692 w 10000"/>
              <a:gd name="connsiteY135" fmla="*/ 8217 h 10000"/>
              <a:gd name="connsiteX136" fmla="*/ 746 w 10000"/>
              <a:gd name="connsiteY136" fmla="*/ 8217 h 10000"/>
              <a:gd name="connsiteX137" fmla="*/ 803 w 10000"/>
              <a:gd name="connsiteY137" fmla="*/ 8372 h 10000"/>
              <a:gd name="connsiteX138" fmla="*/ 862 w 10000"/>
              <a:gd name="connsiteY138" fmla="*/ 8449 h 10000"/>
              <a:gd name="connsiteX139" fmla="*/ 918 w 10000"/>
              <a:gd name="connsiteY139" fmla="*/ 8372 h 10000"/>
              <a:gd name="connsiteX140" fmla="*/ 1208 w 10000"/>
              <a:gd name="connsiteY140" fmla="*/ 8605 h 10000"/>
              <a:gd name="connsiteX141" fmla="*/ 1150 w 10000"/>
              <a:gd name="connsiteY141" fmla="*/ 8915 h 10000"/>
              <a:gd name="connsiteX142" fmla="*/ 1092 w 10000"/>
              <a:gd name="connsiteY142" fmla="*/ 8838 h 10000"/>
              <a:gd name="connsiteX143" fmla="*/ 1031 w 10000"/>
              <a:gd name="connsiteY143" fmla="*/ 8915 h 10000"/>
              <a:gd name="connsiteX144" fmla="*/ 1031 w 10000"/>
              <a:gd name="connsiteY144" fmla="*/ 9070 h 10000"/>
              <a:gd name="connsiteX145" fmla="*/ 1092 w 10000"/>
              <a:gd name="connsiteY145" fmla="*/ 8993 h 10000"/>
              <a:gd name="connsiteX146" fmla="*/ 1150 w 10000"/>
              <a:gd name="connsiteY146" fmla="*/ 9070 h 10000"/>
              <a:gd name="connsiteX147" fmla="*/ 979 w 10000"/>
              <a:gd name="connsiteY147" fmla="*/ 9147 h 10000"/>
              <a:gd name="connsiteX148" fmla="*/ 1031 w 10000"/>
              <a:gd name="connsiteY148" fmla="*/ 9225 h 10000"/>
              <a:gd name="connsiteX149" fmla="*/ 918 w 10000"/>
              <a:gd name="connsiteY149" fmla="*/ 9380 h 10000"/>
              <a:gd name="connsiteX150" fmla="*/ 862 w 10000"/>
              <a:gd name="connsiteY150" fmla="*/ 9380 h 10000"/>
              <a:gd name="connsiteX151" fmla="*/ 918 w 10000"/>
              <a:gd name="connsiteY151" fmla="*/ 9380 h 10000"/>
              <a:gd name="connsiteX152" fmla="*/ 1150 w 10000"/>
              <a:gd name="connsiteY152" fmla="*/ 9691 h 10000"/>
              <a:gd name="connsiteX153" fmla="*/ 1438 w 10000"/>
              <a:gd name="connsiteY153" fmla="*/ 9691 h 10000"/>
              <a:gd name="connsiteX154" fmla="*/ 1552 w 10000"/>
              <a:gd name="connsiteY154" fmla="*/ 9768 h 10000"/>
              <a:gd name="connsiteX155" fmla="*/ 1667 w 10000"/>
              <a:gd name="connsiteY155" fmla="*/ 9768 h 10000"/>
              <a:gd name="connsiteX156" fmla="*/ 1781 w 10000"/>
              <a:gd name="connsiteY156" fmla="*/ 9923 h 10000"/>
              <a:gd name="connsiteX157" fmla="*/ 1839 w 10000"/>
              <a:gd name="connsiteY157" fmla="*/ 10000 h 10000"/>
              <a:gd name="connsiteX158" fmla="*/ 1893 w 10000"/>
              <a:gd name="connsiteY158" fmla="*/ 10000 h 10000"/>
              <a:gd name="connsiteX159" fmla="*/ 1954 w 10000"/>
              <a:gd name="connsiteY159" fmla="*/ 9923 h 10000"/>
              <a:gd name="connsiteX160" fmla="*/ 1839 w 10000"/>
              <a:gd name="connsiteY160" fmla="*/ 9768 h 10000"/>
              <a:gd name="connsiteX161" fmla="*/ 1839 w 10000"/>
              <a:gd name="connsiteY161" fmla="*/ 9613 h 10000"/>
              <a:gd name="connsiteX162" fmla="*/ 1781 w 10000"/>
              <a:gd name="connsiteY162" fmla="*/ 9457 h 10000"/>
              <a:gd name="connsiteX163" fmla="*/ 1893 w 10000"/>
              <a:gd name="connsiteY163" fmla="*/ 9225 h 10000"/>
              <a:gd name="connsiteX164" fmla="*/ 1954 w 10000"/>
              <a:gd name="connsiteY164" fmla="*/ 9302 h 10000"/>
              <a:gd name="connsiteX165" fmla="*/ 2011 w 10000"/>
              <a:gd name="connsiteY165" fmla="*/ 9225 h 10000"/>
              <a:gd name="connsiteX166" fmla="*/ 2011 w 10000"/>
              <a:gd name="connsiteY166" fmla="*/ 9147 h 10000"/>
              <a:gd name="connsiteX167" fmla="*/ 1954 w 10000"/>
              <a:gd name="connsiteY167" fmla="*/ 9147 h 10000"/>
              <a:gd name="connsiteX168" fmla="*/ 2011 w 10000"/>
              <a:gd name="connsiteY168" fmla="*/ 9070 h 10000"/>
              <a:gd name="connsiteX169" fmla="*/ 1954 w 10000"/>
              <a:gd name="connsiteY169" fmla="*/ 8915 h 10000"/>
              <a:gd name="connsiteX170" fmla="*/ 1839 w 10000"/>
              <a:gd name="connsiteY170" fmla="*/ 8915 h 10000"/>
              <a:gd name="connsiteX171" fmla="*/ 1781 w 10000"/>
              <a:gd name="connsiteY171" fmla="*/ 8760 h 10000"/>
              <a:gd name="connsiteX172" fmla="*/ 1839 w 10000"/>
              <a:gd name="connsiteY172" fmla="*/ 8372 h 10000"/>
              <a:gd name="connsiteX173" fmla="*/ 1954 w 10000"/>
              <a:gd name="connsiteY173" fmla="*/ 8528 h 10000"/>
              <a:gd name="connsiteX174" fmla="*/ 2011 w 10000"/>
              <a:gd name="connsiteY174" fmla="*/ 8528 h 10000"/>
              <a:gd name="connsiteX175" fmla="*/ 1954 w 10000"/>
              <a:gd name="connsiteY175" fmla="*/ 8372 h 10000"/>
              <a:gd name="connsiteX176" fmla="*/ 2127 w 10000"/>
              <a:gd name="connsiteY176" fmla="*/ 8140 h 10000"/>
              <a:gd name="connsiteX177" fmla="*/ 2244 w 10000"/>
              <a:gd name="connsiteY177" fmla="*/ 8217 h 10000"/>
              <a:gd name="connsiteX178" fmla="*/ 2299 w 10000"/>
              <a:gd name="connsiteY178" fmla="*/ 8140 h 10000"/>
              <a:gd name="connsiteX179" fmla="*/ 2411 w 10000"/>
              <a:gd name="connsiteY179" fmla="*/ 8217 h 10000"/>
              <a:gd name="connsiteX180" fmla="*/ 2588 w 10000"/>
              <a:gd name="connsiteY180" fmla="*/ 8372 h 10000"/>
              <a:gd name="connsiteX181" fmla="*/ 2700 w 10000"/>
              <a:gd name="connsiteY181" fmla="*/ 8295 h 10000"/>
              <a:gd name="connsiteX182" fmla="*/ 2817 w 10000"/>
              <a:gd name="connsiteY182" fmla="*/ 8295 h 10000"/>
              <a:gd name="connsiteX183" fmla="*/ 2875 w 10000"/>
              <a:gd name="connsiteY183" fmla="*/ 8372 h 10000"/>
              <a:gd name="connsiteX184" fmla="*/ 3104 w 10000"/>
              <a:gd name="connsiteY184" fmla="*/ 8372 h 10000"/>
              <a:gd name="connsiteX185" fmla="*/ 3159 w 10000"/>
              <a:gd name="connsiteY185" fmla="*/ 8217 h 10000"/>
              <a:gd name="connsiteX186" fmla="*/ 2985 w 10000"/>
              <a:gd name="connsiteY186" fmla="*/ 8140 h 10000"/>
              <a:gd name="connsiteX187" fmla="*/ 3104 w 10000"/>
              <a:gd name="connsiteY187" fmla="*/ 8062 h 10000"/>
              <a:gd name="connsiteX188" fmla="*/ 3043 w 10000"/>
              <a:gd name="connsiteY188" fmla="*/ 7985 h 10000"/>
              <a:gd name="connsiteX189" fmla="*/ 3104 w 10000"/>
              <a:gd name="connsiteY189" fmla="*/ 7907 h 10000"/>
              <a:gd name="connsiteX190" fmla="*/ 3104 w 10000"/>
              <a:gd name="connsiteY190" fmla="*/ 7675 h 10000"/>
              <a:gd name="connsiteX191" fmla="*/ 3216 w 10000"/>
              <a:gd name="connsiteY191" fmla="*/ 7752 h 10000"/>
              <a:gd name="connsiteX192" fmla="*/ 3735 w 10000"/>
              <a:gd name="connsiteY192" fmla="*/ 7520 h 10000"/>
              <a:gd name="connsiteX193" fmla="*/ 3735 w 10000"/>
              <a:gd name="connsiteY193" fmla="*/ 7442 h 10000"/>
              <a:gd name="connsiteX194" fmla="*/ 3794 w 10000"/>
              <a:gd name="connsiteY194" fmla="*/ 7442 h 10000"/>
              <a:gd name="connsiteX195" fmla="*/ 3961 w 10000"/>
              <a:gd name="connsiteY195" fmla="*/ 7442 h 10000"/>
              <a:gd name="connsiteX196" fmla="*/ 4024 w 10000"/>
              <a:gd name="connsiteY196" fmla="*/ 7598 h 10000"/>
              <a:gd name="connsiteX197" fmla="*/ 4024 w 10000"/>
              <a:gd name="connsiteY197" fmla="*/ 7675 h 10000"/>
              <a:gd name="connsiteX198" fmla="*/ 4078 w 10000"/>
              <a:gd name="connsiteY198" fmla="*/ 7675 h 10000"/>
              <a:gd name="connsiteX199" fmla="*/ 4194 w 10000"/>
              <a:gd name="connsiteY199" fmla="*/ 7752 h 10000"/>
              <a:gd name="connsiteX200" fmla="*/ 4194 w 10000"/>
              <a:gd name="connsiteY200" fmla="*/ 7830 h 10000"/>
              <a:gd name="connsiteX201" fmla="*/ 4309 w 10000"/>
              <a:gd name="connsiteY201" fmla="*/ 7830 h 10000"/>
              <a:gd name="connsiteX202" fmla="*/ 4423 w 10000"/>
              <a:gd name="connsiteY202" fmla="*/ 7675 h 10000"/>
              <a:gd name="connsiteX203" fmla="*/ 4538 w 10000"/>
              <a:gd name="connsiteY203" fmla="*/ 7598 h 10000"/>
              <a:gd name="connsiteX204" fmla="*/ 4603 w 10000"/>
              <a:gd name="connsiteY204" fmla="*/ 7830 h 10000"/>
              <a:gd name="connsiteX205" fmla="*/ 4828 w 10000"/>
              <a:gd name="connsiteY205" fmla="*/ 8372 h 10000"/>
              <a:gd name="connsiteX206" fmla="*/ 4886 w 10000"/>
              <a:gd name="connsiteY206" fmla="*/ 8217 h 10000"/>
              <a:gd name="connsiteX207" fmla="*/ 4943 w 10000"/>
              <a:gd name="connsiteY207" fmla="*/ 8372 h 10000"/>
              <a:gd name="connsiteX208" fmla="*/ 5115 w 10000"/>
              <a:gd name="connsiteY208" fmla="*/ 8295 h 10000"/>
              <a:gd name="connsiteX209" fmla="*/ 5290 w 10000"/>
              <a:gd name="connsiteY209" fmla="*/ 8528 h 10000"/>
              <a:gd name="connsiteX210" fmla="*/ 5400 w 10000"/>
              <a:gd name="connsiteY210" fmla="*/ 8605 h 10000"/>
              <a:gd name="connsiteX211" fmla="*/ 5400 w 10000"/>
              <a:gd name="connsiteY211" fmla="*/ 8528 h 10000"/>
              <a:gd name="connsiteX212" fmla="*/ 5461 w 10000"/>
              <a:gd name="connsiteY212" fmla="*/ 8683 h 10000"/>
              <a:gd name="connsiteX213" fmla="*/ 5400 w 10000"/>
              <a:gd name="connsiteY213" fmla="*/ 8760 h 10000"/>
              <a:gd name="connsiteX214" fmla="*/ 5519 w 10000"/>
              <a:gd name="connsiteY214" fmla="*/ 8683 h 10000"/>
              <a:gd name="connsiteX215" fmla="*/ 5573 w 10000"/>
              <a:gd name="connsiteY215" fmla="*/ 8605 h 10000"/>
              <a:gd name="connsiteX216" fmla="*/ 5859 w 10000"/>
              <a:gd name="connsiteY216" fmla="*/ 8372 h 10000"/>
              <a:gd name="connsiteX217" fmla="*/ 6092 w 10000"/>
              <a:gd name="connsiteY217" fmla="*/ 8449 h 10000"/>
              <a:gd name="connsiteX218" fmla="*/ 6204 w 10000"/>
              <a:gd name="connsiteY218" fmla="*/ 8528 h 10000"/>
              <a:gd name="connsiteX219" fmla="*/ 6434 w 10000"/>
              <a:gd name="connsiteY219" fmla="*/ 8528 h 10000"/>
              <a:gd name="connsiteX220" fmla="*/ 6434 w 10000"/>
              <a:gd name="connsiteY220" fmla="*/ 8372 h 10000"/>
              <a:gd name="connsiteX221" fmla="*/ 6434 w 10000"/>
              <a:gd name="connsiteY221" fmla="*/ 8217 h 10000"/>
              <a:gd name="connsiteX222" fmla="*/ 6550 w 10000"/>
              <a:gd name="connsiteY222" fmla="*/ 8140 h 10000"/>
              <a:gd name="connsiteX223" fmla="*/ 6777 w 10000"/>
              <a:gd name="connsiteY223" fmla="*/ 8217 h 10000"/>
              <a:gd name="connsiteX224" fmla="*/ 6896 w 10000"/>
              <a:gd name="connsiteY224" fmla="*/ 8449 h 10000"/>
              <a:gd name="connsiteX225" fmla="*/ 6953 w 10000"/>
              <a:gd name="connsiteY225" fmla="*/ 8449 h 10000"/>
              <a:gd name="connsiteX226" fmla="*/ 7069 w 10000"/>
              <a:gd name="connsiteY226" fmla="*/ 8372 h 10000"/>
              <a:gd name="connsiteX227" fmla="*/ 7416 w 10000"/>
              <a:gd name="connsiteY227" fmla="*/ 8605 h 10000"/>
              <a:gd name="connsiteX228" fmla="*/ 7587 w 10000"/>
              <a:gd name="connsiteY228" fmla="*/ 8683 h 10000"/>
              <a:gd name="connsiteX229" fmla="*/ 7815 w 10000"/>
              <a:gd name="connsiteY229" fmla="*/ 8605 h 10000"/>
              <a:gd name="connsiteX230" fmla="*/ 7931 w 10000"/>
              <a:gd name="connsiteY230" fmla="*/ 8449 h 10000"/>
              <a:gd name="connsiteX231" fmla="*/ 8103 w 10000"/>
              <a:gd name="connsiteY231" fmla="*/ 8528 h 10000"/>
              <a:gd name="connsiteX232" fmla="*/ 8217 w 10000"/>
              <a:gd name="connsiteY232" fmla="*/ 8605 h 10000"/>
              <a:gd name="connsiteX233" fmla="*/ 9831 w 10000"/>
              <a:gd name="connsiteY233" fmla="*/ 7520 h 10000"/>
              <a:gd name="connsiteX234" fmla="*/ 10000 w 10000"/>
              <a:gd name="connsiteY234" fmla="*/ 7287 h 10000"/>
              <a:gd name="connsiteX235" fmla="*/ 9253 w 10000"/>
              <a:gd name="connsiteY235" fmla="*/ 2791 h 10000"/>
              <a:gd name="connsiteX236" fmla="*/ 9311 w 10000"/>
              <a:gd name="connsiteY236" fmla="*/ 2403 h 10000"/>
              <a:gd name="connsiteX237" fmla="*/ 9196 w 10000"/>
              <a:gd name="connsiteY237" fmla="*/ 2170 h 10000"/>
              <a:gd name="connsiteX238" fmla="*/ 8850 w 10000"/>
              <a:gd name="connsiteY238" fmla="*/ 2016 h 10000"/>
              <a:gd name="connsiteX239" fmla="*/ 8731 w 10000"/>
              <a:gd name="connsiteY239" fmla="*/ 2016 h 10000"/>
              <a:gd name="connsiteX240" fmla="*/ 8678 w 10000"/>
              <a:gd name="connsiteY240" fmla="*/ 2170 h 10000"/>
              <a:gd name="connsiteX241" fmla="*/ 8731 w 10000"/>
              <a:gd name="connsiteY241" fmla="*/ 2325 h 10000"/>
              <a:gd name="connsiteX242" fmla="*/ 8280 w 10000"/>
              <a:gd name="connsiteY242" fmla="*/ 2248 h 10000"/>
              <a:gd name="connsiteX243" fmla="*/ 8332 w 10000"/>
              <a:gd name="connsiteY243" fmla="*/ 2016 h 10000"/>
              <a:gd name="connsiteX244" fmla="*/ 8046 w 10000"/>
              <a:gd name="connsiteY244" fmla="*/ 1938 h 10000"/>
              <a:gd name="connsiteX245" fmla="*/ 7872 w 10000"/>
              <a:gd name="connsiteY245" fmla="*/ 2093 h 10000"/>
              <a:gd name="connsiteX246" fmla="*/ 7537 w 10000"/>
              <a:gd name="connsiteY246" fmla="*/ 1861 h 10000"/>
              <a:gd name="connsiteX0" fmla="*/ 7537 w 10000"/>
              <a:gd name="connsiteY0" fmla="*/ 1861 h 10000"/>
              <a:gd name="connsiteX1" fmla="*/ 7537 w 10000"/>
              <a:gd name="connsiteY1" fmla="*/ 1861 h 10000"/>
              <a:gd name="connsiteX2" fmla="*/ 7471 w 10000"/>
              <a:gd name="connsiteY2" fmla="*/ 1938 h 10000"/>
              <a:gd name="connsiteX3" fmla="*/ 7537 w 10000"/>
              <a:gd name="connsiteY3" fmla="*/ 2093 h 10000"/>
              <a:gd name="connsiteX4" fmla="*/ 7298 w 10000"/>
              <a:gd name="connsiteY4" fmla="*/ 2248 h 10000"/>
              <a:gd name="connsiteX5" fmla="*/ 7237 w 10000"/>
              <a:gd name="connsiteY5" fmla="*/ 2248 h 10000"/>
              <a:gd name="connsiteX6" fmla="*/ 7298 w 10000"/>
              <a:gd name="connsiteY6" fmla="*/ 2016 h 10000"/>
              <a:gd name="connsiteX7" fmla="*/ 7872 w 10000"/>
              <a:gd name="connsiteY7" fmla="*/ 1318 h 10000"/>
              <a:gd name="connsiteX8" fmla="*/ 7872 w 10000"/>
              <a:gd name="connsiteY8" fmla="*/ 853 h 10000"/>
              <a:gd name="connsiteX9" fmla="*/ 7646 w 10000"/>
              <a:gd name="connsiteY9" fmla="*/ 543 h 10000"/>
              <a:gd name="connsiteX10" fmla="*/ 7356 w 10000"/>
              <a:gd name="connsiteY10" fmla="*/ 543 h 10000"/>
              <a:gd name="connsiteX11" fmla="*/ 7356 w 10000"/>
              <a:gd name="connsiteY11" fmla="*/ 698 h 10000"/>
              <a:gd name="connsiteX12" fmla="*/ 7180 w 10000"/>
              <a:gd name="connsiteY12" fmla="*/ 698 h 10000"/>
              <a:gd name="connsiteX13" fmla="*/ 7298 w 10000"/>
              <a:gd name="connsiteY13" fmla="*/ 387 h 10000"/>
              <a:gd name="connsiteX14" fmla="*/ 7013 w 10000"/>
              <a:gd name="connsiteY14" fmla="*/ 310 h 10000"/>
              <a:gd name="connsiteX15" fmla="*/ 7180 w 10000"/>
              <a:gd name="connsiteY15" fmla="*/ 155 h 10000"/>
              <a:gd name="connsiteX16" fmla="*/ 7013 w 10000"/>
              <a:gd name="connsiteY16" fmla="*/ 0 h 10000"/>
              <a:gd name="connsiteX17" fmla="*/ 6724 w 10000"/>
              <a:gd name="connsiteY17" fmla="*/ 387 h 10000"/>
              <a:gd name="connsiteX18" fmla="*/ 6724 w 10000"/>
              <a:gd name="connsiteY18" fmla="*/ 698 h 10000"/>
              <a:gd name="connsiteX19" fmla="*/ 6550 w 10000"/>
              <a:gd name="connsiteY19" fmla="*/ 698 h 10000"/>
              <a:gd name="connsiteX20" fmla="*/ 6035 w 10000"/>
              <a:gd name="connsiteY20" fmla="*/ 853 h 10000"/>
              <a:gd name="connsiteX21" fmla="*/ 5573 w 10000"/>
              <a:gd name="connsiteY21" fmla="*/ 1240 h 10000"/>
              <a:gd name="connsiteX22" fmla="*/ 5400 w 10000"/>
              <a:gd name="connsiteY22" fmla="*/ 1551 h 10000"/>
              <a:gd name="connsiteX23" fmla="*/ 5461 w 10000"/>
              <a:gd name="connsiteY23" fmla="*/ 1938 h 10000"/>
              <a:gd name="connsiteX24" fmla="*/ 4828 w 10000"/>
              <a:gd name="connsiteY24" fmla="*/ 2093 h 10000"/>
              <a:gd name="connsiteX25" fmla="*/ 4886 w 10000"/>
              <a:gd name="connsiteY25" fmla="*/ 2559 h 10000"/>
              <a:gd name="connsiteX26" fmla="*/ 5058 w 10000"/>
              <a:gd name="connsiteY26" fmla="*/ 2791 h 10000"/>
              <a:gd name="connsiteX27" fmla="*/ 4943 w 10000"/>
              <a:gd name="connsiteY27" fmla="*/ 2868 h 10000"/>
              <a:gd name="connsiteX28" fmla="*/ 4773 w 10000"/>
              <a:gd name="connsiteY28" fmla="*/ 2559 h 10000"/>
              <a:gd name="connsiteX29" fmla="*/ 4603 w 10000"/>
              <a:gd name="connsiteY29" fmla="*/ 2480 h 10000"/>
              <a:gd name="connsiteX30" fmla="*/ 4538 w 10000"/>
              <a:gd name="connsiteY30" fmla="*/ 2559 h 10000"/>
              <a:gd name="connsiteX31" fmla="*/ 4423 w 10000"/>
              <a:gd name="connsiteY31" fmla="*/ 2403 h 10000"/>
              <a:gd name="connsiteX32" fmla="*/ 4309 w 10000"/>
              <a:gd name="connsiteY32" fmla="*/ 2248 h 10000"/>
              <a:gd name="connsiteX33" fmla="*/ 4309 w 10000"/>
              <a:gd name="connsiteY33" fmla="*/ 2325 h 10000"/>
              <a:gd name="connsiteX34" fmla="*/ 4372 w 10000"/>
              <a:gd name="connsiteY34" fmla="*/ 2559 h 10000"/>
              <a:gd name="connsiteX35" fmla="*/ 4194 w 10000"/>
              <a:gd name="connsiteY35" fmla="*/ 2946 h 10000"/>
              <a:gd name="connsiteX36" fmla="*/ 4309 w 10000"/>
              <a:gd name="connsiteY36" fmla="*/ 3256 h 10000"/>
              <a:gd name="connsiteX37" fmla="*/ 4251 w 10000"/>
              <a:gd name="connsiteY37" fmla="*/ 3566 h 10000"/>
              <a:gd name="connsiteX38" fmla="*/ 4251 w 10000"/>
              <a:gd name="connsiteY38" fmla="*/ 3799 h 10000"/>
              <a:gd name="connsiteX39" fmla="*/ 4423 w 10000"/>
              <a:gd name="connsiteY39" fmla="*/ 3799 h 10000"/>
              <a:gd name="connsiteX40" fmla="*/ 4309 w 10000"/>
              <a:gd name="connsiteY40" fmla="*/ 3876 h 10000"/>
              <a:gd name="connsiteX41" fmla="*/ 4372 w 10000"/>
              <a:gd name="connsiteY41" fmla="*/ 4263 h 10000"/>
              <a:gd name="connsiteX42" fmla="*/ 4024 w 10000"/>
              <a:gd name="connsiteY42" fmla="*/ 4652 h 10000"/>
              <a:gd name="connsiteX43" fmla="*/ 3961 w 10000"/>
              <a:gd name="connsiteY43" fmla="*/ 4574 h 10000"/>
              <a:gd name="connsiteX44" fmla="*/ 4194 w 10000"/>
              <a:gd name="connsiteY44" fmla="*/ 4186 h 10000"/>
              <a:gd name="connsiteX45" fmla="*/ 4251 w 10000"/>
              <a:gd name="connsiteY45" fmla="*/ 3954 h 10000"/>
              <a:gd name="connsiteX46" fmla="*/ 4130 w 10000"/>
              <a:gd name="connsiteY46" fmla="*/ 3799 h 10000"/>
              <a:gd name="connsiteX47" fmla="*/ 4130 w 10000"/>
              <a:gd name="connsiteY47" fmla="*/ 3023 h 10000"/>
              <a:gd name="connsiteX48" fmla="*/ 4078 w 10000"/>
              <a:gd name="connsiteY48" fmla="*/ 2868 h 10000"/>
              <a:gd name="connsiteX49" fmla="*/ 4130 w 10000"/>
              <a:gd name="connsiteY49" fmla="*/ 2403 h 10000"/>
              <a:gd name="connsiteX50" fmla="*/ 4024 w 10000"/>
              <a:gd name="connsiteY50" fmla="*/ 2325 h 10000"/>
              <a:gd name="connsiteX51" fmla="*/ 4078 w 10000"/>
              <a:gd name="connsiteY51" fmla="*/ 2248 h 10000"/>
              <a:gd name="connsiteX52" fmla="*/ 4024 w 10000"/>
              <a:gd name="connsiteY52" fmla="*/ 2093 h 10000"/>
              <a:gd name="connsiteX53" fmla="*/ 3904 w 10000"/>
              <a:gd name="connsiteY53" fmla="*/ 2170 h 10000"/>
              <a:gd name="connsiteX54" fmla="*/ 3620 w 10000"/>
              <a:gd name="connsiteY54" fmla="*/ 3178 h 10000"/>
              <a:gd name="connsiteX55" fmla="*/ 3620 w 10000"/>
              <a:gd name="connsiteY55" fmla="*/ 3566 h 10000"/>
              <a:gd name="connsiteX56" fmla="*/ 3794 w 10000"/>
              <a:gd name="connsiteY56" fmla="*/ 3876 h 10000"/>
              <a:gd name="connsiteX57" fmla="*/ 3794 w 10000"/>
              <a:gd name="connsiteY57" fmla="*/ 4031 h 10000"/>
              <a:gd name="connsiteX58" fmla="*/ 3620 w 10000"/>
              <a:gd name="connsiteY58" fmla="*/ 3876 h 10000"/>
              <a:gd name="connsiteX59" fmla="*/ 2934 w 10000"/>
              <a:gd name="connsiteY59" fmla="*/ 3256 h 10000"/>
              <a:gd name="connsiteX60" fmla="*/ 2875 w 10000"/>
              <a:gd name="connsiteY60" fmla="*/ 3411 h 10000"/>
              <a:gd name="connsiteX61" fmla="*/ 3104 w 10000"/>
              <a:gd name="connsiteY61" fmla="*/ 3799 h 10000"/>
              <a:gd name="connsiteX62" fmla="*/ 2985 w 10000"/>
              <a:gd name="connsiteY62" fmla="*/ 3876 h 10000"/>
              <a:gd name="connsiteX63" fmla="*/ 2934 w 10000"/>
              <a:gd name="connsiteY63" fmla="*/ 3799 h 10000"/>
              <a:gd name="connsiteX64" fmla="*/ 2588 w 10000"/>
              <a:gd name="connsiteY64" fmla="*/ 3954 h 10000"/>
              <a:gd name="connsiteX65" fmla="*/ 2531 w 10000"/>
              <a:gd name="connsiteY65" fmla="*/ 4109 h 10000"/>
              <a:gd name="connsiteX66" fmla="*/ 2473 w 10000"/>
              <a:gd name="connsiteY66" fmla="*/ 3954 h 10000"/>
              <a:gd name="connsiteX67" fmla="*/ 2473 w 10000"/>
              <a:gd name="connsiteY67" fmla="*/ 3799 h 10000"/>
              <a:gd name="connsiteX68" fmla="*/ 1893 w 10000"/>
              <a:gd name="connsiteY68" fmla="*/ 4263 h 10000"/>
              <a:gd name="connsiteX69" fmla="*/ 1893 w 10000"/>
              <a:gd name="connsiteY69" fmla="*/ 4418 h 10000"/>
              <a:gd name="connsiteX70" fmla="*/ 1781 w 10000"/>
              <a:gd name="connsiteY70" fmla="*/ 4496 h 10000"/>
              <a:gd name="connsiteX71" fmla="*/ 1610 w 10000"/>
              <a:gd name="connsiteY71" fmla="*/ 4341 h 10000"/>
              <a:gd name="connsiteX72" fmla="*/ 1781 w 10000"/>
              <a:gd name="connsiteY72" fmla="*/ 4186 h 10000"/>
              <a:gd name="connsiteX73" fmla="*/ 1723 w 10000"/>
              <a:gd name="connsiteY73" fmla="*/ 3954 h 10000"/>
              <a:gd name="connsiteX74" fmla="*/ 1494 w 10000"/>
              <a:gd name="connsiteY74" fmla="*/ 3876 h 10000"/>
              <a:gd name="connsiteX75" fmla="*/ 1552 w 10000"/>
              <a:gd name="connsiteY75" fmla="*/ 4031 h 10000"/>
              <a:gd name="connsiteX76" fmla="*/ 1552 w 10000"/>
              <a:gd name="connsiteY76" fmla="*/ 4418 h 10000"/>
              <a:gd name="connsiteX77" fmla="*/ 1610 w 10000"/>
              <a:gd name="connsiteY77" fmla="*/ 4574 h 10000"/>
              <a:gd name="connsiteX78" fmla="*/ 1552 w 10000"/>
              <a:gd name="connsiteY78" fmla="*/ 4729 h 10000"/>
              <a:gd name="connsiteX79" fmla="*/ 1376 w 10000"/>
              <a:gd name="connsiteY79" fmla="*/ 4652 h 10000"/>
              <a:gd name="connsiteX80" fmla="*/ 1150 w 10000"/>
              <a:gd name="connsiteY80" fmla="*/ 4884 h 10000"/>
              <a:gd name="connsiteX81" fmla="*/ 1262 w 10000"/>
              <a:gd name="connsiteY81" fmla="*/ 5194 h 10000"/>
              <a:gd name="connsiteX82" fmla="*/ 918 w 10000"/>
              <a:gd name="connsiteY82" fmla="*/ 5039 h 10000"/>
              <a:gd name="connsiteX83" fmla="*/ 862 w 10000"/>
              <a:gd name="connsiteY83" fmla="*/ 5116 h 10000"/>
              <a:gd name="connsiteX84" fmla="*/ 979 w 10000"/>
              <a:gd name="connsiteY84" fmla="*/ 5349 h 10000"/>
              <a:gd name="connsiteX85" fmla="*/ 862 w 10000"/>
              <a:gd name="connsiteY85" fmla="*/ 5349 h 10000"/>
              <a:gd name="connsiteX86" fmla="*/ 692 w 10000"/>
              <a:gd name="connsiteY86" fmla="*/ 5194 h 10000"/>
              <a:gd name="connsiteX87" fmla="*/ 692 w 10000"/>
              <a:gd name="connsiteY87" fmla="*/ 4729 h 10000"/>
              <a:gd name="connsiteX88" fmla="*/ 520 w 10000"/>
              <a:gd name="connsiteY88" fmla="*/ 4574 h 10000"/>
              <a:gd name="connsiteX89" fmla="*/ 459 w 10000"/>
              <a:gd name="connsiteY89" fmla="*/ 4418 h 10000"/>
              <a:gd name="connsiteX90" fmla="*/ 573 w 10000"/>
              <a:gd name="connsiteY90" fmla="*/ 4496 h 10000"/>
              <a:gd name="connsiteX91" fmla="*/ 1031 w 10000"/>
              <a:gd name="connsiteY91" fmla="*/ 4729 h 10000"/>
              <a:gd name="connsiteX92" fmla="*/ 1316 w 10000"/>
              <a:gd name="connsiteY92" fmla="*/ 4496 h 10000"/>
              <a:gd name="connsiteX93" fmla="*/ 1262 w 10000"/>
              <a:gd name="connsiteY93" fmla="*/ 4263 h 10000"/>
              <a:gd name="connsiteX94" fmla="*/ 918 w 10000"/>
              <a:gd name="connsiteY94" fmla="*/ 3799 h 10000"/>
              <a:gd name="connsiteX95" fmla="*/ 573 w 10000"/>
              <a:gd name="connsiteY95" fmla="*/ 3644 h 10000"/>
              <a:gd name="connsiteX96" fmla="*/ 573 w 10000"/>
              <a:gd name="connsiteY96" fmla="*/ 3566 h 10000"/>
              <a:gd name="connsiteX97" fmla="*/ 459 w 10000"/>
              <a:gd name="connsiteY97" fmla="*/ 3488 h 10000"/>
              <a:gd name="connsiteX98" fmla="*/ 342 w 10000"/>
              <a:gd name="connsiteY98" fmla="*/ 3566 h 10000"/>
              <a:gd name="connsiteX99" fmla="*/ 342 w 10000"/>
              <a:gd name="connsiteY99" fmla="*/ 3644 h 10000"/>
              <a:gd name="connsiteX100" fmla="*/ 286 w 10000"/>
              <a:gd name="connsiteY100" fmla="*/ 3644 h 10000"/>
              <a:gd name="connsiteX101" fmla="*/ 173 w 10000"/>
              <a:gd name="connsiteY101" fmla="*/ 3799 h 10000"/>
              <a:gd name="connsiteX102" fmla="*/ 173 w 10000"/>
              <a:gd name="connsiteY102" fmla="*/ 4031 h 10000"/>
              <a:gd name="connsiteX103" fmla="*/ 286 w 10000"/>
              <a:gd name="connsiteY103" fmla="*/ 4186 h 10000"/>
              <a:gd name="connsiteX104" fmla="*/ 231 w 10000"/>
              <a:gd name="connsiteY104" fmla="*/ 4418 h 10000"/>
              <a:gd name="connsiteX105" fmla="*/ 286 w 10000"/>
              <a:gd name="connsiteY105" fmla="*/ 4807 h 10000"/>
              <a:gd name="connsiteX106" fmla="*/ 231 w 10000"/>
              <a:gd name="connsiteY106" fmla="*/ 5039 h 10000"/>
              <a:gd name="connsiteX107" fmla="*/ 342 w 10000"/>
              <a:gd name="connsiteY107" fmla="*/ 5271 h 10000"/>
              <a:gd name="connsiteX108" fmla="*/ 286 w 10000"/>
              <a:gd name="connsiteY108" fmla="*/ 5426 h 10000"/>
              <a:gd name="connsiteX109" fmla="*/ 400 w 10000"/>
              <a:gd name="connsiteY109" fmla="*/ 5582 h 10000"/>
              <a:gd name="connsiteX110" fmla="*/ 400 w 10000"/>
              <a:gd name="connsiteY110" fmla="*/ 5659 h 10000"/>
              <a:gd name="connsiteX111" fmla="*/ 231 w 10000"/>
              <a:gd name="connsiteY111" fmla="*/ 6047 h 10000"/>
              <a:gd name="connsiteX112" fmla="*/ 52 w 10000"/>
              <a:gd name="connsiteY112" fmla="*/ 6202 h 10000"/>
              <a:gd name="connsiteX113" fmla="*/ 113 w 10000"/>
              <a:gd name="connsiteY113" fmla="*/ 6202 h 10000"/>
              <a:gd name="connsiteX114" fmla="*/ 231 w 10000"/>
              <a:gd name="connsiteY114" fmla="*/ 6356 h 10000"/>
              <a:gd name="connsiteX115" fmla="*/ 113 w 10000"/>
              <a:gd name="connsiteY115" fmla="*/ 6512 h 10000"/>
              <a:gd name="connsiteX116" fmla="*/ 52 w 10000"/>
              <a:gd name="connsiteY116" fmla="*/ 6590 h 10000"/>
              <a:gd name="connsiteX117" fmla="*/ 0 w 10000"/>
              <a:gd name="connsiteY117" fmla="*/ 6590 h 10000"/>
              <a:gd name="connsiteX118" fmla="*/ 52 w 10000"/>
              <a:gd name="connsiteY118" fmla="*/ 6822 h 10000"/>
              <a:gd name="connsiteX119" fmla="*/ 52 w 10000"/>
              <a:gd name="connsiteY119" fmla="*/ 6900 h 10000"/>
              <a:gd name="connsiteX120" fmla="*/ 52 w 10000"/>
              <a:gd name="connsiteY120" fmla="*/ 6977 h 10000"/>
              <a:gd name="connsiteX121" fmla="*/ 52 w 10000"/>
              <a:gd name="connsiteY121" fmla="*/ 7054 h 10000"/>
              <a:gd name="connsiteX122" fmla="*/ 113 w 10000"/>
              <a:gd name="connsiteY122" fmla="*/ 7209 h 10000"/>
              <a:gd name="connsiteX123" fmla="*/ 286 w 10000"/>
              <a:gd name="connsiteY123" fmla="*/ 7287 h 10000"/>
              <a:gd name="connsiteX124" fmla="*/ 342 w 10000"/>
              <a:gd name="connsiteY124" fmla="*/ 7364 h 10000"/>
              <a:gd name="connsiteX125" fmla="*/ 342 w 10000"/>
              <a:gd name="connsiteY125" fmla="*/ 7520 h 10000"/>
              <a:gd name="connsiteX126" fmla="*/ 459 w 10000"/>
              <a:gd name="connsiteY126" fmla="*/ 7752 h 10000"/>
              <a:gd name="connsiteX127" fmla="*/ 520 w 10000"/>
              <a:gd name="connsiteY127" fmla="*/ 7752 h 10000"/>
              <a:gd name="connsiteX128" fmla="*/ 459 w 10000"/>
              <a:gd name="connsiteY128" fmla="*/ 7907 h 10000"/>
              <a:gd name="connsiteX129" fmla="*/ 400 w 10000"/>
              <a:gd name="connsiteY129" fmla="*/ 7830 h 10000"/>
              <a:gd name="connsiteX130" fmla="*/ 400 w 10000"/>
              <a:gd name="connsiteY130" fmla="*/ 7907 h 10000"/>
              <a:gd name="connsiteX131" fmla="*/ 459 w 10000"/>
              <a:gd name="connsiteY131" fmla="*/ 8062 h 10000"/>
              <a:gd name="connsiteX132" fmla="*/ 634 w 10000"/>
              <a:gd name="connsiteY132" fmla="*/ 8062 h 10000"/>
              <a:gd name="connsiteX133" fmla="*/ 692 w 10000"/>
              <a:gd name="connsiteY133" fmla="*/ 8140 h 10000"/>
              <a:gd name="connsiteX134" fmla="*/ 634 w 10000"/>
              <a:gd name="connsiteY134" fmla="*/ 8140 h 10000"/>
              <a:gd name="connsiteX135" fmla="*/ 692 w 10000"/>
              <a:gd name="connsiteY135" fmla="*/ 8217 h 10000"/>
              <a:gd name="connsiteX136" fmla="*/ 746 w 10000"/>
              <a:gd name="connsiteY136" fmla="*/ 8217 h 10000"/>
              <a:gd name="connsiteX137" fmla="*/ 803 w 10000"/>
              <a:gd name="connsiteY137" fmla="*/ 8372 h 10000"/>
              <a:gd name="connsiteX138" fmla="*/ 862 w 10000"/>
              <a:gd name="connsiteY138" fmla="*/ 8449 h 10000"/>
              <a:gd name="connsiteX139" fmla="*/ 918 w 10000"/>
              <a:gd name="connsiteY139" fmla="*/ 8372 h 10000"/>
              <a:gd name="connsiteX140" fmla="*/ 1208 w 10000"/>
              <a:gd name="connsiteY140" fmla="*/ 8605 h 10000"/>
              <a:gd name="connsiteX141" fmla="*/ 1150 w 10000"/>
              <a:gd name="connsiteY141" fmla="*/ 8915 h 10000"/>
              <a:gd name="connsiteX142" fmla="*/ 1092 w 10000"/>
              <a:gd name="connsiteY142" fmla="*/ 8838 h 10000"/>
              <a:gd name="connsiteX143" fmla="*/ 1031 w 10000"/>
              <a:gd name="connsiteY143" fmla="*/ 8915 h 10000"/>
              <a:gd name="connsiteX144" fmla="*/ 1031 w 10000"/>
              <a:gd name="connsiteY144" fmla="*/ 9070 h 10000"/>
              <a:gd name="connsiteX145" fmla="*/ 1092 w 10000"/>
              <a:gd name="connsiteY145" fmla="*/ 8993 h 10000"/>
              <a:gd name="connsiteX146" fmla="*/ 1150 w 10000"/>
              <a:gd name="connsiteY146" fmla="*/ 9070 h 10000"/>
              <a:gd name="connsiteX147" fmla="*/ 979 w 10000"/>
              <a:gd name="connsiteY147" fmla="*/ 9147 h 10000"/>
              <a:gd name="connsiteX148" fmla="*/ 1031 w 10000"/>
              <a:gd name="connsiteY148" fmla="*/ 9225 h 10000"/>
              <a:gd name="connsiteX149" fmla="*/ 918 w 10000"/>
              <a:gd name="connsiteY149" fmla="*/ 9380 h 10000"/>
              <a:gd name="connsiteX150" fmla="*/ 862 w 10000"/>
              <a:gd name="connsiteY150" fmla="*/ 9380 h 10000"/>
              <a:gd name="connsiteX151" fmla="*/ 918 w 10000"/>
              <a:gd name="connsiteY151" fmla="*/ 9380 h 10000"/>
              <a:gd name="connsiteX152" fmla="*/ 1150 w 10000"/>
              <a:gd name="connsiteY152" fmla="*/ 9691 h 10000"/>
              <a:gd name="connsiteX153" fmla="*/ 1438 w 10000"/>
              <a:gd name="connsiteY153" fmla="*/ 9691 h 10000"/>
              <a:gd name="connsiteX154" fmla="*/ 1552 w 10000"/>
              <a:gd name="connsiteY154" fmla="*/ 9768 h 10000"/>
              <a:gd name="connsiteX155" fmla="*/ 1667 w 10000"/>
              <a:gd name="connsiteY155" fmla="*/ 9768 h 10000"/>
              <a:gd name="connsiteX156" fmla="*/ 1781 w 10000"/>
              <a:gd name="connsiteY156" fmla="*/ 9923 h 10000"/>
              <a:gd name="connsiteX157" fmla="*/ 1839 w 10000"/>
              <a:gd name="connsiteY157" fmla="*/ 10000 h 10000"/>
              <a:gd name="connsiteX158" fmla="*/ 1893 w 10000"/>
              <a:gd name="connsiteY158" fmla="*/ 10000 h 10000"/>
              <a:gd name="connsiteX159" fmla="*/ 1954 w 10000"/>
              <a:gd name="connsiteY159" fmla="*/ 9923 h 10000"/>
              <a:gd name="connsiteX160" fmla="*/ 1839 w 10000"/>
              <a:gd name="connsiteY160" fmla="*/ 9768 h 10000"/>
              <a:gd name="connsiteX161" fmla="*/ 1839 w 10000"/>
              <a:gd name="connsiteY161" fmla="*/ 9613 h 10000"/>
              <a:gd name="connsiteX162" fmla="*/ 1781 w 10000"/>
              <a:gd name="connsiteY162" fmla="*/ 9457 h 10000"/>
              <a:gd name="connsiteX163" fmla="*/ 1893 w 10000"/>
              <a:gd name="connsiteY163" fmla="*/ 9225 h 10000"/>
              <a:gd name="connsiteX164" fmla="*/ 1954 w 10000"/>
              <a:gd name="connsiteY164" fmla="*/ 9302 h 10000"/>
              <a:gd name="connsiteX165" fmla="*/ 2011 w 10000"/>
              <a:gd name="connsiteY165" fmla="*/ 9225 h 10000"/>
              <a:gd name="connsiteX166" fmla="*/ 2011 w 10000"/>
              <a:gd name="connsiteY166" fmla="*/ 9147 h 10000"/>
              <a:gd name="connsiteX167" fmla="*/ 1954 w 10000"/>
              <a:gd name="connsiteY167" fmla="*/ 9147 h 10000"/>
              <a:gd name="connsiteX168" fmla="*/ 2011 w 10000"/>
              <a:gd name="connsiteY168" fmla="*/ 9070 h 10000"/>
              <a:gd name="connsiteX169" fmla="*/ 1954 w 10000"/>
              <a:gd name="connsiteY169" fmla="*/ 8915 h 10000"/>
              <a:gd name="connsiteX170" fmla="*/ 1839 w 10000"/>
              <a:gd name="connsiteY170" fmla="*/ 8915 h 10000"/>
              <a:gd name="connsiteX171" fmla="*/ 1781 w 10000"/>
              <a:gd name="connsiteY171" fmla="*/ 8760 h 10000"/>
              <a:gd name="connsiteX172" fmla="*/ 1839 w 10000"/>
              <a:gd name="connsiteY172" fmla="*/ 8372 h 10000"/>
              <a:gd name="connsiteX173" fmla="*/ 1954 w 10000"/>
              <a:gd name="connsiteY173" fmla="*/ 8528 h 10000"/>
              <a:gd name="connsiteX174" fmla="*/ 2011 w 10000"/>
              <a:gd name="connsiteY174" fmla="*/ 8528 h 10000"/>
              <a:gd name="connsiteX175" fmla="*/ 1954 w 10000"/>
              <a:gd name="connsiteY175" fmla="*/ 8372 h 10000"/>
              <a:gd name="connsiteX176" fmla="*/ 2127 w 10000"/>
              <a:gd name="connsiteY176" fmla="*/ 8140 h 10000"/>
              <a:gd name="connsiteX177" fmla="*/ 2244 w 10000"/>
              <a:gd name="connsiteY177" fmla="*/ 8217 h 10000"/>
              <a:gd name="connsiteX178" fmla="*/ 2299 w 10000"/>
              <a:gd name="connsiteY178" fmla="*/ 8140 h 10000"/>
              <a:gd name="connsiteX179" fmla="*/ 2411 w 10000"/>
              <a:gd name="connsiteY179" fmla="*/ 8217 h 10000"/>
              <a:gd name="connsiteX180" fmla="*/ 2588 w 10000"/>
              <a:gd name="connsiteY180" fmla="*/ 8372 h 10000"/>
              <a:gd name="connsiteX181" fmla="*/ 2700 w 10000"/>
              <a:gd name="connsiteY181" fmla="*/ 8295 h 10000"/>
              <a:gd name="connsiteX182" fmla="*/ 2817 w 10000"/>
              <a:gd name="connsiteY182" fmla="*/ 8295 h 10000"/>
              <a:gd name="connsiteX183" fmla="*/ 2875 w 10000"/>
              <a:gd name="connsiteY183" fmla="*/ 8372 h 10000"/>
              <a:gd name="connsiteX184" fmla="*/ 3104 w 10000"/>
              <a:gd name="connsiteY184" fmla="*/ 8372 h 10000"/>
              <a:gd name="connsiteX185" fmla="*/ 3159 w 10000"/>
              <a:gd name="connsiteY185" fmla="*/ 8217 h 10000"/>
              <a:gd name="connsiteX186" fmla="*/ 2985 w 10000"/>
              <a:gd name="connsiteY186" fmla="*/ 8140 h 10000"/>
              <a:gd name="connsiteX187" fmla="*/ 3104 w 10000"/>
              <a:gd name="connsiteY187" fmla="*/ 8062 h 10000"/>
              <a:gd name="connsiteX188" fmla="*/ 3043 w 10000"/>
              <a:gd name="connsiteY188" fmla="*/ 7985 h 10000"/>
              <a:gd name="connsiteX189" fmla="*/ 3104 w 10000"/>
              <a:gd name="connsiteY189" fmla="*/ 7907 h 10000"/>
              <a:gd name="connsiteX190" fmla="*/ 3104 w 10000"/>
              <a:gd name="connsiteY190" fmla="*/ 7675 h 10000"/>
              <a:gd name="connsiteX191" fmla="*/ 3216 w 10000"/>
              <a:gd name="connsiteY191" fmla="*/ 7752 h 10000"/>
              <a:gd name="connsiteX192" fmla="*/ 3735 w 10000"/>
              <a:gd name="connsiteY192" fmla="*/ 7520 h 10000"/>
              <a:gd name="connsiteX193" fmla="*/ 3735 w 10000"/>
              <a:gd name="connsiteY193" fmla="*/ 7442 h 10000"/>
              <a:gd name="connsiteX194" fmla="*/ 3794 w 10000"/>
              <a:gd name="connsiteY194" fmla="*/ 7442 h 10000"/>
              <a:gd name="connsiteX195" fmla="*/ 3961 w 10000"/>
              <a:gd name="connsiteY195" fmla="*/ 7442 h 10000"/>
              <a:gd name="connsiteX196" fmla="*/ 4024 w 10000"/>
              <a:gd name="connsiteY196" fmla="*/ 7598 h 10000"/>
              <a:gd name="connsiteX197" fmla="*/ 4024 w 10000"/>
              <a:gd name="connsiteY197" fmla="*/ 7675 h 10000"/>
              <a:gd name="connsiteX198" fmla="*/ 4078 w 10000"/>
              <a:gd name="connsiteY198" fmla="*/ 7675 h 10000"/>
              <a:gd name="connsiteX199" fmla="*/ 4194 w 10000"/>
              <a:gd name="connsiteY199" fmla="*/ 7752 h 10000"/>
              <a:gd name="connsiteX200" fmla="*/ 4194 w 10000"/>
              <a:gd name="connsiteY200" fmla="*/ 7830 h 10000"/>
              <a:gd name="connsiteX201" fmla="*/ 4309 w 10000"/>
              <a:gd name="connsiteY201" fmla="*/ 7830 h 10000"/>
              <a:gd name="connsiteX202" fmla="*/ 4423 w 10000"/>
              <a:gd name="connsiteY202" fmla="*/ 7675 h 10000"/>
              <a:gd name="connsiteX203" fmla="*/ 4538 w 10000"/>
              <a:gd name="connsiteY203" fmla="*/ 7598 h 10000"/>
              <a:gd name="connsiteX204" fmla="*/ 4603 w 10000"/>
              <a:gd name="connsiteY204" fmla="*/ 7830 h 10000"/>
              <a:gd name="connsiteX205" fmla="*/ 4828 w 10000"/>
              <a:gd name="connsiteY205" fmla="*/ 8372 h 10000"/>
              <a:gd name="connsiteX206" fmla="*/ 4886 w 10000"/>
              <a:gd name="connsiteY206" fmla="*/ 8217 h 10000"/>
              <a:gd name="connsiteX207" fmla="*/ 4943 w 10000"/>
              <a:gd name="connsiteY207" fmla="*/ 8372 h 10000"/>
              <a:gd name="connsiteX208" fmla="*/ 5115 w 10000"/>
              <a:gd name="connsiteY208" fmla="*/ 8295 h 10000"/>
              <a:gd name="connsiteX209" fmla="*/ 5290 w 10000"/>
              <a:gd name="connsiteY209" fmla="*/ 8528 h 10000"/>
              <a:gd name="connsiteX210" fmla="*/ 5400 w 10000"/>
              <a:gd name="connsiteY210" fmla="*/ 8605 h 10000"/>
              <a:gd name="connsiteX211" fmla="*/ 5400 w 10000"/>
              <a:gd name="connsiteY211" fmla="*/ 8528 h 10000"/>
              <a:gd name="connsiteX212" fmla="*/ 5461 w 10000"/>
              <a:gd name="connsiteY212" fmla="*/ 8683 h 10000"/>
              <a:gd name="connsiteX213" fmla="*/ 5400 w 10000"/>
              <a:gd name="connsiteY213" fmla="*/ 8760 h 10000"/>
              <a:gd name="connsiteX214" fmla="*/ 5519 w 10000"/>
              <a:gd name="connsiteY214" fmla="*/ 8683 h 10000"/>
              <a:gd name="connsiteX215" fmla="*/ 5573 w 10000"/>
              <a:gd name="connsiteY215" fmla="*/ 8605 h 10000"/>
              <a:gd name="connsiteX216" fmla="*/ 5859 w 10000"/>
              <a:gd name="connsiteY216" fmla="*/ 8372 h 10000"/>
              <a:gd name="connsiteX217" fmla="*/ 6092 w 10000"/>
              <a:gd name="connsiteY217" fmla="*/ 8449 h 10000"/>
              <a:gd name="connsiteX218" fmla="*/ 6204 w 10000"/>
              <a:gd name="connsiteY218" fmla="*/ 8528 h 10000"/>
              <a:gd name="connsiteX219" fmla="*/ 6434 w 10000"/>
              <a:gd name="connsiteY219" fmla="*/ 8528 h 10000"/>
              <a:gd name="connsiteX220" fmla="*/ 6434 w 10000"/>
              <a:gd name="connsiteY220" fmla="*/ 8372 h 10000"/>
              <a:gd name="connsiteX221" fmla="*/ 6434 w 10000"/>
              <a:gd name="connsiteY221" fmla="*/ 8217 h 10000"/>
              <a:gd name="connsiteX222" fmla="*/ 6550 w 10000"/>
              <a:gd name="connsiteY222" fmla="*/ 8140 h 10000"/>
              <a:gd name="connsiteX223" fmla="*/ 6777 w 10000"/>
              <a:gd name="connsiteY223" fmla="*/ 8217 h 10000"/>
              <a:gd name="connsiteX224" fmla="*/ 6896 w 10000"/>
              <a:gd name="connsiteY224" fmla="*/ 8449 h 10000"/>
              <a:gd name="connsiteX225" fmla="*/ 6953 w 10000"/>
              <a:gd name="connsiteY225" fmla="*/ 8449 h 10000"/>
              <a:gd name="connsiteX226" fmla="*/ 7069 w 10000"/>
              <a:gd name="connsiteY226" fmla="*/ 8372 h 10000"/>
              <a:gd name="connsiteX227" fmla="*/ 7416 w 10000"/>
              <a:gd name="connsiteY227" fmla="*/ 8605 h 10000"/>
              <a:gd name="connsiteX228" fmla="*/ 7587 w 10000"/>
              <a:gd name="connsiteY228" fmla="*/ 8683 h 10000"/>
              <a:gd name="connsiteX229" fmla="*/ 7815 w 10000"/>
              <a:gd name="connsiteY229" fmla="*/ 8605 h 10000"/>
              <a:gd name="connsiteX230" fmla="*/ 7931 w 10000"/>
              <a:gd name="connsiteY230" fmla="*/ 8449 h 10000"/>
              <a:gd name="connsiteX231" fmla="*/ 8103 w 10000"/>
              <a:gd name="connsiteY231" fmla="*/ 8528 h 10000"/>
              <a:gd name="connsiteX232" fmla="*/ 8217 w 10000"/>
              <a:gd name="connsiteY232" fmla="*/ 8605 h 10000"/>
              <a:gd name="connsiteX233" fmla="*/ 10000 w 10000"/>
              <a:gd name="connsiteY233" fmla="*/ 7287 h 10000"/>
              <a:gd name="connsiteX234" fmla="*/ 9253 w 10000"/>
              <a:gd name="connsiteY234" fmla="*/ 2791 h 10000"/>
              <a:gd name="connsiteX235" fmla="*/ 9311 w 10000"/>
              <a:gd name="connsiteY235" fmla="*/ 2403 h 10000"/>
              <a:gd name="connsiteX236" fmla="*/ 9196 w 10000"/>
              <a:gd name="connsiteY236" fmla="*/ 2170 h 10000"/>
              <a:gd name="connsiteX237" fmla="*/ 8850 w 10000"/>
              <a:gd name="connsiteY237" fmla="*/ 2016 h 10000"/>
              <a:gd name="connsiteX238" fmla="*/ 8731 w 10000"/>
              <a:gd name="connsiteY238" fmla="*/ 2016 h 10000"/>
              <a:gd name="connsiteX239" fmla="*/ 8678 w 10000"/>
              <a:gd name="connsiteY239" fmla="*/ 2170 h 10000"/>
              <a:gd name="connsiteX240" fmla="*/ 8731 w 10000"/>
              <a:gd name="connsiteY240" fmla="*/ 2325 h 10000"/>
              <a:gd name="connsiteX241" fmla="*/ 8280 w 10000"/>
              <a:gd name="connsiteY241" fmla="*/ 2248 h 10000"/>
              <a:gd name="connsiteX242" fmla="*/ 8332 w 10000"/>
              <a:gd name="connsiteY242" fmla="*/ 2016 h 10000"/>
              <a:gd name="connsiteX243" fmla="*/ 8046 w 10000"/>
              <a:gd name="connsiteY243" fmla="*/ 1938 h 10000"/>
              <a:gd name="connsiteX244" fmla="*/ 7872 w 10000"/>
              <a:gd name="connsiteY244" fmla="*/ 2093 h 10000"/>
              <a:gd name="connsiteX245" fmla="*/ 7537 w 10000"/>
              <a:gd name="connsiteY245" fmla="*/ 1861 h 10000"/>
              <a:gd name="connsiteX0" fmla="*/ 7537 w 9311"/>
              <a:gd name="connsiteY0" fmla="*/ 1861 h 10000"/>
              <a:gd name="connsiteX1" fmla="*/ 7537 w 9311"/>
              <a:gd name="connsiteY1" fmla="*/ 1861 h 10000"/>
              <a:gd name="connsiteX2" fmla="*/ 7471 w 9311"/>
              <a:gd name="connsiteY2" fmla="*/ 1938 h 10000"/>
              <a:gd name="connsiteX3" fmla="*/ 7537 w 9311"/>
              <a:gd name="connsiteY3" fmla="*/ 2093 h 10000"/>
              <a:gd name="connsiteX4" fmla="*/ 7298 w 9311"/>
              <a:gd name="connsiteY4" fmla="*/ 2248 h 10000"/>
              <a:gd name="connsiteX5" fmla="*/ 7237 w 9311"/>
              <a:gd name="connsiteY5" fmla="*/ 2248 h 10000"/>
              <a:gd name="connsiteX6" fmla="*/ 7298 w 9311"/>
              <a:gd name="connsiteY6" fmla="*/ 2016 h 10000"/>
              <a:gd name="connsiteX7" fmla="*/ 7872 w 9311"/>
              <a:gd name="connsiteY7" fmla="*/ 1318 h 10000"/>
              <a:gd name="connsiteX8" fmla="*/ 7872 w 9311"/>
              <a:gd name="connsiteY8" fmla="*/ 853 h 10000"/>
              <a:gd name="connsiteX9" fmla="*/ 7646 w 9311"/>
              <a:gd name="connsiteY9" fmla="*/ 543 h 10000"/>
              <a:gd name="connsiteX10" fmla="*/ 7356 w 9311"/>
              <a:gd name="connsiteY10" fmla="*/ 543 h 10000"/>
              <a:gd name="connsiteX11" fmla="*/ 7356 w 9311"/>
              <a:gd name="connsiteY11" fmla="*/ 698 h 10000"/>
              <a:gd name="connsiteX12" fmla="*/ 7180 w 9311"/>
              <a:gd name="connsiteY12" fmla="*/ 698 h 10000"/>
              <a:gd name="connsiteX13" fmla="*/ 7298 w 9311"/>
              <a:gd name="connsiteY13" fmla="*/ 387 h 10000"/>
              <a:gd name="connsiteX14" fmla="*/ 7013 w 9311"/>
              <a:gd name="connsiteY14" fmla="*/ 310 h 10000"/>
              <a:gd name="connsiteX15" fmla="*/ 7180 w 9311"/>
              <a:gd name="connsiteY15" fmla="*/ 155 h 10000"/>
              <a:gd name="connsiteX16" fmla="*/ 7013 w 9311"/>
              <a:gd name="connsiteY16" fmla="*/ 0 h 10000"/>
              <a:gd name="connsiteX17" fmla="*/ 6724 w 9311"/>
              <a:gd name="connsiteY17" fmla="*/ 387 h 10000"/>
              <a:gd name="connsiteX18" fmla="*/ 6724 w 9311"/>
              <a:gd name="connsiteY18" fmla="*/ 698 h 10000"/>
              <a:gd name="connsiteX19" fmla="*/ 6550 w 9311"/>
              <a:gd name="connsiteY19" fmla="*/ 698 h 10000"/>
              <a:gd name="connsiteX20" fmla="*/ 6035 w 9311"/>
              <a:gd name="connsiteY20" fmla="*/ 853 h 10000"/>
              <a:gd name="connsiteX21" fmla="*/ 5573 w 9311"/>
              <a:gd name="connsiteY21" fmla="*/ 1240 h 10000"/>
              <a:gd name="connsiteX22" fmla="*/ 5400 w 9311"/>
              <a:gd name="connsiteY22" fmla="*/ 1551 h 10000"/>
              <a:gd name="connsiteX23" fmla="*/ 5461 w 9311"/>
              <a:gd name="connsiteY23" fmla="*/ 1938 h 10000"/>
              <a:gd name="connsiteX24" fmla="*/ 4828 w 9311"/>
              <a:gd name="connsiteY24" fmla="*/ 2093 h 10000"/>
              <a:gd name="connsiteX25" fmla="*/ 4886 w 9311"/>
              <a:gd name="connsiteY25" fmla="*/ 2559 h 10000"/>
              <a:gd name="connsiteX26" fmla="*/ 5058 w 9311"/>
              <a:gd name="connsiteY26" fmla="*/ 2791 h 10000"/>
              <a:gd name="connsiteX27" fmla="*/ 4943 w 9311"/>
              <a:gd name="connsiteY27" fmla="*/ 2868 h 10000"/>
              <a:gd name="connsiteX28" fmla="*/ 4773 w 9311"/>
              <a:gd name="connsiteY28" fmla="*/ 2559 h 10000"/>
              <a:gd name="connsiteX29" fmla="*/ 4603 w 9311"/>
              <a:gd name="connsiteY29" fmla="*/ 2480 h 10000"/>
              <a:gd name="connsiteX30" fmla="*/ 4538 w 9311"/>
              <a:gd name="connsiteY30" fmla="*/ 2559 h 10000"/>
              <a:gd name="connsiteX31" fmla="*/ 4423 w 9311"/>
              <a:gd name="connsiteY31" fmla="*/ 2403 h 10000"/>
              <a:gd name="connsiteX32" fmla="*/ 4309 w 9311"/>
              <a:gd name="connsiteY32" fmla="*/ 2248 h 10000"/>
              <a:gd name="connsiteX33" fmla="*/ 4309 w 9311"/>
              <a:gd name="connsiteY33" fmla="*/ 2325 h 10000"/>
              <a:gd name="connsiteX34" fmla="*/ 4372 w 9311"/>
              <a:gd name="connsiteY34" fmla="*/ 2559 h 10000"/>
              <a:gd name="connsiteX35" fmla="*/ 4194 w 9311"/>
              <a:gd name="connsiteY35" fmla="*/ 2946 h 10000"/>
              <a:gd name="connsiteX36" fmla="*/ 4309 w 9311"/>
              <a:gd name="connsiteY36" fmla="*/ 3256 h 10000"/>
              <a:gd name="connsiteX37" fmla="*/ 4251 w 9311"/>
              <a:gd name="connsiteY37" fmla="*/ 3566 h 10000"/>
              <a:gd name="connsiteX38" fmla="*/ 4251 w 9311"/>
              <a:gd name="connsiteY38" fmla="*/ 3799 h 10000"/>
              <a:gd name="connsiteX39" fmla="*/ 4423 w 9311"/>
              <a:gd name="connsiteY39" fmla="*/ 3799 h 10000"/>
              <a:gd name="connsiteX40" fmla="*/ 4309 w 9311"/>
              <a:gd name="connsiteY40" fmla="*/ 3876 h 10000"/>
              <a:gd name="connsiteX41" fmla="*/ 4372 w 9311"/>
              <a:gd name="connsiteY41" fmla="*/ 4263 h 10000"/>
              <a:gd name="connsiteX42" fmla="*/ 4024 w 9311"/>
              <a:gd name="connsiteY42" fmla="*/ 4652 h 10000"/>
              <a:gd name="connsiteX43" fmla="*/ 3961 w 9311"/>
              <a:gd name="connsiteY43" fmla="*/ 4574 h 10000"/>
              <a:gd name="connsiteX44" fmla="*/ 4194 w 9311"/>
              <a:gd name="connsiteY44" fmla="*/ 4186 h 10000"/>
              <a:gd name="connsiteX45" fmla="*/ 4251 w 9311"/>
              <a:gd name="connsiteY45" fmla="*/ 3954 h 10000"/>
              <a:gd name="connsiteX46" fmla="*/ 4130 w 9311"/>
              <a:gd name="connsiteY46" fmla="*/ 3799 h 10000"/>
              <a:gd name="connsiteX47" fmla="*/ 4130 w 9311"/>
              <a:gd name="connsiteY47" fmla="*/ 3023 h 10000"/>
              <a:gd name="connsiteX48" fmla="*/ 4078 w 9311"/>
              <a:gd name="connsiteY48" fmla="*/ 2868 h 10000"/>
              <a:gd name="connsiteX49" fmla="*/ 4130 w 9311"/>
              <a:gd name="connsiteY49" fmla="*/ 2403 h 10000"/>
              <a:gd name="connsiteX50" fmla="*/ 4024 w 9311"/>
              <a:gd name="connsiteY50" fmla="*/ 2325 h 10000"/>
              <a:gd name="connsiteX51" fmla="*/ 4078 w 9311"/>
              <a:gd name="connsiteY51" fmla="*/ 2248 h 10000"/>
              <a:gd name="connsiteX52" fmla="*/ 4024 w 9311"/>
              <a:gd name="connsiteY52" fmla="*/ 2093 h 10000"/>
              <a:gd name="connsiteX53" fmla="*/ 3904 w 9311"/>
              <a:gd name="connsiteY53" fmla="*/ 2170 h 10000"/>
              <a:gd name="connsiteX54" fmla="*/ 3620 w 9311"/>
              <a:gd name="connsiteY54" fmla="*/ 3178 h 10000"/>
              <a:gd name="connsiteX55" fmla="*/ 3620 w 9311"/>
              <a:gd name="connsiteY55" fmla="*/ 3566 h 10000"/>
              <a:gd name="connsiteX56" fmla="*/ 3794 w 9311"/>
              <a:gd name="connsiteY56" fmla="*/ 3876 h 10000"/>
              <a:gd name="connsiteX57" fmla="*/ 3794 w 9311"/>
              <a:gd name="connsiteY57" fmla="*/ 4031 h 10000"/>
              <a:gd name="connsiteX58" fmla="*/ 3620 w 9311"/>
              <a:gd name="connsiteY58" fmla="*/ 3876 h 10000"/>
              <a:gd name="connsiteX59" fmla="*/ 2934 w 9311"/>
              <a:gd name="connsiteY59" fmla="*/ 3256 h 10000"/>
              <a:gd name="connsiteX60" fmla="*/ 2875 w 9311"/>
              <a:gd name="connsiteY60" fmla="*/ 3411 h 10000"/>
              <a:gd name="connsiteX61" fmla="*/ 3104 w 9311"/>
              <a:gd name="connsiteY61" fmla="*/ 3799 h 10000"/>
              <a:gd name="connsiteX62" fmla="*/ 2985 w 9311"/>
              <a:gd name="connsiteY62" fmla="*/ 3876 h 10000"/>
              <a:gd name="connsiteX63" fmla="*/ 2934 w 9311"/>
              <a:gd name="connsiteY63" fmla="*/ 3799 h 10000"/>
              <a:gd name="connsiteX64" fmla="*/ 2588 w 9311"/>
              <a:gd name="connsiteY64" fmla="*/ 3954 h 10000"/>
              <a:gd name="connsiteX65" fmla="*/ 2531 w 9311"/>
              <a:gd name="connsiteY65" fmla="*/ 4109 h 10000"/>
              <a:gd name="connsiteX66" fmla="*/ 2473 w 9311"/>
              <a:gd name="connsiteY66" fmla="*/ 3954 h 10000"/>
              <a:gd name="connsiteX67" fmla="*/ 2473 w 9311"/>
              <a:gd name="connsiteY67" fmla="*/ 3799 h 10000"/>
              <a:gd name="connsiteX68" fmla="*/ 1893 w 9311"/>
              <a:gd name="connsiteY68" fmla="*/ 4263 h 10000"/>
              <a:gd name="connsiteX69" fmla="*/ 1893 w 9311"/>
              <a:gd name="connsiteY69" fmla="*/ 4418 h 10000"/>
              <a:gd name="connsiteX70" fmla="*/ 1781 w 9311"/>
              <a:gd name="connsiteY70" fmla="*/ 4496 h 10000"/>
              <a:gd name="connsiteX71" fmla="*/ 1610 w 9311"/>
              <a:gd name="connsiteY71" fmla="*/ 4341 h 10000"/>
              <a:gd name="connsiteX72" fmla="*/ 1781 w 9311"/>
              <a:gd name="connsiteY72" fmla="*/ 4186 h 10000"/>
              <a:gd name="connsiteX73" fmla="*/ 1723 w 9311"/>
              <a:gd name="connsiteY73" fmla="*/ 3954 h 10000"/>
              <a:gd name="connsiteX74" fmla="*/ 1494 w 9311"/>
              <a:gd name="connsiteY74" fmla="*/ 3876 h 10000"/>
              <a:gd name="connsiteX75" fmla="*/ 1552 w 9311"/>
              <a:gd name="connsiteY75" fmla="*/ 4031 h 10000"/>
              <a:gd name="connsiteX76" fmla="*/ 1552 w 9311"/>
              <a:gd name="connsiteY76" fmla="*/ 4418 h 10000"/>
              <a:gd name="connsiteX77" fmla="*/ 1610 w 9311"/>
              <a:gd name="connsiteY77" fmla="*/ 4574 h 10000"/>
              <a:gd name="connsiteX78" fmla="*/ 1552 w 9311"/>
              <a:gd name="connsiteY78" fmla="*/ 4729 h 10000"/>
              <a:gd name="connsiteX79" fmla="*/ 1376 w 9311"/>
              <a:gd name="connsiteY79" fmla="*/ 4652 h 10000"/>
              <a:gd name="connsiteX80" fmla="*/ 1150 w 9311"/>
              <a:gd name="connsiteY80" fmla="*/ 4884 h 10000"/>
              <a:gd name="connsiteX81" fmla="*/ 1262 w 9311"/>
              <a:gd name="connsiteY81" fmla="*/ 5194 h 10000"/>
              <a:gd name="connsiteX82" fmla="*/ 918 w 9311"/>
              <a:gd name="connsiteY82" fmla="*/ 5039 h 10000"/>
              <a:gd name="connsiteX83" fmla="*/ 862 w 9311"/>
              <a:gd name="connsiteY83" fmla="*/ 5116 h 10000"/>
              <a:gd name="connsiteX84" fmla="*/ 979 w 9311"/>
              <a:gd name="connsiteY84" fmla="*/ 5349 h 10000"/>
              <a:gd name="connsiteX85" fmla="*/ 862 w 9311"/>
              <a:gd name="connsiteY85" fmla="*/ 5349 h 10000"/>
              <a:gd name="connsiteX86" fmla="*/ 692 w 9311"/>
              <a:gd name="connsiteY86" fmla="*/ 5194 h 10000"/>
              <a:gd name="connsiteX87" fmla="*/ 692 w 9311"/>
              <a:gd name="connsiteY87" fmla="*/ 4729 h 10000"/>
              <a:gd name="connsiteX88" fmla="*/ 520 w 9311"/>
              <a:gd name="connsiteY88" fmla="*/ 4574 h 10000"/>
              <a:gd name="connsiteX89" fmla="*/ 459 w 9311"/>
              <a:gd name="connsiteY89" fmla="*/ 4418 h 10000"/>
              <a:gd name="connsiteX90" fmla="*/ 573 w 9311"/>
              <a:gd name="connsiteY90" fmla="*/ 4496 h 10000"/>
              <a:gd name="connsiteX91" fmla="*/ 1031 w 9311"/>
              <a:gd name="connsiteY91" fmla="*/ 4729 h 10000"/>
              <a:gd name="connsiteX92" fmla="*/ 1316 w 9311"/>
              <a:gd name="connsiteY92" fmla="*/ 4496 h 10000"/>
              <a:gd name="connsiteX93" fmla="*/ 1262 w 9311"/>
              <a:gd name="connsiteY93" fmla="*/ 4263 h 10000"/>
              <a:gd name="connsiteX94" fmla="*/ 918 w 9311"/>
              <a:gd name="connsiteY94" fmla="*/ 3799 h 10000"/>
              <a:gd name="connsiteX95" fmla="*/ 573 w 9311"/>
              <a:gd name="connsiteY95" fmla="*/ 3644 h 10000"/>
              <a:gd name="connsiteX96" fmla="*/ 573 w 9311"/>
              <a:gd name="connsiteY96" fmla="*/ 3566 h 10000"/>
              <a:gd name="connsiteX97" fmla="*/ 459 w 9311"/>
              <a:gd name="connsiteY97" fmla="*/ 3488 h 10000"/>
              <a:gd name="connsiteX98" fmla="*/ 342 w 9311"/>
              <a:gd name="connsiteY98" fmla="*/ 3566 h 10000"/>
              <a:gd name="connsiteX99" fmla="*/ 342 w 9311"/>
              <a:gd name="connsiteY99" fmla="*/ 3644 h 10000"/>
              <a:gd name="connsiteX100" fmla="*/ 286 w 9311"/>
              <a:gd name="connsiteY100" fmla="*/ 3644 h 10000"/>
              <a:gd name="connsiteX101" fmla="*/ 173 w 9311"/>
              <a:gd name="connsiteY101" fmla="*/ 3799 h 10000"/>
              <a:gd name="connsiteX102" fmla="*/ 173 w 9311"/>
              <a:gd name="connsiteY102" fmla="*/ 4031 h 10000"/>
              <a:gd name="connsiteX103" fmla="*/ 286 w 9311"/>
              <a:gd name="connsiteY103" fmla="*/ 4186 h 10000"/>
              <a:gd name="connsiteX104" fmla="*/ 231 w 9311"/>
              <a:gd name="connsiteY104" fmla="*/ 4418 h 10000"/>
              <a:gd name="connsiteX105" fmla="*/ 286 w 9311"/>
              <a:gd name="connsiteY105" fmla="*/ 4807 h 10000"/>
              <a:gd name="connsiteX106" fmla="*/ 231 w 9311"/>
              <a:gd name="connsiteY106" fmla="*/ 5039 h 10000"/>
              <a:gd name="connsiteX107" fmla="*/ 342 w 9311"/>
              <a:gd name="connsiteY107" fmla="*/ 5271 h 10000"/>
              <a:gd name="connsiteX108" fmla="*/ 286 w 9311"/>
              <a:gd name="connsiteY108" fmla="*/ 5426 h 10000"/>
              <a:gd name="connsiteX109" fmla="*/ 400 w 9311"/>
              <a:gd name="connsiteY109" fmla="*/ 5582 h 10000"/>
              <a:gd name="connsiteX110" fmla="*/ 400 w 9311"/>
              <a:gd name="connsiteY110" fmla="*/ 5659 h 10000"/>
              <a:gd name="connsiteX111" fmla="*/ 231 w 9311"/>
              <a:gd name="connsiteY111" fmla="*/ 6047 h 10000"/>
              <a:gd name="connsiteX112" fmla="*/ 52 w 9311"/>
              <a:gd name="connsiteY112" fmla="*/ 6202 h 10000"/>
              <a:gd name="connsiteX113" fmla="*/ 113 w 9311"/>
              <a:gd name="connsiteY113" fmla="*/ 6202 h 10000"/>
              <a:gd name="connsiteX114" fmla="*/ 231 w 9311"/>
              <a:gd name="connsiteY114" fmla="*/ 6356 h 10000"/>
              <a:gd name="connsiteX115" fmla="*/ 113 w 9311"/>
              <a:gd name="connsiteY115" fmla="*/ 6512 h 10000"/>
              <a:gd name="connsiteX116" fmla="*/ 52 w 9311"/>
              <a:gd name="connsiteY116" fmla="*/ 6590 h 10000"/>
              <a:gd name="connsiteX117" fmla="*/ 0 w 9311"/>
              <a:gd name="connsiteY117" fmla="*/ 6590 h 10000"/>
              <a:gd name="connsiteX118" fmla="*/ 52 w 9311"/>
              <a:gd name="connsiteY118" fmla="*/ 6822 h 10000"/>
              <a:gd name="connsiteX119" fmla="*/ 52 w 9311"/>
              <a:gd name="connsiteY119" fmla="*/ 6900 h 10000"/>
              <a:gd name="connsiteX120" fmla="*/ 52 w 9311"/>
              <a:gd name="connsiteY120" fmla="*/ 6977 h 10000"/>
              <a:gd name="connsiteX121" fmla="*/ 52 w 9311"/>
              <a:gd name="connsiteY121" fmla="*/ 7054 h 10000"/>
              <a:gd name="connsiteX122" fmla="*/ 113 w 9311"/>
              <a:gd name="connsiteY122" fmla="*/ 7209 h 10000"/>
              <a:gd name="connsiteX123" fmla="*/ 286 w 9311"/>
              <a:gd name="connsiteY123" fmla="*/ 7287 h 10000"/>
              <a:gd name="connsiteX124" fmla="*/ 342 w 9311"/>
              <a:gd name="connsiteY124" fmla="*/ 7364 h 10000"/>
              <a:gd name="connsiteX125" fmla="*/ 342 w 9311"/>
              <a:gd name="connsiteY125" fmla="*/ 7520 h 10000"/>
              <a:gd name="connsiteX126" fmla="*/ 459 w 9311"/>
              <a:gd name="connsiteY126" fmla="*/ 7752 h 10000"/>
              <a:gd name="connsiteX127" fmla="*/ 520 w 9311"/>
              <a:gd name="connsiteY127" fmla="*/ 7752 h 10000"/>
              <a:gd name="connsiteX128" fmla="*/ 459 w 9311"/>
              <a:gd name="connsiteY128" fmla="*/ 7907 h 10000"/>
              <a:gd name="connsiteX129" fmla="*/ 400 w 9311"/>
              <a:gd name="connsiteY129" fmla="*/ 7830 h 10000"/>
              <a:gd name="connsiteX130" fmla="*/ 400 w 9311"/>
              <a:gd name="connsiteY130" fmla="*/ 7907 h 10000"/>
              <a:gd name="connsiteX131" fmla="*/ 459 w 9311"/>
              <a:gd name="connsiteY131" fmla="*/ 8062 h 10000"/>
              <a:gd name="connsiteX132" fmla="*/ 634 w 9311"/>
              <a:gd name="connsiteY132" fmla="*/ 8062 h 10000"/>
              <a:gd name="connsiteX133" fmla="*/ 692 w 9311"/>
              <a:gd name="connsiteY133" fmla="*/ 8140 h 10000"/>
              <a:gd name="connsiteX134" fmla="*/ 634 w 9311"/>
              <a:gd name="connsiteY134" fmla="*/ 8140 h 10000"/>
              <a:gd name="connsiteX135" fmla="*/ 692 w 9311"/>
              <a:gd name="connsiteY135" fmla="*/ 8217 h 10000"/>
              <a:gd name="connsiteX136" fmla="*/ 746 w 9311"/>
              <a:gd name="connsiteY136" fmla="*/ 8217 h 10000"/>
              <a:gd name="connsiteX137" fmla="*/ 803 w 9311"/>
              <a:gd name="connsiteY137" fmla="*/ 8372 h 10000"/>
              <a:gd name="connsiteX138" fmla="*/ 862 w 9311"/>
              <a:gd name="connsiteY138" fmla="*/ 8449 h 10000"/>
              <a:gd name="connsiteX139" fmla="*/ 918 w 9311"/>
              <a:gd name="connsiteY139" fmla="*/ 8372 h 10000"/>
              <a:gd name="connsiteX140" fmla="*/ 1208 w 9311"/>
              <a:gd name="connsiteY140" fmla="*/ 8605 h 10000"/>
              <a:gd name="connsiteX141" fmla="*/ 1150 w 9311"/>
              <a:gd name="connsiteY141" fmla="*/ 8915 h 10000"/>
              <a:gd name="connsiteX142" fmla="*/ 1092 w 9311"/>
              <a:gd name="connsiteY142" fmla="*/ 8838 h 10000"/>
              <a:gd name="connsiteX143" fmla="*/ 1031 w 9311"/>
              <a:gd name="connsiteY143" fmla="*/ 8915 h 10000"/>
              <a:gd name="connsiteX144" fmla="*/ 1031 w 9311"/>
              <a:gd name="connsiteY144" fmla="*/ 9070 h 10000"/>
              <a:gd name="connsiteX145" fmla="*/ 1092 w 9311"/>
              <a:gd name="connsiteY145" fmla="*/ 8993 h 10000"/>
              <a:gd name="connsiteX146" fmla="*/ 1150 w 9311"/>
              <a:gd name="connsiteY146" fmla="*/ 9070 h 10000"/>
              <a:gd name="connsiteX147" fmla="*/ 979 w 9311"/>
              <a:gd name="connsiteY147" fmla="*/ 9147 h 10000"/>
              <a:gd name="connsiteX148" fmla="*/ 1031 w 9311"/>
              <a:gd name="connsiteY148" fmla="*/ 9225 h 10000"/>
              <a:gd name="connsiteX149" fmla="*/ 918 w 9311"/>
              <a:gd name="connsiteY149" fmla="*/ 9380 h 10000"/>
              <a:gd name="connsiteX150" fmla="*/ 862 w 9311"/>
              <a:gd name="connsiteY150" fmla="*/ 9380 h 10000"/>
              <a:gd name="connsiteX151" fmla="*/ 918 w 9311"/>
              <a:gd name="connsiteY151" fmla="*/ 9380 h 10000"/>
              <a:gd name="connsiteX152" fmla="*/ 1150 w 9311"/>
              <a:gd name="connsiteY152" fmla="*/ 9691 h 10000"/>
              <a:gd name="connsiteX153" fmla="*/ 1438 w 9311"/>
              <a:gd name="connsiteY153" fmla="*/ 9691 h 10000"/>
              <a:gd name="connsiteX154" fmla="*/ 1552 w 9311"/>
              <a:gd name="connsiteY154" fmla="*/ 9768 h 10000"/>
              <a:gd name="connsiteX155" fmla="*/ 1667 w 9311"/>
              <a:gd name="connsiteY155" fmla="*/ 9768 h 10000"/>
              <a:gd name="connsiteX156" fmla="*/ 1781 w 9311"/>
              <a:gd name="connsiteY156" fmla="*/ 9923 h 10000"/>
              <a:gd name="connsiteX157" fmla="*/ 1839 w 9311"/>
              <a:gd name="connsiteY157" fmla="*/ 10000 h 10000"/>
              <a:gd name="connsiteX158" fmla="*/ 1893 w 9311"/>
              <a:gd name="connsiteY158" fmla="*/ 10000 h 10000"/>
              <a:gd name="connsiteX159" fmla="*/ 1954 w 9311"/>
              <a:gd name="connsiteY159" fmla="*/ 9923 h 10000"/>
              <a:gd name="connsiteX160" fmla="*/ 1839 w 9311"/>
              <a:gd name="connsiteY160" fmla="*/ 9768 h 10000"/>
              <a:gd name="connsiteX161" fmla="*/ 1839 w 9311"/>
              <a:gd name="connsiteY161" fmla="*/ 9613 h 10000"/>
              <a:gd name="connsiteX162" fmla="*/ 1781 w 9311"/>
              <a:gd name="connsiteY162" fmla="*/ 9457 h 10000"/>
              <a:gd name="connsiteX163" fmla="*/ 1893 w 9311"/>
              <a:gd name="connsiteY163" fmla="*/ 9225 h 10000"/>
              <a:gd name="connsiteX164" fmla="*/ 1954 w 9311"/>
              <a:gd name="connsiteY164" fmla="*/ 9302 h 10000"/>
              <a:gd name="connsiteX165" fmla="*/ 2011 w 9311"/>
              <a:gd name="connsiteY165" fmla="*/ 9225 h 10000"/>
              <a:gd name="connsiteX166" fmla="*/ 2011 w 9311"/>
              <a:gd name="connsiteY166" fmla="*/ 9147 h 10000"/>
              <a:gd name="connsiteX167" fmla="*/ 1954 w 9311"/>
              <a:gd name="connsiteY167" fmla="*/ 9147 h 10000"/>
              <a:gd name="connsiteX168" fmla="*/ 2011 w 9311"/>
              <a:gd name="connsiteY168" fmla="*/ 9070 h 10000"/>
              <a:gd name="connsiteX169" fmla="*/ 1954 w 9311"/>
              <a:gd name="connsiteY169" fmla="*/ 8915 h 10000"/>
              <a:gd name="connsiteX170" fmla="*/ 1839 w 9311"/>
              <a:gd name="connsiteY170" fmla="*/ 8915 h 10000"/>
              <a:gd name="connsiteX171" fmla="*/ 1781 w 9311"/>
              <a:gd name="connsiteY171" fmla="*/ 8760 h 10000"/>
              <a:gd name="connsiteX172" fmla="*/ 1839 w 9311"/>
              <a:gd name="connsiteY172" fmla="*/ 8372 h 10000"/>
              <a:gd name="connsiteX173" fmla="*/ 1954 w 9311"/>
              <a:gd name="connsiteY173" fmla="*/ 8528 h 10000"/>
              <a:gd name="connsiteX174" fmla="*/ 2011 w 9311"/>
              <a:gd name="connsiteY174" fmla="*/ 8528 h 10000"/>
              <a:gd name="connsiteX175" fmla="*/ 1954 w 9311"/>
              <a:gd name="connsiteY175" fmla="*/ 8372 h 10000"/>
              <a:gd name="connsiteX176" fmla="*/ 2127 w 9311"/>
              <a:gd name="connsiteY176" fmla="*/ 8140 h 10000"/>
              <a:gd name="connsiteX177" fmla="*/ 2244 w 9311"/>
              <a:gd name="connsiteY177" fmla="*/ 8217 h 10000"/>
              <a:gd name="connsiteX178" fmla="*/ 2299 w 9311"/>
              <a:gd name="connsiteY178" fmla="*/ 8140 h 10000"/>
              <a:gd name="connsiteX179" fmla="*/ 2411 w 9311"/>
              <a:gd name="connsiteY179" fmla="*/ 8217 h 10000"/>
              <a:gd name="connsiteX180" fmla="*/ 2588 w 9311"/>
              <a:gd name="connsiteY180" fmla="*/ 8372 h 10000"/>
              <a:gd name="connsiteX181" fmla="*/ 2700 w 9311"/>
              <a:gd name="connsiteY181" fmla="*/ 8295 h 10000"/>
              <a:gd name="connsiteX182" fmla="*/ 2817 w 9311"/>
              <a:gd name="connsiteY182" fmla="*/ 8295 h 10000"/>
              <a:gd name="connsiteX183" fmla="*/ 2875 w 9311"/>
              <a:gd name="connsiteY183" fmla="*/ 8372 h 10000"/>
              <a:gd name="connsiteX184" fmla="*/ 3104 w 9311"/>
              <a:gd name="connsiteY184" fmla="*/ 8372 h 10000"/>
              <a:gd name="connsiteX185" fmla="*/ 3159 w 9311"/>
              <a:gd name="connsiteY185" fmla="*/ 8217 h 10000"/>
              <a:gd name="connsiteX186" fmla="*/ 2985 w 9311"/>
              <a:gd name="connsiteY186" fmla="*/ 8140 h 10000"/>
              <a:gd name="connsiteX187" fmla="*/ 3104 w 9311"/>
              <a:gd name="connsiteY187" fmla="*/ 8062 h 10000"/>
              <a:gd name="connsiteX188" fmla="*/ 3043 w 9311"/>
              <a:gd name="connsiteY188" fmla="*/ 7985 h 10000"/>
              <a:gd name="connsiteX189" fmla="*/ 3104 w 9311"/>
              <a:gd name="connsiteY189" fmla="*/ 7907 h 10000"/>
              <a:gd name="connsiteX190" fmla="*/ 3104 w 9311"/>
              <a:gd name="connsiteY190" fmla="*/ 7675 h 10000"/>
              <a:gd name="connsiteX191" fmla="*/ 3216 w 9311"/>
              <a:gd name="connsiteY191" fmla="*/ 7752 h 10000"/>
              <a:gd name="connsiteX192" fmla="*/ 3735 w 9311"/>
              <a:gd name="connsiteY192" fmla="*/ 7520 h 10000"/>
              <a:gd name="connsiteX193" fmla="*/ 3735 w 9311"/>
              <a:gd name="connsiteY193" fmla="*/ 7442 h 10000"/>
              <a:gd name="connsiteX194" fmla="*/ 3794 w 9311"/>
              <a:gd name="connsiteY194" fmla="*/ 7442 h 10000"/>
              <a:gd name="connsiteX195" fmla="*/ 3961 w 9311"/>
              <a:gd name="connsiteY195" fmla="*/ 7442 h 10000"/>
              <a:gd name="connsiteX196" fmla="*/ 4024 w 9311"/>
              <a:gd name="connsiteY196" fmla="*/ 7598 h 10000"/>
              <a:gd name="connsiteX197" fmla="*/ 4024 w 9311"/>
              <a:gd name="connsiteY197" fmla="*/ 7675 h 10000"/>
              <a:gd name="connsiteX198" fmla="*/ 4078 w 9311"/>
              <a:gd name="connsiteY198" fmla="*/ 7675 h 10000"/>
              <a:gd name="connsiteX199" fmla="*/ 4194 w 9311"/>
              <a:gd name="connsiteY199" fmla="*/ 7752 h 10000"/>
              <a:gd name="connsiteX200" fmla="*/ 4194 w 9311"/>
              <a:gd name="connsiteY200" fmla="*/ 7830 h 10000"/>
              <a:gd name="connsiteX201" fmla="*/ 4309 w 9311"/>
              <a:gd name="connsiteY201" fmla="*/ 7830 h 10000"/>
              <a:gd name="connsiteX202" fmla="*/ 4423 w 9311"/>
              <a:gd name="connsiteY202" fmla="*/ 7675 h 10000"/>
              <a:gd name="connsiteX203" fmla="*/ 4538 w 9311"/>
              <a:gd name="connsiteY203" fmla="*/ 7598 h 10000"/>
              <a:gd name="connsiteX204" fmla="*/ 4603 w 9311"/>
              <a:gd name="connsiteY204" fmla="*/ 7830 h 10000"/>
              <a:gd name="connsiteX205" fmla="*/ 4828 w 9311"/>
              <a:gd name="connsiteY205" fmla="*/ 8372 h 10000"/>
              <a:gd name="connsiteX206" fmla="*/ 4886 w 9311"/>
              <a:gd name="connsiteY206" fmla="*/ 8217 h 10000"/>
              <a:gd name="connsiteX207" fmla="*/ 4943 w 9311"/>
              <a:gd name="connsiteY207" fmla="*/ 8372 h 10000"/>
              <a:gd name="connsiteX208" fmla="*/ 5115 w 9311"/>
              <a:gd name="connsiteY208" fmla="*/ 8295 h 10000"/>
              <a:gd name="connsiteX209" fmla="*/ 5290 w 9311"/>
              <a:gd name="connsiteY209" fmla="*/ 8528 h 10000"/>
              <a:gd name="connsiteX210" fmla="*/ 5400 w 9311"/>
              <a:gd name="connsiteY210" fmla="*/ 8605 h 10000"/>
              <a:gd name="connsiteX211" fmla="*/ 5400 w 9311"/>
              <a:gd name="connsiteY211" fmla="*/ 8528 h 10000"/>
              <a:gd name="connsiteX212" fmla="*/ 5461 w 9311"/>
              <a:gd name="connsiteY212" fmla="*/ 8683 h 10000"/>
              <a:gd name="connsiteX213" fmla="*/ 5400 w 9311"/>
              <a:gd name="connsiteY213" fmla="*/ 8760 h 10000"/>
              <a:gd name="connsiteX214" fmla="*/ 5519 w 9311"/>
              <a:gd name="connsiteY214" fmla="*/ 8683 h 10000"/>
              <a:gd name="connsiteX215" fmla="*/ 5573 w 9311"/>
              <a:gd name="connsiteY215" fmla="*/ 8605 h 10000"/>
              <a:gd name="connsiteX216" fmla="*/ 5859 w 9311"/>
              <a:gd name="connsiteY216" fmla="*/ 8372 h 10000"/>
              <a:gd name="connsiteX217" fmla="*/ 6092 w 9311"/>
              <a:gd name="connsiteY217" fmla="*/ 8449 h 10000"/>
              <a:gd name="connsiteX218" fmla="*/ 6204 w 9311"/>
              <a:gd name="connsiteY218" fmla="*/ 8528 h 10000"/>
              <a:gd name="connsiteX219" fmla="*/ 6434 w 9311"/>
              <a:gd name="connsiteY219" fmla="*/ 8528 h 10000"/>
              <a:gd name="connsiteX220" fmla="*/ 6434 w 9311"/>
              <a:gd name="connsiteY220" fmla="*/ 8372 h 10000"/>
              <a:gd name="connsiteX221" fmla="*/ 6434 w 9311"/>
              <a:gd name="connsiteY221" fmla="*/ 8217 h 10000"/>
              <a:gd name="connsiteX222" fmla="*/ 6550 w 9311"/>
              <a:gd name="connsiteY222" fmla="*/ 8140 h 10000"/>
              <a:gd name="connsiteX223" fmla="*/ 6777 w 9311"/>
              <a:gd name="connsiteY223" fmla="*/ 8217 h 10000"/>
              <a:gd name="connsiteX224" fmla="*/ 6896 w 9311"/>
              <a:gd name="connsiteY224" fmla="*/ 8449 h 10000"/>
              <a:gd name="connsiteX225" fmla="*/ 6953 w 9311"/>
              <a:gd name="connsiteY225" fmla="*/ 8449 h 10000"/>
              <a:gd name="connsiteX226" fmla="*/ 7069 w 9311"/>
              <a:gd name="connsiteY226" fmla="*/ 8372 h 10000"/>
              <a:gd name="connsiteX227" fmla="*/ 7416 w 9311"/>
              <a:gd name="connsiteY227" fmla="*/ 8605 h 10000"/>
              <a:gd name="connsiteX228" fmla="*/ 7587 w 9311"/>
              <a:gd name="connsiteY228" fmla="*/ 8683 h 10000"/>
              <a:gd name="connsiteX229" fmla="*/ 7815 w 9311"/>
              <a:gd name="connsiteY229" fmla="*/ 8605 h 10000"/>
              <a:gd name="connsiteX230" fmla="*/ 7931 w 9311"/>
              <a:gd name="connsiteY230" fmla="*/ 8449 h 10000"/>
              <a:gd name="connsiteX231" fmla="*/ 8103 w 9311"/>
              <a:gd name="connsiteY231" fmla="*/ 8528 h 10000"/>
              <a:gd name="connsiteX232" fmla="*/ 8217 w 9311"/>
              <a:gd name="connsiteY232" fmla="*/ 8605 h 10000"/>
              <a:gd name="connsiteX233" fmla="*/ 9253 w 9311"/>
              <a:gd name="connsiteY233" fmla="*/ 2791 h 10000"/>
              <a:gd name="connsiteX234" fmla="*/ 9311 w 9311"/>
              <a:gd name="connsiteY234" fmla="*/ 2403 h 10000"/>
              <a:gd name="connsiteX235" fmla="*/ 9196 w 9311"/>
              <a:gd name="connsiteY235" fmla="*/ 2170 h 10000"/>
              <a:gd name="connsiteX236" fmla="*/ 8850 w 9311"/>
              <a:gd name="connsiteY236" fmla="*/ 2016 h 10000"/>
              <a:gd name="connsiteX237" fmla="*/ 8731 w 9311"/>
              <a:gd name="connsiteY237" fmla="*/ 2016 h 10000"/>
              <a:gd name="connsiteX238" fmla="*/ 8678 w 9311"/>
              <a:gd name="connsiteY238" fmla="*/ 2170 h 10000"/>
              <a:gd name="connsiteX239" fmla="*/ 8731 w 9311"/>
              <a:gd name="connsiteY239" fmla="*/ 2325 h 10000"/>
              <a:gd name="connsiteX240" fmla="*/ 8280 w 9311"/>
              <a:gd name="connsiteY240" fmla="*/ 2248 h 10000"/>
              <a:gd name="connsiteX241" fmla="*/ 8332 w 9311"/>
              <a:gd name="connsiteY241" fmla="*/ 2016 h 10000"/>
              <a:gd name="connsiteX242" fmla="*/ 8046 w 9311"/>
              <a:gd name="connsiteY242" fmla="*/ 1938 h 10000"/>
              <a:gd name="connsiteX243" fmla="*/ 7872 w 9311"/>
              <a:gd name="connsiteY243" fmla="*/ 2093 h 10000"/>
              <a:gd name="connsiteX244" fmla="*/ 7537 w 9311"/>
              <a:gd name="connsiteY244" fmla="*/ 1861 h 10000"/>
              <a:gd name="connsiteX0" fmla="*/ 8095 w 10000"/>
              <a:gd name="connsiteY0" fmla="*/ 1861 h 10000"/>
              <a:gd name="connsiteX1" fmla="*/ 8095 w 10000"/>
              <a:gd name="connsiteY1" fmla="*/ 1861 h 10000"/>
              <a:gd name="connsiteX2" fmla="*/ 8024 w 10000"/>
              <a:gd name="connsiteY2" fmla="*/ 1938 h 10000"/>
              <a:gd name="connsiteX3" fmla="*/ 8095 w 10000"/>
              <a:gd name="connsiteY3" fmla="*/ 2093 h 10000"/>
              <a:gd name="connsiteX4" fmla="*/ 7838 w 10000"/>
              <a:gd name="connsiteY4" fmla="*/ 2248 h 10000"/>
              <a:gd name="connsiteX5" fmla="*/ 7773 w 10000"/>
              <a:gd name="connsiteY5" fmla="*/ 2248 h 10000"/>
              <a:gd name="connsiteX6" fmla="*/ 7838 w 10000"/>
              <a:gd name="connsiteY6" fmla="*/ 2016 h 10000"/>
              <a:gd name="connsiteX7" fmla="*/ 8455 w 10000"/>
              <a:gd name="connsiteY7" fmla="*/ 1318 h 10000"/>
              <a:gd name="connsiteX8" fmla="*/ 8455 w 10000"/>
              <a:gd name="connsiteY8" fmla="*/ 853 h 10000"/>
              <a:gd name="connsiteX9" fmla="*/ 8212 w 10000"/>
              <a:gd name="connsiteY9" fmla="*/ 543 h 10000"/>
              <a:gd name="connsiteX10" fmla="*/ 7900 w 10000"/>
              <a:gd name="connsiteY10" fmla="*/ 543 h 10000"/>
              <a:gd name="connsiteX11" fmla="*/ 7900 w 10000"/>
              <a:gd name="connsiteY11" fmla="*/ 698 h 10000"/>
              <a:gd name="connsiteX12" fmla="*/ 7711 w 10000"/>
              <a:gd name="connsiteY12" fmla="*/ 698 h 10000"/>
              <a:gd name="connsiteX13" fmla="*/ 7838 w 10000"/>
              <a:gd name="connsiteY13" fmla="*/ 387 h 10000"/>
              <a:gd name="connsiteX14" fmla="*/ 7532 w 10000"/>
              <a:gd name="connsiteY14" fmla="*/ 310 h 10000"/>
              <a:gd name="connsiteX15" fmla="*/ 7711 w 10000"/>
              <a:gd name="connsiteY15" fmla="*/ 155 h 10000"/>
              <a:gd name="connsiteX16" fmla="*/ 7532 w 10000"/>
              <a:gd name="connsiteY16" fmla="*/ 0 h 10000"/>
              <a:gd name="connsiteX17" fmla="*/ 7222 w 10000"/>
              <a:gd name="connsiteY17" fmla="*/ 387 h 10000"/>
              <a:gd name="connsiteX18" fmla="*/ 7222 w 10000"/>
              <a:gd name="connsiteY18" fmla="*/ 698 h 10000"/>
              <a:gd name="connsiteX19" fmla="*/ 7035 w 10000"/>
              <a:gd name="connsiteY19" fmla="*/ 698 h 10000"/>
              <a:gd name="connsiteX20" fmla="*/ 6482 w 10000"/>
              <a:gd name="connsiteY20" fmla="*/ 853 h 10000"/>
              <a:gd name="connsiteX21" fmla="*/ 5985 w 10000"/>
              <a:gd name="connsiteY21" fmla="*/ 1240 h 10000"/>
              <a:gd name="connsiteX22" fmla="*/ 5800 w 10000"/>
              <a:gd name="connsiteY22" fmla="*/ 1551 h 10000"/>
              <a:gd name="connsiteX23" fmla="*/ 5865 w 10000"/>
              <a:gd name="connsiteY23" fmla="*/ 1938 h 10000"/>
              <a:gd name="connsiteX24" fmla="*/ 5185 w 10000"/>
              <a:gd name="connsiteY24" fmla="*/ 2093 h 10000"/>
              <a:gd name="connsiteX25" fmla="*/ 5248 w 10000"/>
              <a:gd name="connsiteY25" fmla="*/ 2559 h 10000"/>
              <a:gd name="connsiteX26" fmla="*/ 5432 w 10000"/>
              <a:gd name="connsiteY26" fmla="*/ 2791 h 10000"/>
              <a:gd name="connsiteX27" fmla="*/ 5309 w 10000"/>
              <a:gd name="connsiteY27" fmla="*/ 2868 h 10000"/>
              <a:gd name="connsiteX28" fmla="*/ 5126 w 10000"/>
              <a:gd name="connsiteY28" fmla="*/ 2559 h 10000"/>
              <a:gd name="connsiteX29" fmla="*/ 4944 w 10000"/>
              <a:gd name="connsiteY29" fmla="*/ 2480 h 10000"/>
              <a:gd name="connsiteX30" fmla="*/ 4874 w 10000"/>
              <a:gd name="connsiteY30" fmla="*/ 2559 h 10000"/>
              <a:gd name="connsiteX31" fmla="*/ 4750 w 10000"/>
              <a:gd name="connsiteY31" fmla="*/ 2403 h 10000"/>
              <a:gd name="connsiteX32" fmla="*/ 4628 w 10000"/>
              <a:gd name="connsiteY32" fmla="*/ 2248 h 10000"/>
              <a:gd name="connsiteX33" fmla="*/ 4628 w 10000"/>
              <a:gd name="connsiteY33" fmla="*/ 2325 h 10000"/>
              <a:gd name="connsiteX34" fmla="*/ 4696 w 10000"/>
              <a:gd name="connsiteY34" fmla="*/ 2559 h 10000"/>
              <a:gd name="connsiteX35" fmla="*/ 4504 w 10000"/>
              <a:gd name="connsiteY35" fmla="*/ 2946 h 10000"/>
              <a:gd name="connsiteX36" fmla="*/ 4628 w 10000"/>
              <a:gd name="connsiteY36" fmla="*/ 3256 h 10000"/>
              <a:gd name="connsiteX37" fmla="*/ 4566 w 10000"/>
              <a:gd name="connsiteY37" fmla="*/ 3566 h 10000"/>
              <a:gd name="connsiteX38" fmla="*/ 4566 w 10000"/>
              <a:gd name="connsiteY38" fmla="*/ 3799 h 10000"/>
              <a:gd name="connsiteX39" fmla="*/ 4750 w 10000"/>
              <a:gd name="connsiteY39" fmla="*/ 3799 h 10000"/>
              <a:gd name="connsiteX40" fmla="*/ 4628 w 10000"/>
              <a:gd name="connsiteY40" fmla="*/ 3876 h 10000"/>
              <a:gd name="connsiteX41" fmla="*/ 4696 w 10000"/>
              <a:gd name="connsiteY41" fmla="*/ 4263 h 10000"/>
              <a:gd name="connsiteX42" fmla="*/ 4322 w 10000"/>
              <a:gd name="connsiteY42" fmla="*/ 4652 h 10000"/>
              <a:gd name="connsiteX43" fmla="*/ 4254 w 10000"/>
              <a:gd name="connsiteY43" fmla="*/ 4574 h 10000"/>
              <a:gd name="connsiteX44" fmla="*/ 4504 w 10000"/>
              <a:gd name="connsiteY44" fmla="*/ 4186 h 10000"/>
              <a:gd name="connsiteX45" fmla="*/ 4566 w 10000"/>
              <a:gd name="connsiteY45" fmla="*/ 3954 h 10000"/>
              <a:gd name="connsiteX46" fmla="*/ 4436 w 10000"/>
              <a:gd name="connsiteY46" fmla="*/ 3799 h 10000"/>
              <a:gd name="connsiteX47" fmla="*/ 4436 w 10000"/>
              <a:gd name="connsiteY47" fmla="*/ 3023 h 10000"/>
              <a:gd name="connsiteX48" fmla="*/ 4380 w 10000"/>
              <a:gd name="connsiteY48" fmla="*/ 2868 h 10000"/>
              <a:gd name="connsiteX49" fmla="*/ 4436 w 10000"/>
              <a:gd name="connsiteY49" fmla="*/ 2403 h 10000"/>
              <a:gd name="connsiteX50" fmla="*/ 4322 w 10000"/>
              <a:gd name="connsiteY50" fmla="*/ 2325 h 10000"/>
              <a:gd name="connsiteX51" fmla="*/ 4380 w 10000"/>
              <a:gd name="connsiteY51" fmla="*/ 2248 h 10000"/>
              <a:gd name="connsiteX52" fmla="*/ 4322 w 10000"/>
              <a:gd name="connsiteY52" fmla="*/ 2093 h 10000"/>
              <a:gd name="connsiteX53" fmla="*/ 4193 w 10000"/>
              <a:gd name="connsiteY53" fmla="*/ 2170 h 10000"/>
              <a:gd name="connsiteX54" fmla="*/ 3888 w 10000"/>
              <a:gd name="connsiteY54" fmla="*/ 3178 h 10000"/>
              <a:gd name="connsiteX55" fmla="*/ 3888 w 10000"/>
              <a:gd name="connsiteY55" fmla="*/ 3566 h 10000"/>
              <a:gd name="connsiteX56" fmla="*/ 4075 w 10000"/>
              <a:gd name="connsiteY56" fmla="*/ 3876 h 10000"/>
              <a:gd name="connsiteX57" fmla="*/ 4075 w 10000"/>
              <a:gd name="connsiteY57" fmla="*/ 4031 h 10000"/>
              <a:gd name="connsiteX58" fmla="*/ 3888 w 10000"/>
              <a:gd name="connsiteY58" fmla="*/ 3876 h 10000"/>
              <a:gd name="connsiteX59" fmla="*/ 3151 w 10000"/>
              <a:gd name="connsiteY59" fmla="*/ 3256 h 10000"/>
              <a:gd name="connsiteX60" fmla="*/ 3088 w 10000"/>
              <a:gd name="connsiteY60" fmla="*/ 3411 h 10000"/>
              <a:gd name="connsiteX61" fmla="*/ 3334 w 10000"/>
              <a:gd name="connsiteY61" fmla="*/ 3799 h 10000"/>
              <a:gd name="connsiteX62" fmla="*/ 3206 w 10000"/>
              <a:gd name="connsiteY62" fmla="*/ 3876 h 10000"/>
              <a:gd name="connsiteX63" fmla="*/ 3151 w 10000"/>
              <a:gd name="connsiteY63" fmla="*/ 3799 h 10000"/>
              <a:gd name="connsiteX64" fmla="*/ 2780 w 10000"/>
              <a:gd name="connsiteY64" fmla="*/ 3954 h 10000"/>
              <a:gd name="connsiteX65" fmla="*/ 2718 w 10000"/>
              <a:gd name="connsiteY65" fmla="*/ 4109 h 10000"/>
              <a:gd name="connsiteX66" fmla="*/ 2656 w 10000"/>
              <a:gd name="connsiteY66" fmla="*/ 3954 h 10000"/>
              <a:gd name="connsiteX67" fmla="*/ 2656 w 10000"/>
              <a:gd name="connsiteY67" fmla="*/ 3799 h 10000"/>
              <a:gd name="connsiteX68" fmla="*/ 2033 w 10000"/>
              <a:gd name="connsiteY68" fmla="*/ 4263 h 10000"/>
              <a:gd name="connsiteX69" fmla="*/ 2033 w 10000"/>
              <a:gd name="connsiteY69" fmla="*/ 4418 h 10000"/>
              <a:gd name="connsiteX70" fmla="*/ 1913 w 10000"/>
              <a:gd name="connsiteY70" fmla="*/ 4496 h 10000"/>
              <a:gd name="connsiteX71" fmla="*/ 1729 w 10000"/>
              <a:gd name="connsiteY71" fmla="*/ 4341 h 10000"/>
              <a:gd name="connsiteX72" fmla="*/ 1913 w 10000"/>
              <a:gd name="connsiteY72" fmla="*/ 4186 h 10000"/>
              <a:gd name="connsiteX73" fmla="*/ 1850 w 10000"/>
              <a:gd name="connsiteY73" fmla="*/ 3954 h 10000"/>
              <a:gd name="connsiteX74" fmla="*/ 1605 w 10000"/>
              <a:gd name="connsiteY74" fmla="*/ 3876 h 10000"/>
              <a:gd name="connsiteX75" fmla="*/ 1667 w 10000"/>
              <a:gd name="connsiteY75" fmla="*/ 4031 h 10000"/>
              <a:gd name="connsiteX76" fmla="*/ 1667 w 10000"/>
              <a:gd name="connsiteY76" fmla="*/ 4418 h 10000"/>
              <a:gd name="connsiteX77" fmla="*/ 1729 w 10000"/>
              <a:gd name="connsiteY77" fmla="*/ 4574 h 10000"/>
              <a:gd name="connsiteX78" fmla="*/ 1667 w 10000"/>
              <a:gd name="connsiteY78" fmla="*/ 4729 h 10000"/>
              <a:gd name="connsiteX79" fmla="*/ 1478 w 10000"/>
              <a:gd name="connsiteY79" fmla="*/ 4652 h 10000"/>
              <a:gd name="connsiteX80" fmla="*/ 1235 w 10000"/>
              <a:gd name="connsiteY80" fmla="*/ 4884 h 10000"/>
              <a:gd name="connsiteX81" fmla="*/ 1355 w 10000"/>
              <a:gd name="connsiteY81" fmla="*/ 5194 h 10000"/>
              <a:gd name="connsiteX82" fmla="*/ 986 w 10000"/>
              <a:gd name="connsiteY82" fmla="*/ 5039 h 10000"/>
              <a:gd name="connsiteX83" fmla="*/ 926 w 10000"/>
              <a:gd name="connsiteY83" fmla="*/ 5116 h 10000"/>
              <a:gd name="connsiteX84" fmla="*/ 1051 w 10000"/>
              <a:gd name="connsiteY84" fmla="*/ 5349 h 10000"/>
              <a:gd name="connsiteX85" fmla="*/ 926 w 10000"/>
              <a:gd name="connsiteY85" fmla="*/ 5349 h 10000"/>
              <a:gd name="connsiteX86" fmla="*/ 743 w 10000"/>
              <a:gd name="connsiteY86" fmla="*/ 5194 h 10000"/>
              <a:gd name="connsiteX87" fmla="*/ 743 w 10000"/>
              <a:gd name="connsiteY87" fmla="*/ 4729 h 10000"/>
              <a:gd name="connsiteX88" fmla="*/ 558 w 10000"/>
              <a:gd name="connsiteY88" fmla="*/ 4574 h 10000"/>
              <a:gd name="connsiteX89" fmla="*/ 493 w 10000"/>
              <a:gd name="connsiteY89" fmla="*/ 4418 h 10000"/>
              <a:gd name="connsiteX90" fmla="*/ 615 w 10000"/>
              <a:gd name="connsiteY90" fmla="*/ 4496 h 10000"/>
              <a:gd name="connsiteX91" fmla="*/ 1107 w 10000"/>
              <a:gd name="connsiteY91" fmla="*/ 4729 h 10000"/>
              <a:gd name="connsiteX92" fmla="*/ 1413 w 10000"/>
              <a:gd name="connsiteY92" fmla="*/ 4496 h 10000"/>
              <a:gd name="connsiteX93" fmla="*/ 1355 w 10000"/>
              <a:gd name="connsiteY93" fmla="*/ 4263 h 10000"/>
              <a:gd name="connsiteX94" fmla="*/ 986 w 10000"/>
              <a:gd name="connsiteY94" fmla="*/ 3799 h 10000"/>
              <a:gd name="connsiteX95" fmla="*/ 615 w 10000"/>
              <a:gd name="connsiteY95" fmla="*/ 3644 h 10000"/>
              <a:gd name="connsiteX96" fmla="*/ 615 w 10000"/>
              <a:gd name="connsiteY96" fmla="*/ 3566 h 10000"/>
              <a:gd name="connsiteX97" fmla="*/ 493 w 10000"/>
              <a:gd name="connsiteY97" fmla="*/ 3488 h 10000"/>
              <a:gd name="connsiteX98" fmla="*/ 367 w 10000"/>
              <a:gd name="connsiteY98" fmla="*/ 3566 h 10000"/>
              <a:gd name="connsiteX99" fmla="*/ 367 w 10000"/>
              <a:gd name="connsiteY99" fmla="*/ 3644 h 10000"/>
              <a:gd name="connsiteX100" fmla="*/ 307 w 10000"/>
              <a:gd name="connsiteY100" fmla="*/ 3644 h 10000"/>
              <a:gd name="connsiteX101" fmla="*/ 186 w 10000"/>
              <a:gd name="connsiteY101" fmla="*/ 3799 h 10000"/>
              <a:gd name="connsiteX102" fmla="*/ 186 w 10000"/>
              <a:gd name="connsiteY102" fmla="*/ 4031 h 10000"/>
              <a:gd name="connsiteX103" fmla="*/ 307 w 10000"/>
              <a:gd name="connsiteY103" fmla="*/ 4186 h 10000"/>
              <a:gd name="connsiteX104" fmla="*/ 248 w 10000"/>
              <a:gd name="connsiteY104" fmla="*/ 4418 h 10000"/>
              <a:gd name="connsiteX105" fmla="*/ 307 w 10000"/>
              <a:gd name="connsiteY105" fmla="*/ 4807 h 10000"/>
              <a:gd name="connsiteX106" fmla="*/ 248 w 10000"/>
              <a:gd name="connsiteY106" fmla="*/ 5039 h 10000"/>
              <a:gd name="connsiteX107" fmla="*/ 367 w 10000"/>
              <a:gd name="connsiteY107" fmla="*/ 5271 h 10000"/>
              <a:gd name="connsiteX108" fmla="*/ 307 w 10000"/>
              <a:gd name="connsiteY108" fmla="*/ 5426 h 10000"/>
              <a:gd name="connsiteX109" fmla="*/ 430 w 10000"/>
              <a:gd name="connsiteY109" fmla="*/ 5582 h 10000"/>
              <a:gd name="connsiteX110" fmla="*/ 430 w 10000"/>
              <a:gd name="connsiteY110" fmla="*/ 5659 h 10000"/>
              <a:gd name="connsiteX111" fmla="*/ 248 w 10000"/>
              <a:gd name="connsiteY111" fmla="*/ 6047 h 10000"/>
              <a:gd name="connsiteX112" fmla="*/ 56 w 10000"/>
              <a:gd name="connsiteY112" fmla="*/ 6202 h 10000"/>
              <a:gd name="connsiteX113" fmla="*/ 121 w 10000"/>
              <a:gd name="connsiteY113" fmla="*/ 6202 h 10000"/>
              <a:gd name="connsiteX114" fmla="*/ 248 w 10000"/>
              <a:gd name="connsiteY114" fmla="*/ 6356 h 10000"/>
              <a:gd name="connsiteX115" fmla="*/ 121 w 10000"/>
              <a:gd name="connsiteY115" fmla="*/ 6512 h 10000"/>
              <a:gd name="connsiteX116" fmla="*/ 56 w 10000"/>
              <a:gd name="connsiteY116" fmla="*/ 6590 h 10000"/>
              <a:gd name="connsiteX117" fmla="*/ 0 w 10000"/>
              <a:gd name="connsiteY117" fmla="*/ 6590 h 10000"/>
              <a:gd name="connsiteX118" fmla="*/ 56 w 10000"/>
              <a:gd name="connsiteY118" fmla="*/ 6822 h 10000"/>
              <a:gd name="connsiteX119" fmla="*/ 56 w 10000"/>
              <a:gd name="connsiteY119" fmla="*/ 6900 h 10000"/>
              <a:gd name="connsiteX120" fmla="*/ 56 w 10000"/>
              <a:gd name="connsiteY120" fmla="*/ 6977 h 10000"/>
              <a:gd name="connsiteX121" fmla="*/ 56 w 10000"/>
              <a:gd name="connsiteY121" fmla="*/ 7054 h 10000"/>
              <a:gd name="connsiteX122" fmla="*/ 121 w 10000"/>
              <a:gd name="connsiteY122" fmla="*/ 7209 h 10000"/>
              <a:gd name="connsiteX123" fmla="*/ 307 w 10000"/>
              <a:gd name="connsiteY123" fmla="*/ 7287 h 10000"/>
              <a:gd name="connsiteX124" fmla="*/ 367 w 10000"/>
              <a:gd name="connsiteY124" fmla="*/ 7364 h 10000"/>
              <a:gd name="connsiteX125" fmla="*/ 367 w 10000"/>
              <a:gd name="connsiteY125" fmla="*/ 7520 h 10000"/>
              <a:gd name="connsiteX126" fmla="*/ 493 w 10000"/>
              <a:gd name="connsiteY126" fmla="*/ 7752 h 10000"/>
              <a:gd name="connsiteX127" fmla="*/ 558 w 10000"/>
              <a:gd name="connsiteY127" fmla="*/ 7752 h 10000"/>
              <a:gd name="connsiteX128" fmla="*/ 493 w 10000"/>
              <a:gd name="connsiteY128" fmla="*/ 7907 h 10000"/>
              <a:gd name="connsiteX129" fmla="*/ 430 w 10000"/>
              <a:gd name="connsiteY129" fmla="*/ 7830 h 10000"/>
              <a:gd name="connsiteX130" fmla="*/ 430 w 10000"/>
              <a:gd name="connsiteY130" fmla="*/ 7907 h 10000"/>
              <a:gd name="connsiteX131" fmla="*/ 493 w 10000"/>
              <a:gd name="connsiteY131" fmla="*/ 8062 h 10000"/>
              <a:gd name="connsiteX132" fmla="*/ 681 w 10000"/>
              <a:gd name="connsiteY132" fmla="*/ 8062 h 10000"/>
              <a:gd name="connsiteX133" fmla="*/ 743 w 10000"/>
              <a:gd name="connsiteY133" fmla="*/ 8140 h 10000"/>
              <a:gd name="connsiteX134" fmla="*/ 681 w 10000"/>
              <a:gd name="connsiteY134" fmla="*/ 8140 h 10000"/>
              <a:gd name="connsiteX135" fmla="*/ 743 w 10000"/>
              <a:gd name="connsiteY135" fmla="*/ 8217 h 10000"/>
              <a:gd name="connsiteX136" fmla="*/ 801 w 10000"/>
              <a:gd name="connsiteY136" fmla="*/ 8217 h 10000"/>
              <a:gd name="connsiteX137" fmla="*/ 862 w 10000"/>
              <a:gd name="connsiteY137" fmla="*/ 8372 h 10000"/>
              <a:gd name="connsiteX138" fmla="*/ 926 w 10000"/>
              <a:gd name="connsiteY138" fmla="*/ 8449 h 10000"/>
              <a:gd name="connsiteX139" fmla="*/ 986 w 10000"/>
              <a:gd name="connsiteY139" fmla="*/ 8372 h 10000"/>
              <a:gd name="connsiteX140" fmla="*/ 1297 w 10000"/>
              <a:gd name="connsiteY140" fmla="*/ 8605 h 10000"/>
              <a:gd name="connsiteX141" fmla="*/ 1235 w 10000"/>
              <a:gd name="connsiteY141" fmla="*/ 8915 h 10000"/>
              <a:gd name="connsiteX142" fmla="*/ 1173 w 10000"/>
              <a:gd name="connsiteY142" fmla="*/ 8838 h 10000"/>
              <a:gd name="connsiteX143" fmla="*/ 1107 w 10000"/>
              <a:gd name="connsiteY143" fmla="*/ 8915 h 10000"/>
              <a:gd name="connsiteX144" fmla="*/ 1107 w 10000"/>
              <a:gd name="connsiteY144" fmla="*/ 9070 h 10000"/>
              <a:gd name="connsiteX145" fmla="*/ 1173 w 10000"/>
              <a:gd name="connsiteY145" fmla="*/ 8993 h 10000"/>
              <a:gd name="connsiteX146" fmla="*/ 1235 w 10000"/>
              <a:gd name="connsiteY146" fmla="*/ 9070 h 10000"/>
              <a:gd name="connsiteX147" fmla="*/ 1051 w 10000"/>
              <a:gd name="connsiteY147" fmla="*/ 9147 h 10000"/>
              <a:gd name="connsiteX148" fmla="*/ 1107 w 10000"/>
              <a:gd name="connsiteY148" fmla="*/ 9225 h 10000"/>
              <a:gd name="connsiteX149" fmla="*/ 986 w 10000"/>
              <a:gd name="connsiteY149" fmla="*/ 9380 h 10000"/>
              <a:gd name="connsiteX150" fmla="*/ 926 w 10000"/>
              <a:gd name="connsiteY150" fmla="*/ 9380 h 10000"/>
              <a:gd name="connsiteX151" fmla="*/ 986 w 10000"/>
              <a:gd name="connsiteY151" fmla="*/ 9380 h 10000"/>
              <a:gd name="connsiteX152" fmla="*/ 1235 w 10000"/>
              <a:gd name="connsiteY152" fmla="*/ 9691 h 10000"/>
              <a:gd name="connsiteX153" fmla="*/ 1544 w 10000"/>
              <a:gd name="connsiteY153" fmla="*/ 9691 h 10000"/>
              <a:gd name="connsiteX154" fmla="*/ 1667 w 10000"/>
              <a:gd name="connsiteY154" fmla="*/ 9768 h 10000"/>
              <a:gd name="connsiteX155" fmla="*/ 1790 w 10000"/>
              <a:gd name="connsiteY155" fmla="*/ 9768 h 10000"/>
              <a:gd name="connsiteX156" fmla="*/ 1913 w 10000"/>
              <a:gd name="connsiteY156" fmla="*/ 9923 h 10000"/>
              <a:gd name="connsiteX157" fmla="*/ 1975 w 10000"/>
              <a:gd name="connsiteY157" fmla="*/ 10000 h 10000"/>
              <a:gd name="connsiteX158" fmla="*/ 2033 w 10000"/>
              <a:gd name="connsiteY158" fmla="*/ 10000 h 10000"/>
              <a:gd name="connsiteX159" fmla="*/ 2099 w 10000"/>
              <a:gd name="connsiteY159" fmla="*/ 9923 h 10000"/>
              <a:gd name="connsiteX160" fmla="*/ 1975 w 10000"/>
              <a:gd name="connsiteY160" fmla="*/ 9768 h 10000"/>
              <a:gd name="connsiteX161" fmla="*/ 1975 w 10000"/>
              <a:gd name="connsiteY161" fmla="*/ 9613 h 10000"/>
              <a:gd name="connsiteX162" fmla="*/ 1913 w 10000"/>
              <a:gd name="connsiteY162" fmla="*/ 9457 h 10000"/>
              <a:gd name="connsiteX163" fmla="*/ 2033 w 10000"/>
              <a:gd name="connsiteY163" fmla="*/ 9225 h 10000"/>
              <a:gd name="connsiteX164" fmla="*/ 2099 w 10000"/>
              <a:gd name="connsiteY164" fmla="*/ 9302 h 10000"/>
              <a:gd name="connsiteX165" fmla="*/ 2160 w 10000"/>
              <a:gd name="connsiteY165" fmla="*/ 9225 h 10000"/>
              <a:gd name="connsiteX166" fmla="*/ 2160 w 10000"/>
              <a:gd name="connsiteY166" fmla="*/ 9147 h 10000"/>
              <a:gd name="connsiteX167" fmla="*/ 2099 w 10000"/>
              <a:gd name="connsiteY167" fmla="*/ 9147 h 10000"/>
              <a:gd name="connsiteX168" fmla="*/ 2160 w 10000"/>
              <a:gd name="connsiteY168" fmla="*/ 9070 h 10000"/>
              <a:gd name="connsiteX169" fmla="*/ 2099 w 10000"/>
              <a:gd name="connsiteY169" fmla="*/ 8915 h 10000"/>
              <a:gd name="connsiteX170" fmla="*/ 1975 w 10000"/>
              <a:gd name="connsiteY170" fmla="*/ 8915 h 10000"/>
              <a:gd name="connsiteX171" fmla="*/ 1913 w 10000"/>
              <a:gd name="connsiteY171" fmla="*/ 8760 h 10000"/>
              <a:gd name="connsiteX172" fmla="*/ 1975 w 10000"/>
              <a:gd name="connsiteY172" fmla="*/ 8372 h 10000"/>
              <a:gd name="connsiteX173" fmla="*/ 2099 w 10000"/>
              <a:gd name="connsiteY173" fmla="*/ 8528 h 10000"/>
              <a:gd name="connsiteX174" fmla="*/ 2160 w 10000"/>
              <a:gd name="connsiteY174" fmla="*/ 8528 h 10000"/>
              <a:gd name="connsiteX175" fmla="*/ 2099 w 10000"/>
              <a:gd name="connsiteY175" fmla="*/ 8372 h 10000"/>
              <a:gd name="connsiteX176" fmla="*/ 2284 w 10000"/>
              <a:gd name="connsiteY176" fmla="*/ 8140 h 10000"/>
              <a:gd name="connsiteX177" fmla="*/ 2410 w 10000"/>
              <a:gd name="connsiteY177" fmla="*/ 8217 h 10000"/>
              <a:gd name="connsiteX178" fmla="*/ 2469 w 10000"/>
              <a:gd name="connsiteY178" fmla="*/ 8140 h 10000"/>
              <a:gd name="connsiteX179" fmla="*/ 2589 w 10000"/>
              <a:gd name="connsiteY179" fmla="*/ 8217 h 10000"/>
              <a:gd name="connsiteX180" fmla="*/ 2780 w 10000"/>
              <a:gd name="connsiteY180" fmla="*/ 8372 h 10000"/>
              <a:gd name="connsiteX181" fmla="*/ 2900 w 10000"/>
              <a:gd name="connsiteY181" fmla="*/ 8295 h 10000"/>
              <a:gd name="connsiteX182" fmla="*/ 3025 w 10000"/>
              <a:gd name="connsiteY182" fmla="*/ 8295 h 10000"/>
              <a:gd name="connsiteX183" fmla="*/ 3088 w 10000"/>
              <a:gd name="connsiteY183" fmla="*/ 8372 h 10000"/>
              <a:gd name="connsiteX184" fmla="*/ 3334 w 10000"/>
              <a:gd name="connsiteY184" fmla="*/ 8372 h 10000"/>
              <a:gd name="connsiteX185" fmla="*/ 3393 w 10000"/>
              <a:gd name="connsiteY185" fmla="*/ 8217 h 10000"/>
              <a:gd name="connsiteX186" fmla="*/ 3206 w 10000"/>
              <a:gd name="connsiteY186" fmla="*/ 8140 h 10000"/>
              <a:gd name="connsiteX187" fmla="*/ 3334 w 10000"/>
              <a:gd name="connsiteY187" fmla="*/ 8062 h 10000"/>
              <a:gd name="connsiteX188" fmla="*/ 3268 w 10000"/>
              <a:gd name="connsiteY188" fmla="*/ 7985 h 10000"/>
              <a:gd name="connsiteX189" fmla="*/ 3334 w 10000"/>
              <a:gd name="connsiteY189" fmla="*/ 7907 h 10000"/>
              <a:gd name="connsiteX190" fmla="*/ 3334 w 10000"/>
              <a:gd name="connsiteY190" fmla="*/ 7675 h 10000"/>
              <a:gd name="connsiteX191" fmla="*/ 3454 w 10000"/>
              <a:gd name="connsiteY191" fmla="*/ 7752 h 10000"/>
              <a:gd name="connsiteX192" fmla="*/ 4011 w 10000"/>
              <a:gd name="connsiteY192" fmla="*/ 7520 h 10000"/>
              <a:gd name="connsiteX193" fmla="*/ 4011 w 10000"/>
              <a:gd name="connsiteY193" fmla="*/ 7442 h 10000"/>
              <a:gd name="connsiteX194" fmla="*/ 4075 w 10000"/>
              <a:gd name="connsiteY194" fmla="*/ 7442 h 10000"/>
              <a:gd name="connsiteX195" fmla="*/ 4254 w 10000"/>
              <a:gd name="connsiteY195" fmla="*/ 7442 h 10000"/>
              <a:gd name="connsiteX196" fmla="*/ 4322 w 10000"/>
              <a:gd name="connsiteY196" fmla="*/ 7598 h 10000"/>
              <a:gd name="connsiteX197" fmla="*/ 4322 w 10000"/>
              <a:gd name="connsiteY197" fmla="*/ 7675 h 10000"/>
              <a:gd name="connsiteX198" fmla="*/ 4380 w 10000"/>
              <a:gd name="connsiteY198" fmla="*/ 7675 h 10000"/>
              <a:gd name="connsiteX199" fmla="*/ 4504 w 10000"/>
              <a:gd name="connsiteY199" fmla="*/ 7752 h 10000"/>
              <a:gd name="connsiteX200" fmla="*/ 4504 w 10000"/>
              <a:gd name="connsiteY200" fmla="*/ 7830 h 10000"/>
              <a:gd name="connsiteX201" fmla="*/ 4628 w 10000"/>
              <a:gd name="connsiteY201" fmla="*/ 7830 h 10000"/>
              <a:gd name="connsiteX202" fmla="*/ 4750 w 10000"/>
              <a:gd name="connsiteY202" fmla="*/ 7675 h 10000"/>
              <a:gd name="connsiteX203" fmla="*/ 4874 w 10000"/>
              <a:gd name="connsiteY203" fmla="*/ 7598 h 10000"/>
              <a:gd name="connsiteX204" fmla="*/ 4944 w 10000"/>
              <a:gd name="connsiteY204" fmla="*/ 7830 h 10000"/>
              <a:gd name="connsiteX205" fmla="*/ 5185 w 10000"/>
              <a:gd name="connsiteY205" fmla="*/ 8372 h 10000"/>
              <a:gd name="connsiteX206" fmla="*/ 5248 w 10000"/>
              <a:gd name="connsiteY206" fmla="*/ 8217 h 10000"/>
              <a:gd name="connsiteX207" fmla="*/ 5309 w 10000"/>
              <a:gd name="connsiteY207" fmla="*/ 8372 h 10000"/>
              <a:gd name="connsiteX208" fmla="*/ 5494 w 10000"/>
              <a:gd name="connsiteY208" fmla="*/ 8295 h 10000"/>
              <a:gd name="connsiteX209" fmla="*/ 5681 w 10000"/>
              <a:gd name="connsiteY209" fmla="*/ 8528 h 10000"/>
              <a:gd name="connsiteX210" fmla="*/ 5800 w 10000"/>
              <a:gd name="connsiteY210" fmla="*/ 8605 h 10000"/>
              <a:gd name="connsiteX211" fmla="*/ 5800 w 10000"/>
              <a:gd name="connsiteY211" fmla="*/ 8528 h 10000"/>
              <a:gd name="connsiteX212" fmla="*/ 5865 w 10000"/>
              <a:gd name="connsiteY212" fmla="*/ 8683 h 10000"/>
              <a:gd name="connsiteX213" fmla="*/ 5800 w 10000"/>
              <a:gd name="connsiteY213" fmla="*/ 8760 h 10000"/>
              <a:gd name="connsiteX214" fmla="*/ 5927 w 10000"/>
              <a:gd name="connsiteY214" fmla="*/ 8683 h 10000"/>
              <a:gd name="connsiteX215" fmla="*/ 5985 w 10000"/>
              <a:gd name="connsiteY215" fmla="*/ 8605 h 10000"/>
              <a:gd name="connsiteX216" fmla="*/ 6293 w 10000"/>
              <a:gd name="connsiteY216" fmla="*/ 8372 h 10000"/>
              <a:gd name="connsiteX217" fmla="*/ 6543 w 10000"/>
              <a:gd name="connsiteY217" fmla="*/ 8449 h 10000"/>
              <a:gd name="connsiteX218" fmla="*/ 6663 w 10000"/>
              <a:gd name="connsiteY218" fmla="*/ 8528 h 10000"/>
              <a:gd name="connsiteX219" fmla="*/ 6910 w 10000"/>
              <a:gd name="connsiteY219" fmla="*/ 8528 h 10000"/>
              <a:gd name="connsiteX220" fmla="*/ 6910 w 10000"/>
              <a:gd name="connsiteY220" fmla="*/ 8372 h 10000"/>
              <a:gd name="connsiteX221" fmla="*/ 6910 w 10000"/>
              <a:gd name="connsiteY221" fmla="*/ 8217 h 10000"/>
              <a:gd name="connsiteX222" fmla="*/ 7035 w 10000"/>
              <a:gd name="connsiteY222" fmla="*/ 8140 h 10000"/>
              <a:gd name="connsiteX223" fmla="*/ 7278 w 10000"/>
              <a:gd name="connsiteY223" fmla="*/ 8217 h 10000"/>
              <a:gd name="connsiteX224" fmla="*/ 7406 w 10000"/>
              <a:gd name="connsiteY224" fmla="*/ 8449 h 10000"/>
              <a:gd name="connsiteX225" fmla="*/ 7468 w 10000"/>
              <a:gd name="connsiteY225" fmla="*/ 8449 h 10000"/>
              <a:gd name="connsiteX226" fmla="*/ 7592 w 10000"/>
              <a:gd name="connsiteY226" fmla="*/ 8372 h 10000"/>
              <a:gd name="connsiteX227" fmla="*/ 7965 w 10000"/>
              <a:gd name="connsiteY227" fmla="*/ 8605 h 10000"/>
              <a:gd name="connsiteX228" fmla="*/ 8148 w 10000"/>
              <a:gd name="connsiteY228" fmla="*/ 8683 h 10000"/>
              <a:gd name="connsiteX229" fmla="*/ 8393 w 10000"/>
              <a:gd name="connsiteY229" fmla="*/ 8605 h 10000"/>
              <a:gd name="connsiteX230" fmla="*/ 8518 w 10000"/>
              <a:gd name="connsiteY230" fmla="*/ 8449 h 10000"/>
              <a:gd name="connsiteX231" fmla="*/ 8703 w 10000"/>
              <a:gd name="connsiteY231" fmla="*/ 8528 h 10000"/>
              <a:gd name="connsiteX232" fmla="*/ 8825 w 10000"/>
              <a:gd name="connsiteY232" fmla="*/ 8605 h 10000"/>
              <a:gd name="connsiteX233" fmla="*/ 10000 w 10000"/>
              <a:gd name="connsiteY233" fmla="*/ 2403 h 10000"/>
              <a:gd name="connsiteX234" fmla="*/ 9876 w 10000"/>
              <a:gd name="connsiteY234" fmla="*/ 2170 h 10000"/>
              <a:gd name="connsiteX235" fmla="*/ 9505 w 10000"/>
              <a:gd name="connsiteY235" fmla="*/ 2016 h 10000"/>
              <a:gd name="connsiteX236" fmla="*/ 9377 w 10000"/>
              <a:gd name="connsiteY236" fmla="*/ 2016 h 10000"/>
              <a:gd name="connsiteX237" fmla="*/ 9320 w 10000"/>
              <a:gd name="connsiteY237" fmla="*/ 2170 h 10000"/>
              <a:gd name="connsiteX238" fmla="*/ 9377 w 10000"/>
              <a:gd name="connsiteY238" fmla="*/ 2325 h 10000"/>
              <a:gd name="connsiteX239" fmla="*/ 8893 w 10000"/>
              <a:gd name="connsiteY239" fmla="*/ 2248 h 10000"/>
              <a:gd name="connsiteX240" fmla="*/ 8949 w 10000"/>
              <a:gd name="connsiteY240" fmla="*/ 2016 h 10000"/>
              <a:gd name="connsiteX241" fmla="*/ 8641 w 10000"/>
              <a:gd name="connsiteY241" fmla="*/ 1938 h 10000"/>
              <a:gd name="connsiteX242" fmla="*/ 8455 w 10000"/>
              <a:gd name="connsiteY242" fmla="*/ 2093 h 10000"/>
              <a:gd name="connsiteX243" fmla="*/ 8095 w 10000"/>
              <a:gd name="connsiteY243" fmla="*/ 1861 h 10000"/>
              <a:gd name="connsiteX0" fmla="*/ 8095 w 9876"/>
              <a:gd name="connsiteY0" fmla="*/ 1861 h 10000"/>
              <a:gd name="connsiteX1" fmla="*/ 8095 w 9876"/>
              <a:gd name="connsiteY1" fmla="*/ 1861 h 10000"/>
              <a:gd name="connsiteX2" fmla="*/ 8024 w 9876"/>
              <a:gd name="connsiteY2" fmla="*/ 1938 h 10000"/>
              <a:gd name="connsiteX3" fmla="*/ 8095 w 9876"/>
              <a:gd name="connsiteY3" fmla="*/ 2093 h 10000"/>
              <a:gd name="connsiteX4" fmla="*/ 7838 w 9876"/>
              <a:gd name="connsiteY4" fmla="*/ 2248 h 10000"/>
              <a:gd name="connsiteX5" fmla="*/ 7773 w 9876"/>
              <a:gd name="connsiteY5" fmla="*/ 2248 h 10000"/>
              <a:gd name="connsiteX6" fmla="*/ 7838 w 9876"/>
              <a:gd name="connsiteY6" fmla="*/ 2016 h 10000"/>
              <a:gd name="connsiteX7" fmla="*/ 8455 w 9876"/>
              <a:gd name="connsiteY7" fmla="*/ 1318 h 10000"/>
              <a:gd name="connsiteX8" fmla="*/ 8455 w 9876"/>
              <a:gd name="connsiteY8" fmla="*/ 853 h 10000"/>
              <a:gd name="connsiteX9" fmla="*/ 8212 w 9876"/>
              <a:gd name="connsiteY9" fmla="*/ 543 h 10000"/>
              <a:gd name="connsiteX10" fmla="*/ 7900 w 9876"/>
              <a:gd name="connsiteY10" fmla="*/ 543 h 10000"/>
              <a:gd name="connsiteX11" fmla="*/ 7900 w 9876"/>
              <a:gd name="connsiteY11" fmla="*/ 698 h 10000"/>
              <a:gd name="connsiteX12" fmla="*/ 7711 w 9876"/>
              <a:gd name="connsiteY12" fmla="*/ 698 h 10000"/>
              <a:gd name="connsiteX13" fmla="*/ 7838 w 9876"/>
              <a:gd name="connsiteY13" fmla="*/ 387 h 10000"/>
              <a:gd name="connsiteX14" fmla="*/ 7532 w 9876"/>
              <a:gd name="connsiteY14" fmla="*/ 310 h 10000"/>
              <a:gd name="connsiteX15" fmla="*/ 7711 w 9876"/>
              <a:gd name="connsiteY15" fmla="*/ 155 h 10000"/>
              <a:gd name="connsiteX16" fmla="*/ 7532 w 9876"/>
              <a:gd name="connsiteY16" fmla="*/ 0 h 10000"/>
              <a:gd name="connsiteX17" fmla="*/ 7222 w 9876"/>
              <a:gd name="connsiteY17" fmla="*/ 387 h 10000"/>
              <a:gd name="connsiteX18" fmla="*/ 7222 w 9876"/>
              <a:gd name="connsiteY18" fmla="*/ 698 h 10000"/>
              <a:gd name="connsiteX19" fmla="*/ 7035 w 9876"/>
              <a:gd name="connsiteY19" fmla="*/ 698 h 10000"/>
              <a:gd name="connsiteX20" fmla="*/ 6482 w 9876"/>
              <a:gd name="connsiteY20" fmla="*/ 853 h 10000"/>
              <a:gd name="connsiteX21" fmla="*/ 5985 w 9876"/>
              <a:gd name="connsiteY21" fmla="*/ 1240 h 10000"/>
              <a:gd name="connsiteX22" fmla="*/ 5800 w 9876"/>
              <a:gd name="connsiteY22" fmla="*/ 1551 h 10000"/>
              <a:gd name="connsiteX23" fmla="*/ 5865 w 9876"/>
              <a:gd name="connsiteY23" fmla="*/ 1938 h 10000"/>
              <a:gd name="connsiteX24" fmla="*/ 5185 w 9876"/>
              <a:gd name="connsiteY24" fmla="*/ 2093 h 10000"/>
              <a:gd name="connsiteX25" fmla="*/ 5248 w 9876"/>
              <a:gd name="connsiteY25" fmla="*/ 2559 h 10000"/>
              <a:gd name="connsiteX26" fmla="*/ 5432 w 9876"/>
              <a:gd name="connsiteY26" fmla="*/ 2791 h 10000"/>
              <a:gd name="connsiteX27" fmla="*/ 5309 w 9876"/>
              <a:gd name="connsiteY27" fmla="*/ 2868 h 10000"/>
              <a:gd name="connsiteX28" fmla="*/ 5126 w 9876"/>
              <a:gd name="connsiteY28" fmla="*/ 2559 h 10000"/>
              <a:gd name="connsiteX29" fmla="*/ 4944 w 9876"/>
              <a:gd name="connsiteY29" fmla="*/ 2480 h 10000"/>
              <a:gd name="connsiteX30" fmla="*/ 4874 w 9876"/>
              <a:gd name="connsiteY30" fmla="*/ 2559 h 10000"/>
              <a:gd name="connsiteX31" fmla="*/ 4750 w 9876"/>
              <a:gd name="connsiteY31" fmla="*/ 2403 h 10000"/>
              <a:gd name="connsiteX32" fmla="*/ 4628 w 9876"/>
              <a:gd name="connsiteY32" fmla="*/ 2248 h 10000"/>
              <a:gd name="connsiteX33" fmla="*/ 4628 w 9876"/>
              <a:gd name="connsiteY33" fmla="*/ 2325 h 10000"/>
              <a:gd name="connsiteX34" fmla="*/ 4696 w 9876"/>
              <a:gd name="connsiteY34" fmla="*/ 2559 h 10000"/>
              <a:gd name="connsiteX35" fmla="*/ 4504 w 9876"/>
              <a:gd name="connsiteY35" fmla="*/ 2946 h 10000"/>
              <a:gd name="connsiteX36" fmla="*/ 4628 w 9876"/>
              <a:gd name="connsiteY36" fmla="*/ 3256 h 10000"/>
              <a:gd name="connsiteX37" fmla="*/ 4566 w 9876"/>
              <a:gd name="connsiteY37" fmla="*/ 3566 h 10000"/>
              <a:gd name="connsiteX38" fmla="*/ 4566 w 9876"/>
              <a:gd name="connsiteY38" fmla="*/ 3799 h 10000"/>
              <a:gd name="connsiteX39" fmla="*/ 4750 w 9876"/>
              <a:gd name="connsiteY39" fmla="*/ 3799 h 10000"/>
              <a:gd name="connsiteX40" fmla="*/ 4628 w 9876"/>
              <a:gd name="connsiteY40" fmla="*/ 3876 h 10000"/>
              <a:gd name="connsiteX41" fmla="*/ 4696 w 9876"/>
              <a:gd name="connsiteY41" fmla="*/ 4263 h 10000"/>
              <a:gd name="connsiteX42" fmla="*/ 4322 w 9876"/>
              <a:gd name="connsiteY42" fmla="*/ 4652 h 10000"/>
              <a:gd name="connsiteX43" fmla="*/ 4254 w 9876"/>
              <a:gd name="connsiteY43" fmla="*/ 4574 h 10000"/>
              <a:gd name="connsiteX44" fmla="*/ 4504 w 9876"/>
              <a:gd name="connsiteY44" fmla="*/ 4186 h 10000"/>
              <a:gd name="connsiteX45" fmla="*/ 4566 w 9876"/>
              <a:gd name="connsiteY45" fmla="*/ 3954 h 10000"/>
              <a:gd name="connsiteX46" fmla="*/ 4436 w 9876"/>
              <a:gd name="connsiteY46" fmla="*/ 3799 h 10000"/>
              <a:gd name="connsiteX47" fmla="*/ 4436 w 9876"/>
              <a:gd name="connsiteY47" fmla="*/ 3023 h 10000"/>
              <a:gd name="connsiteX48" fmla="*/ 4380 w 9876"/>
              <a:gd name="connsiteY48" fmla="*/ 2868 h 10000"/>
              <a:gd name="connsiteX49" fmla="*/ 4436 w 9876"/>
              <a:gd name="connsiteY49" fmla="*/ 2403 h 10000"/>
              <a:gd name="connsiteX50" fmla="*/ 4322 w 9876"/>
              <a:gd name="connsiteY50" fmla="*/ 2325 h 10000"/>
              <a:gd name="connsiteX51" fmla="*/ 4380 w 9876"/>
              <a:gd name="connsiteY51" fmla="*/ 2248 h 10000"/>
              <a:gd name="connsiteX52" fmla="*/ 4322 w 9876"/>
              <a:gd name="connsiteY52" fmla="*/ 2093 h 10000"/>
              <a:gd name="connsiteX53" fmla="*/ 4193 w 9876"/>
              <a:gd name="connsiteY53" fmla="*/ 2170 h 10000"/>
              <a:gd name="connsiteX54" fmla="*/ 3888 w 9876"/>
              <a:gd name="connsiteY54" fmla="*/ 3178 h 10000"/>
              <a:gd name="connsiteX55" fmla="*/ 3888 w 9876"/>
              <a:gd name="connsiteY55" fmla="*/ 3566 h 10000"/>
              <a:gd name="connsiteX56" fmla="*/ 4075 w 9876"/>
              <a:gd name="connsiteY56" fmla="*/ 3876 h 10000"/>
              <a:gd name="connsiteX57" fmla="*/ 4075 w 9876"/>
              <a:gd name="connsiteY57" fmla="*/ 4031 h 10000"/>
              <a:gd name="connsiteX58" fmla="*/ 3888 w 9876"/>
              <a:gd name="connsiteY58" fmla="*/ 3876 h 10000"/>
              <a:gd name="connsiteX59" fmla="*/ 3151 w 9876"/>
              <a:gd name="connsiteY59" fmla="*/ 3256 h 10000"/>
              <a:gd name="connsiteX60" fmla="*/ 3088 w 9876"/>
              <a:gd name="connsiteY60" fmla="*/ 3411 h 10000"/>
              <a:gd name="connsiteX61" fmla="*/ 3334 w 9876"/>
              <a:gd name="connsiteY61" fmla="*/ 3799 h 10000"/>
              <a:gd name="connsiteX62" fmla="*/ 3206 w 9876"/>
              <a:gd name="connsiteY62" fmla="*/ 3876 h 10000"/>
              <a:gd name="connsiteX63" fmla="*/ 3151 w 9876"/>
              <a:gd name="connsiteY63" fmla="*/ 3799 h 10000"/>
              <a:gd name="connsiteX64" fmla="*/ 2780 w 9876"/>
              <a:gd name="connsiteY64" fmla="*/ 3954 h 10000"/>
              <a:gd name="connsiteX65" fmla="*/ 2718 w 9876"/>
              <a:gd name="connsiteY65" fmla="*/ 4109 h 10000"/>
              <a:gd name="connsiteX66" fmla="*/ 2656 w 9876"/>
              <a:gd name="connsiteY66" fmla="*/ 3954 h 10000"/>
              <a:gd name="connsiteX67" fmla="*/ 2656 w 9876"/>
              <a:gd name="connsiteY67" fmla="*/ 3799 h 10000"/>
              <a:gd name="connsiteX68" fmla="*/ 2033 w 9876"/>
              <a:gd name="connsiteY68" fmla="*/ 4263 h 10000"/>
              <a:gd name="connsiteX69" fmla="*/ 2033 w 9876"/>
              <a:gd name="connsiteY69" fmla="*/ 4418 h 10000"/>
              <a:gd name="connsiteX70" fmla="*/ 1913 w 9876"/>
              <a:gd name="connsiteY70" fmla="*/ 4496 h 10000"/>
              <a:gd name="connsiteX71" fmla="*/ 1729 w 9876"/>
              <a:gd name="connsiteY71" fmla="*/ 4341 h 10000"/>
              <a:gd name="connsiteX72" fmla="*/ 1913 w 9876"/>
              <a:gd name="connsiteY72" fmla="*/ 4186 h 10000"/>
              <a:gd name="connsiteX73" fmla="*/ 1850 w 9876"/>
              <a:gd name="connsiteY73" fmla="*/ 3954 h 10000"/>
              <a:gd name="connsiteX74" fmla="*/ 1605 w 9876"/>
              <a:gd name="connsiteY74" fmla="*/ 3876 h 10000"/>
              <a:gd name="connsiteX75" fmla="*/ 1667 w 9876"/>
              <a:gd name="connsiteY75" fmla="*/ 4031 h 10000"/>
              <a:gd name="connsiteX76" fmla="*/ 1667 w 9876"/>
              <a:gd name="connsiteY76" fmla="*/ 4418 h 10000"/>
              <a:gd name="connsiteX77" fmla="*/ 1729 w 9876"/>
              <a:gd name="connsiteY77" fmla="*/ 4574 h 10000"/>
              <a:gd name="connsiteX78" fmla="*/ 1667 w 9876"/>
              <a:gd name="connsiteY78" fmla="*/ 4729 h 10000"/>
              <a:gd name="connsiteX79" fmla="*/ 1478 w 9876"/>
              <a:gd name="connsiteY79" fmla="*/ 4652 h 10000"/>
              <a:gd name="connsiteX80" fmla="*/ 1235 w 9876"/>
              <a:gd name="connsiteY80" fmla="*/ 4884 h 10000"/>
              <a:gd name="connsiteX81" fmla="*/ 1355 w 9876"/>
              <a:gd name="connsiteY81" fmla="*/ 5194 h 10000"/>
              <a:gd name="connsiteX82" fmla="*/ 986 w 9876"/>
              <a:gd name="connsiteY82" fmla="*/ 5039 h 10000"/>
              <a:gd name="connsiteX83" fmla="*/ 926 w 9876"/>
              <a:gd name="connsiteY83" fmla="*/ 5116 h 10000"/>
              <a:gd name="connsiteX84" fmla="*/ 1051 w 9876"/>
              <a:gd name="connsiteY84" fmla="*/ 5349 h 10000"/>
              <a:gd name="connsiteX85" fmla="*/ 926 w 9876"/>
              <a:gd name="connsiteY85" fmla="*/ 5349 h 10000"/>
              <a:gd name="connsiteX86" fmla="*/ 743 w 9876"/>
              <a:gd name="connsiteY86" fmla="*/ 5194 h 10000"/>
              <a:gd name="connsiteX87" fmla="*/ 743 w 9876"/>
              <a:gd name="connsiteY87" fmla="*/ 4729 h 10000"/>
              <a:gd name="connsiteX88" fmla="*/ 558 w 9876"/>
              <a:gd name="connsiteY88" fmla="*/ 4574 h 10000"/>
              <a:gd name="connsiteX89" fmla="*/ 493 w 9876"/>
              <a:gd name="connsiteY89" fmla="*/ 4418 h 10000"/>
              <a:gd name="connsiteX90" fmla="*/ 615 w 9876"/>
              <a:gd name="connsiteY90" fmla="*/ 4496 h 10000"/>
              <a:gd name="connsiteX91" fmla="*/ 1107 w 9876"/>
              <a:gd name="connsiteY91" fmla="*/ 4729 h 10000"/>
              <a:gd name="connsiteX92" fmla="*/ 1413 w 9876"/>
              <a:gd name="connsiteY92" fmla="*/ 4496 h 10000"/>
              <a:gd name="connsiteX93" fmla="*/ 1355 w 9876"/>
              <a:gd name="connsiteY93" fmla="*/ 4263 h 10000"/>
              <a:gd name="connsiteX94" fmla="*/ 986 w 9876"/>
              <a:gd name="connsiteY94" fmla="*/ 3799 h 10000"/>
              <a:gd name="connsiteX95" fmla="*/ 615 w 9876"/>
              <a:gd name="connsiteY95" fmla="*/ 3644 h 10000"/>
              <a:gd name="connsiteX96" fmla="*/ 615 w 9876"/>
              <a:gd name="connsiteY96" fmla="*/ 3566 h 10000"/>
              <a:gd name="connsiteX97" fmla="*/ 493 w 9876"/>
              <a:gd name="connsiteY97" fmla="*/ 3488 h 10000"/>
              <a:gd name="connsiteX98" fmla="*/ 367 w 9876"/>
              <a:gd name="connsiteY98" fmla="*/ 3566 h 10000"/>
              <a:gd name="connsiteX99" fmla="*/ 367 w 9876"/>
              <a:gd name="connsiteY99" fmla="*/ 3644 h 10000"/>
              <a:gd name="connsiteX100" fmla="*/ 307 w 9876"/>
              <a:gd name="connsiteY100" fmla="*/ 3644 h 10000"/>
              <a:gd name="connsiteX101" fmla="*/ 186 w 9876"/>
              <a:gd name="connsiteY101" fmla="*/ 3799 h 10000"/>
              <a:gd name="connsiteX102" fmla="*/ 186 w 9876"/>
              <a:gd name="connsiteY102" fmla="*/ 4031 h 10000"/>
              <a:gd name="connsiteX103" fmla="*/ 307 w 9876"/>
              <a:gd name="connsiteY103" fmla="*/ 4186 h 10000"/>
              <a:gd name="connsiteX104" fmla="*/ 248 w 9876"/>
              <a:gd name="connsiteY104" fmla="*/ 4418 h 10000"/>
              <a:gd name="connsiteX105" fmla="*/ 307 w 9876"/>
              <a:gd name="connsiteY105" fmla="*/ 4807 h 10000"/>
              <a:gd name="connsiteX106" fmla="*/ 248 w 9876"/>
              <a:gd name="connsiteY106" fmla="*/ 5039 h 10000"/>
              <a:gd name="connsiteX107" fmla="*/ 367 w 9876"/>
              <a:gd name="connsiteY107" fmla="*/ 5271 h 10000"/>
              <a:gd name="connsiteX108" fmla="*/ 307 w 9876"/>
              <a:gd name="connsiteY108" fmla="*/ 5426 h 10000"/>
              <a:gd name="connsiteX109" fmla="*/ 430 w 9876"/>
              <a:gd name="connsiteY109" fmla="*/ 5582 h 10000"/>
              <a:gd name="connsiteX110" fmla="*/ 430 w 9876"/>
              <a:gd name="connsiteY110" fmla="*/ 5659 h 10000"/>
              <a:gd name="connsiteX111" fmla="*/ 248 w 9876"/>
              <a:gd name="connsiteY111" fmla="*/ 6047 h 10000"/>
              <a:gd name="connsiteX112" fmla="*/ 56 w 9876"/>
              <a:gd name="connsiteY112" fmla="*/ 6202 h 10000"/>
              <a:gd name="connsiteX113" fmla="*/ 121 w 9876"/>
              <a:gd name="connsiteY113" fmla="*/ 6202 h 10000"/>
              <a:gd name="connsiteX114" fmla="*/ 248 w 9876"/>
              <a:gd name="connsiteY114" fmla="*/ 6356 h 10000"/>
              <a:gd name="connsiteX115" fmla="*/ 121 w 9876"/>
              <a:gd name="connsiteY115" fmla="*/ 6512 h 10000"/>
              <a:gd name="connsiteX116" fmla="*/ 56 w 9876"/>
              <a:gd name="connsiteY116" fmla="*/ 6590 h 10000"/>
              <a:gd name="connsiteX117" fmla="*/ 0 w 9876"/>
              <a:gd name="connsiteY117" fmla="*/ 6590 h 10000"/>
              <a:gd name="connsiteX118" fmla="*/ 56 w 9876"/>
              <a:gd name="connsiteY118" fmla="*/ 6822 h 10000"/>
              <a:gd name="connsiteX119" fmla="*/ 56 w 9876"/>
              <a:gd name="connsiteY119" fmla="*/ 6900 h 10000"/>
              <a:gd name="connsiteX120" fmla="*/ 56 w 9876"/>
              <a:gd name="connsiteY120" fmla="*/ 6977 h 10000"/>
              <a:gd name="connsiteX121" fmla="*/ 56 w 9876"/>
              <a:gd name="connsiteY121" fmla="*/ 7054 h 10000"/>
              <a:gd name="connsiteX122" fmla="*/ 121 w 9876"/>
              <a:gd name="connsiteY122" fmla="*/ 7209 h 10000"/>
              <a:gd name="connsiteX123" fmla="*/ 307 w 9876"/>
              <a:gd name="connsiteY123" fmla="*/ 7287 h 10000"/>
              <a:gd name="connsiteX124" fmla="*/ 367 w 9876"/>
              <a:gd name="connsiteY124" fmla="*/ 7364 h 10000"/>
              <a:gd name="connsiteX125" fmla="*/ 367 w 9876"/>
              <a:gd name="connsiteY125" fmla="*/ 7520 h 10000"/>
              <a:gd name="connsiteX126" fmla="*/ 493 w 9876"/>
              <a:gd name="connsiteY126" fmla="*/ 7752 h 10000"/>
              <a:gd name="connsiteX127" fmla="*/ 558 w 9876"/>
              <a:gd name="connsiteY127" fmla="*/ 7752 h 10000"/>
              <a:gd name="connsiteX128" fmla="*/ 493 w 9876"/>
              <a:gd name="connsiteY128" fmla="*/ 7907 h 10000"/>
              <a:gd name="connsiteX129" fmla="*/ 430 w 9876"/>
              <a:gd name="connsiteY129" fmla="*/ 7830 h 10000"/>
              <a:gd name="connsiteX130" fmla="*/ 430 w 9876"/>
              <a:gd name="connsiteY130" fmla="*/ 7907 h 10000"/>
              <a:gd name="connsiteX131" fmla="*/ 493 w 9876"/>
              <a:gd name="connsiteY131" fmla="*/ 8062 h 10000"/>
              <a:gd name="connsiteX132" fmla="*/ 681 w 9876"/>
              <a:gd name="connsiteY132" fmla="*/ 8062 h 10000"/>
              <a:gd name="connsiteX133" fmla="*/ 743 w 9876"/>
              <a:gd name="connsiteY133" fmla="*/ 8140 h 10000"/>
              <a:gd name="connsiteX134" fmla="*/ 681 w 9876"/>
              <a:gd name="connsiteY134" fmla="*/ 8140 h 10000"/>
              <a:gd name="connsiteX135" fmla="*/ 743 w 9876"/>
              <a:gd name="connsiteY135" fmla="*/ 8217 h 10000"/>
              <a:gd name="connsiteX136" fmla="*/ 801 w 9876"/>
              <a:gd name="connsiteY136" fmla="*/ 8217 h 10000"/>
              <a:gd name="connsiteX137" fmla="*/ 862 w 9876"/>
              <a:gd name="connsiteY137" fmla="*/ 8372 h 10000"/>
              <a:gd name="connsiteX138" fmla="*/ 926 w 9876"/>
              <a:gd name="connsiteY138" fmla="*/ 8449 h 10000"/>
              <a:gd name="connsiteX139" fmla="*/ 986 w 9876"/>
              <a:gd name="connsiteY139" fmla="*/ 8372 h 10000"/>
              <a:gd name="connsiteX140" fmla="*/ 1297 w 9876"/>
              <a:gd name="connsiteY140" fmla="*/ 8605 h 10000"/>
              <a:gd name="connsiteX141" fmla="*/ 1235 w 9876"/>
              <a:gd name="connsiteY141" fmla="*/ 8915 h 10000"/>
              <a:gd name="connsiteX142" fmla="*/ 1173 w 9876"/>
              <a:gd name="connsiteY142" fmla="*/ 8838 h 10000"/>
              <a:gd name="connsiteX143" fmla="*/ 1107 w 9876"/>
              <a:gd name="connsiteY143" fmla="*/ 8915 h 10000"/>
              <a:gd name="connsiteX144" fmla="*/ 1107 w 9876"/>
              <a:gd name="connsiteY144" fmla="*/ 9070 h 10000"/>
              <a:gd name="connsiteX145" fmla="*/ 1173 w 9876"/>
              <a:gd name="connsiteY145" fmla="*/ 8993 h 10000"/>
              <a:gd name="connsiteX146" fmla="*/ 1235 w 9876"/>
              <a:gd name="connsiteY146" fmla="*/ 9070 h 10000"/>
              <a:gd name="connsiteX147" fmla="*/ 1051 w 9876"/>
              <a:gd name="connsiteY147" fmla="*/ 9147 h 10000"/>
              <a:gd name="connsiteX148" fmla="*/ 1107 w 9876"/>
              <a:gd name="connsiteY148" fmla="*/ 9225 h 10000"/>
              <a:gd name="connsiteX149" fmla="*/ 986 w 9876"/>
              <a:gd name="connsiteY149" fmla="*/ 9380 h 10000"/>
              <a:gd name="connsiteX150" fmla="*/ 926 w 9876"/>
              <a:gd name="connsiteY150" fmla="*/ 9380 h 10000"/>
              <a:gd name="connsiteX151" fmla="*/ 986 w 9876"/>
              <a:gd name="connsiteY151" fmla="*/ 9380 h 10000"/>
              <a:gd name="connsiteX152" fmla="*/ 1235 w 9876"/>
              <a:gd name="connsiteY152" fmla="*/ 9691 h 10000"/>
              <a:gd name="connsiteX153" fmla="*/ 1544 w 9876"/>
              <a:gd name="connsiteY153" fmla="*/ 9691 h 10000"/>
              <a:gd name="connsiteX154" fmla="*/ 1667 w 9876"/>
              <a:gd name="connsiteY154" fmla="*/ 9768 h 10000"/>
              <a:gd name="connsiteX155" fmla="*/ 1790 w 9876"/>
              <a:gd name="connsiteY155" fmla="*/ 9768 h 10000"/>
              <a:gd name="connsiteX156" fmla="*/ 1913 w 9876"/>
              <a:gd name="connsiteY156" fmla="*/ 9923 h 10000"/>
              <a:gd name="connsiteX157" fmla="*/ 1975 w 9876"/>
              <a:gd name="connsiteY157" fmla="*/ 10000 h 10000"/>
              <a:gd name="connsiteX158" fmla="*/ 2033 w 9876"/>
              <a:gd name="connsiteY158" fmla="*/ 10000 h 10000"/>
              <a:gd name="connsiteX159" fmla="*/ 2099 w 9876"/>
              <a:gd name="connsiteY159" fmla="*/ 9923 h 10000"/>
              <a:gd name="connsiteX160" fmla="*/ 1975 w 9876"/>
              <a:gd name="connsiteY160" fmla="*/ 9768 h 10000"/>
              <a:gd name="connsiteX161" fmla="*/ 1975 w 9876"/>
              <a:gd name="connsiteY161" fmla="*/ 9613 h 10000"/>
              <a:gd name="connsiteX162" fmla="*/ 1913 w 9876"/>
              <a:gd name="connsiteY162" fmla="*/ 9457 h 10000"/>
              <a:gd name="connsiteX163" fmla="*/ 2033 w 9876"/>
              <a:gd name="connsiteY163" fmla="*/ 9225 h 10000"/>
              <a:gd name="connsiteX164" fmla="*/ 2099 w 9876"/>
              <a:gd name="connsiteY164" fmla="*/ 9302 h 10000"/>
              <a:gd name="connsiteX165" fmla="*/ 2160 w 9876"/>
              <a:gd name="connsiteY165" fmla="*/ 9225 h 10000"/>
              <a:gd name="connsiteX166" fmla="*/ 2160 w 9876"/>
              <a:gd name="connsiteY166" fmla="*/ 9147 h 10000"/>
              <a:gd name="connsiteX167" fmla="*/ 2099 w 9876"/>
              <a:gd name="connsiteY167" fmla="*/ 9147 h 10000"/>
              <a:gd name="connsiteX168" fmla="*/ 2160 w 9876"/>
              <a:gd name="connsiteY168" fmla="*/ 9070 h 10000"/>
              <a:gd name="connsiteX169" fmla="*/ 2099 w 9876"/>
              <a:gd name="connsiteY169" fmla="*/ 8915 h 10000"/>
              <a:gd name="connsiteX170" fmla="*/ 1975 w 9876"/>
              <a:gd name="connsiteY170" fmla="*/ 8915 h 10000"/>
              <a:gd name="connsiteX171" fmla="*/ 1913 w 9876"/>
              <a:gd name="connsiteY171" fmla="*/ 8760 h 10000"/>
              <a:gd name="connsiteX172" fmla="*/ 1975 w 9876"/>
              <a:gd name="connsiteY172" fmla="*/ 8372 h 10000"/>
              <a:gd name="connsiteX173" fmla="*/ 2099 w 9876"/>
              <a:gd name="connsiteY173" fmla="*/ 8528 h 10000"/>
              <a:gd name="connsiteX174" fmla="*/ 2160 w 9876"/>
              <a:gd name="connsiteY174" fmla="*/ 8528 h 10000"/>
              <a:gd name="connsiteX175" fmla="*/ 2099 w 9876"/>
              <a:gd name="connsiteY175" fmla="*/ 8372 h 10000"/>
              <a:gd name="connsiteX176" fmla="*/ 2284 w 9876"/>
              <a:gd name="connsiteY176" fmla="*/ 8140 h 10000"/>
              <a:gd name="connsiteX177" fmla="*/ 2410 w 9876"/>
              <a:gd name="connsiteY177" fmla="*/ 8217 h 10000"/>
              <a:gd name="connsiteX178" fmla="*/ 2469 w 9876"/>
              <a:gd name="connsiteY178" fmla="*/ 8140 h 10000"/>
              <a:gd name="connsiteX179" fmla="*/ 2589 w 9876"/>
              <a:gd name="connsiteY179" fmla="*/ 8217 h 10000"/>
              <a:gd name="connsiteX180" fmla="*/ 2780 w 9876"/>
              <a:gd name="connsiteY180" fmla="*/ 8372 h 10000"/>
              <a:gd name="connsiteX181" fmla="*/ 2900 w 9876"/>
              <a:gd name="connsiteY181" fmla="*/ 8295 h 10000"/>
              <a:gd name="connsiteX182" fmla="*/ 3025 w 9876"/>
              <a:gd name="connsiteY182" fmla="*/ 8295 h 10000"/>
              <a:gd name="connsiteX183" fmla="*/ 3088 w 9876"/>
              <a:gd name="connsiteY183" fmla="*/ 8372 h 10000"/>
              <a:gd name="connsiteX184" fmla="*/ 3334 w 9876"/>
              <a:gd name="connsiteY184" fmla="*/ 8372 h 10000"/>
              <a:gd name="connsiteX185" fmla="*/ 3393 w 9876"/>
              <a:gd name="connsiteY185" fmla="*/ 8217 h 10000"/>
              <a:gd name="connsiteX186" fmla="*/ 3206 w 9876"/>
              <a:gd name="connsiteY186" fmla="*/ 8140 h 10000"/>
              <a:gd name="connsiteX187" fmla="*/ 3334 w 9876"/>
              <a:gd name="connsiteY187" fmla="*/ 8062 h 10000"/>
              <a:gd name="connsiteX188" fmla="*/ 3268 w 9876"/>
              <a:gd name="connsiteY188" fmla="*/ 7985 h 10000"/>
              <a:gd name="connsiteX189" fmla="*/ 3334 w 9876"/>
              <a:gd name="connsiteY189" fmla="*/ 7907 h 10000"/>
              <a:gd name="connsiteX190" fmla="*/ 3334 w 9876"/>
              <a:gd name="connsiteY190" fmla="*/ 7675 h 10000"/>
              <a:gd name="connsiteX191" fmla="*/ 3454 w 9876"/>
              <a:gd name="connsiteY191" fmla="*/ 7752 h 10000"/>
              <a:gd name="connsiteX192" fmla="*/ 4011 w 9876"/>
              <a:gd name="connsiteY192" fmla="*/ 7520 h 10000"/>
              <a:gd name="connsiteX193" fmla="*/ 4011 w 9876"/>
              <a:gd name="connsiteY193" fmla="*/ 7442 h 10000"/>
              <a:gd name="connsiteX194" fmla="*/ 4075 w 9876"/>
              <a:gd name="connsiteY194" fmla="*/ 7442 h 10000"/>
              <a:gd name="connsiteX195" fmla="*/ 4254 w 9876"/>
              <a:gd name="connsiteY195" fmla="*/ 7442 h 10000"/>
              <a:gd name="connsiteX196" fmla="*/ 4322 w 9876"/>
              <a:gd name="connsiteY196" fmla="*/ 7598 h 10000"/>
              <a:gd name="connsiteX197" fmla="*/ 4322 w 9876"/>
              <a:gd name="connsiteY197" fmla="*/ 7675 h 10000"/>
              <a:gd name="connsiteX198" fmla="*/ 4380 w 9876"/>
              <a:gd name="connsiteY198" fmla="*/ 7675 h 10000"/>
              <a:gd name="connsiteX199" fmla="*/ 4504 w 9876"/>
              <a:gd name="connsiteY199" fmla="*/ 7752 h 10000"/>
              <a:gd name="connsiteX200" fmla="*/ 4504 w 9876"/>
              <a:gd name="connsiteY200" fmla="*/ 7830 h 10000"/>
              <a:gd name="connsiteX201" fmla="*/ 4628 w 9876"/>
              <a:gd name="connsiteY201" fmla="*/ 7830 h 10000"/>
              <a:gd name="connsiteX202" fmla="*/ 4750 w 9876"/>
              <a:gd name="connsiteY202" fmla="*/ 7675 h 10000"/>
              <a:gd name="connsiteX203" fmla="*/ 4874 w 9876"/>
              <a:gd name="connsiteY203" fmla="*/ 7598 h 10000"/>
              <a:gd name="connsiteX204" fmla="*/ 4944 w 9876"/>
              <a:gd name="connsiteY204" fmla="*/ 7830 h 10000"/>
              <a:gd name="connsiteX205" fmla="*/ 5185 w 9876"/>
              <a:gd name="connsiteY205" fmla="*/ 8372 h 10000"/>
              <a:gd name="connsiteX206" fmla="*/ 5248 w 9876"/>
              <a:gd name="connsiteY206" fmla="*/ 8217 h 10000"/>
              <a:gd name="connsiteX207" fmla="*/ 5309 w 9876"/>
              <a:gd name="connsiteY207" fmla="*/ 8372 h 10000"/>
              <a:gd name="connsiteX208" fmla="*/ 5494 w 9876"/>
              <a:gd name="connsiteY208" fmla="*/ 8295 h 10000"/>
              <a:gd name="connsiteX209" fmla="*/ 5681 w 9876"/>
              <a:gd name="connsiteY209" fmla="*/ 8528 h 10000"/>
              <a:gd name="connsiteX210" fmla="*/ 5800 w 9876"/>
              <a:gd name="connsiteY210" fmla="*/ 8605 h 10000"/>
              <a:gd name="connsiteX211" fmla="*/ 5800 w 9876"/>
              <a:gd name="connsiteY211" fmla="*/ 8528 h 10000"/>
              <a:gd name="connsiteX212" fmla="*/ 5865 w 9876"/>
              <a:gd name="connsiteY212" fmla="*/ 8683 h 10000"/>
              <a:gd name="connsiteX213" fmla="*/ 5800 w 9876"/>
              <a:gd name="connsiteY213" fmla="*/ 8760 h 10000"/>
              <a:gd name="connsiteX214" fmla="*/ 5927 w 9876"/>
              <a:gd name="connsiteY214" fmla="*/ 8683 h 10000"/>
              <a:gd name="connsiteX215" fmla="*/ 5985 w 9876"/>
              <a:gd name="connsiteY215" fmla="*/ 8605 h 10000"/>
              <a:gd name="connsiteX216" fmla="*/ 6293 w 9876"/>
              <a:gd name="connsiteY216" fmla="*/ 8372 h 10000"/>
              <a:gd name="connsiteX217" fmla="*/ 6543 w 9876"/>
              <a:gd name="connsiteY217" fmla="*/ 8449 h 10000"/>
              <a:gd name="connsiteX218" fmla="*/ 6663 w 9876"/>
              <a:gd name="connsiteY218" fmla="*/ 8528 h 10000"/>
              <a:gd name="connsiteX219" fmla="*/ 6910 w 9876"/>
              <a:gd name="connsiteY219" fmla="*/ 8528 h 10000"/>
              <a:gd name="connsiteX220" fmla="*/ 6910 w 9876"/>
              <a:gd name="connsiteY220" fmla="*/ 8372 h 10000"/>
              <a:gd name="connsiteX221" fmla="*/ 6910 w 9876"/>
              <a:gd name="connsiteY221" fmla="*/ 8217 h 10000"/>
              <a:gd name="connsiteX222" fmla="*/ 7035 w 9876"/>
              <a:gd name="connsiteY222" fmla="*/ 8140 h 10000"/>
              <a:gd name="connsiteX223" fmla="*/ 7278 w 9876"/>
              <a:gd name="connsiteY223" fmla="*/ 8217 h 10000"/>
              <a:gd name="connsiteX224" fmla="*/ 7406 w 9876"/>
              <a:gd name="connsiteY224" fmla="*/ 8449 h 10000"/>
              <a:gd name="connsiteX225" fmla="*/ 7468 w 9876"/>
              <a:gd name="connsiteY225" fmla="*/ 8449 h 10000"/>
              <a:gd name="connsiteX226" fmla="*/ 7592 w 9876"/>
              <a:gd name="connsiteY226" fmla="*/ 8372 h 10000"/>
              <a:gd name="connsiteX227" fmla="*/ 7965 w 9876"/>
              <a:gd name="connsiteY227" fmla="*/ 8605 h 10000"/>
              <a:gd name="connsiteX228" fmla="*/ 8148 w 9876"/>
              <a:gd name="connsiteY228" fmla="*/ 8683 h 10000"/>
              <a:gd name="connsiteX229" fmla="*/ 8393 w 9876"/>
              <a:gd name="connsiteY229" fmla="*/ 8605 h 10000"/>
              <a:gd name="connsiteX230" fmla="*/ 8518 w 9876"/>
              <a:gd name="connsiteY230" fmla="*/ 8449 h 10000"/>
              <a:gd name="connsiteX231" fmla="*/ 8703 w 9876"/>
              <a:gd name="connsiteY231" fmla="*/ 8528 h 10000"/>
              <a:gd name="connsiteX232" fmla="*/ 8825 w 9876"/>
              <a:gd name="connsiteY232" fmla="*/ 8605 h 10000"/>
              <a:gd name="connsiteX233" fmla="*/ 9876 w 9876"/>
              <a:gd name="connsiteY233" fmla="*/ 2170 h 10000"/>
              <a:gd name="connsiteX234" fmla="*/ 9505 w 9876"/>
              <a:gd name="connsiteY234" fmla="*/ 2016 h 10000"/>
              <a:gd name="connsiteX235" fmla="*/ 9377 w 9876"/>
              <a:gd name="connsiteY235" fmla="*/ 2016 h 10000"/>
              <a:gd name="connsiteX236" fmla="*/ 9320 w 9876"/>
              <a:gd name="connsiteY236" fmla="*/ 2170 h 10000"/>
              <a:gd name="connsiteX237" fmla="*/ 9377 w 9876"/>
              <a:gd name="connsiteY237" fmla="*/ 2325 h 10000"/>
              <a:gd name="connsiteX238" fmla="*/ 8893 w 9876"/>
              <a:gd name="connsiteY238" fmla="*/ 2248 h 10000"/>
              <a:gd name="connsiteX239" fmla="*/ 8949 w 9876"/>
              <a:gd name="connsiteY239" fmla="*/ 2016 h 10000"/>
              <a:gd name="connsiteX240" fmla="*/ 8641 w 9876"/>
              <a:gd name="connsiteY240" fmla="*/ 1938 h 10000"/>
              <a:gd name="connsiteX241" fmla="*/ 8455 w 9876"/>
              <a:gd name="connsiteY241" fmla="*/ 2093 h 10000"/>
              <a:gd name="connsiteX242" fmla="*/ 8095 w 9876"/>
              <a:gd name="connsiteY242" fmla="*/ 1861 h 10000"/>
              <a:gd name="connsiteX0" fmla="*/ 8197 w 9624"/>
              <a:gd name="connsiteY0" fmla="*/ 1861 h 10000"/>
              <a:gd name="connsiteX1" fmla="*/ 8197 w 9624"/>
              <a:gd name="connsiteY1" fmla="*/ 1861 h 10000"/>
              <a:gd name="connsiteX2" fmla="*/ 8125 w 9624"/>
              <a:gd name="connsiteY2" fmla="*/ 1938 h 10000"/>
              <a:gd name="connsiteX3" fmla="*/ 8197 w 9624"/>
              <a:gd name="connsiteY3" fmla="*/ 2093 h 10000"/>
              <a:gd name="connsiteX4" fmla="*/ 7936 w 9624"/>
              <a:gd name="connsiteY4" fmla="*/ 2248 h 10000"/>
              <a:gd name="connsiteX5" fmla="*/ 7871 w 9624"/>
              <a:gd name="connsiteY5" fmla="*/ 2248 h 10000"/>
              <a:gd name="connsiteX6" fmla="*/ 7936 w 9624"/>
              <a:gd name="connsiteY6" fmla="*/ 2016 h 10000"/>
              <a:gd name="connsiteX7" fmla="*/ 8561 w 9624"/>
              <a:gd name="connsiteY7" fmla="*/ 1318 h 10000"/>
              <a:gd name="connsiteX8" fmla="*/ 8561 w 9624"/>
              <a:gd name="connsiteY8" fmla="*/ 853 h 10000"/>
              <a:gd name="connsiteX9" fmla="*/ 8315 w 9624"/>
              <a:gd name="connsiteY9" fmla="*/ 543 h 10000"/>
              <a:gd name="connsiteX10" fmla="*/ 7999 w 9624"/>
              <a:gd name="connsiteY10" fmla="*/ 543 h 10000"/>
              <a:gd name="connsiteX11" fmla="*/ 7999 w 9624"/>
              <a:gd name="connsiteY11" fmla="*/ 698 h 10000"/>
              <a:gd name="connsiteX12" fmla="*/ 7808 w 9624"/>
              <a:gd name="connsiteY12" fmla="*/ 698 h 10000"/>
              <a:gd name="connsiteX13" fmla="*/ 7936 w 9624"/>
              <a:gd name="connsiteY13" fmla="*/ 387 h 10000"/>
              <a:gd name="connsiteX14" fmla="*/ 7627 w 9624"/>
              <a:gd name="connsiteY14" fmla="*/ 310 h 10000"/>
              <a:gd name="connsiteX15" fmla="*/ 7808 w 9624"/>
              <a:gd name="connsiteY15" fmla="*/ 155 h 10000"/>
              <a:gd name="connsiteX16" fmla="*/ 7627 w 9624"/>
              <a:gd name="connsiteY16" fmla="*/ 0 h 10000"/>
              <a:gd name="connsiteX17" fmla="*/ 7313 w 9624"/>
              <a:gd name="connsiteY17" fmla="*/ 387 h 10000"/>
              <a:gd name="connsiteX18" fmla="*/ 7313 w 9624"/>
              <a:gd name="connsiteY18" fmla="*/ 698 h 10000"/>
              <a:gd name="connsiteX19" fmla="*/ 7123 w 9624"/>
              <a:gd name="connsiteY19" fmla="*/ 698 h 10000"/>
              <a:gd name="connsiteX20" fmla="*/ 6563 w 9624"/>
              <a:gd name="connsiteY20" fmla="*/ 853 h 10000"/>
              <a:gd name="connsiteX21" fmla="*/ 6060 w 9624"/>
              <a:gd name="connsiteY21" fmla="*/ 1240 h 10000"/>
              <a:gd name="connsiteX22" fmla="*/ 5873 w 9624"/>
              <a:gd name="connsiteY22" fmla="*/ 1551 h 10000"/>
              <a:gd name="connsiteX23" fmla="*/ 5939 w 9624"/>
              <a:gd name="connsiteY23" fmla="*/ 1938 h 10000"/>
              <a:gd name="connsiteX24" fmla="*/ 5250 w 9624"/>
              <a:gd name="connsiteY24" fmla="*/ 2093 h 10000"/>
              <a:gd name="connsiteX25" fmla="*/ 5314 w 9624"/>
              <a:gd name="connsiteY25" fmla="*/ 2559 h 10000"/>
              <a:gd name="connsiteX26" fmla="*/ 5500 w 9624"/>
              <a:gd name="connsiteY26" fmla="*/ 2791 h 10000"/>
              <a:gd name="connsiteX27" fmla="*/ 5376 w 9624"/>
              <a:gd name="connsiteY27" fmla="*/ 2868 h 10000"/>
              <a:gd name="connsiteX28" fmla="*/ 5190 w 9624"/>
              <a:gd name="connsiteY28" fmla="*/ 2559 h 10000"/>
              <a:gd name="connsiteX29" fmla="*/ 5006 w 9624"/>
              <a:gd name="connsiteY29" fmla="*/ 2480 h 10000"/>
              <a:gd name="connsiteX30" fmla="*/ 4935 w 9624"/>
              <a:gd name="connsiteY30" fmla="*/ 2559 h 10000"/>
              <a:gd name="connsiteX31" fmla="*/ 4810 w 9624"/>
              <a:gd name="connsiteY31" fmla="*/ 2403 h 10000"/>
              <a:gd name="connsiteX32" fmla="*/ 4686 w 9624"/>
              <a:gd name="connsiteY32" fmla="*/ 2248 h 10000"/>
              <a:gd name="connsiteX33" fmla="*/ 4686 w 9624"/>
              <a:gd name="connsiteY33" fmla="*/ 2325 h 10000"/>
              <a:gd name="connsiteX34" fmla="*/ 4755 w 9624"/>
              <a:gd name="connsiteY34" fmla="*/ 2559 h 10000"/>
              <a:gd name="connsiteX35" fmla="*/ 4561 w 9624"/>
              <a:gd name="connsiteY35" fmla="*/ 2946 h 10000"/>
              <a:gd name="connsiteX36" fmla="*/ 4686 w 9624"/>
              <a:gd name="connsiteY36" fmla="*/ 3256 h 10000"/>
              <a:gd name="connsiteX37" fmla="*/ 4623 w 9624"/>
              <a:gd name="connsiteY37" fmla="*/ 3566 h 10000"/>
              <a:gd name="connsiteX38" fmla="*/ 4623 w 9624"/>
              <a:gd name="connsiteY38" fmla="*/ 3799 h 10000"/>
              <a:gd name="connsiteX39" fmla="*/ 4810 w 9624"/>
              <a:gd name="connsiteY39" fmla="*/ 3799 h 10000"/>
              <a:gd name="connsiteX40" fmla="*/ 4686 w 9624"/>
              <a:gd name="connsiteY40" fmla="*/ 3876 h 10000"/>
              <a:gd name="connsiteX41" fmla="*/ 4755 w 9624"/>
              <a:gd name="connsiteY41" fmla="*/ 4263 h 10000"/>
              <a:gd name="connsiteX42" fmla="*/ 4376 w 9624"/>
              <a:gd name="connsiteY42" fmla="*/ 4652 h 10000"/>
              <a:gd name="connsiteX43" fmla="*/ 4307 w 9624"/>
              <a:gd name="connsiteY43" fmla="*/ 4574 h 10000"/>
              <a:gd name="connsiteX44" fmla="*/ 4561 w 9624"/>
              <a:gd name="connsiteY44" fmla="*/ 4186 h 10000"/>
              <a:gd name="connsiteX45" fmla="*/ 4623 w 9624"/>
              <a:gd name="connsiteY45" fmla="*/ 3954 h 10000"/>
              <a:gd name="connsiteX46" fmla="*/ 4492 w 9624"/>
              <a:gd name="connsiteY46" fmla="*/ 3799 h 10000"/>
              <a:gd name="connsiteX47" fmla="*/ 4492 w 9624"/>
              <a:gd name="connsiteY47" fmla="*/ 3023 h 10000"/>
              <a:gd name="connsiteX48" fmla="*/ 4435 w 9624"/>
              <a:gd name="connsiteY48" fmla="*/ 2868 h 10000"/>
              <a:gd name="connsiteX49" fmla="*/ 4492 w 9624"/>
              <a:gd name="connsiteY49" fmla="*/ 2403 h 10000"/>
              <a:gd name="connsiteX50" fmla="*/ 4376 w 9624"/>
              <a:gd name="connsiteY50" fmla="*/ 2325 h 10000"/>
              <a:gd name="connsiteX51" fmla="*/ 4435 w 9624"/>
              <a:gd name="connsiteY51" fmla="*/ 2248 h 10000"/>
              <a:gd name="connsiteX52" fmla="*/ 4376 w 9624"/>
              <a:gd name="connsiteY52" fmla="*/ 2093 h 10000"/>
              <a:gd name="connsiteX53" fmla="*/ 4246 w 9624"/>
              <a:gd name="connsiteY53" fmla="*/ 2170 h 10000"/>
              <a:gd name="connsiteX54" fmla="*/ 3937 w 9624"/>
              <a:gd name="connsiteY54" fmla="*/ 3178 h 10000"/>
              <a:gd name="connsiteX55" fmla="*/ 3937 w 9624"/>
              <a:gd name="connsiteY55" fmla="*/ 3566 h 10000"/>
              <a:gd name="connsiteX56" fmla="*/ 4126 w 9624"/>
              <a:gd name="connsiteY56" fmla="*/ 3876 h 10000"/>
              <a:gd name="connsiteX57" fmla="*/ 4126 w 9624"/>
              <a:gd name="connsiteY57" fmla="*/ 4031 h 10000"/>
              <a:gd name="connsiteX58" fmla="*/ 3937 w 9624"/>
              <a:gd name="connsiteY58" fmla="*/ 3876 h 10000"/>
              <a:gd name="connsiteX59" fmla="*/ 3191 w 9624"/>
              <a:gd name="connsiteY59" fmla="*/ 3256 h 10000"/>
              <a:gd name="connsiteX60" fmla="*/ 3127 w 9624"/>
              <a:gd name="connsiteY60" fmla="*/ 3411 h 10000"/>
              <a:gd name="connsiteX61" fmla="*/ 3376 w 9624"/>
              <a:gd name="connsiteY61" fmla="*/ 3799 h 10000"/>
              <a:gd name="connsiteX62" fmla="*/ 3246 w 9624"/>
              <a:gd name="connsiteY62" fmla="*/ 3876 h 10000"/>
              <a:gd name="connsiteX63" fmla="*/ 3191 w 9624"/>
              <a:gd name="connsiteY63" fmla="*/ 3799 h 10000"/>
              <a:gd name="connsiteX64" fmla="*/ 2815 w 9624"/>
              <a:gd name="connsiteY64" fmla="*/ 3954 h 10000"/>
              <a:gd name="connsiteX65" fmla="*/ 2752 w 9624"/>
              <a:gd name="connsiteY65" fmla="*/ 4109 h 10000"/>
              <a:gd name="connsiteX66" fmla="*/ 2689 w 9624"/>
              <a:gd name="connsiteY66" fmla="*/ 3954 h 10000"/>
              <a:gd name="connsiteX67" fmla="*/ 2689 w 9624"/>
              <a:gd name="connsiteY67" fmla="*/ 3799 h 10000"/>
              <a:gd name="connsiteX68" fmla="*/ 2059 w 9624"/>
              <a:gd name="connsiteY68" fmla="*/ 4263 h 10000"/>
              <a:gd name="connsiteX69" fmla="*/ 2059 w 9624"/>
              <a:gd name="connsiteY69" fmla="*/ 4418 h 10000"/>
              <a:gd name="connsiteX70" fmla="*/ 1937 w 9624"/>
              <a:gd name="connsiteY70" fmla="*/ 4496 h 10000"/>
              <a:gd name="connsiteX71" fmla="*/ 1751 w 9624"/>
              <a:gd name="connsiteY71" fmla="*/ 4341 h 10000"/>
              <a:gd name="connsiteX72" fmla="*/ 1937 w 9624"/>
              <a:gd name="connsiteY72" fmla="*/ 4186 h 10000"/>
              <a:gd name="connsiteX73" fmla="*/ 1873 w 9624"/>
              <a:gd name="connsiteY73" fmla="*/ 3954 h 10000"/>
              <a:gd name="connsiteX74" fmla="*/ 1625 w 9624"/>
              <a:gd name="connsiteY74" fmla="*/ 3876 h 10000"/>
              <a:gd name="connsiteX75" fmla="*/ 1688 w 9624"/>
              <a:gd name="connsiteY75" fmla="*/ 4031 h 10000"/>
              <a:gd name="connsiteX76" fmla="*/ 1688 w 9624"/>
              <a:gd name="connsiteY76" fmla="*/ 4418 h 10000"/>
              <a:gd name="connsiteX77" fmla="*/ 1751 w 9624"/>
              <a:gd name="connsiteY77" fmla="*/ 4574 h 10000"/>
              <a:gd name="connsiteX78" fmla="*/ 1688 w 9624"/>
              <a:gd name="connsiteY78" fmla="*/ 4729 h 10000"/>
              <a:gd name="connsiteX79" fmla="*/ 1497 w 9624"/>
              <a:gd name="connsiteY79" fmla="*/ 4652 h 10000"/>
              <a:gd name="connsiteX80" fmla="*/ 1251 w 9624"/>
              <a:gd name="connsiteY80" fmla="*/ 4884 h 10000"/>
              <a:gd name="connsiteX81" fmla="*/ 1372 w 9624"/>
              <a:gd name="connsiteY81" fmla="*/ 5194 h 10000"/>
              <a:gd name="connsiteX82" fmla="*/ 998 w 9624"/>
              <a:gd name="connsiteY82" fmla="*/ 5039 h 10000"/>
              <a:gd name="connsiteX83" fmla="*/ 938 w 9624"/>
              <a:gd name="connsiteY83" fmla="*/ 5116 h 10000"/>
              <a:gd name="connsiteX84" fmla="*/ 1064 w 9624"/>
              <a:gd name="connsiteY84" fmla="*/ 5349 h 10000"/>
              <a:gd name="connsiteX85" fmla="*/ 938 w 9624"/>
              <a:gd name="connsiteY85" fmla="*/ 5349 h 10000"/>
              <a:gd name="connsiteX86" fmla="*/ 752 w 9624"/>
              <a:gd name="connsiteY86" fmla="*/ 5194 h 10000"/>
              <a:gd name="connsiteX87" fmla="*/ 752 w 9624"/>
              <a:gd name="connsiteY87" fmla="*/ 4729 h 10000"/>
              <a:gd name="connsiteX88" fmla="*/ 565 w 9624"/>
              <a:gd name="connsiteY88" fmla="*/ 4574 h 10000"/>
              <a:gd name="connsiteX89" fmla="*/ 499 w 9624"/>
              <a:gd name="connsiteY89" fmla="*/ 4418 h 10000"/>
              <a:gd name="connsiteX90" fmla="*/ 623 w 9624"/>
              <a:gd name="connsiteY90" fmla="*/ 4496 h 10000"/>
              <a:gd name="connsiteX91" fmla="*/ 1121 w 9624"/>
              <a:gd name="connsiteY91" fmla="*/ 4729 h 10000"/>
              <a:gd name="connsiteX92" fmla="*/ 1431 w 9624"/>
              <a:gd name="connsiteY92" fmla="*/ 4496 h 10000"/>
              <a:gd name="connsiteX93" fmla="*/ 1372 w 9624"/>
              <a:gd name="connsiteY93" fmla="*/ 4263 h 10000"/>
              <a:gd name="connsiteX94" fmla="*/ 998 w 9624"/>
              <a:gd name="connsiteY94" fmla="*/ 3799 h 10000"/>
              <a:gd name="connsiteX95" fmla="*/ 623 w 9624"/>
              <a:gd name="connsiteY95" fmla="*/ 3644 h 10000"/>
              <a:gd name="connsiteX96" fmla="*/ 623 w 9624"/>
              <a:gd name="connsiteY96" fmla="*/ 3566 h 10000"/>
              <a:gd name="connsiteX97" fmla="*/ 499 w 9624"/>
              <a:gd name="connsiteY97" fmla="*/ 3488 h 10000"/>
              <a:gd name="connsiteX98" fmla="*/ 372 w 9624"/>
              <a:gd name="connsiteY98" fmla="*/ 3566 h 10000"/>
              <a:gd name="connsiteX99" fmla="*/ 372 w 9624"/>
              <a:gd name="connsiteY99" fmla="*/ 3644 h 10000"/>
              <a:gd name="connsiteX100" fmla="*/ 311 w 9624"/>
              <a:gd name="connsiteY100" fmla="*/ 3644 h 10000"/>
              <a:gd name="connsiteX101" fmla="*/ 188 w 9624"/>
              <a:gd name="connsiteY101" fmla="*/ 3799 h 10000"/>
              <a:gd name="connsiteX102" fmla="*/ 188 w 9624"/>
              <a:gd name="connsiteY102" fmla="*/ 4031 h 10000"/>
              <a:gd name="connsiteX103" fmla="*/ 311 w 9624"/>
              <a:gd name="connsiteY103" fmla="*/ 4186 h 10000"/>
              <a:gd name="connsiteX104" fmla="*/ 251 w 9624"/>
              <a:gd name="connsiteY104" fmla="*/ 4418 h 10000"/>
              <a:gd name="connsiteX105" fmla="*/ 311 w 9624"/>
              <a:gd name="connsiteY105" fmla="*/ 4807 h 10000"/>
              <a:gd name="connsiteX106" fmla="*/ 251 w 9624"/>
              <a:gd name="connsiteY106" fmla="*/ 5039 h 10000"/>
              <a:gd name="connsiteX107" fmla="*/ 372 w 9624"/>
              <a:gd name="connsiteY107" fmla="*/ 5271 h 10000"/>
              <a:gd name="connsiteX108" fmla="*/ 311 w 9624"/>
              <a:gd name="connsiteY108" fmla="*/ 5426 h 10000"/>
              <a:gd name="connsiteX109" fmla="*/ 435 w 9624"/>
              <a:gd name="connsiteY109" fmla="*/ 5582 h 10000"/>
              <a:gd name="connsiteX110" fmla="*/ 435 w 9624"/>
              <a:gd name="connsiteY110" fmla="*/ 5659 h 10000"/>
              <a:gd name="connsiteX111" fmla="*/ 251 w 9624"/>
              <a:gd name="connsiteY111" fmla="*/ 6047 h 10000"/>
              <a:gd name="connsiteX112" fmla="*/ 57 w 9624"/>
              <a:gd name="connsiteY112" fmla="*/ 6202 h 10000"/>
              <a:gd name="connsiteX113" fmla="*/ 123 w 9624"/>
              <a:gd name="connsiteY113" fmla="*/ 6202 h 10000"/>
              <a:gd name="connsiteX114" fmla="*/ 251 w 9624"/>
              <a:gd name="connsiteY114" fmla="*/ 6356 h 10000"/>
              <a:gd name="connsiteX115" fmla="*/ 123 w 9624"/>
              <a:gd name="connsiteY115" fmla="*/ 6512 h 10000"/>
              <a:gd name="connsiteX116" fmla="*/ 57 w 9624"/>
              <a:gd name="connsiteY116" fmla="*/ 6590 h 10000"/>
              <a:gd name="connsiteX117" fmla="*/ 0 w 9624"/>
              <a:gd name="connsiteY117" fmla="*/ 6590 h 10000"/>
              <a:gd name="connsiteX118" fmla="*/ 57 w 9624"/>
              <a:gd name="connsiteY118" fmla="*/ 6822 h 10000"/>
              <a:gd name="connsiteX119" fmla="*/ 57 w 9624"/>
              <a:gd name="connsiteY119" fmla="*/ 6900 h 10000"/>
              <a:gd name="connsiteX120" fmla="*/ 57 w 9624"/>
              <a:gd name="connsiteY120" fmla="*/ 6977 h 10000"/>
              <a:gd name="connsiteX121" fmla="*/ 57 w 9624"/>
              <a:gd name="connsiteY121" fmla="*/ 7054 h 10000"/>
              <a:gd name="connsiteX122" fmla="*/ 123 w 9624"/>
              <a:gd name="connsiteY122" fmla="*/ 7209 h 10000"/>
              <a:gd name="connsiteX123" fmla="*/ 311 w 9624"/>
              <a:gd name="connsiteY123" fmla="*/ 7287 h 10000"/>
              <a:gd name="connsiteX124" fmla="*/ 372 w 9624"/>
              <a:gd name="connsiteY124" fmla="*/ 7364 h 10000"/>
              <a:gd name="connsiteX125" fmla="*/ 372 w 9624"/>
              <a:gd name="connsiteY125" fmla="*/ 7520 h 10000"/>
              <a:gd name="connsiteX126" fmla="*/ 499 w 9624"/>
              <a:gd name="connsiteY126" fmla="*/ 7752 h 10000"/>
              <a:gd name="connsiteX127" fmla="*/ 565 w 9624"/>
              <a:gd name="connsiteY127" fmla="*/ 7752 h 10000"/>
              <a:gd name="connsiteX128" fmla="*/ 499 w 9624"/>
              <a:gd name="connsiteY128" fmla="*/ 7907 h 10000"/>
              <a:gd name="connsiteX129" fmla="*/ 435 w 9624"/>
              <a:gd name="connsiteY129" fmla="*/ 7830 h 10000"/>
              <a:gd name="connsiteX130" fmla="*/ 435 w 9624"/>
              <a:gd name="connsiteY130" fmla="*/ 7907 h 10000"/>
              <a:gd name="connsiteX131" fmla="*/ 499 w 9624"/>
              <a:gd name="connsiteY131" fmla="*/ 8062 h 10000"/>
              <a:gd name="connsiteX132" fmla="*/ 690 w 9624"/>
              <a:gd name="connsiteY132" fmla="*/ 8062 h 10000"/>
              <a:gd name="connsiteX133" fmla="*/ 752 w 9624"/>
              <a:gd name="connsiteY133" fmla="*/ 8140 h 10000"/>
              <a:gd name="connsiteX134" fmla="*/ 690 w 9624"/>
              <a:gd name="connsiteY134" fmla="*/ 8140 h 10000"/>
              <a:gd name="connsiteX135" fmla="*/ 752 w 9624"/>
              <a:gd name="connsiteY135" fmla="*/ 8217 h 10000"/>
              <a:gd name="connsiteX136" fmla="*/ 811 w 9624"/>
              <a:gd name="connsiteY136" fmla="*/ 8217 h 10000"/>
              <a:gd name="connsiteX137" fmla="*/ 873 w 9624"/>
              <a:gd name="connsiteY137" fmla="*/ 8372 h 10000"/>
              <a:gd name="connsiteX138" fmla="*/ 938 w 9624"/>
              <a:gd name="connsiteY138" fmla="*/ 8449 h 10000"/>
              <a:gd name="connsiteX139" fmla="*/ 998 w 9624"/>
              <a:gd name="connsiteY139" fmla="*/ 8372 h 10000"/>
              <a:gd name="connsiteX140" fmla="*/ 1313 w 9624"/>
              <a:gd name="connsiteY140" fmla="*/ 8605 h 10000"/>
              <a:gd name="connsiteX141" fmla="*/ 1251 w 9624"/>
              <a:gd name="connsiteY141" fmla="*/ 8915 h 10000"/>
              <a:gd name="connsiteX142" fmla="*/ 1188 w 9624"/>
              <a:gd name="connsiteY142" fmla="*/ 8838 h 10000"/>
              <a:gd name="connsiteX143" fmla="*/ 1121 w 9624"/>
              <a:gd name="connsiteY143" fmla="*/ 8915 h 10000"/>
              <a:gd name="connsiteX144" fmla="*/ 1121 w 9624"/>
              <a:gd name="connsiteY144" fmla="*/ 9070 h 10000"/>
              <a:gd name="connsiteX145" fmla="*/ 1188 w 9624"/>
              <a:gd name="connsiteY145" fmla="*/ 8993 h 10000"/>
              <a:gd name="connsiteX146" fmla="*/ 1251 w 9624"/>
              <a:gd name="connsiteY146" fmla="*/ 9070 h 10000"/>
              <a:gd name="connsiteX147" fmla="*/ 1064 w 9624"/>
              <a:gd name="connsiteY147" fmla="*/ 9147 h 10000"/>
              <a:gd name="connsiteX148" fmla="*/ 1121 w 9624"/>
              <a:gd name="connsiteY148" fmla="*/ 9225 h 10000"/>
              <a:gd name="connsiteX149" fmla="*/ 998 w 9624"/>
              <a:gd name="connsiteY149" fmla="*/ 9380 h 10000"/>
              <a:gd name="connsiteX150" fmla="*/ 938 w 9624"/>
              <a:gd name="connsiteY150" fmla="*/ 9380 h 10000"/>
              <a:gd name="connsiteX151" fmla="*/ 998 w 9624"/>
              <a:gd name="connsiteY151" fmla="*/ 9380 h 10000"/>
              <a:gd name="connsiteX152" fmla="*/ 1251 w 9624"/>
              <a:gd name="connsiteY152" fmla="*/ 9691 h 10000"/>
              <a:gd name="connsiteX153" fmla="*/ 1563 w 9624"/>
              <a:gd name="connsiteY153" fmla="*/ 9691 h 10000"/>
              <a:gd name="connsiteX154" fmla="*/ 1688 w 9624"/>
              <a:gd name="connsiteY154" fmla="*/ 9768 h 10000"/>
              <a:gd name="connsiteX155" fmla="*/ 1812 w 9624"/>
              <a:gd name="connsiteY155" fmla="*/ 9768 h 10000"/>
              <a:gd name="connsiteX156" fmla="*/ 1937 w 9624"/>
              <a:gd name="connsiteY156" fmla="*/ 9923 h 10000"/>
              <a:gd name="connsiteX157" fmla="*/ 2000 w 9624"/>
              <a:gd name="connsiteY157" fmla="*/ 10000 h 10000"/>
              <a:gd name="connsiteX158" fmla="*/ 2059 w 9624"/>
              <a:gd name="connsiteY158" fmla="*/ 10000 h 10000"/>
              <a:gd name="connsiteX159" fmla="*/ 2125 w 9624"/>
              <a:gd name="connsiteY159" fmla="*/ 9923 h 10000"/>
              <a:gd name="connsiteX160" fmla="*/ 2000 w 9624"/>
              <a:gd name="connsiteY160" fmla="*/ 9768 h 10000"/>
              <a:gd name="connsiteX161" fmla="*/ 2000 w 9624"/>
              <a:gd name="connsiteY161" fmla="*/ 9613 h 10000"/>
              <a:gd name="connsiteX162" fmla="*/ 1937 w 9624"/>
              <a:gd name="connsiteY162" fmla="*/ 9457 h 10000"/>
              <a:gd name="connsiteX163" fmla="*/ 2059 w 9624"/>
              <a:gd name="connsiteY163" fmla="*/ 9225 h 10000"/>
              <a:gd name="connsiteX164" fmla="*/ 2125 w 9624"/>
              <a:gd name="connsiteY164" fmla="*/ 9302 h 10000"/>
              <a:gd name="connsiteX165" fmla="*/ 2187 w 9624"/>
              <a:gd name="connsiteY165" fmla="*/ 9225 h 10000"/>
              <a:gd name="connsiteX166" fmla="*/ 2187 w 9624"/>
              <a:gd name="connsiteY166" fmla="*/ 9147 h 10000"/>
              <a:gd name="connsiteX167" fmla="*/ 2125 w 9624"/>
              <a:gd name="connsiteY167" fmla="*/ 9147 h 10000"/>
              <a:gd name="connsiteX168" fmla="*/ 2187 w 9624"/>
              <a:gd name="connsiteY168" fmla="*/ 9070 h 10000"/>
              <a:gd name="connsiteX169" fmla="*/ 2125 w 9624"/>
              <a:gd name="connsiteY169" fmla="*/ 8915 h 10000"/>
              <a:gd name="connsiteX170" fmla="*/ 2000 w 9624"/>
              <a:gd name="connsiteY170" fmla="*/ 8915 h 10000"/>
              <a:gd name="connsiteX171" fmla="*/ 1937 w 9624"/>
              <a:gd name="connsiteY171" fmla="*/ 8760 h 10000"/>
              <a:gd name="connsiteX172" fmla="*/ 2000 w 9624"/>
              <a:gd name="connsiteY172" fmla="*/ 8372 h 10000"/>
              <a:gd name="connsiteX173" fmla="*/ 2125 w 9624"/>
              <a:gd name="connsiteY173" fmla="*/ 8528 h 10000"/>
              <a:gd name="connsiteX174" fmla="*/ 2187 w 9624"/>
              <a:gd name="connsiteY174" fmla="*/ 8528 h 10000"/>
              <a:gd name="connsiteX175" fmla="*/ 2125 w 9624"/>
              <a:gd name="connsiteY175" fmla="*/ 8372 h 10000"/>
              <a:gd name="connsiteX176" fmla="*/ 2313 w 9624"/>
              <a:gd name="connsiteY176" fmla="*/ 8140 h 10000"/>
              <a:gd name="connsiteX177" fmla="*/ 2440 w 9624"/>
              <a:gd name="connsiteY177" fmla="*/ 8217 h 10000"/>
              <a:gd name="connsiteX178" fmla="*/ 2500 w 9624"/>
              <a:gd name="connsiteY178" fmla="*/ 8140 h 10000"/>
              <a:gd name="connsiteX179" fmla="*/ 2622 w 9624"/>
              <a:gd name="connsiteY179" fmla="*/ 8217 h 10000"/>
              <a:gd name="connsiteX180" fmla="*/ 2815 w 9624"/>
              <a:gd name="connsiteY180" fmla="*/ 8372 h 10000"/>
              <a:gd name="connsiteX181" fmla="*/ 2936 w 9624"/>
              <a:gd name="connsiteY181" fmla="*/ 8295 h 10000"/>
              <a:gd name="connsiteX182" fmla="*/ 3063 w 9624"/>
              <a:gd name="connsiteY182" fmla="*/ 8295 h 10000"/>
              <a:gd name="connsiteX183" fmla="*/ 3127 w 9624"/>
              <a:gd name="connsiteY183" fmla="*/ 8372 h 10000"/>
              <a:gd name="connsiteX184" fmla="*/ 3376 w 9624"/>
              <a:gd name="connsiteY184" fmla="*/ 8372 h 10000"/>
              <a:gd name="connsiteX185" fmla="*/ 3436 w 9624"/>
              <a:gd name="connsiteY185" fmla="*/ 8217 h 10000"/>
              <a:gd name="connsiteX186" fmla="*/ 3246 w 9624"/>
              <a:gd name="connsiteY186" fmla="*/ 8140 h 10000"/>
              <a:gd name="connsiteX187" fmla="*/ 3376 w 9624"/>
              <a:gd name="connsiteY187" fmla="*/ 8062 h 10000"/>
              <a:gd name="connsiteX188" fmla="*/ 3309 w 9624"/>
              <a:gd name="connsiteY188" fmla="*/ 7985 h 10000"/>
              <a:gd name="connsiteX189" fmla="*/ 3376 w 9624"/>
              <a:gd name="connsiteY189" fmla="*/ 7907 h 10000"/>
              <a:gd name="connsiteX190" fmla="*/ 3376 w 9624"/>
              <a:gd name="connsiteY190" fmla="*/ 7675 h 10000"/>
              <a:gd name="connsiteX191" fmla="*/ 3497 w 9624"/>
              <a:gd name="connsiteY191" fmla="*/ 7752 h 10000"/>
              <a:gd name="connsiteX192" fmla="*/ 4061 w 9624"/>
              <a:gd name="connsiteY192" fmla="*/ 7520 h 10000"/>
              <a:gd name="connsiteX193" fmla="*/ 4061 w 9624"/>
              <a:gd name="connsiteY193" fmla="*/ 7442 h 10000"/>
              <a:gd name="connsiteX194" fmla="*/ 4126 w 9624"/>
              <a:gd name="connsiteY194" fmla="*/ 7442 h 10000"/>
              <a:gd name="connsiteX195" fmla="*/ 4307 w 9624"/>
              <a:gd name="connsiteY195" fmla="*/ 7442 h 10000"/>
              <a:gd name="connsiteX196" fmla="*/ 4376 w 9624"/>
              <a:gd name="connsiteY196" fmla="*/ 7598 h 10000"/>
              <a:gd name="connsiteX197" fmla="*/ 4376 w 9624"/>
              <a:gd name="connsiteY197" fmla="*/ 7675 h 10000"/>
              <a:gd name="connsiteX198" fmla="*/ 4435 w 9624"/>
              <a:gd name="connsiteY198" fmla="*/ 7675 h 10000"/>
              <a:gd name="connsiteX199" fmla="*/ 4561 w 9624"/>
              <a:gd name="connsiteY199" fmla="*/ 7752 h 10000"/>
              <a:gd name="connsiteX200" fmla="*/ 4561 w 9624"/>
              <a:gd name="connsiteY200" fmla="*/ 7830 h 10000"/>
              <a:gd name="connsiteX201" fmla="*/ 4686 w 9624"/>
              <a:gd name="connsiteY201" fmla="*/ 7830 h 10000"/>
              <a:gd name="connsiteX202" fmla="*/ 4810 w 9624"/>
              <a:gd name="connsiteY202" fmla="*/ 7675 h 10000"/>
              <a:gd name="connsiteX203" fmla="*/ 4935 w 9624"/>
              <a:gd name="connsiteY203" fmla="*/ 7598 h 10000"/>
              <a:gd name="connsiteX204" fmla="*/ 5006 w 9624"/>
              <a:gd name="connsiteY204" fmla="*/ 7830 h 10000"/>
              <a:gd name="connsiteX205" fmla="*/ 5250 w 9624"/>
              <a:gd name="connsiteY205" fmla="*/ 8372 h 10000"/>
              <a:gd name="connsiteX206" fmla="*/ 5314 w 9624"/>
              <a:gd name="connsiteY206" fmla="*/ 8217 h 10000"/>
              <a:gd name="connsiteX207" fmla="*/ 5376 w 9624"/>
              <a:gd name="connsiteY207" fmla="*/ 8372 h 10000"/>
              <a:gd name="connsiteX208" fmla="*/ 5563 w 9624"/>
              <a:gd name="connsiteY208" fmla="*/ 8295 h 10000"/>
              <a:gd name="connsiteX209" fmla="*/ 5752 w 9624"/>
              <a:gd name="connsiteY209" fmla="*/ 8528 h 10000"/>
              <a:gd name="connsiteX210" fmla="*/ 5873 w 9624"/>
              <a:gd name="connsiteY210" fmla="*/ 8605 h 10000"/>
              <a:gd name="connsiteX211" fmla="*/ 5873 w 9624"/>
              <a:gd name="connsiteY211" fmla="*/ 8528 h 10000"/>
              <a:gd name="connsiteX212" fmla="*/ 5939 w 9624"/>
              <a:gd name="connsiteY212" fmla="*/ 8683 h 10000"/>
              <a:gd name="connsiteX213" fmla="*/ 5873 w 9624"/>
              <a:gd name="connsiteY213" fmla="*/ 8760 h 10000"/>
              <a:gd name="connsiteX214" fmla="*/ 6001 w 9624"/>
              <a:gd name="connsiteY214" fmla="*/ 8683 h 10000"/>
              <a:gd name="connsiteX215" fmla="*/ 6060 w 9624"/>
              <a:gd name="connsiteY215" fmla="*/ 8605 h 10000"/>
              <a:gd name="connsiteX216" fmla="*/ 6372 w 9624"/>
              <a:gd name="connsiteY216" fmla="*/ 8372 h 10000"/>
              <a:gd name="connsiteX217" fmla="*/ 6625 w 9624"/>
              <a:gd name="connsiteY217" fmla="*/ 8449 h 10000"/>
              <a:gd name="connsiteX218" fmla="*/ 6747 w 9624"/>
              <a:gd name="connsiteY218" fmla="*/ 8528 h 10000"/>
              <a:gd name="connsiteX219" fmla="*/ 6997 w 9624"/>
              <a:gd name="connsiteY219" fmla="*/ 8528 h 10000"/>
              <a:gd name="connsiteX220" fmla="*/ 6997 w 9624"/>
              <a:gd name="connsiteY220" fmla="*/ 8372 h 10000"/>
              <a:gd name="connsiteX221" fmla="*/ 6997 w 9624"/>
              <a:gd name="connsiteY221" fmla="*/ 8217 h 10000"/>
              <a:gd name="connsiteX222" fmla="*/ 7123 w 9624"/>
              <a:gd name="connsiteY222" fmla="*/ 8140 h 10000"/>
              <a:gd name="connsiteX223" fmla="*/ 7369 w 9624"/>
              <a:gd name="connsiteY223" fmla="*/ 8217 h 10000"/>
              <a:gd name="connsiteX224" fmla="*/ 7499 w 9624"/>
              <a:gd name="connsiteY224" fmla="*/ 8449 h 10000"/>
              <a:gd name="connsiteX225" fmla="*/ 7562 w 9624"/>
              <a:gd name="connsiteY225" fmla="*/ 8449 h 10000"/>
              <a:gd name="connsiteX226" fmla="*/ 7687 w 9624"/>
              <a:gd name="connsiteY226" fmla="*/ 8372 h 10000"/>
              <a:gd name="connsiteX227" fmla="*/ 8065 w 9624"/>
              <a:gd name="connsiteY227" fmla="*/ 8605 h 10000"/>
              <a:gd name="connsiteX228" fmla="*/ 8250 w 9624"/>
              <a:gd name="connsiteY228" fmla="*/ 8683 h 10000"/>
              <a:gd name="connsiteX229" fmla="*/ 8498 w 9624"/>
              <a:gd name="connsiteY229" fmla="*/ 8605 h 10000"/>
              <a:gd name="connsiteX230" fmla="*/ 8625 w 9624"/>
              <a:gd name="connsiteY230" fmla="*/ 8449 h 10000"/>
              <a:gd name="connsiteX231" fmla="*/ 8812 w 9624"/>
              <a:gd name="connsiteY231" fmla="*/ 8528 h 10000"/>
              <a:gd name="connsiteX232" fmla="*/ 8936 w 9624"/>
              <a:gd name="connsiteY232" fmla="*/ 8605 h 10000"/>
              <a:gd name="connsiteX233" fmla="*/ 9624 w 9624"/>
              <a:gd name="connsiteY233" fmla="*/ 2016 h 10000"/>
              <a:gd name="connsiteX234" fmla="*/ 9495 w 9624"/>
              <a:gd name="connsiteY234" fmla="*/ 2016 h 10000"/>
              <a:gd name="connsiteX235" fmla="*/ 9437 w 9624"/>
              <a:gd name="connsiteY235" fmla="*/ 2170 h 10000"/>
              <a:gd name="connsiteX236" fmla="*/ 9495 w 9624"/>
              <a:gd name="connsiteY236" fmla="*/ 2325 h 10000"/>
              <a:gd name="connsiteX237" fmla="*/ 9005 w 9624"/>
              <a:gd name="connsiteY237" fmla="*/ 2248 h 10000"/>
              <a:gd name="connsiteX238" fmla="*/ 9061 w 9624"/>
              <a:gd name="connsiteY238" fmla="*/ 2016 h 10000"/>
              <a:gd name="connsiteX239" fmla="*/ 8749 w 9624"/>
              <a:gd name="connsiteY239" fmla="*/ 1938 h 10000"/>
              <a:gd name="connsiteX240" fmla="*/ 8561 w 9624"/>
              <a:gd name="connsiteY240" fmla="*/ 2093 h 10000"/>
              <a:gd name="connsiteX241" fmla="*/ 8197 w 9624"/>
              <a:gd name="connsiteY241" fmla="*/ 1861 h 10000"/>
              <a:gd name="connsiteX0" fmla="*/ 8517 w 9866"/>
              <a:gd name="connsiteY0" fmla="*/ 1861 h 10000"/>
              <a:gd name="connsiteX1" fmla="*/ 8517 w 9866"/>
              <a:gd name="connsiteY1" fmla="*/ 1861 h 10000"/>
              <a:gd name="connsiteX2" fmla="*/ 8442 w 9866"/>
              <a:gd name="connsiteY2" fmla="*/ 1938 h 10000"/>
              <a:gd name="connsiteX3" fmla="*/ 8517 w 9866"/>
              <a:gd name="connsiteY3" fmla="*/ 2093 h 10000"/>
              <a:gd name="connsiteX4" fmla="*/ 8246 w 9866"/>
              <a:gd name="connsiteY4" fmla="*/ 2248 h 10000"/>
              <a:gd name="connsiteX5" fmla="*/ 8179 w 9866"/>
              <a:gd name="connsiteY5" fmla="*/ 2248 h 10000"/>
              <a:gd name="connsiteX6" fmla="*/ 8246 w 9866"/>
              <a:gd name="connsiteY6" fmla="*/ 2016 h 10000"/>
              <a:gd name="connsiteX7" fmla="*/ 8895 w 9866"/>
              <a:gd name="connsiteY7" fmla="*/ 1318 h 10000"/>
              <a:gd name="connsiteX8" fmla="*/ 8895 w 9866"/>
              <a:gd name="connsiteY8" fmla="*/ 853 h 10000"/>
              <a:gd name="connsiteX9" fmla="*/ 8640 w 9866"/>
              <a:gd name="connsiteY9" fmla="*/ 543 h 10000"/>
              <a:gd name="connsiteX10" fmla="*/ 8312 w 9866"/>
              <a:gd name="connsiteY10" fmla="*/ 543 h 10000"/>
              <a:gd name="connsiteX11" fmla="*/ 8312 w 9866"/>
              <a:gd name="connsiteY11" fmla="*/ 698 h 10000"/>
              <a:gd name="connsiteX12" fmla="*/ 8113 w 9866"/>
              <a:gd name="connsiteY12" fmla="*/ 698 h 10000"/>
              <a:gd name="connsiteX13" fmla="*/ 8246 w 9866"/>
              <a:gd name="connsiteY13" fmla="*/ 387 h 10000"/>
              <a:gd name="connsiteX14" fmla="*/ 7925 w 9866"/>
              <a:gd name="connsiteY14" fmla="*/ 310 h 10000"/>
              <a:gd name="connsiteX15" fmla="*/ 8113 w 9866"/>
              <a:gd name="connsiteY15" fmla="*/ 155 h 10000"/>
              <a:gd name="connsiteX16" fmla="*/ 7925 w 9866"/>
              <a:gd name="connsiteY16" fmla="*/ 0 h 10000"/>
              <a:gd name="connsiteX17" fmla="*/ 7599 w 9866"/>
              <a:gd name="connsiteY17" fmla="*/ 387 h 10000"/>
              <a:gd name="connsiteX18" fmla="*/ 7599 w 9866"/>
              <a:gd name="connsiteY18" fmla="*/ 698 h 10000"/>
              <a:gd name="connsiteX19" fmla="*/ 7401 w 9866"/>
              <a:gd name="connsiteY19" fmla="*/ 698 h 10000"/>
              <a:gd name="connsiteX20" fmla="*/ 6819 w 9866"/>
              <a:gd name="connsiteY20" fmla="*/ 853 h 10000"/>
              <a:gd name="connsiteX21" fmla="*/ 6297 w 9866"/>
              <a:gd name="connsiteY21" fmla="*/ 1240 h 10000"/>
              <a:gd name="connsiteX22" fmla="*/ 6102 w 9866"/>
              <a:gd name="connsiteY22" fmla="*/ 1551 h 10000"/>
              <a:gd name="connsiteX23" fmla="*/ 6171 w 9866"/>
              <a:gd name="connsiteY23" fmla="*/ 1938 h 10000"/>
              <a:gd name="connsiteX24" fmla="*/ 5455 w 9866"/>
              <a:gd name="connsiteY24" fmla="*/ 2093 h 10000"/>
              <a:gd name="connsiteX25" fmla="*/ 5522 w 9866"/>
              <a:gd name="connsiteY25" fmla="*/ 2559 h 10000"/>
              <a:gd name="connsiteX26" fmla="*/ 5715 w 9866"/>
              <a:gd name="connsiteY26" fmla="*/ 2791 h 10000"/>
              <a:gd name="connsiteX27" fmla="*/ 5586 w 9866"/>
              <a:gd name="connsiteY27" fmla="*/ 2868 h 10000"/>
              <a:gd name="connsiteX28" fmla="*/ 5393 w 9866"/>
              <a:gd name="connsiteY28" fmla="*/ 2559 h 10000"/>
              <a:gd name="connsiteX29" fmla="*/ 5202 w 9866"/>
              <a:gd name="connsiteY29" fmla="*/ 2480 h 10000"/>
              <a:gd name="connsiteX30" fmla="*/ 5128 w 9866"/>
              <a:gd name="connsiteY30" fmla="*/ 2559 h 10000"/>
              <a:gd name="connsiteX31" fmla="*/ 4998 w 9866"/>
              <a:gd name="connsiteY31" fmla="*/ 2403 h 10000"/>
              <a:gd name="connsiteX32" fmla="*/ 4869 w 9866"/>
              <a:gd name="connsiteY32" fmla="*/ 2248 h 10000"/>
              <a:gd name="connsiteX33" fmla="*/ 4869 w 9866"/>
              <a:gd name="connsiteY33" fmla="*/ 2325 h 10000"/>
              <a:gd name="connsiteX34" fmla="*/ 4941 w 9866"/>
              <a:gd name="connsiteY34" fmla="*/ 2559 h 10000"/>
              <a:gd name="connsiteX35" fmla="*/ 4739 w 9866"/>
              <a:gd name="connsiteY35" fmla="*/ 2946 h 10000"/>
              <a:gd name="connsiteX36" fmla="*/ 4869 w 9866"/>
              <a:gd name="connsiteY36" fmla="*/ 3256 h 10000"/>
              <a:gd name="connsiteX37" fmla="*/ 4804 w 9866"/>
              <a:gd name="connsiteY37" fmla="*/ 3566 h 10000"/>
              <a:gd name="connsiteX38" fmla="*/ 4804 w 9866"/>
              <a:gd name="connsiteY38" fmla="*/ 3799 h 10000"/>
              <a:gd name="connsiteX39" fmla="*/ 4998 w 9866"/>
              <a:gd name="connsiteY39" fmla="*/ 3799 h 10000"/>
              <a:gd name="connsiteX40" fmla="*/ 4869 w 9866"/>
              <a:gd name="connsiteY40" fmla="*/ 3876 h 10000"/>
              <a:gd name="connsiteX41" fmla="*/ 4941 w 9866"/>
              <a:gd name="connsiteY41" fmla="*/ 4263 h 10000"/>
              <a:gd name="connsiteX42" fmla="*/ 4547 w 9866"/>
              <a:gd name="connsiteY42" fmla="*/ 4652 h 10000"/>
              <a:gd name="connsiteX43" fmla="*/ 4475 w 9866"/>
              <a:gd name="connsiteY43" fmla="*/ 4574 h 10000"/>
              <a:gd name="connsiteX44" fmla="*/ 4739 w 9866"/>
              <a:gd name="connsiteY44" fmla="*/ 4186 h 10000"/>
              <a:gd name="connsiteX45" fmla="*/ 4804 w 9866"/>
              <a:gd name="connsiteY45" fmla="*/ 3954 h 10000"/>
              <a:gd name="connsiteX46" fmla="*/ 4667 w 9866"/>
              <a:gd name="connsiteY46" fmla="*/ 3799 h 10000"/>
              <a:gd name="connsiteX47" fmla="*/ 4667 w 9866"/>
              <a:gd name="connsiteY47" fmla="*/ 3023 h 10000"/>
              <a:gd name="connsiteX48" fmla="*/ 4608 w 9866"/>
              <a:gd name="connsiteY48" fmla="*/ 2868 h 10000"/>
              <a:gd name="connsiteX49" fmla="*/ 4667 w 9866"/>
              <a:gd name="connsiteY49" fmla="*/ 2403 h 10000"/>
              <a:gd name="connsiteX50" fmla="*/ 4547 w 9866"/>
              <a:gd name="connsiteY50" fmla="*/ 2325 h 10000"/>
              <a:gd name="connsiteX51" fmla="*/ 4608 w 9866"/>
              <a:gd name="connsiteY51" fmla="*/ 2248 h 10000"/>
              <a:gd name="connsiteX52" fmla="*/ 4547 w 9866"/>
              <a:gd name="connsiteY52" fmla="*/ 2093 h 10000"/>
              <a:gd name="connsiteX53" fmla="*/ 4412 w 9866"/>
              <a:gd name="connsiteY53" fmla="*/ 2170 h 10000"/>
              <a:gd name="connsiteX54" fmla="*/ 4091 w 9866"/>
              <a:gd name="connsiteY54" fmla="*/ 3178 h 10000"/>
              <a:gd name="connsiteX55" fmla="*/ 4091 w 9866"/>
              <a:gd name="connsiteY55" fmla="*/ 3566 h 10000"/>
              <a:gd name="connsiteX56" fmla="*/ 4287 w 9866"/>
              <a:gd name="connsiteY56" fmla="*/ 3876 h 10000"/>
              <a:gd name="connsiteX57" fmla="*/ 4287 w 9866"/>
              <a:gd name="connsiteY57" fmla="*/ 4031 h 10000"/>
              <a:gd name="connsiteX58" fmla="*/ 4091 w 9866"/>
              <a:gd name="connsiteY58" fmla="*/ 3876 h 10000"/>
              <a:gd name="connsiteX59" fmla="*/ 3316 w 9866"/>
              <a:gd name="connsiteY59" fmla="*/ 3256 h 10000"/>
              <a:gd name="connsiteX60" fmla="*/ 3249 w 9866"/>
              <a:gd name="connsiteY60" fmla="*/ 3411 h 10000"/>
              <a:gd name="connsiteX61" fmla="*/ 3508 w 9866"/>
              <a:gd name="connsiteY61" fmla="*/ 3799 h 10000"/>
              <a:gd name="connsiteX62" fmla="*/ 3373 w 9866"/>
              <a:gd name="connsiteY62" fmla="*/ 3876 h 10000"/>
              <a:gd name="connsiteX63" fmla="*/ 3316 w 9866"/>
              <a:gd name="connsiteY63" fmla="*/ 3799 h 10000"/>
              <a:gd name="connsiteX64" fmla="*/ 2925 w 9866"/>
              <a:gd name="connsiteY64" fmla="*/ 3954 h 10000"/>
              <a:gd name="connsiteX65" fmla="*/ 2860 w 9866"/>
              <a:gd name="connsiteY65" fmla="*/ 4109 h 10000"/>
              <a:gd name="connsiteX66" fmla="*/ 2794 w 9866"/>
              <a:gd name="connsiteY66" fmla="*/ 3954 h 10000"/>
              <a:gd name="connsiteX67" fmla="*/ 2794 w 9866"/>
              <a:gd name="connsiteY67" fmla="*/ 3799 h 10000"/>
              <a:gd name="connsiteX68" fmla="*/ 2139 w 9866"/>
              <a:gd name="connsiteY68" fmla="*/ 4263 h 10000"/>
              <a:gd name="connsiteX69" fmla="*/ 2139 w 9866"/>
              <a:gd name="connsiteY69" fmla="*/ 4418 h 10000"/>
              <a:gd name="connsiteX70" fmla="*/ 2013 w 9866"/>
              <a:gd name="connsiteY70" fmla="*/ 4496 h 10000"/>
              <a:gd name="connsiteX71" fmla="*/ 1819 w 9866"/>
              <a:gd name="connsiteY71" fmla="*/ 4341 h 10000"/>
              <a:gd name="connsiteX72" fmla="*/ 2013 w 9866"/>
              <a:gd name="connsiteY72" fmla="*/ 4186 h 10000"/>
              <a:gd name="connsiteX73" fmla="*/ 1946 w 9866"/>
              <a:gd name="connsiteY73" fmla="*/ 3954 h 10000"/>
              <a:gd name="connsiteX74" fmla="*/ 1688 w 9866"/>
              <a:gd name="connsiteY74" fmla="*/ 3876 h 10000"/>
              <a:gd name="connsiteX75" fmla="*/ 1754 w 9866"/>
              <a:gd name="connsiteY75" fmla="*/ 4031 h 10000"/>
              <a:gd name="connsiteX76" fmla="*/ 1754 w 9866"/>
              <a:gd name="connsiteY76" fmla="*/ 4418 h 10000"/>
              <a:gd name="connsiteX77" fmla="*/ 1819 w 9866"/>
              <a:gd name="connsiteY77" fmla="*/ 4574 h 10000"/>
              <a:gd name="connsiteX78" fmla="*/ 1754 w 9866"/>
              <a:gd name="connsiteY78" fmla="*/ 4729 h 10000"/>
              <a:gd name="connsiteX79" fmla="*/ 1555 w 9866"/>
              <a:gd name="connsiteY79" fmla="*/ 4652 h 10000"/>
              <a:gd name="connsiteX80" fmla="*/ 1300 w 9866"/>
              <a:gd name="connsiteY80" fmla="*/ 4884 h 10000"/>
              <a:gd name="connsiteX81" fmla="*/ 1426 w 9866"/>
              <a:gd name="connsiteY81" fmla="*/ 5194 h 10000"/>
              <a:gd name="connsiteX82" fmla="*/ 1037 w 9866"/>
              <a:gd name="connsiteY82" fmla="*/ 5039 h 10000"/>
              <a:gd name="connsiteX83" fmla="*/ 975 w 9866"/>
              <a:gd name="connsiteY83" fmla="*/ 5116 h 10000"/>
              <a:gd name="connsiteX84" fmla="*/ 1106 w 9866"/>
              <a:gd name="connsiteY84" fmla="*/ 5349 h 10000"/>
              <a:gd name="connsiteX85" fmla="*/ 975 w 9866"/>
              <a:gd name="connsiteY85" fmla="*/ 5349 h 10000"/>
              <a:gd name="connsiteX86" fmla="*/ 781 w 9866"/>
              <a:gd name="connsiteY86" fmla="*/ 5194 h 10000"/>
              <a:gd name="connsiteX87" fmla="*/ 781 w 9866"/>
              <a:gd name="connsiteY87" fmla="*/ 4729 h 10000"/>
              <a:gd name="connsiteX88" fmla="*/ 587 w 9866"/>
              <a:gd name="connsiteY88" fmla="*/ 4574 h 10000"/>
              <a:gd name="connsiteX89" fmla="*/ 518 w 9866"/>
              <a:gd name="connsiteY89" fmla="*/ 4418 h 10000"/>
              <a:gd name="connsiteX90" fmla="*/ 647 w 9866"/>
              <a:gd name="connsiteY90" fmla="*/ 4496 h 10000"/>
              <a:gd name="connsiteX91" fmla="*/ 1165 w 9866"/>
              <a:gd name="connsiteY91" fmla="*/ 4729 h 10000"/>
              <a:gd name="connsiteX92" fmla="*/ 1487 w 9866"/>
              <a:gd name="connsiteY92" fmla="*/ 4496 h 10000"/>
              <a:gd name="connsiteX93" fmla="*/ 1426 w 9866"/>
              <a:gd name="connsiteY93" fmla="*/ 4263 h 10000"/>
              <a:gd name="connsiteX94" fmla="*/ 1037 w 9866"/>
              <a:gd name="connsiteY94" fmla="*/ 3799 h 10000"/>
              <a:gd name="connsiteX95" fmla="*/ 647 w 9866"/>
              <a:gd name="connsiteY95" fmla="*/ 3644 h 10000"/>
              <a:gd name="connsiteX96" fmla="*/ 647 w 9866"/>
              <a:gd name="connsiteY96" fmla="*/ 3566 h 10000"/>
              <a:gd name="connsiteX97" fmla="*/ 518 w 9866"/>
              <a:gd name="connsiteY97" fmla="*/ 3488 h 10000"/>
              <a:gd name="connsiteX98" fmla="*/ 387 w 9866"/>
              <a:gd name="connsiteY98" fmla="*/ 3566 h 10000"/>
              <a:gd name="connsiteX99" fmla="*/ 387 w 9866"/>
              <a:gd name="connsiteY99" fmla="*/ 3644 h 10000"/>
              <a:gd name="connsiteX100" fmla="*/ 323 w 9866"/>
              <a:gd name="connsiteY100" fmla="*/ 3644 h 10000"/>
              <a:gd name="connsiteX101" fmla="*/ 195 w 9866"/>
              <a:gd name="connsiteY101" fmla="*/ 3799 h 10000"/>
              <a:gd name="connsiteX102" fmla="*/ 195 w 9866"/>
              <a:gd name="connsiteY102" fmla="*/ 4031 h 10000"/>
              <a:gd name="connsiteX103" fmla="*/ 323 w 9866"/>
              <a:gd name="connsiteY103" fmla="*/ 4186 h 10000"/>
              <a:gd name="connsiteX104" fmla="*/ 261 w 9866"/>
              <a:gd name="connsiteY104" fmla="*/ 4418 h 10000"/>
              <a:gd name="connsiteX105" fmla="*/ 323 w 9866"/>
              <a:gd name="connsiteY105" fmla="*/ 4807 h 10000"/>
              <a:gd name="connsiteX106" fmla="*/ 261 w 9866"/>
              <a:gd name="connsiteY106" fmla="*/ 5039 h 10000"/>
              <a:gd name="connsiteX107" fmla="*/ 387 w 9866"/>
              <a:gd name="connsiteY107" fmla="*/ 5271 h 10000"/>
              <a:gd name="connsiteX108" fmla="*/ 323 w 9866"/>
              <a:gd name="connsiteY108" fmla="*/ 5426 h 10000"/>
              <a:gd name="connsiteX109" fmla="*/ 452 w 9866"/>
              <a:gd name="connsiteY109" fmla="*/ 5582 h 10000"/>
              <a:gd name="connsiteX110" fmla="*/ 452 w 9866"/>
              <a:gd name="connsiteY110" fmla="*/ 5659 h 10000"/>
              <a:gd name="connsiteX111" fmla="*/ 261 w 9866"/>
              <a:gd name="connsiteY111" fmla="*/ 6047 h 10000"/>
              <a:gd name="connsiteX112" fmla="*/ 59 w 9866"/>
              <a:gd name="connsiteY112" fmla="*/ 6202 h 10000"/>
              <a:gd name="connsiteX113" fmla="*/ 128 w 9866"/>
              <a:gd name="connsiteY113" fmla="*/ 6202 h 10000"/>
              <a:gd name="connsiteX114" fmla="*/ 261 w 9866"/>
              <a:gd name="connsiteY114" fmla="*/ 6356 h 10000"/>
              <a:gd name="connsiteX115" fmla="*/ 128 w 9866"/>
              <a:gd name="connsiteY115" fmla="*/ 6512 h 10000"/>
              <a:gd name="connsiteX116" fmla="*/ 59 w 9866"/>
              <a:gd name="connsiteY116" fmla="*/ 6590 h 10000"/>
              <a:gd name="connsiteX117" fmla="*/ 0 w 9866"/>
              <a:gd name="connsiteY117" fmla="*/ 6590 h 10000"/>
              <a:gd name="connsiteX118" fmla="*/ 59 w 9866"/>
              <a:gd name="connsiteY118" fmla="*/ 6822 h 10000"/>
              <a:gd name="connsiteX119" fmla="*/ 59 w 9866"/>
              <a:gd name="connsiteY119" fmla="*/ 6900 h 10000"/>
              <a:gd name="connsiteX120" fmla="*/ 59 w 9866"/>
              <a:gd name="connsiteY120" fmla="*/ 6977 h 10000"/>
              <a:gd name="connsiteX121" fmla="*/ 59 w 9866"/>
              <a:gd name="connsiteY121" fmla="*/ 7054 h 10000"/>
              <a:gd name="connsiteX122" fmla="*/ 128 w 9866"/>
              <a:gd name="connsiteY122" fmla="*/ 7209 h 10000"/>
              <a:gd name="connsiteX123" fmla="*/ 323 w 9866"/>
              <a:gd name="connsiteY123" fmla="*/ 7287 h 10000"/>
              <a:gd name="connsiteX124" fmla="*/ 387 w 9866"/>
              <a:gd name="connsiteY124" fmla="*/ 7364 h 10000"/>
              <a:gd name="connsiteX125" fmla="*/ 387 w 9866"/>
              <a:gd name="connsiteY125" fmla="*/ 7520 h 10000"/>
              <a:gd name="connsiteX126" fmla="*/ 518 w 9866"/>
              <a:gd name="connsiteY126" fmla="*/ 7752 h 10000"/>
              <a:gd name="connsiteX127" fmla="*/ 587 w 9866"/>
              <a:gd name="connsiteY127" fmla="*/ 7752 h 10000"/>
              <a:gd name="connsiteX128" fmla="*/ 518 w 9866"/>
              <a:gd name="connsiteY128" fmla="*/ 7907 h 10000"/>
              <a:gd name="connsiteX129" fmla="*/ 452 w 9866"/>
              <a:gd name="connsiteY129" fmla="*/ 7830 h 10000"/>
              <a:gd name="connsiteX130" fmla="*/ 452 w 9866"/>
              <a:gd name="connsiteY130" fmla="*/ 7907 h 10000"/>
              <a:gd name="connsiteX131" fmla="*/ 518 w 9866"/>
              <a:gd name="connsiteY131" fmla="*/ 8062 h 10000"/>
              <a:gd name="connsiteX132" fmla="*/ 717 w 9866"/>
              <a:gd name="connsiteY132" fmla="*/ 8062 h 10000"/>
              <a:gd name="connsiteX133" fmla="*/ 781 w 9866"/>
              <a:gd name="connsiteY133" fmla="*/ 8140 h 10000"/>
              <a:gd name="connsiteX134" fmla="*/ 717 w 9866"/>
              <a:gd name="connsiteY134" fmla="*/ 8140 h 10000"/>
              <a:gd name="connsiteX135" fmla="*/ 781 w 9866"/>
              <a:gd name="connsiteY135" fmla="*/ 8217 h 10000"/>
              <a:gd name="connsiteX136" fmla="*/ 843 w 9866"/>
              <a:gd name="connsiteY136" fmla="*/ 8217 h 10000"/>
              <a:gd name="connsiteX137" fmla="*/ 907 w 9866"/>
              <a:gd name="connsiteY137" fmla="*/ 8372 h 10000"/>
              <a:gd name="connsiteX138" fmla="*/ 975 w 9866"/>
              <a:gd name="connsiteY138" fmla="*/ 8449 h 10000"/>
              <a:gd name="connsiteX139" fmla="*/ 1037 w 9866"/>
              <a:gd name="connsiteY139" fmla="*/ 8372 h 10000"/>
              <a:gd name="connsiteX140" fmla="*/ 1364 w 9866"/>
              <a:gd name="connsiteY140" fmla="*/ 8605 h 10000"/>
              <a:gd name="connsiteX141" fmla="*/ 1300 w 9866"/>
              <a:gd name="connsiteY141" fmla="*/ 8915 h 10000"/>
              <a:gd name="connsiteX142" fmla="*/ 1234 w 9866"/>
              <a:gd name="connsiteY142" fmla="*/ 8838 h 10000"/>
              <a:gd name="connsiteX143" fmla="*/ 1165 w 9866"/>
              <a:gd name="connsiteY143" fmla="*/ 8915 h 10000"/>
              <a:gd name="connsiteX144" fmla="*/ 1165 w 9866"/>
              <a:gd name="connsiteY144" fmla="*/ 9070 h 10000"/>
              <a:gd name="connsiteX145" fmla="*/ 1234 w 9866"/>
              <a:gd name="connsiteY145" fmla="*/ 8993 h 10000"/>
              <a:gd name="connsiteX146" fmla="*/ 1300 w 9866"/>
              <a:gd name="connsiteY146" fmla="*/ 9070 h 10000"/>
              <a:gd name="connsiteX147" fmla="*/ 1106 w 9866"/>
              <a:gd name="connsiteY147" fmla="*/ 9147 h 10000"/>
              <a:gd name="connsiteX148" fmla="*/ 1165 w 9866"/>
              <a:gd name="connsiteY148" fmla="*/ 9225 h 10000"/>
              <a:gd name="connsiteX149" fmla="*/ 1037 w 9866"/>
              <a:gd name="connsiteY149" fmla="*/ 9380 h 10000"/>
              <a:gd name="connsiteX150" fmla="*/ 975 w 9866"/>
              <a:gd name="connsiteY150" fmla="*/ 9380 h 10000"/>
              <a:gd name="connsiteX151" fmla="*/ 1037 w 9866"/>
              <a:gd name="connsiteY151" fmla="*/ 9380 h 10000"/>
              <a:gd name="connsiteX152" fmla="*/ 1300 w 9866"/>
              <a:gd name="connsiteY152" fmla="*/ 9691 h 10000"/>
              <a:gd name="connsiteX153" fmla="*/ 1624 w 9866"/>
              <a:gd name="connsiteY153" fmla="*/ 9691 h 10000"/>
              <a:gd name="connsiteX154" fmla="*/ 1754 w 9866"/>
              <a:gd name="connsiteY154" fmla="*/ 9768 h 10000"/>
              <a:gd name="connsiteX155" fmla="*/ 1883 w 9866"/>
              <a:gd name="connsiteY155" fmla="*/ 9768 h 10000"/>
              <a:gd name="connsiteX156" fmla="*/ 2013 w 9866"/>
              <a:gd name="connsiteY156" fmla="*/ 9923 h 10000"/>
              <a:gd name="connsiteX157" fmla="*/ 2078 w 9866"/>
              <a:gd name="connsiteY157" fmla="*/ 10000 h 10000"/>
              <a:gd name="connsiteX158" fmla="*/ 2139 w 9866"/>
              <a:gd name="connsiteY158" fmla="*/ 10000 h 10000"/>
              <a:gd name="connsiteX159" fmla="*/ 2208 w 9866"/>
              <a:gd name="connsiteY159" fmla="*/ 9923 h 10000"/>
              <a:gd name="connsiteX160" fmla="*/ 2078 w 9866"/>
              <a:gd name="connsiteY160" fmla="*/ 9768 h 10000"/>
              <a:gd name="connsiteX161" fmla="*/ 2078 w 9866"/>
              <a:gd name="connsiteY161" fmla="*/ 9613 h 10000"/>
              <a:gd name="connsiteX162" fmla="*/ 2013 w 9866"/>
              <a:gd name="connsiteY162" fmla="*/ 9457 h 10000"/>
              <a:gd name="connsiteX163" fmla="*/ 2139 w 9866"/>
              <a:gd name="connsiteY163" fmla="*/ 9225 h 10000"/>
              <a:gd name="connsiteX164" fmla="*/ 2208 w 9866"/>
              <a:gd name="connsiteY164" fmla="*/ 9302 h 10000"/>
              <a:gd name="connsiteX165" fmla="*/ 2272 w 9866"/>
              <a:gd name="connsiteY165" fmla="*/ 9225 h 10000"/>
              <a:gd name="connsiteX166" fmla="*/ 2272 w 9866"/>
              <a:gd name="connsiteY166" fmla="*/ 9147 h 10000"/>
              <a:gd name="connsiteX167" fmla="*/ 2208 w 9866"/>
              <a:gd name="connsiteY167" fmla="*/ 9147 h 10000"/>
              <a:gd name="connsiteX168" fmla="*/ 2272 w 9866"/>
              <a:gd name="connsiteY168" fmla="*/ 9070 h 10000"/>
              <a:gd name="connsiteX169" fmla="*/ 2208 w 9866"/>
              <a:gd name="connsiteY169" fmla="*/ 8915 h 10000"/>
              <a:gd name="connsiteX170" fmla="*/ 2078 w 9866"/>
              <a:gd name="connsiteY170" fmla="*/ 8915 h 10000"/>
              <a:gd name="connsiteX171" fmla="*/ 2013 w 9866"/>
              <a:gd name="connsiteY171" fmla="*/ 8760 h 10000"/>
              <a:gd name="connsiteX172" fmla="*/ 2078 w 9866"/>
              <a:gd name="connsiteY172" fmla="*/ 8372 h 10000"/>
              <a:gd name="connsiteX173" fmla="*/ 2208 w 9866"/>
              <a:gd name="connsiteY173" fmla="*/ 8528 h 10000"/>
              <a:gd name="connsiteX174" fmla="*/ 2272 w 9866"/>
              <a:gd name="connsiteY174" fmla="*/ 8528 h 10000"/>
              <a:gd name="connsiteX175" fmla="*/ 2208 w 9866"/>
              <a:gd name="connsiteY175" fmla="*/ 8372 h 10000"/>
              <a:gd name="connsiteX176" fmla="*/ 2403 w 9866"/>
              <a:gd name="connsiteY176" fmla="*/ 8140 h 10000"/>
              <a:gd name="connsiteX177" fmla="*/ 2535 w 9866"/>
              <a:gd name="connsiteY177" fmla="*/ 8217 h 10000"/>
              <a:gd name="connsiteX178" fmla="*/ 2598 w 9866"/>
              <a:gd name="connsiteY178" fmla="*/ 8140 h 10000"/>
              <a:gd name="connsiteX179" fmla="*/ 2724 w 9866"/>
              <a:gd name="connsiteY179" fmla="*/ 8217 h 10000"/>
              <a:gd name="connsiteX180" fmla="*/ 2925 w 9866"/>
              <a:gd name="connsiteY180" fmla="*/ 8372 h 10000"/>
              <a:gd name="connsiteX181" fmla="*/ 3051 w 9866"/>
              <a:gd name="connsiteY181" fmla="*/ 8295 h 10000"/>
              <a:gd name="connsiteX182" fmla="*/ 3183 w 9866"/>
              <a:gd name="connsiteY182" fmla="*/ 8295 h 10000"/>
              <a:gd name="connsiteX183" fmla="*/ 3249 w 9866"/>
              <a:gd name="connsiteY183" fmla="*/ 8372 h 10000"/>
              <a:gd name="connsiteX184" fmla="*/ 3508 w 9866"/>
              <a:gd name="connsiteY184" fmla="*/ 8372 h 10000"/>
              <a:gd name="connsiteX185" fmla="*/ 3570 w 9866"/>
              <a:gd name="connsiteY185" fmla="*/ 8217 h 10000"/>
              <a:gd name="connsiteX186" fmla="*/ 3373 w 9866"/>
              <a:gd name="connsiteY186" fmla="*/ 8140 h 10000"/>
              <a:gd name="connsiteX187" fmla="*/ 3508 w 9866"/>
              <a:gd name="connsiteY187" fmla="*/ 8062 h 10000"/>
              <a:gd name="connsiteX188" fmla="*/ 3438 w 9866"/>
              <a:gd name="connsiteY188" fmla="*/ 7985 h 10000"/>
              <a:gd name="connsiteX189" fmla="*/ 3508 w 9866"/>
              <a:gd name="connsiteY189" fmla="*/ 7907 h 10000"/>
              <a:gd name="connsiteX190" fmla="*/ 3508 w 9866"/>
              <a:gd name="connsiteY190" fmla="*/ 7675 h 10000"/>
              <a:gd name="connsiteX191" fmla="*/ 3634 w 9866"/>
              <a:gd name="connsiteY191" fmla="*/ 7752 h 10000"/>
              <a:gd name="connsiteX192" fmla="*/ 4220 w 9866"/>
              <a:gd name="connsiteY192" fmla="*/ 7520 h 10000"/>
              <a:gd name="connsiteX193" fmla="*/ 4220 w 9866"/>
              <a:gd name="connsiteY193" fmla="*/ 7442 h 10000"/>
              <a:gd name="connsiteX194" fmla="*/ 4287 w 9866"/>
              <a:gd name="connsiteY194" fmla="*/ 7442 h 10000"/>
              <a:gd name="connsiteX195" fmla="*/ 4475 w 9866"/>
              <a:gd name="connsiteY195" fmla="*/ 7442 h 10000"/>
              <a:gd name="connsiteX196" fmla="*/ 4547 w 9866"/>
              <a:gd name="connsiteY196" fmla="*/ 7598 h 10000"/>
              <a:gd name="connsiteX197" fmla="*/ 4547 w 9866"/>
              <a:gd name="connsiteY197" fmla="*/ 7675 h 10000"/>
              <a:gd name="connsiteX198" fmla="*/ 4608 w 9866"/>
              <a:gd name="connsiteY198" fmla="*/ 7675 h 10000"/>
              <a:gd name="connsiteX199" fmla="*/ 4739 w 9866"/>
              <a:gd name="connsiteY199" fmla="*/ 7752 h 10000"/>
              <a:gd name="connsiteX200" fmla="*/ 4739 w 9866"/>
              <a:gd name="connsiteY200" fmla="*/ 7830 h 10000"/>
              <a:gd name="connsiteX201" fmla="*/ 4869 w 9866"/>
              <a:gd name="connsiteY201" fmla="*/ 7830 h 10000"/>
              <a:gd name="connsiteX202" fmla="*/ 4998 w 9866"/>
              <a:gd name="connsiteY202" fmla="*/ 7675 h 10000"/>
              <a:gd name="connsiteX203" fmla="*/ 5128 w 9866"/>
              <a:gd name="connsiteY203" fmla="*/ 7598 h 10000"/>
              <a:gd name="connsiteX204" fmla="*/ 5202 w 9866"/>
              <a:gd name="connsiteY204" fmla="*/ 7830 h 10000"/>
              <a:gd name="connsiteX205" fmla="*/ 5455 w 9866"/>
              <a:gd name="connsiteY205" fmla="*/ 8372 h 10000"/>
              <a:gd name="connsiteX206" fmla="*/ 5522 w 9866"/>
              <a:gd name="connsiteY206" fmla="*/ 8217 h 10000"/>
              <a:gd name="connsiteX207" fmla="*/ 5586 w 9866"/>
              <a:gd name="connsiteY207" fmla="*/ 8372 h 10000"/>
              <a:gd name="connsiteX208" fmla="*/ 5780 w 9866"/>
              <a:gd name="connsiteY208" fmla="*/ 8295 h 10000"/>
              <a:gd name="connsiteX209" fmla="*/ 5977 w 9866"/>
              <a:gd name="connsiteY209" fmla="*/ 8528 h 10000"/>
              <a:gd name="connsiteX210" fmla="*/ 6102 w 9866"/>
              <a:gd name="connsiteY210" fmla="*/ 8605 h 10000"/>
              <a:gd name="connsiteX211" fmla="*/ 6102 w 9866"/>
              <a:gd name="connsiteY211" fmla="*/ 8528 h 10000"/>
              <a:gd name="connsiteX212" fmla="*/ 6171 w 9866"/>
              <a:gd name="connsiteY212" fmla="*/ 8683 h 10000"/>
              <a:gd name="connsiteX213" fmla="*/ 6102 w 9866"/>
              <a:gd name="connsiteY213" fmla="*/ 8760 h 10000"/>
              <a:gd name="connsiteX214" fmla="*/ 6235 w 9866"/>
              <a:gd name="connsiteY214" fmla="*/ 8683 h 10000"/>
              <a:gd name="connsiteX215" fmla="*/ 6297 w 9866"/>
              <a:gd name="connsiteY215" fmla="*/ 8605 h 10000"/>
              <a:gd name="connsiteX216" fmla="*/ 6621 w 9866"/>
              <a:gd name="connsiteY216" fmla="*/ 8372 h 10000"/>
              <a:gd name="connsiteX217" fmla="*/ 6884 w 9866"/>
              <a:gd name="connsiteY217" fmla="*/ 8449 h 10000"/>
              <a:gd name="connsiteX218" fmla="*/ 7011 w 9866"/>
              <a:gd name="connsiteY218" fmla="*/ 8528 h 10000"/>
              <a:gd name="connsiteX219" fmla="*/ 7270 w 9866"/>
              <a:gd name="connsiteY219" fmla="*/ 8528 h 10000"/>
              <a:gd name="connsiteX220" fmla="*/ 7270 w 9866"/>
              <a:gd name="connsiteY220" fmla="*/ 8372 h 10000"/>
              <a:gd name="connsiteX221" fmla="*/ 7270 w 9866"/>
              <a:gd name="connsiteY221" fmla="*/ 8217 h 10000"/>
              <a:gd name="connsiteX222" fmla="*/ 7401 w 9866"/>
              <a:gd name="connsiteY222" fmla="*/ 8140 h 10000"/>
              <a:gd name="connsiteX223" fmla="*/ 7657 w 9866"/>
              <a:gd name="connsiteY223" fmla="*/ 8217 h 10000"/>
              <a:gd name="connsiteX224" fmla="*/ 7792 w 9866"/>
              <a:gd name="connsiteY224" fmla="*/ 8449 h 10000"/>
              <a:gd name="connsiteX225" fmla="*/ 7857 w 9866"/>
              <a:gd name="connsiteY225" fmla="*/ 8449 h 10000"/>
              <a:gd name="connsiteX226" fmla="*/ 7987 w 9866"/>
              <a:gd name="connsiteY226" fmla="*/ 8372 h 10000"/>
              <a:gd name="connsiteX227" fmla="*/ 8380 w 9866"/>
              <a:gd name="connsiteY227" fmla="*/ 8605 h 10000"/>
              <a:gd name="connsiteX228" fmla="*/ 8572 w 9866"/>
              <a:gd name="connsiteY228" fmla="*/ 8683 h 10000"/>
              <a:gd name="connsiteX229" fmla="*/ 8830 w 9866"/>
              <a:gd name="connsiteY229" fmla="*/ 8605 h 10000"/>
              <a:gd name="connsiteX230" fmla="*/ 8962 w 9866"/>
              <a:gd name="connsiteY230" fmla="*/ 8449 h 10000"/>
              <a:gd name="connsiteX231" fmla="*/ 9156 w 9866"/>
              <a:gd name="connsiteY231" fmla="*/ 8528 h 10000"/>
              <a:gd name="connsiteX232" fmla="*/ 9285 w 9866"/>
              <a:gd name="connsiteY232" fmla="*/ 8605 h 10000"/>
              <a:gd name="connsiteX233" fmla="*/ 9866 w 9866"/>
              <a:gd name="connsiteY233" fmla="*/ 2016 h 10000"/>
              <a:gd name="connsiteX234" fmla="*/ 9806 w 9866"/>
              <a:gd name="connsiteY234" fmla="*/ 2170 h 10000"/>
              <a:gd name="connsiteX235" fmla="*/ 9866 w 9866"/>
              <a:gd name="connsiteY235" fmla="*/ 2325 h 10000"/>
              <a:gd name="connsiteX236" fmla="*/ 9357 w 9866"/>
              <a:gd name="connsiteY236" fmla="*/ 2248 h 10000"/>
              <a:gd name="connsiteX237" fmla="*/ 9415 w 9866"/>
              <a:gd name="connsiteY237" fmla="*/ 2016 h 10000"/>
              <a:gd name="connsiteX238" fmla="*/ 9091 w 9866"/>
              <a:gd name="connsiteY238" fmla="*/ 1938 h 10000"/>
              <a:gd name="connsiteX239" fmla="*/ 8895 w 9866"/>
              <a:gd name="connsiteY239" fmla="*/ 2093 h 10000"/>
              <a:gd name="connsiteX240" fmla="*/ 8517 w 9866"/>
              <a:gd name="connsiteY240" fmla="*/ 1861 h 10000"/>
              <a:gd name="connsiteX0" fmla="*/ 8633 w 10000"/>
              <a:gd name="connsiteY0" fmla="*/ 1861 h 10000"/>
              <a:gd name="connsiteX1" fmla="*/ 8633 w 10000"/>
              <a:gd name="connsiteY1" fmla="*/ 1861 h 10000"/>
              <a:gd name="connsiteX2" fmla="*/ 8557 w 10000"/>
              <a:gd name="connsiteY2" fmla="*/ 1938 h 10000"/>
              <a:gd name="connsiteX3" fmla="*/ 8633 w 10000"/>
              <a:gd name="connsiteY3" fmla="*/ 2093 h 10000"/>
              <a:gd name="connsiteX4" fmla="*/ 8358 w 10000"/>
              <a:gd name="connsiteY4" fmla="*/ 2248 h 10000"/>
              <a:gd name="connsiteX5" fmla="*/ 8290 w 10000"/>
              <a:gd name="connsiteY5" fmla="*/ 2248 h 10000"/>
              <a:gd name="connsiteX6" fmla="*/ 8358 w 10000"/>
              <a:gd name="connsiteY6" fmla="*/ 2016 h 10000"/>
              <a:gd name="connsiteX7" fmla="*/ 9016 w 10000"/>
              <a:gd name="connsiteY7" fmla="*/ 1318 h 10000"/>
              <a:gd name="connsiteX8" fmla="*/ 9016 w 10000"/>
              <a:gd name="connsiteY8" fmla="*/ 853 h 10000"/>
              <a:gd name="connsiteX9" fmla="*/ 8757 w 10000"/>
              <a:gd name="connsiteY9" fmla="*/ 543 h 10000"/>
              <a:gd name="connsiteX10" fmla="*/ 8425 w 10000"/>
              <a:gd name="connsiteY10" fmla="*/ 543 h 10000"/>
              <a:gd name="connsiteX11" fmla="*/ 8425 w 10000"/>
              <a:gd name="connsiteY11" fmla="*/ 698 h 10000"/>
              <a:gd name="connsiteX12" fmla="*/ 8223 w 10000"/>
              <a:gd name="connsiteY12" fmla="*/ 698 h 10000"/>
              <a:gd name="connsiteX13" fmla="*/ 8358 w 10000"/>
              <a:gd name="connsiteY13" fmla="*/ 387 h 10000"/>
              <a:gd name="connsiteX14" fmla="*/ 8033 w 10000"/>
              <a:gd name="connsiteY14" fmla="*/ 310 h 10000"/>
              <a:gd name="connsiteX15" fmla="*/ 8223 w 10000"/>
              <a:gd name="connsiteY15" fmla="*/ 155 h 10000"/>
              <a:gd name="connsiteX16" fmla="*/ 8033 w 10000"/>
              <a:gd name="connsiteY16" fmla="*/ 0 h 10000"/>
              <a:gd name="connsiteX17" fmla="*/ 7702 w 10000"/>
              <a:gd name="connsiteY17" fmla="*/ 387 h 10000"/>
              <a:gd name="connsiteX18" fmla="*/ 7702 w 10000"/>
              <a:gd name="connsiteY18" fmla="*/ 698 h 10000"/>
              <a:gd name="connsiteX19" fmla="*/ 7502 w 10000"/>
              <a:gd name="connsiteY19" fmla="*/ 698 h 10000"/>
              <a:gd name="connsiteX20" fmla="*/ 6912 w 10000"/>
              <a:gd name="connsiteY20" fmla="*/ 853 h 10000"/>
              <a:gd name="connsiteX21" fmla="*/ 6383 w 10000"/>
              <a:gd name="connsiteY21" fmla="*/ 1240 h 10000"/>
              <a:gd name="connsiteX22" fmla="*/ 6185 w 10000"/>
              <a:gd name="connsiteY22" fmla="*/ 1551 h 10000"/>
              <a:gd name="connsiteX23" fmla="*/ 6255 w 10000"/>
              <a:gd name="connsiteY23" fmla="*/ 1938 h 10000"/>
              <a:gd name="connsiteX24" fmla="*/ 5529 w 10000"/>
              <a:gd name="connsiteY24" fmla="*/ 2093 h 10000"/>
              <a:gd name="connsiteX25" fmla="*/ 5597 w 10000"/>
              <a:gd name="connsiteY25" fmla="*/ 2559 h 10000"/>
              <a:gd name="connsiteX26" fmla="*/ 5793 w 10000"/>
              <a:gd name="connsiteY26" fmla="*/ 2791 h 10000"/>
              <a:gd name="connsiteX27" fmla="*/ 5662 w 10000"/>
              <a:gd name="connsiteY27" fmla="*/ 2868 h 10000"/>
              <a:gd name="connsiteX28" fmla="*/ 5466 w 10000"/>
              <a:gd name="connsiteY28" fmla="*/ 2559 h 10000"/>
              <a:gd name="connsiteX29" fmla="*/ 5273 w 10000"/>
              <a:gd name="connsiteY29" fmla="*/ 2480 h 10000"/>
              <a:gd name="connsiteX30" fmla="*/ 5198 w 10000"/>
              <a:gd name="connsiteY30" fmla="*/ 2559 h 10000"/>
              <a:gd name="connsiteX31" fmla="*/ 5066 w 10000"/>
              <a:gd name="connsiteY31" fmla="*/ 2403 h 10000"/>
              <a:gd name="connsiteX32" fmla="*/ 4935 w 10000"/>
              <a:gd name="connsiteY32" fmla="*/ 2248 h 10000"/>
              <a:gd name="connsiteX33" fmla="*/ 4935 w 10000"/>
              <a:gd name="connsiteY33" fmla="*/ 2325 h 10000"/>
              <a:gd name="connsiteX34" fmla="*/ 5008 w 10000"/>
              <a:gd name="connsiteY34" fmla="*/ 2559 h 10000"/>
              <a:gd name="connsiteX35" fmla="*/ 4803 w 10000"/>
              <a:gd name="connsiteY35" fmla="*/ 2946 h 10000"/>
              <a:gd name="connsiteX36" fmla="*/ 4935 w 10000"/>
              <a:gd name="connsiteY36" fmla="*/ 3256 h 10000"/>
              <a:gd name="connsiteX37" fmla="*/ 4869 w 10000"/>
              <a:gd name="connsiteY37" fmla="*/ 3566 h 10000"/>
              <a:gd name="connsiteX38" fmla="*/ 4869 w 10000"/>
              <a:gd name="connsiteY38" fmla="*/ 3799 h 10000"/>
              <a:gd name="connsiteX39" fmla="*/ 5066 w 10000"/>
              <a:gd name="connsiteY39" fmla="*/ 3799 h 10000"/>
              <a:gd name="connsiteX40" fmla="*/ 4935 w 10000"/>
              <a:gd name="connsiteY40" fmla="*/ 3876 h 10000"/>
              <a:gd name="connsiteX41" fmla="*/ 5008 w 10000"/>
              <a:gd name="connsiteY41" fmla="*/ 4263 h 10000"/>
              <a:gd name="connsiteX42" fmla="*/ 4609 w 10000"/>
              <a:gd name="connsiteY42" fmla="*/ 4652 h 10000"/>
              <a:gd name="connsiteX43" fmla="*/ 4536 w 10000"/>
              <a:gd name="connsiteY43" fmla="*/ 4574 h 10000"/>
              <a:gd name="connsiteX44" fmla="*/ 4803 w 10000"/>
              <a:gd name="connsiteY44" fmla="*/ 4186 h 10000"/>
              <a:gd name="connsiteX45" fmla="*/ 4869 w 10000"/>
              <a:gd name="connsiteY45" fmla="*/ 3954 h 10000"/>
              <a:gd name="connsiteX46" fmla="*/ 4730 w 10000"/>
              <a:gd name="connsiteY46" fmla="*/ 3799 h 10000"/>
              <a:gd name="connsiteX47" fmla="*/ 4730 w 10000"/>
              <a:gd name="connsiteY47" fmla="*/ 3023 h 10000"/>
              <a:gd name="connsiteX48" fmla="*/ 4671 w 10000"/>
              <a:gd name="connsiteY48" fmla="*/ 2868 h 10000"/>
              <a:gd name="connsiteX49" fmla="*/ 4730 w 10000"/>
              <a:gd name="connsiteY49" fmla="*/ 2403 h 10000"/>
              <a:gd name="connsiteX50" fmla="*/ 4609 w 10000"/>
              <a:gd name="connsiteY50" fmla="*/ 2325 h 10000"/>
              <a:gd name="connsiteX51" fmla="*/ 4671 w 10000"/>
              <a:gd name="connsiteY51" fmla="*/ 2248 h 10000"/>
              <a:gd name="connsiteX52" fmla="*/ 4609 w 10000"/>
              <a:gd name="connsiteY52" fmla="*/ 2093 h 10000"/>
              <a:gd name="connsiteX53" fmla="*/ 4472 w 10000"/>
              <a:gd name="connsiteY53" fmla="*/ 2170 h 10000"/>
              <a:gd name="connsiteX54" fmla="*/ 4147 w 10000"/>
              <a:gd name="connsiteY54" fmla="*/ 3178 h 10000"/>
              <a:gd name="connsiteX55" fmla="*/ 4147 w 10000"/>
              <a:gd name="connsiteY55" fmla="*/ 3566 h 10000"/>
              <a:gd name="connsiteX56" fmla="*/ 4345 w 10000"/>
              <a:gd name="connsiteY56" fmla="*/ 3876 h 10000"/>
              <a:gd name="connsiteX57" fmla="*/ 4345 w 10000"/>
              <a:gd name="connsiteY57" fmla="*/ 4031 h 10000"/>
              <a:gd name="connsiteX58" fmla="*/ 4147 w 10000"/>
              <a:gd name="connsiteY58" fmla="*/ 3876 h 10000"/>
              <a:gd name="connsiteX59" fmla="*/ 3361 w 10000"/>
              <a:gd name="connsiteY59" fmla="*/ 3256 h 10000"/>
              <a:gd name="connsiteX60" fmla="*/ 3293 w 10000"/>
              <a:gd name="connsiteY60" fmla="*/ 3411 h 10000"/>
              <a:gd name="connsiteX61" fmla="*/ 3556 w 10000"/>
              <a:gd name="connsiteY61" fmla="*/ 3799 h 10000"/>
              <a:gd name="connsiteX62" fmla="*/ 3419 w 10000"/>
              <a:gd name="connsiteY62" fmla="*/ 3876 h 10000"/>
              <a:gd name="connsiteX63" fmla="*/ 3361 w 10000"/>
              <a:gd name="connsiteY63" fmla="*/ 3799 h 10000"/>
              <a:gd name="connsiteX64" fmla="*/ 2965 w 10000"/>
              <a:gd name="connsiteY64" fmla="*/ 3954 h 10000"/>
              <a:gd name="connsiteX65" fmla="*/ 2899 w 10000"/>
              <a:gd name="connsiteY65" fmla="*/ 4109 h 10000"/>
              <a:gd name="connsiteX66" fmla="*/ 2832 w 10000"/>
              <a:gd name="connsiteY66" fmla="*/ 3954 h 10000"/>
              <a:gd name="connsiteX67" fmla="*/ 2832 w 10000"/>
              <a:gd name="connsiteY67" fmla="*/ 3799 h 10000"/>
              <a:gd name="connsiteX68" fmla="*/ 2168 w 10000"/>
              <a:gd name="connsiteY68" fmla="*/ 4263 h 10000"/>
              <a:gd name="connsiteX69" fmla="*/ 2168 w 10000"/>
              <a:gd name="connsiteY69" fmla="*/ 4418 h 10000"/>
              <a:gd name="connsiteX70" fmla="*/ 2040 w 10000"/>
              <a:gd name="connsiteY70" fmla="*/ 4496 h 10000"/>
              <a:gd name="connsiteX71" fmla="*/ 1844 w 10000"/>
              <a:gd name="connsiteY71" fmla="*/ 4341 h 10000"/>
              <a:gd name="connsiteX72" fmla="*/ 2040 w 10000"/>
              <a:gd name="connsiteY72" fmla="*/ 4186 h 10000"/>
              <a:gd name="connsiteX73" fmla="*/ 1972 w 10000"/>
              <a:gd name="connsiteY73" fmla="*/ 3954 h 10000"/>
              <a:gd name="connsiteX74" fmla="*/ 1711 w 10000"/>
              <a:gd name="connsiteY74" fmla="*/ 3876 h 10000"/>
              <a:gd name="connsiteX75" fmla="*/ 1778 w 10000"/>
              <a:gd name="connsiteY75" fmla="*/ 4031 h 10000"/>
              <a:gd name="connsiteX76" fmla="*/ 1778 w 10000"/>
              <a:gd name="connsiteY76" fmla="*/ 4418 h 10000"/>
              <a:gd name="connsiteX77" fmla="*/ 1844 w 10000"/>
              <a:gd name="connsiteY77" fmla="*/ 4574 h 10000"/>
              <a:gd name="connsiteX78" fmla="*/ 1778 w 10000"/>
              <a:gd name="connsiteY78" fmla="*/ 4729 h 10000"/>
              <a:gd name="connsiteX79" fmla="*/ 1576 w 10000"/>
              <a:gd name="connsiteY79" fmla="*/ 4652 h 10000"/>
              <a:gd name="connsiteX80" fmla="*/ 1318 w 10000"/>
              <a:gd name="connsiteY80" fmla="*/ 4884 h 10000"/>
              <a:gd name="connsiteX81" fmla="*/ 1445 w 10000"/>
              <a:gd name="connsiteY81" fmla="*/ 5194 h 10000"/>
              <a:gd name="connsiteX82" fmla="*/ 1051 w 10000"/>
              <a:gd name="connsiteY82" fmla="*/ 5039 h 10000"/>
              <a:gd name="connsiteX83" fmla="*/ 988 w 10000"/>
              <a:gd name="connsiteY83" fmla="*/ 5116 h 10000"/>
              <a:gd name="connsiteX84" fmla="*/ 1121 w 10000"/>
              <a:gd name="connsiteY84" fmla="*/ 5349 h 10000"/>
              <a:gd name="connsiteX85" fmla="*/ 988 w 10000"/>
              <a:gd name="connsiteY85" fmla="*/ 5349 h 10000"/>
              <a:gd name="connsiteX86" fmla="*/ 792 w 10000"/>
              <a:gd name="connsiteY86" fmla="*/ 5194 h 10000"/>
              <a:gd name="connsiteX87" fmla="*/ 792 w 10000"/>
              <a:gd name="connsiteY87" fmla="*/ 4729 h 10000"/>
              <a:gd name="connsiteX88" fmla="*/ 595 w 10000"/>
              <a:gd name="connsiteY88" fmla="*/ 4574 h 10000"/>
              <a:gd name="connsiteX89" fmla="*/ 525 w 10000"/>
              <a:gd name="connsiteY89" fmla="*/ 4418 h 10000"/>
              <a:gd name="connsiteX90" fmla="*/ 656 w 10000"/>
              <a:gd name="connsiteY90" fmla="*/ 4496 h 10000"/>
              <a:gd name="connsiteX91" fmla="*/ 1181 w 10000"/>
              <a:gd name="connsiteY91" fmla="*/ 4729 h 10000"/>
              <a:gd name="connsiteX92" fmla="*/ 1507 w 10000"/>
              <a:gd name="connsiteY92" fmla="*/ 4496 h 10000"/>
              <a:gd name="connsiteX93" fmla="*/ 1445 w 10000"/>
              <a:gd name="connsiteY93" fmla="*/ 4263 h 10000"/>
              <a:gd name="connsiteX94" fmla="*/ 1051 w 10000"/>
              <a:gd name="connsiteY94" fmla="*/ 3799 h 10000"/>
              <a:gd name="connsiteX95" fmla="*/ 656 w 10000"/>
              <a:gd name="connsiteY95" fmla="*/ 3644 h 10000"/>
              <a:gd name="connsiteX96" fmla="*/ 656 w 10000"/>
              <a:gd name="connsiteY96" fmla="*/ 3566 h 10000"/>
              <a:gd name="connsiteX97" fmla="*/ 525 w 10000"/>
              <a:gd name="connsiteY97" fmla="*/ 3488 h 10000"/>
              <a:gd name="connsiteX98" fmla="*/ 392 w 10000"/>
              <a:gd name="connsiteY98" fmla="*/ 3566 h 10000"/>
              <a:gd name="connsiteX99" fmla="*/ 392 w 10000"/>
              <a:gd name="connsiteY99" fmla="*/ 3644 h 10000"/>
              <a:gd name="connsiteX100" fmla="*/ 327 w 10000"/>
              <a:gd name="connsiteY100" fmla="*/ 3644 h 10000"/>
              <a:gd name="connsiteX101" fmla="*/ 198 w 10000"/>
              <a:gd name="connsiteY101" fmla="*/ 3799 h 10000"/>
              <a:gd name="connsiteX102" fmla="*/ 198 w 10000"/>
              <a:gd name="connsiteY102" fmla="*/ 4031 h 10000"/>
              <a:gd name="connsiteX103" fmla="*/ 327 w 10000"/>
              <a:gd name="connsiteY103" fmla="*/ 4186 h 10000"/>
              <a:gd name="connsiteX104" fmla="*/ 265 w 10000"/>
              <a:gd name="connsiteY104" fmla="*/ 4418 h 10000"/>
              <a:gd name="connsiteX105" fmla="*/ 327 w 10000"/>
              <a:gd name="connsiteY105" fmla="*/ 4807 h 10000"/>
              <a:gd name="connsiteX106" fmla="*/ 265 w 10000"/>
              <a:gd name="connsiteY106" fmla="*/ 5039 h 10000"/>
              <a:gd name="connsiteX107" fmla="*/ 392 w 10000"/>
              <a:gd name="connsiteY107" fmla="*/ 5271 h 10000"/>
              <a:gd name="connsiteX108" fmla="*/ 327 w 10000"/>
              <a:gd name="connsiteY108" fmla="*/ 5426 h 10000"/>
              <a:gd name="connsiteX109" fmla="*/ 458 w 10000"/>
              <a:gd name="connsiteY109" fmla="*/ 5582 h 10000"/>
              <a:gd name="connsiteX110" fmla="*/ 458 w 10000"/>
              <a:gd name="connsiteY110" fmla="*/ 5659 h 10000"/>
              <a:gd name="connsiteX111" fmla="*/ 265 w 10000"/>
              <a:gd name="connsiteY111" fmla="*/ 6047 h 10000"/>
              <a:gd name="connsiteX112" fmla="*/ 60 w 10000"/>
              <a:gd name="connsiteY112" fmla="*/ 6202 h 10000"/>
              <a:gd name="connsiteX113" fmla="*/ 130 w 10000"/>
              <a:gd name="connsiteY113" fmla="*/ 6202 h 10000"/>
              <a:gd name="connsiteX114" fmla="*/ 265 w 10000"/>
              <a:gd name="connsiteY114" fmla="*/ 6356 h 10000"/>
              <a:gd name="connsiteX115" fmla="*/ 130 w 10000"/>
              <a:gd name="connsiteY115" fmla="*/ 6512 h 10000"/>
              <a:gd name="connsiteX116" fmla="*/ 60 w 10000"/>
              <a:gd name="connsiteY116" fmla="*/ 6590 h 10000"/>
              <a:gd name="connsiteX117" fmla="*/ 0 w 10000"/>
              <a:gd name="connsiteY117" fmla="*/ 6590 h 10000"/>
              <a:gd name="connsiteX118" fmla="*/ 60 w 10000"/>
              <a:gd name="connsiteY118" fmla="*/ 6822 h 10000"/>
              <a:gd name="connsiteX119" fmla="*/ 60 w 10000"/>
              <a:gd name="connsiteY119" fmla="*/ 6900 h 10000"/>
              <a:gd name="connsiteX120" fmla="*/ 60 w 10000"/>
              <a:gd name="connsiteY120" fmla="*/ 6977 h 10000"/>
              <a:gd name="connsiteX121" fmla="*/ 60 w 10000"/>
              <a:gd name="connsiteY121" fmla="*/ 7054 h 10000"/>
              <a:gd name="connsiteX122" fmla="*/ 130 w 10000"/>
              <a:gd name="connsiteY122" fmla="*/ 7209 h 10000"/>
              <a:gd name="connsiteX123" fmla="*/ 327 w 10000"/>
              <a:gd name="connsiteY123" fmla="*/ 7287 h 10000"/>
              <a:gd name="connsiteX124" fmla="*/ 392 w 10000"/>
              <a:gd name="connsiteY124" fmla="*/ 7364 h 10000"/>
              <a:gd name="connsiteX125" fmla="*/ 392 w 10000"/>
              <a:gd name="connsiteY125" fmla="*/ 7520 h 10000"/>
              <a:gd name="connsiteX126" fmla="*/ 525 w 10000"/>
              <a:gd name="connsiteY126" fmla="*/ 7752 h 10000"/>
              <a:gd name="connsiteX127" fmla="*/ 595 w 10000"/>
              <a:gd name="connsiteY127" fmla="*/ 7752 h 10000"/>
              <a:gd name="connsiteX128" fmla="*/ 525 w 10000"/>
              <a:gd name="connsiteY128" fmla="*/ 7907 h 10000"/>
              <a:gd name="connsiteX129" fmla="*/ 458 w 10000"/>
              <a:gd name="connsiteY129" fmla="*/ 7830 h 10000"/>
              <a:gd name="connsiteX130" fmla="*/ 458 w 10000"/>
              <a:gd name="connsiteY130" fmla="*/ 7907 h 10000"/>
              <a:gd name="connsiteX131" fmla="*/ 525 w 10000"/>
              <a:gd name="connsiteY131" fmla="*/ 8062 h 10000"/>
              <a:gd name="connsiteX132" fmla="*/ 727 w 10000"/>
              <a:gd name="connsiteY132" fmla="*/ 8062 h 10000"/>
              <a:gd name="connsiteX133" fmla="*/ 792 w 10000"/>
              <a:gd name="connsiteY133" fmla="*/ 8140 h 10000"/>
              <a:gd name="connsiteX134" fmla="*/ 727 w 10000"/>
              <a:gd name="connsiteY134" fmla="*/ 8140 h 10000"/>
              <a:gd name="connsiteX135" fmla="*/ 792 w 10000"/>
              <a:gd name="connsiteY135" fmla="*/ 8217 h 10000"/>
              <a:gd name="connsiteX136" fmla="*/ 854 w 10000"/>
              <a:gd name="connsiteY136" fmla="*/ 8217 h 10000"/>
              <a:gd name="connsiteX137" fmla="*/ 919 w 10000"/>
              <a:gd name="connsiteY137" fmla="*/ 8372 h 10000"/>
              <a:gd name="connsiteX138" fmla="*/ 988 w 10000"/>
              <a:gd name="connsiteY138" fmla="*/ 8449 h 10000"/>
              <a:gd name="connsiteX139" fmla="*/ 1051 w 10000"/>
              <a:gd name="connsiteY139" fmla="*/ 8372 h 10000"/>
              <a:gd name="connsiteX140" fmla="*/ 1383 w 10000"/>
              <a:gd name="connsiteY140" fmla="*/ 8605 h 10000"/>
              <a:gd name="connsiteX141" fmla="*/ 1318 w 10000"/>
              <a:gd name="connsiteY141" fmla="*/ 8915 h 10000"/>
              <a:gd name="connsiteX142" fmla="*/ 1251 w 10000"/>
              <a:gd name="connsiteY142" fmla="*/ 8838 h 10000"/>
              <a:gd name="connsiteX143" fmla="*/ 1181 w 10000"/>
              <a:gd name="connsiteY143" fmla="*/ 8915 h 10000"/>
              <a:gd name="connsiteX144" fmla="*/ 1181 w 10000"/>
              <a:gd name="connsiteY144" fmla="*/ 9070 h 10000"/>
              <a:gd name="connsiteX145" fmla="*/ 1251 w 10000"/>
              <a:gd name="connsiteY145" fmla="*/ 8993 h 10000"/>
              <a:gd name="connsiteX146" fmla="*/ 1318 w 10000"/>
              <a:gd name="connsiteY146" fmla="*/ 9070 h 10000"/>
              <a:gd name="connsiteX147" fmla="*/ 1121 w 10000"/>
              <a:gd name="connsiteY147" fmla="*/ 9147 h 10000"/>
              <a:gd name="connsiteX148" fmla="*/ 1181 w 10000"/>
              <a:gd name="connsiteY148" fmla="*/ 9225 h 10000"/>
              <a:gd name="connsiteX149" fmla="*/ 1051 w 10000"/>
              <a:gd name="connsiteY149" fmla="*/ 9380 h 10000"/>
              <a:gd name="connsiteX150" fmla="*/ 988 w 10000"/>
              <a:gd name="connsiteY150" fmla="*/ 9380 h 10000"/>
              <a:gd name="connsiteX151" fmla="*/ 1051 w 10000"/>
              <a:gd name="connsiteY151" fmla="*/ 9380 h 10000"/>
              <a:gd name="connsiteX152" fmla="*/ 1318 w 10000"/>
              <a:gd name="connsiteY152" fmla="*/ 9691 h 10000"/>
              <a:gd name="connsiteX153" fmla="*/ 1646 w 10000"/>
              <a:gd name="connsiteY153" fmla="*/ 9691 h 10000"/>
              <a:gd name="connsiteX154" fmla="*/ 1778 w 10000"/>
              <a:gd name="connsiteY154" fmla="*/ 9768 h 10000"/>
              <a:gd name="connsiteX155" fmla="*/ 1909 w 10000"/>
              <a:gd name="connsiteY155" fmla="*/ 9768 h 10000"/>
              <a:gd name="connsiteX156" fmla="*/ 2040 w 10000"/>
              <a:gd name="connsiteY156" fmla="*/ 9923 h 10000"/>
              <a:gd name="connsiteX157" fmla="*/ 2106 w 10000"/>
              <a:gd name="connsiteY157" fmla="*/ 10000 h 10000"/>
              <a:gd name="connsiteX158" fmla="*/ 2168 w 10000"/>
              <a:gd name="connsiteY158" fmla="*/ 10000 h 10000"/>
              <a:gd name="connsiteX159" fmla="*/ 2238 w 10000"/>
              <a:gd name="connsiteY159" fmla="*/ 9923 h 10000"/>
              <a:gd name="connsiteX160" fmla="*/ 2106 w 10000"/>
              <a:gd name="connsiteY160" fmla="*/ 9768 h 10000"/>
              <a:gd name="connsiteX161" fmla="*/ 2106 w 10000"/>
              <a:gd name="connsiteY161" fmla="*/ 9613 h 10000"/>
              <a:gd name="connsiteX162" fmla="*/ 2040 w 10000"/>
              <a:gd name="connsiteY162" fmla="*/ 9457 h 10000"/>
              <a:gd name="connsiteX163" fmla="*/ 2168 w 10000"/>
              <a:gd name="connsiteY163" fmla="*/ 9225 h 10000"/>
              <a:gd name="connsiteX164" fmla="*/ 2238 w 10000"/>
              <a:gd name="connsiteY164" fmla="*/ 9302 h 10000"/>
              <a:gd name="connsiteX165" fmla="*/ 2303 w 10000"/>
              <a:gd name="connsiteY165" fmla="*/ 9225 h 10000"/>
              <a:gd name="connsiteX166" fmla="*/ 2303 w 10000"/>
              <a:gd name="connsiteY166" fmla="*/ 9147 h 10000"/>
              <a:gd name="connsiteX167" fmla="*/ 2238 w 10000"/>
              <a:gd name="connsiteY167" fmla="*/ 9147 h 10000"/>
              <a:gd name="connsiteX168" fmla="*/ 2303 w 10000"/>
              <a:gd name="connsiteY168" fmla="*/ 9070 h 10000"/>
              <a:gd name="connsiteX169" fmla="*/ 2238 w 10000"/>
              <a:gd name="connsiteY169" fmla="*/ 8915 h 10000"/>
              <a:gd name="connsiteX170" fmla="*/ 2106 w 10000"/>
              <a:gd name="connsiteY170" fmla="*/ 8915 h 10000"/>
              <a:gd name="connsiteX171" fmla="*/ 2040 w 10000"/>
              <a:gd name="connsiteY171" fmla="*/ 8760 h 10000"/>
              <a:gd name="connsiteX172" fmla="*/ 2106 w 10000"/>
              <a:gd name="connsiteY172" fmla="*/ 8372 h 10000"/>
              <a:gd name="connsiteX173" fmla="*/ 2238 w 10000"/>
              <a:gd name="connsiteY173" fmla="*/ 8528 h 10000"/>
              <a:gd name="connsiteX174" fmla="*/ 2303 w 10000"/>
              <a:gd name="connsiteY174" fmla="*/ 8528 h 10000"/>
              <a:gd name="connsiteX175" fmla="*/ 2238 w 10000"/>
              <a:gd name="connsiteY175" fmla="*/ 8372 h 10000"/>
              <a:gd name="connsiteX176" fmla="*/ 2436 w 10000"/>
              <a:gd name="connsiteY176" fmla="*/ 8140 h 10000"/>
              <a:gd name="connsiteX177" fmla="*/ 2569 w 10000"/>
              <a:gd name="connsiteY177" fmla="*/ 8217 h 10000"/>
              <a:gd name="connsiteX178" fmla="*/ 2633 w 10000"/>
              <a:gd name="connsiteY178" fmla="*/ 8140 h 10000"/>
              <a:gd name="connsiteX179" fmla="*/ 2761 w 10000"/>
              <a:gd name="connsiteY179" fmla="*/ 8217 h 10000"/>
              <a:gd name="connsiteX180" fmla="*/ 2965 w 10000"/>
              <a:gd name="connsiteY180" fmla="*/ 8372 h 10000"/>
              <a:gd name="connsiteX181" fmla="*/ 3092 w 10000"/>
              <a:gd name="connsiteY181" fmla="*/ 8295 h 10000"/>
              <a:gd name="connsiteX182" fmla="*/ 3226 w 10000"/>
              <a:gd name="connsiteY182" fmla="*/ 8295 h 10000"/>
              <a:gd name="connsiteX183" fmla="*/ 3293 w 10000"/>
              <a:gd name="connsiteY183" fmla="*/ 8372 h 10000"/>
              <a:gd name="connsiteX184" fmla="*/ 3556 w 10000"/>
              <a:gd name="connsiteY184" fmla="*/ 8372 h 10000"/>
              <a:gd name="connsiteX185" fmla="*/ 3618 w 10000"/>
              <a:gd name="connsiteY185" fmla="*/ 8217 h 10000"/>
              <a:gd name="connsiteX186" fmla="*/ 3419 w 10000"/>
              <a:gd name="connsiteY186" fmla="*/ 8140 h 10000"/>
              <a:gd name="connsiteX187" fmla="*/ 3556 w 10000"/>
              <a:gd name="connsiteY187" fmla="*/ 8062 h 10000"/>
              <a:gd name="connsiteX188" fmla="*/ 3485 w 10000"/>
              <a:gd name="connsiteY188" fmla="*/ 7985 h 10000"/>
              <a:gd name="connsiteX189" fmla="*/ 3556 w 10000"/>
              <a:gd name="connsiteY189" fmla="*/ 7907 h 10000"/>
              <a:gd name="connsiteX190" fmla="*/ 3556 w 10000"/>
              <a:gd name="connsiteY190" fmla="*/ 7675 h 10000"/>
              <a:gd name="connsiteX191" fmla="*/ 3683 w 10000"/>
              <a:gd name="connsiteY191" fmla="*/ 7752 h 10000"/>
              <a:gd name="connsiteX192" fmla="*/ 4277 w 10000"/>
              <a:gd name="connsiteY192" fmla="*/ 7520 h 10000"/>
              <a:gd name="connsiteX193" fmla="*/ 4277 w 10000"/>
              <a:gd name="connsiteY193" fmla="*/ 7442 h 10000"/>
              <a:gd name="connsiteX194" fmla="*/ 4345 w 10000"/>
              <a:gd name="connsiteY194" fmla="*/ 7442 h 10000"/>
              <a:gd name="connsiteX195" fmla="*/ 4536 w 10000"/>
              <a:gd name="connsiteY195" fmla="*/ 7442 h 10000"/>
              <a:gd name="connsiteX196" fmla="*/ 4609 w 10000"/>
              <a:gd name="connsiteY196" fmla="*/ 7598 h 10000"/>
              <a:gd name="connsiteX197" fmla="*/ 4609 w 10000"/>
              <a:gd name="connsiteY197" fmla="*/ 7675 h 10000"/>
              <a:gd name="connsiteX198" fmla="*/ 4671 w 10000"/>
              <a:gd name="connsiteY198" fmla="*/ 7675 h 10000"/>
              <a:gd name="connsiteX199" fmla="*/ 4803 w 10000"/>
              <a:gd name="connsiteY199" fmla="*/ 7752 h 10000"/>
              <a:gd name="connsiteX200" fmla="*/ 4803 w 10000"/>
              <a:gd name="connsiteY200" fmla="*/ 7830 h 10000"/>
              <a:gd name="connsiteX201" fmla="*/ 4935 w 10000"/>
              <a:gd name="connsiteY201" fmla="*/ 7830 h 10000"/>
              <a:gd name="connsiteX202" fmla="*/ 5066 w 10000"/>
              <a:gd name="connsiteY202" fmla="*/ 7675 h 10000"/>
              <a:gd name="connsiteX203" fmla="*/ 5198 w 10000"/>
              <a:gd name="connsiteY203" fmla="*/ 7598 h 10000"/>
              <a:gd name="connsiteX204" fmla="*/ 5273 w 10000"/>
              <a:gd name="connsiteY204" fmla="*/ 7830 h 10000"/>
              <a:gd name="connsiteX205" fmla="*/ 5529 w 10000"/>
              <a:gd name="connsiteY205" fmla="*/ 8372 h 10000"/>
              <a:gd name="connsiteX206" fmla="*/ 5597 w 10000"/>
              <a:gd name="connsiteY206" fmla="*/ 8217 h 10000"/>
              <a:gd name="connsiteX207" fmla="*/ 5662 w 10000"/>
              <a:gd name="connsiteY207" fmla="*/ 8372 h 10000"/>
              <a:gd name="connsiteX208" fmla="*/ 5859 w 10000"/>
              <a:gd name="connsiteY208" fmla="*/ 8295 h 10000"/>
              <a:gd name="connsiteX209" fmla="*/ 6058 w 10000"/>
              <a:gd name="connsiteY209" fmla="*/ 8528 h 10000"/>
              <a:gd name="connsiteX210" fmla="*/ 6185 w 10000"/>
              <a:gd name="connsiteY210" fmla="*/ 8605 h 10000"/>
              <a:gd name="connsiteX211" fmla="*/ 6185 w 10000"/>
              <a:gd name="connsiteY211" fmla="*/ 8528 h 10000"/>
              <a:gd name="connsiteX212" fmla="*/ 6255 w 10000"/>
              <a:gd name="connsiteY212" fmla="*/ 8683 h 10000"/>
              <a:gd name="connsiteX213" fmla="*/ 6185 w 10000"/>
              <a:gd name="connsiteY213" fmla="*/ 8760 h 10000"/>
              <a:gd name="connsiteX214" fmla="*/ 6320 w 10000"/>
              <a:gd name="connsiteY214" fmla="*/ 8683 h 10000"/>
              <a:gd name="connsiteX215" fmla="*/ 6383 w 10000"/>
              <a:gd name="connsiteY215" fmla="*/ 8605 h 10000"/>
              <a:gd name="connsiteX216" fmla="*/ 6711 w 10000"/>
              <a:gd name="connsiteY216" fmla="*/ 8372 h 10000"/>
              <a:gd name="connsiteX217" fmla="*/ 6977 w 10000"/>
              <a:gd name="connsiteY217" fmla="*/ 8449 h 10000"/>
              <a:gd name="connsiteX218" fmla="*/ 7106 w 10000"/>
              <a:gd name="connsiteY218" fmla="*/ 8528 h 10000"/>
              <a:gd name="connsiteX219" fmla="*/ 7369 w 10000"/>
              <a:gd name="connsiteY219" fmla="*/ 8528 h 10000"/>
              <a:gd name="connsiteX220" fmla="*/ 7369 w 10000"/>
              <a:gd name="connsiteY220" fmla="*/ 8372 h 10000"/>
              <a:gd name="connsiteX221" fmla="*/ 7369 w 10000"/>
              <a:gd name="connsiteY221" fmla="*/ 8217 h 10000"/>
              <a:gd name="connsiteX222" fmla="*/ 7502 w 10000"/>
              <a:gd name="connsiteY222" fmla="*/ 8140 h 10000"/>
              <a:gd name="connsiteX223" fmla="*/ 7761 w 10000"/>
              <a:gd name="connsiteY223" fmla="*/ 8217 h 10000"/>
              <a:gd name="connsiteX224" fmla="*/ 7898 w 10000"/>
              <a:gd name="connsiteY224" fmla="*/ 8449 h 10000"/>
              <a:gd name="connsiteX225" fmla="*/ 7964 w 10000"/>
              <a:gd name="connsiteY225" fmla="*/ 8449 h 10000"/>
              <a:gd name="connsiteX226" fmla="*/ 8095 w 10000"/>
              <a:gd name="connsiteY226" fmla="*/ 8372 h 10000"/>
              <a:gd name="connsiteX227" fmla="*/ 8494 w 10000"/>
              <a:gd name="connsiteY227" fmla="*/ 8605 h 10000"/>
              <a:gd name="connsiteX228" fmla="*/ 8688 w 10000"/>
              <a:gd name="connsiteY228" fmla="*/ 8683 h 10000"/>
              <a:gd name="connsiteX229" fmla="*/ 8950 w 10000"/>
              <a:gd name="connsiteY229" fmla="*/ 8605 h 10000"/>
              <a:gd name="connsiteX230" fmla="*/ 9084 w 10000"/>
              <a:gd name="connsiteY230" fmla="*/ 8449 h 10000"/>
              <a:gd name="connsiteX231" fmla="*/ 9280 w 10000"/>
              <a:gd name="connsiteY231" fmla="*/ 8528 h 10000"/>
              <a:gd name="connsiteX232" fmla="*/ 9411 w 10000"/>
              <a:gd name="connsiteY232" fmla="*/ 8605 h 10000"/>
              <a:gd name="connsiteX233" fmla="*/ 9939 w 10000"/>
              <a:gd name="connsiteY233" fmla="*/ 2170 h 10000"/>
              <a:gd name="connsiteX234" fmla="*/ 10000 w 10000"/>
              <a:gd name="connsiteY234" fmla="*/ 2325 h 10000"/>
              <a:gd name="connsiteX235" fmla="*/ 9484 w 10000"/>
              <a:gd name="connsiteY235" fmla="*/ 2248 h 10000"/>
              <a:gd name="connsiteX236" fmla="*/ 9543 w 10000"/>
              <a:gd name="connsiteY236" fmla="*/ 2016 h 10000"/>
              <a:gd name="connsiteX237" fmla="*/ 9214 w 10000"/>
              <a:gd name="connsiteY237" fmla="*/ 1938 h 10000"/>
              <a:gd name="connsiteX238" fmla="*/ 9016 w 10000"/>
              <a:gd name="connsiteY238" fmla="*/ 2093 h 10000"/>
              <a:gd name="connsiteX239" fmla="*/ 8633 w 10000"/>
              <a:gd name="connsiteY239" fmla="*/ 1861 h 10000"/>
              <a:gd name="connsiteX0" fmla="*/ 8633 w 10000"/>
              <a:gd name="connsiteY0" fmla="*/ 1861 h 10000"/>
              <a:gd name="connsiteX1" fmla="*/ 8633 w 10000"/>
              <a:gd name="connsiteY1" fmla="*/ 1861 h 10000"/>
              <a:gd name="connsiteX2" fmla="*/ 8557 w 10000"/>
              <a:gd name="connsiteY2" fmla="*/ 1938 h 10000"/>
              <a:gd name="connsiteX3" fmla="*/ 8633 w 10000"/>
              <a:gd name="connsiteY3" fmla="*/ 2093 h 10000"/>
              <a:gd name="connsiteX4" fmla="*/ 8358 w 10000"/>
              <a:gd name="connsiteY4" fmla="*/ 2248 h 10000"/>
              <a:gd name="connsiteX5" fmla="*/ 8290 w 10000"/>
              <a:gd name="connsiteY5" fmla="*/ 2248 h 10000"/>
              <a:gd name="connsiteX6" fmla="*/ 8358 w 10000"/>
              <a:gd name="connsiteY6" fmla="*/ 2016 h 10000"/>
              <a:gd name="connsiteX7" fmla="*/ 9016 w 10000"/>
              <a:gd name="connsiteY7" fmla="*/ 1318 h 10000"/>
              <a:gd name="connsiteX8" fmla="*/ 9016 w 10000"/>
              <a:gd name="connsiteY8" fmla="*/ 853 h 10000"/>
              <a:gd name="connsiteX9" fmla="*/ 8757 w 10000"/>
              <a:gd name="connsiteY9" fmla="*/ 543 h 10000"/>
              <a:gd name="connsiteX10" fmla="*/ 8425 w 10000"/>
              <a:gd name="connsiteY10" fmla="*/ 543 h 10000"/>
              <a:gd name="connsiteX11" fmla="*/ 8425 w 10000"/>
              <a:gd name="connsiteY11" fmla="*/ 698 h 10000"/>
              <a:gd name="connsiteX12" fmla="*/ 8223 w 10000"/>
              <a:gd name="connsiteY12" fmla="*/ 698 h 10000"/>
              <a:gd name="connsiteX13" fmla="*/ 8358 w 10000"/>
              <a:gd name="connsiteY13" fmla="*/ 387 h 10000"/>
              <a:gd name="connsiteX14" fmla="*/ 8033 w 10000"/>
              <a:gd name="connsiteY14" fmla="*/ 310 h 10000"/>
              <a:gd name="connsiteX15" fmla="*/ 8223 w 10000"/>
              <a:gd name="connsiteY15" fmla="*/ 155 h 10000"/>
              <a:gd name="connsiteX16" fmla="*/ 8033 w 10000"/>
              <a:gd name="connsiteY16" fmla="*/ 0 h 10000"/>
              <a:gd name="connsiteX17" fmla="*/ 7702 w 10000"/>
              <a:gd name="connsiteY17" fmla="*/ 387 h 10000"/>
              <a:gd name="connsiteX18" fmla="*/ 7702 w 10000"/>
              <a:gd name="connsiteY18" fmla="*/ 698 h 10000"/>
              <a:gd name="connsiteX19" fmla="*/ 7502 w 10000"/>
              <a:gd name="connsiteY19" fmla="*/ 698 h 10000"/>
              <a:gd name="connsiteX20" fmla="*/ 6912 w 10000"/>
              <a:gd name="connsiteY20" fmla="*/ 853 h 10000"/>
              <a:gd name="connsiteX21" fmla="*/ 6383 w 10000"/>
              <a:gd name="connsiteY21" fmla="*/ 1240 h 10000"/>
              <a:gd name="connsiteX22" fmla="*/ 6185 w 10000"/>
              <a:gd name="connsiteY22" fmla="*/ 1551 h 10000"/>
              <a:gd name="connsiteX23" fmla="*/ 6255 w 10000"/>
              <a:gd name="connsiteY23" fmla="*/ 1938 h 10000"/>
              <a:gd name="connsiteX24" fmla="*/ 5529 w 10000"/>
              <a:gd name="connsiteY24" fmla="*/ 2093 h 10000"/>
              <a:gd name="connsiteX25" fmla="*/ 5597 w 10000"/>
              <a:gd name="connsiteY25" fmla="*/ 2559 h 10000"/>
              <a:gd name="connsiteX26" fmla="*/ 5793 w 10000"/>
              <a:gd name="connsiteY26" fmla="*/ 2791 h 10000"/>
              <a:gd name="connsiteX27" fmla="*/ 5662 w 10000"/>
              <a:gd name="connsiteY27" fmla="*/ 2868 h 10000"/>
              <a:gd name="connsiteX28" fmla="*/ 5466 w 10000"/>
              <a:gd name="connsiteY28" fmla="*/ 2559 h 10000"/>
              <a:gd name="connsiteX29" fmla="*/ 5273 w 10000"/>
              <a:gd name="connsiteY29" fmla="*/ 2480 h 10000"/>
              <a:gd name="connsiteX30" fmla="*/ 5198 w 10000"/>
              <a:gd name="connsiteY30" fmla="*/ 2559 h 10000"/>
              <a:gd name="connsiteX31" fmla="*/ 5066 w 10000"/>
              <a:gd name="connsiteY31" fmla="*/ 2403 h 10000"/>
              <a:gd name="connsiteX32" fmla="*/ 4935 w 10000"/>
              <a:gd name="connsiteY32" fmla="*/ 2248 h 10000"/>
              <a:gd name="connsiteX33" fmla="*/ 4935 w 10000"/>
              <a:gd name="connsiteY33" fmla="*/ 2325 h 10000"/>
              <a:gd name="connsiteX34" fmla="*/ 5008 w 10000"/>
              <a:gd name="connsiteY34" fmla="*/ 2559 h 10000"/>
              <a:gd name="connsiteX35" fmla="*/ 4803 w 10000"/>
              <a:gd name="connsiteY35" fmla="*/ 2946 h 10000"/>
              <a:gd name="connsiteX36" fmla="*/ 4935 w 10000"/>
              <a:gd name="connsiteY36" fmla="*/ 3256 h 10000"/>
              <a:gd name="connsiteX37" fmla="*/ 4869 w 10000"/>
              <a:gd name="connsiteY37" fmla="*/ 3566 h 10000"/>
              <a:gd name="connsiteX38" fmla="*/ 4869 w 10000"/>
              <a:gd name="connsiteY38" fmla="*/ 3799 h 10000"/>
              <a:gd name="connsiteX39" fmla="*/ 5066 w 10000"/>
              <a:gd name="connsiteY39" fmla="*/ 3799 h 10000"/>
              <a:gd name="connsiteX40" fmla="*/ 4935 w 10000"/>
              <a:gd name="connsiteY40" fmla="*/ 3876 h 10000"/>
              <a:gd name="connsiteX41" fmla="*/ 5008 w 10000"/>
              <a:gd name="connsiteY41" fmla="*/ 4263 h 10000"/>
              <a:gd name="connsiteX42" fmla="*/ 4609 w 10000"/>
              <a:gd name="connsiteY42" fmla="*/ 4652 h 10000"/>
              <a:gd name="connsiteX43" fmla="*/ 4536 w 10000"/>
              <a:gd name="connsiteY43" fmla="*/ 4574 h 10000"/>
              <a:gd name="connsiteX44" fmla="*/ 4803 w 10000"/>
              <a:gd name="connsiteY44" fmla="*/ 4186 h 10000"/>
              <a:gd name="connsiteX45" fmla="*/ 4869 w 10000"/>
              <a:gd name="connsiteY45" fmla="*/ 3954 h 10000"/>
              <a:gd name="connsiteX46" fmla="*/ 4730 w 10000"/>
              <a:gd name="connsiteY46" fmla="*/ 3799 h 10000"/>
              <a:gd name="connsiteX47" fmla="*/ 4730 w 10000"/>
              <a:gd name="connsiteY47" fmla="*/ 3023 h 10000"/>
              <a:gd name="connsiteX48" fmla="*/ 4671 w 10000"/>
              <a:gd name="connsiteY48" fmla="*/ 2868 h 10000"/>
              <a:gd name="connsiteX49" fmla="*/ 4730 w 10000"/>
              <a:gd name="connsiteY49" fmla="*/ 2403 h 10000"/>
              <a:gd name="connsiteX50" fmla="*/ 4609 w 10000"/>
              <a:gd name="connsiteY50" fmla="*/ 2325 h 10000"/>
              <a:gd name="connsiteX51" fmla="*/ 4671 w 10000"/>
              <a:gd name="connsiteY51" fmla="*/ 2248 h 10000"/>
              <a:gd name="connsiteX52" fmla="*/ 4609 w 10000"/>
              <a:gd name="connsiteY52" fmla="*/ 2093 h 10000"/>
              <a:gd name="connsiteX53" fmla="*/ 4472 w 10000"/>
              <a:gd name="connsiteY53" fmla="*/ 2170 h 10000"/>
              <a:gd name="connsiteX54" fmla="*/ 4147 w 10000"/>
              <a:gd name="connsiteY54" fmla="*/ 3178 h 10000"/>
              <a:gd name="connsiteX55" fmla="*/ 4147 w 10000"/>
              <a:gd name="connsiteY55" fmla="*/ 3566 h 10000"/>
              <a:gd name="connsiteX56" fmla="*/ 4345 w 10000"/>
              <a:gd name="connsiteY56" fmla="*/ 3876 h 10000"/>
              <a:gd name="connsiteX57" fmla="*/ 4345 w 10000"/>
              <a:gd name="connsiteY57" fmla="*/ 4031 h 10000"/>
              <a:gd name="connsiteX58" fmla="*/ 4147 w 10000"/>
              <a:gd name="connsiteY58" fmla="*/ 3876 h 10000"/>
              <a:gd name="connsiteX59" fmla="*/ 3361 w 10000"/>
              <a:gd name="connsiteY59" fmla="*/ 3256 h 10000"/>
              <a:gd name="connsiteX60" fmla="*/ 3293 w 10000"/>
              <a:gd name="connsiteY60" fmla="*/ 3411 h 10000"/>
              <a:gd name="connsiteX61" fmla="*/ 3556 w 10000"/>
              <a:gd name="connsiteY61" fmla="*/ 3799 h 10000"/>
              <a:gd name="connsiteX62" fmla="*/ 3419 w 10000"/>
              <a:gd name="connsiteY62" fmla="*/ 3876 h 10000"/>
              <a:gd name="connsiteX63" fmla="*/ 3361 w 10000"/>
              <a:gd name="connsiteY63" fmla="*/ 3799 h 10000"/>
              <a:gd name="connsiteX64" fmla="*/ 2965 w 10000"/>
              <a:gd name="connsiteY64" fmla="*/ 3954 h 10000"/>
              <a:gd name="connsiteX65" fmla="*/ 2899 w 10000"/>
              <a:gd name="connsiteY65" fmla="*/ 4109 h 10000"/>
              <a:gd name="connsiteX66" fmla="*/ 2832 w 10000"/>
              <a:gd name="connsiteY66" fmla="*/ 3954 h 10000"/>
              <a:gd name="connsiteX67" fmla="*/ 2832 w 10000"/>
              <a:gd name="connsiteY67" fmla="*/ 3799 h 10000"/>
              <a:gd name="connsiteX68" fmla="*/ 2168 w 10000"/>
              <a:gd name="connsiteY68" fmla="*/ 4263 h 10000"/>
              <a:gd name="connsiteX69" fmla="*/ 2168 w 10000"/>
              <a:gd name="connsiteY69" fmla="*/ 4418 h 10000"/>
              <a:gd name="connsiteX70" fmla="*/ 2040 w 10000"/>
              <a:gd name="connsiteY70" fmla="*/ 4496 h 10000"/>
              <a:gd name="connsiteX71" fmla="*/ 1844 w 10000"/>
              <a:gd name="connsiteY71" fmla="*/ 4341 h 10000"/>
              <a:gd name="connsiteX72" fmla="*/ 2040 w 10000"/>
              <a:gd name="connsiteY72" fmla="*/ 4186 h 10000"/>
              <a:gd name="connsiteX73" fmla="*/ 1972 w 10000"/>
              <a:gd name="connsiteY73" fmla="*/ 3954 h 10000"/>
              <a:gd name="connsiteX74" fmla="*/ 1711 w 10000"/>
              <a:gd name="connsiteY74" fmla="*/ 3876 h 10000"/>
              <a:gd name="connsiteX75" fmla="*/ 1778 w 10000"/>
              <a:gd name="connsiteY75" fmla="*/ 4031 h 10000"/>
              <a:gd name="connsiteX76" fmla="*/ 1778 w 10000"/>
              <a:gd name="connsiteY76" fmla="*/ 4418 h 10000"/>
              <a:gd name="connsiteX77" fmla="*/ 1844 w 10000"/>
              <a:gd name="connsiteY77" fmla="*/ 4574 h 10000"/>
              <a:gd name="connsiteX78" fmla="*/ 1778 w 10000"/>
              <a:gd name="connsiteY78" fmla="*/ 4729 h 10000"/>
              <a:gd name="connsiteX79" fmla="*/ 1576 w 10000"/>
              <a:gd name="connsiteY79" fmla="*/ 4652 h 10000"/>
              <a:gd name="connsiteX80" fmla="*/ 1318 w 10000"/>
              <a:gd name="connsiteY80" fmla="*/ 4884 h 10000"/>
              <a:gd name="connsiteX81" fmla="*/ 1445 w 10000"/>
              <a:gd name="connsiteY81" fmla="*/ 5194 h 10000"/>
              <a:gd name="connsiteX82" fmla="*/ 1051 w 10000"/>
              <a:gd name="connsiteY82" fmla="*/ 5039 h 10000"/>
              <a:gd name="connsiteX83" fmla="*/ 988 w 10000"/>
              <a:gd name="connsiteY83" fmla="*/ 5116 h 10000"/>
              <a:gd name="connsiteX84" fmla="*/ 1121 w 10000"/>
              <a:gd name="connsiteY84" fmla="*/ 5349 h 10000"/>
              <a:gd name="connsiteX85" fmla="*/ 988 w 10000"/>
              <a:gd name="connsiteY85" fmla="*/ 5349 h 10000"/>
              <a:gd name="connsiteX86" fmla="*/ 792 w 10000"/>
              <a:gd name="connsiteY86" fmla="*/ 5194 h 10000"/>
              <a:gd name="connsiteX87" fmla="*/ 792 w 10000"/>
              <a:gd name="connsiteY87" fmla="*/ 4729 h 10000"/>
              <a:gd name="connsiteX88" fmla="*/ 595 w 10000"/>
              <a:gd name="connsiteY88" fmla="*/ 4574 h 10000"/>
              <a:gd name="connsiteX89" fmla="*/ 525 w 10000"/>
              <a:gd name="connsiteY89" fmla="*/ 4418 h 10000"/>
              <a:gd name="connsiteX90" fmla="*/ 656 w 10000"/>
              <a:gd name="connsiteY90" fmla="*/ 4496 h 10000"/>
              <a:gd name="connsiteX91" fmla="*/ 1181 w 10000"/>
              <a:gd name="connsiteY91" fmla="*/ 4729 h 10000"/>
              <a:gd name="connsiteX92" fmla="*/ 1507 w 10000"/>
              <a:gd name="connsiteY92" fmla="*/ 4496 h 10000"/>
              <a:gd name="connsiteX93" fmla="*/ 1445 w 10000"/>
              <a:gd name="connsiteY93" fmla="*/ 4263 h 10000"/>
              <a:gd name="connsiteX94" fmla="*/ 1051 w 10000"/>
              <a:gd name="connsiteY94" fmla="*/ 3799 h 10000"/>
              <a:gd name="connsiteX95" fmla="*/ 656 w 10000"/>
              <a:gd name="connsiteY95" fmla="*/ 3644 h 10000"/>
              <a:gd name="connsiteX96" fmla="*/ 656 w 10000"/>
              <a:gd name="connsiteY96" fmla="*/ 3566 h 10000"/>
              <a:gd name="connsiteX97" fmla="*/ 525 w 10000"/>
              <a:gd name="connsiteY97" fmla="*/ 3488 h 10000"/>
              <a:gd name="connsiteX98" fmla="*/ 392 w 10000"/>
              <a:gd name="connsiteY98" fmla="*/ 3566 h 10000"/>
              <a:gd name="connsiteX99" fmla="*/ 392 w 10000"/>
              <a:gd name="connsiteY99" fmla="*/ 3644 h 10000"/>
              <a:gd name="connsiteX100" fmla="*/ 327 w 10000"/>
              <a:gd name="connsiteY100" fmla="*/ 3644 h 10000"/>
              <a:gd name="connsiteX101" fmla="*/ 198 w 10000"/>
              <a:gd name="connsiteY101" fmla="*/ 3799 h 10000"/>
              <a:gd name="connsiteX102" fmla="*/ 198 w 10000"/>
              <a:gd name="connsiteY102" fmla="*/ 4031 h 10000"/>
              <a:gd name="connsiteX103" fmla="*/ 327 w 10000"/>
              <a:gd name="connsiteY103" fmla="*/ 4186 h 10000"/>
              <a:gd name="connsiteX104" fmla="*/ 265 w 10000"/>
              <a:gd name="connsiteY104" fmla="*/ 4418 h 10000"/>
              <a:gd name="connsiteX105" fmla="*/ 327 w 10000"/>
              <a:gd name="connsiteY105" fmla="*/ 4807 h 10000"/>
              <a:gd name="connsiteX106" fmla="*/ 265 w 10000"/>
              <a:gd name="connsiteY106" fmla="*/ 5039 h 10000"/>
              <a:gd name="connsiteX107" fmla="*/ 392 w 10000"/>
              <a:gd name="connsiteY107" fmla="*/ 5271 h 10000"/>
              <a:gd name="connsiteX108" fmla="*/ 327 w 10000"/>
              <a:gd name="connsiteY108" fmla="*/ 5426 h 10000"/>
              <a:gd name="connsiteX109" fmla="*/ 458 w 10000"/>
              <a:gd name="connsiteY109" fmla="*/ 5582 h 10000"/>
              <a:gd name="connsiteX110" fmla="*/ 458 w 10000"/>
              <a:gd name="connsiteY110" fmla="*/ 5659 h 10000"/>
              <a:gd name="connsiteX111" fmla="*/ 265 w 10000"/>
              <a:gd name="connsiteY111" fmla="*/ 6047 h 10000"/>
              <a:gd name="connsiteX112" fmla="*/ 60 w 10000"/>
              <a:gd name="connsiteY112" fmla="*/ 6202 h 10000"/>
              <a:gd name="connsiteX113" fmla="*/ 130 w 10000"/>
              <a:gd name="connsiteY113" fmla="*/ 6202 h 10000"/>
              <a:gd name="connsiteX114" fmla="*/ 265 w 10000"/>
              <a:gd name="connsiteY114" fmla="*/ 6356 h 10000"/>
              <a:gd name="connsiteX115" fmla="*/ 130 w 10000"/>
              <a:gd name="connsiteY115" fmla="*/ 6512 h 10000"/>
              <a:gd name="connsiteX116" fmla="*/ 60 w 10000"/>
              <a:gd name="connsiteY116" fmla="*/ 6590 h 10000"/>
              <a:gd name="connsiteX117" fmla="*/ 0 w 10000"/>
              <a:gd name="connsiteY117" fmla="*/ 6590 h 10000"/>
              <a:gd name="connsiteX118" fmla="*/ 60 w 10000"/>
              <a:gd name="connsiteY118" fmla="*/ 6822 h 10000"/>
              <a:gd name="connsiteX119" fmla="*/ 60 w 10000"/>
              <a:gd name="connsiteY119" fmla="*/ 6900 h 10000"/>
              <a:gd name="connsiteX120" fmla="*/ 60 w 10000"/>
              <a:gd name="connsiteY120" fmla="*/ 6977 h 10000"/>
              <a:gd name="connsiteX121" fmla="*/ 60 w 10000"/>
              <a:gd name="connsiteY121" fmla="*/ 7054 h 10000"/>
              <a:gd name="connsiteX122" fmla="*/ 130 w 10000"/>
              <a:gd name="connsiteY122" fmla="*/ 7209 h 10000"/>
              <a:gd name="connsiteX123" fmla="*/ 327 w 10000"/>
              <a:gd name="connsiteY123" fmla="*/ 7287 h 10000"/>
              <a:gd name="connsiteX124" fmla="*/ 392 w 10000"/>
              <a:gd name="connsiteY124" fmla="*/ 7364 h 10000"/>
              <a:gd name="connsiteX125" fmla="*/ 392 w 10000"/>
              <a:gd name="connsiteY125" fmla="*/ 7520 h 10000"/>
              <a:gd name="connsiteX126" fmla="*/ 525 w 10000"/>
              <a:gd name="connsiteY126" fmla="*/ 7752 h 10000"/>
              <a:gd name="connsiteX127" fmla="*/ 595 w 10000"/>
              <a:gd name="connsiteY127" fmla="*/ 7752 h 10000"/>
              <a:gd name="connsiteX128" fmla="*/ 525 w 10000"/>
              <a:gd name="connsiteY128" fmla="*/ 7907 h 10000"/>
              <a:gd name="connsiteX129" fmla="*/ 458 w 10000"/>
              <a:gd name="connsiteY129" fmla="*/ 7830 h 10000"/>
              <a:gd name="connsiteX130" fmla="*/ 458 w 10000"/>
              <a:gd name="connsiteY130" fmla="*/ 7907 h 10000"/>
              <a:gd name="connsiteX131" fmla="*/ 525 w 10000"/>
              <a:gd name="connsiteY131" fmla="*/ 8062 h 10000"/>
              <a:gd name="connsiteX132" fmla="*/ 727 w 10000"/>
              <a:gd name="connsiteY132" fmla="*/ 8062 h 10000"/>
              <a:gd name="connsiteX133" fmla="*/ 792 w 10000"/>
              <a:gd name="connsiteY133" fmla="*/ 8140 h 10000"/>
              <a:gd name="connsiteX134" fmla="*/ 727 w 10000"/>
              <a:gd name="connsiteY134" fmla="*/ 8140 h 10000"/>
              <a:gd name="connsiteX135" fmla="*/ 792 w 10000"/>
              <a:gd name="connsiteY135" fmla="*/ 8217 h 10000"/>
              <a:gd name="connsiteX136" fmla="*/ 854 w 10000"/>
              <a:gd name="connsiteY136" fmla="*/ 8217 h 10000"/>
              <a:gd name="connsiteX137" fmla="*/ 919 w 10000"/>
              <a:gd name="connsiteY137" fmla="*/ 8372 h 10000"/>
              <a:gd name="connsiteX138" fmla="*/ 988 w 10000"/>
              <a:gd name="connsiteY138" fmla="*/ 8449 h 10000"/>
              <a:gd name="connsiteX139" fmla="*/ 1051 w 10000"/>
              <a:gd name="connsiteY139" fmla="*/ 8372 h 10000"/>
              <a:gd name="connsiteX140" fmla="*/ 1383 w 10000"/>
              <a:gd name="connsiteY140" fmla="*/ 8605 h 10000"/>
              <a:gd name="connsiteX141" fmla="*/ 1318 w 10000"/>
              <a:gd name="connsiteY141" fmla="*/ 8915 h 10000"/>
              <a:gd name="connsiteX142" fmla="*/ 1251 w 10000"/>
              <a:gd name="connsiteY142" fmla="*/ 8838 h 10000"/>
              <a:gd name="connsiteX143" fmla="*/ 1181 w 10000"/>
              <a:gd name="connsiteY143" fmla="*/ 8915 h 10000"/>
              <a:gd name="connsiteX144" fmla="*/ 1181 w 10000"/>
              <a:gd name="connsiteY144" fmla="*/ 9070 h 10000"/>
              <a:gd name="connsiteX145" fmla="*/ 1251 w 10000"/>
              <a:gd name="connsiteY145" fmla="*/ 8993 h 10000"/>
              <a:gd name="connsiteX146" fmla="*/ 1318 w 10000"/>
              <a:gd name="connsiteY146" fmla="*/ 9070 h 10000"/>
              <a:gd name="connsiteX147" fmla="*/ 1121 w 10000"/>
              <a:gd name="connsiteY147" fmla="*/ 9147 h 10000"/>
              <a:gd name="connsiteX148" fmla="*/ 1181 w 10000"/>
              <a:gd name="connsiteY148" fmla="*/ 9225 h 10000"/>
              <a:gd name="connsiteX149" fmla="*/ 1051 w 10000"/>
              <a:gd name="connsiteY149" fmla="*/ 9380 h 10000"/>
              <a:gd name="connsiteX150" fmla="*/ 988 w 10000"/>
              <a:gd name="connsiteY150" fmla="*/ 9380 h 10000"/>
              <a:gd name="connsiteX151" fmla="*/ 1051 w 10000"/>
              <a:gd name="connsiteY151" fmla="*/ 9380 h 10000"/>
              <a:gd name="connsiteX152" fmla="*/ 1318 w 10000"/>
              <a:gd name="connsiteY152" fmla="*/ 9691 h 10000"/>
              <a:gd name="connsiteX153" fmla="*/ 1646 w 10000"/>
              <a:gd name="connsiteY153" fmla="*/ 9691 h 10000"/>
              <a:gd name="connsiteX154" fmla="*/ 1778 w 10000"/>
              <a:gd name="connsiteY154" fmla="*/ 9768 h 10000"/>
              <a:gd name="connsiteX155" fmla="*/ 1909 w 10000"/>
              <a:gd name="connsiteY155" fmla="*/ 9768 h 10000"/>
              <a:gd name="connsiteX156" fmla="*/ 2040 w 10000"/>
              <a:gd name="connsiteY156" fmla="*/ 9923 h 10000"/>
              <a:gd name="connsiteX157" fmla="*/ 2106 w 10000"/>
              <a:gd name="connsiteY157" fmla="*/ 10000 h 10000"/>
              <a:gd name="connsiteX158" fmla="*/ 2168 w 10000"/>
              <a:gd name="connsiteY158" fmla="*/ 10000 h 10000"/>
              <a:gd name="connsiteX159" fmla="*/ 2238 w 10000"/>
              <a:gd name="connsiteY159" fmla="*/ 9923 h 10000"/>
              <a:gd name="connsiteX160" fmla="*/ 2106 w 10000"/>
              <a:gd name="connsiteY160" fmla="*/ 9768 h 10000"/>
              <a:gd name="connsiteX161" fmla="*/ 2106 w 10000"/>
              <a:gd name="connsiteY161" fmla="*/ 9613 h 10000"/>
              <a:gd name="connsiteX162" fmla="*/ 2040 w 10000"/>
              <a:gd name="connsiteY162" fmla="*/ 9457 h 10000"/>
              <a:gd name="connsiteX163" fmla="*/ 2168 w 10000"/>
              <a:gd name="connsiteY163" fmla="*/ 9225 h 10000"/>
              <a:gd name="connsiteX164" fmla="*/ 2238 w 10000"/>
              <a:gd name="connsiteY164" fmla="*/ 9302 h 10000"/>
              <a:gd name="connsiteX165" fmla="*/ 2303 w 10000"/>
              <a:gd name="connsiteY165" fmla="*/ 9225 h 10000"/>
              <a:gd name="connsiteX166" fmla="*/ 2303 w 10000"/>
              <a:gd name="connsiteY166" fmla="*/ 9147 h 10000"/>
              <a:gd name="connsiteX167" fmla="*/ 2238 w 10000"/>
              <a:gd name="connsiteY167" fmla="*/ 9147 h 10000"/>
              <a:gd name="connsiteX168" fmla="*/ 2303 w 10000"/>
              <a:gd name="connsiteY168" fmla="*/ 9070 h 10000"/>
              <a:gd name="connsiteX169" fmla="*/ 2238 w 10000"/>
              <a:gd name="connsiteY169" fmla="*/ 8915 h 10000"/>
              <a:gd name="connsiteX170" fmla="*/ 2106 w 10000"/>
              <a:gd name="connsiteY170" fmla="*/ 8915 h 10000"/>
              <a:gd name="connsiteX171" fmla="*/ 2040 w 10000"/>
              <a:gd name="connsiteY171" fmla="*/ 8760 h 10000"/>
              <a:gd name="connsiteX172" fmla="*/ 2106 w 10000"/>
              <a:gd name="connsiteY172" fmla="*/ 8372 h 10000"/>
              <a:gd name="connsiteX173" fmla="*/ 2238 w 10000"/>
              <a:gd name="connsiteY173" fmla="*/ 8528 h 10000"/>
              <a:gd name="connsiteX174" fmla="*/ 2303 w 10000"/>
              <a:gd name="connsiteY174" fmla="*/ 8528 h 10000"/>
              <a:gd name="connsiteX175" fmla="*/ 2238 w 10000"/>
              <a:gd name="connsiteY175" fmla="*/ 8372 h 10000"/>
              <a:gd name="connsiteX176" fmla="*/ 2436 w 10000"/>
              <a:gd name="connsiteY176" fmla="*/ 8140 h 10000"/>
              <a:gd name="connsiteX177" fmla="*/ 2569 w 10000"/>
              <a:gd name="connsiteY177" fmla="*/ 8217 h 10000"/>
              <a:gd name="connsiteX178" fmla="*/ 2633 w 10000"/>
              <a:gd name="connsiteY178" fmla="*/ 8140 h 10000"/>
              <a:gd name="connsiteX179" fmla="*/ 2761 w 10000"/>
              <a:gd name="connsiteY179" fmla="*/ 8217 h 10000"/>
              <a:gd name="connsiteX180" fmla="*/ 2965 w 10000"/>
              <a:gd name="connsiteY180" fmla="*/ 8372 h 10000"/>
              <a:gd name="connsiteX181" fmla="*/ 3092 w 10000"/>
              <a:gd name="connsiteY181" fmla="*/ 8295 h 10000"/>
              <a:gd name="connsiteX182" fmla="*/ 3226 w 10000"/>
              <a:gd name="connsiteY182" fmla="*/ 8295 h 10000"/>
              <a:gd name="connsiteX183" fmla="*/ 3293 w 10000"/>
              <a:gd name="connsiteY183" fmla="*/ 8372 h 10000"/>
              <a:gd name="connsiteX184" fmla="*/ 3556 w 10000"/>
              <a:gd name="connsiteY184" fmla="*/ 8372 h 10000"/>
              <a:gd name="connsiteX185" fmla="*/ 3618 w 10000"/>
              <a:gd name="connsiteY185" fmla="*/ 8217 h 10000"/>
              <a:gd name="connsiteX186" fmla="*/ 3419 w 10000"/>
              <a:gd name="connsiteY186" fmla="*/ 8140 h 10000"/>
              <a:gd name="connsiteX187" fmla="*/ 3556 w 10000"/>
              <a:gd name="connsiteY187" fmla="*/ 8062 h 10000"/>
              <a:gd name="connsiteX188" fmla="*/ 3485 w 10000"/>
              <a:gd name="connsiteY188" fmla="*/ 7985 h 10000"/>
              <a:gd name="connsiteX189" fmla="*/ 3556 w 10000"/>
              <a:gd name="connsiteY189" fmla="*/ 7907 h 10000"/>
              <a:gd name="connsiteX190" fmla="*/ 3556 w 10000"/>
              <a:gd name="connsiteY190" fmla="*/ 7675 h 10000"/>
              <a:gd name="connsiteX191" fmla="*/ 3683 w 10000"/>
              <a:gd name="connsiteY191" fmla="*/ 7752 h 10000"/>
              <a:gd name="connsiteX192" fmla="*/ 4277 w 10000"/>
              <a:gd name="connsiteY192" fmla="*/ 7520 h 10000"/>
              <a:gd name="connsiteX193" fmla="*/ 4277 w 10000"/>
              <a:gd name="connsiteY193" fmla="*/ 7442 h 10000"/>
              <a:gd name="connsiteX194" fmla="*/ 4345 w 10000"/>
              <a:gd name="connsiteY194" fmla="*/ 7442 h 10000"/>
              <a:gd name="connsiteX195" fmla="*/ 4536 w 10000"/>
              <a:gd name="connsiteY195" fmla="*/ 7442 h 10000"/>
              <a:gd name="connsiteX196" fmla="*/ 4609 w 10000"/>
              <a:gd name="connsiteY196" fmla="*/ 7598 h 10000"/>
              <a:gd name="connsiteX197" fmla="*/ 4609 w 10000"/>
              <a:gd name="connsiteY197" fmla="*/ 7675 h 10000"/>
              <a:gd name="connsiteX198" fmla="*/ 4671 w 10000"/>
              <a:gd name="connsiteY198" fmla="*/ 7675 h 10000"/>
              <a:gd name="connsiteX199" fmla="*/ 4803 w 10000"/>
              <a:gd name="connsiteY199" fmla="*/ 7752 h 10000"/>
              <a:gd name="connsiteX200" fmla="*/ 4803 w 10000"/>
              <a:gd name="connsiteY200" fmla="*/ 7830 h 10000"/>
              <a:gd name="connsiteX201" fmla="*/ 4935 w 10000"/>
              <a:gd name="connsiteY201" fmla="*/ 7830 h 10000"/>
              <a:gd name="connsiteX202" fmla="*/ 5066 w 10000"/>
              <a:gd name="connsiteY202" fmla="*/ 7675 h 10000"/>
              <a:gd name="connsiteX203" fmla="*/ 5198 w 10000"/>
              <a:gd name="connsiteY203" fmla="*/ 7598 h 10000"/>
              <a:gd name="connsiteX204" fmla="*/ 5273 w 10000"/>
              <a:gd name="connsiteY204" fmla="*/ 7830 h 10000"/>
              <a:gd name="connsiteX205" fmla="*/ 5529 w 10000"/>
              <a:gd name="connsiteY205" fmla="*/ 8372 h 10000"/>
              <a:gd name="connsiteX206" fmla="*/ 5597 w 10000"/>
              <a:gd name="connsiteY206" fmla="*/ 8217 h 10000"/>
              <a:gd name="connsiteX207" fmla="*/ 5662 w 10000"/>
              <a:gd name="connsiteY207" fmla="*/ 8372 h 10000"/>
              <a:gd name="connsiteX208" fmla="*/ 5859 w 10000"/>
              <a:gd name="connsiteY208" fmla="*/ 8295 h 10000"/>
              <a:gd name="connsiteX209" fmla="*/ 6058 w 10000"/>
              <a:gd name="connsiteY209" fmla="*/ 8528 h 10000"/>
              <a:gd name="connsiteX210" fmla="*/ 6185 w 10000"/>
              <a:gd name="connsiteY210" fmla="*/ 8605 h 10000"/>
              <a:gd name="connsiteX211" fmla="*/ 6185 w 10000"/>
              <a:gd name="connsiteY211" fmla="*/ 8528 h 10000"/>
              <a:gd name="connsiteX212" fmla="*/ 6255 w 10000"/>
              <a:gd name="connsiteY212" fmla="*/ 8683 h 10000"/>
              <a:gd name="connsiteX213" fmla="*/ 6185 w 10000"/>
              <a:gd name="connsiteY213" fmla="*/ 8760 h 10000"/>
              <a:gd name="connsiteX214" fmla="*/ 6320 w 10000"/>
              <a:gd name="connsiteY214" fmla="*/ 8683 h 10000"/>
              <a:gd name="connsiteX215" fmla="*/ 6383 w 10000"/>
              <a:gd name="connsiteY215" fmla="*/ 8605 h 10000"/>
              <a:gd name="connsiteX216" fmla="*/ 6711 w 10000"/>
              <a:gd name="connsiteY216" fmla="*/ 8372 h 10000"/>
              <a:gd name="connsiteX217" fmla="*/ 6977 w 10000"/>
              <a:gd name="connsiteY217" fmla="*/ 8449 h 10000"/>
              <a:gd name="connsiteX218" fmla="*/ 7106 w 10000"/>
              <a:gd name="connsiteY218" fmla="*/ 8528 h 10000"/>
              <a:gd name="connsiteX219" fmla="*/ 7369 w 10000"/>
              <a:gd name="connsiteY219" fmla="*/ 8528 h 10000"/>
              <a:gd name="connsiteX220" fmla="*/ 7369 w 10000"/>
              <a:gd name="connsiteY220" fmla="*/ 8372 h 10000"/>
              <a:gd name="connsiteX221" fmla="*/ 7369 w 10000"/>
              <a:gd name="connsiteY221" fmla="*/ 8217 h 10000"/>
              <a:gd name="connsiteX222" fmla="*/ 7502 w 10000"/>
              <a:gd name="connsiteY222" fmla="*/ 8140 h 10000"/>
              <a:gd name="connsiteX223" fmla="*/ 7761 w 10000"/>
              <a:gd name="connsiteY223" fmla="*/ 8217 h 10000"/>
              <a:gd name="connsiteX224" fmla="*/ 7898 w 10000"/>
              <a:gd name="connsiteY224" fmla="*/ 8449 h 10000"/>
              <a:gd name="connsiteX225" fmla="*/ 7964 w 10000"/>
              <a:gd name="connsiteY225" fmla="*/ 8449 h 10000"/>
              <a:gd name="connsiteX226" fmla="*/ 8095 w 10000"/>
              <a:gd name="connsiteY226" fmla="*/ 8372 h 10000"/>
              <a:gd name="connsiteX227" fmla="*/ 8494 w 10000"/>
              <a:gd name="connsiteY227" fmla="*/ 8605 h 10000"/>
              <a:gd name="connsiteX228" fmla="*/ 8688 w 10000"/>
              <a:gd name="connsiteY228" fmla="*/ 8683 h 10000"/>
              <a:gd name="connsiteX229" fmla="*/ 8950 w 10000"/>
              <a:gd name="connsiteY229" fmla="*/ 8605 h 10000"/>
              <a:gd name="connsiteX230" fmla="*/ 9084 w 10000"/>
              <a:gd name="connsiteY230" fmla="*/ 8449 h 10000"/>
              <a:gd name="connsiteX231" fmla="*/ 9280 w 10000"/>
              <a:gd name="connsiteY231" fmla="*/ 8528 h 10000"/>
              <a:gd name="connsiteX232" fmla="*/ 9411 w 10000"/>
              <a:gd name="connsiteY232" fmla="*/ 8605 h 10000"/>
              <a:gd name="connsiteX233" fmla="*/ 10000 w 10000"/>
              <a:gd name="connsiteY233" fmla="*/ 2325 h 10000"/>
              <a:gd name="connsiteX234" fmla="*/ 9484 w 10000"/>
              <a:gd name="connsiteY234" fmla="*/ 2248 h 10000"/>
              <a:gd name="connsiteX235" fmla="*/ 9543 w 10000"/>
              <a:gd name="connsiteY235" fmla="*/ 2016 h 10000"/>
              <a:gd name="connsiteX236" fmla="*/ 9214 w 10000"/>
              <a:gd name="connsiteY236" fmla="*/ 1938 h 10000"/>
              <a:gd name="connsiteX237" fmla="*/ 9016 w 10000"/>
              <a:gd name="connsiteY237" fmla="*/ 2093 h 10000"/>
              <a:gd name="connsiteX238" fmla="*/ 8633 w 10000"/>
              <a:gd name="connsiteY238" fmla="*/ 1861 h 10000"/>
              <a:gd name="connsiteX0" fmla="*/ 8633 w 9543"/>
              <a:gd name="connsiteY0" fmla="*/ 1861 h 10000"/>
              <a:gd name="connsiteX1" fmla="*/ 8633 w 9543"/>
              <a:gd name="connsiteY1" fmla="*/ 1861 h 10000"/>
              <a:gd name="connsiteX2" fmla="*/ 8557 w 9543"/>
              <a:gd name="connsiteY2" fmla="*/ 1938 h 10000"/>
              <a:gd name="connsiteX3" fmla="*/ 8633 w 9543"/>
              <a:gd name="connsiteY3" fmla="*/ 2093 h 10000"/>
              <a:gd name="connsiteX4" fmla="*/ 8358 w 9543"/>
              <a:gd name="connsiteY4" fmla="*/ 2248 h 10000"/>
              <a:gd name="connsiteX5" fmla="*/ 8290 w 9543"/>
              <a:gd name="connsiteY5" fmla="*/ 2248 h 10000"/>
              <a:gd name="connsiteX6" fmla="*/ 8358 w 9543"/>
              <a:gd name="connsiteY6" fmla="*/ 2016 h 10000"/>
              <a:gd name="connsiteX7" fmla="*/ 9016 w 9543"/>
              <a:gd name="connsiteY7" fmla="*/ 1318 h 10000"/>
              <a:gd name="connsiteX8" fmla="*/ 9016 w 9543"/>
              <a:gd name="connsiteY8" fmla="*/ 853 h 10000"/>
              <a:gd name="connsiteX9" fmla="*/ 8757 w 9543"/>
              <a:gd name="connsiteY9" fmla="*/ 543 h 10000"/>
              <a:gd name="connsiteX10" fmla="*/ 8425 w 9543"/>
              <a:gd name="connsiteY10" fmla="*/ 543 h 10000"/>
              <a:gd name="connsiteX11" fmla="*/ 8425 w 9543"/>
              <a:gd name="connsiteY11" fmla="*/ 698 h 10000"/>
              <a:gd name="connsiteX12" fmla="*/ 8223 w 9543"/>
              <a:gd name="connsiteY12" fmla="*/ 698 h 10000"/>
              <a:gd name="connsiteX13" fmla="*/ 8358 w 9543"/>
              <a:gd name="connsiteY13" fmla="*/ 387 h 10000"/>
              <a:gd name="connsiteX14" fmla="*/ 8033 w 9543"/>
              <a:gd name="connsiteY14" fmla="*/ 310 h 10000"/>
              <a:gd name="connsiteX15" fmla="*/ 8223 w 9543"/>
              <a:gd name="connsiteY15" fmla="*/ 155 h 10000"/>
              <a:gd name="connsiteX16" fmla="*/ 8033 w 9543"/>
              <a:gd name="connsiteY16" fmla="*/ 0 h 10000"/>
              <a:gd name="connsiteX17" fmla="*/ 7702 w 9543"/>
              <a:gd name="connsiteY17" fmla="*/ 387 h 10000"/>
              <a:gd name="connsiteX18" fmla="*/ 7702 w 9543"/>
              <a:gd name="connsiteY18" fmla="*/ 698 h 10000"/>
              <a:gd name="connsiteX19" fmla="*/ 7502 w 9543"/>
              <a:gd name="connsiteY19" fmla="*/ 698 h 10000"/>
              <a:gd name="connsiteX20" fmla="*/ 6912 w 9543"/>
              <a:gd name="connsiteY20" fmla="*/ 853 h 10000"/>
              <a:gd name="connsiteX21" fmla="*/ 6383 w 9543"/>
              <a:gd name="connsiteY21" fmla="*/ 1240 h 10000"/>
              <a:gd name="connsiteX22" fmla="*/ 6185 w 9543"/>
              <a:gd name="connsiteY22" fmla="*/ 1551 h 10000"/>
              <a:gd name="connsiteX23" fmla="*/ 6255 w 9543"/>
              <a:gd name="connsiteY23" fmla="*/ 1938 h 10000"/>
              <a:gd name="connsiteX24" fmla="*/ 5529 w 9543"/>
              <a:gd name="connsiteY24" fmla="*/ 2093 h 10000"/>
              <a:gd name="connsiteX25" fmla="*/ 5597 w 9543"/>
              <a:gd name="connsiteY25" fmla="*/ 2559 h 10000"/>
              <a:gd name="connsiteX26" fmla="*/ 5793 w 9543"/>
              <a:gd name="connsiteY26" fmla="*/ 2791 h 10000"/>
              <a:gd name="connsiteX27" fmla="*/ 5662 w 9543"/>
              <a:gd name="connsiteY27" fmla="*/ 2868 h 10000"/>
              <a:gd name="connsiteX28" fmla="*/ 5466 w 9543"/>
              <a:gd name="connsiteY28" fmla="*/ 2559 h 10000"/>
              <a:gd name="connsiteX29" fmla="*/ 5273 w 9543"/>
              <a:gd name="connsiteY29" fmla="*/ 2480 h 10000"/>
              <a:gd name="connsiteX30" fmla="*/ 5198 w 9543"/>
              <a:gd name="connsiteY30" fmla="*/ 2559 h 10000"/>
              <a:gd name="connsiteX31" fmla="*/ 5066 w 9543"/>
              <a:gd name="connsiteY31" fmla="*/ 2403 h 10000"/>
              <a:gd name="connsiteX32" fmla="*/ 4935 w 9543"/>
              <a:gd name="connsiteY32" fmla="*/ 2248 h 10000"/>
              <a:gd name="connsiteX33" fmla="*/ 4935 w 9543"/>
              <a:gd name="connsiteY33" fmla="*/ 2325 h 10000"/>
              <a:gd name="connsiteX34" fmla="*/ 5008 w 9543"/>
              <a:gd name="connsiteY34" fmla="*/ 2559 h 10000"/>
              <a:gd name="connsiteX35" fmla="*/ 4803 w 9543"/>
              <a:gd name="connsiteY35" fmla="*/ 2946 h 10000"/>
              <a:gd name="connsiteX36" fmla="*/ 4935 w 9543"/>
              <a:gd name="connsiteY36" fmla="*/ 3256 h 10000"/>
              <a:gd name="connsiteX37" fmla="*/ 4869 w 9543"/>
              <a:gd name="connsiteY37" fmla="*/ 3566 h 10000"/>
              <a:gd name="connsiteX38" fmla="*/ 4869 w 9543"/>
              <a:gd name="connsiteY38" fmla="*/ 3799 h 10000"/>
              <a:gd name="connsiteX39" fmla="*/ 5066 w 9543"/>
              <a:gd name="connsiteY39" fmla="*/ 3799 h 10000"/>
              <a:gd name="connsiteX40" fmla="*/ 4935 w 9543"/>
              <a:gd name="connsiteY40" fmla="*/ 3876 h 10000"/>
              <a:gd name="connsiteX41" fmla="*/ 5008 w 9543"/>
              <a:gd name="connsiteY41" fmla="*/ 4263 h 10000"/>
              <a:gd name="connsiteX42" fmla="*/ 4609 w 9543"/>
              <a:gd name="connsiteY42" fmla="*/ 4652 h 10000"/>
              <a:gd name="connsiteX43" fmla="*/ 4536 w 9543"/>
              <a:gd name="connsiteY43" fmla="*/ 4574 h 10000"/>
              <a:gd name="connsiteX44" fmla="*/ 4803 w 9543"/>
              <a:gd name="connsiteY44" fmla="*/ 4186 h 10000"/>
              <a:gd name="connsiteX45" fmla="*/ 4869 w 9543"/>
              <a:gd name="connsiteY45" fmla="*/ 3954 h 10000"/>
              <a:gd name="connsiteX46" fmla="*/ 4730 w 9543"/>
              <a:gd name="connsiteY46" fmla="*/ 3799 h 10000"/>
              <a:gd name="connsiteX47" fmla="*/ 4730 w 9543"/>
              <a:gd name="connsiteY47" fmla="*/ 3023 h 10000"/>
              <a:gd name="connsiteX48" fmla="*/ 4671 w 9543"/>
              <a:gd name="connsiteY48" fmla="*/ 2868 h 10000"/>
              <a:gd name="connsiteX49" fmla="*/ 4730 w 9543"/>
              <a:gd name="connsiteY49" fmla="*/ 2403 h 10000"/>
              <a:gd name="connsiteX50" fmla="*/ 4609 w 9543"/>
              <a:gd name="connsiteY50" fmla="*/ 2325 h 10000"/>
              <a:gd name="connsiteX51" fmla="*/ 4671 w 9543"/>
              <a:gd name="connsiteY51" fmla="*/ 2248 h 10000"/>
              <a:gd name="connsiteX52" fmla="*/ 4609 w 9543"/>
              <a:gd name="connsiteY52" fmla="*/ 2093 h 10000"/>
              <a:gd name="connsiteX53" fmla="*/ 4472 w 9543"/>
              <a:gd name="connsiteY53" fmla="*/ 2170 h 10000"/>
              <a:gd name="connsiteX54" fmla="*/ 4147 w 9543"/>
              <a:gd name="connsiteY54" fmla="*/ 3178 h 10000"/>
              <a:gd name="connsiteX55" fmla="*/ 4147 w 9543"/>
              <a:gd name="connsiteY55" fmla="*/ 3566 h 10000"/>
              <a:gd name="connsiteX56" fmla="*/ 4345 w 9543"/>
              <a:gd name="connsiteY56" fmla="*/ 3876 h 10000"/>
              <a:gd name="connsiteX57" fmla="*/ 4345 w 9543"/>
              <a:gd name="connsiteY57" fmla="*/ 4031 h 10000"/>
              <a:gd name="connsiteX58" fmla="*/ 4147 w 9543"/>
              <a:gd name="connsiteY58" fmla="*/ 3876 h 10000"/>
              <a:gd name="connsiteX59" fmla="*/ 3361 w 9543"/>
              <a:gd name="connsiteY59" fmla="*/ 3256 h 10000"/>
              <a:gd name="connsiteX60" fmla="*/ 3293 w 9543"/>
              <a:gd name="connsiteY60" fmla="*/ 3411 h 10000"/>
              <a:gd name="connsiteX61" fmla="*/ 3556 w 9543"/>
              <a:gd name="connsiteY61" fmla="*/ 3799 h 10000"/>
              <a:gd name="connsiteX62" fmla="*/ 3419 w 9543"/>
              <a:gd name="connsiteY62" fmla="*/ 3876 h 10000"/>
              <a:gd name="connsiteX63" fmla="*/ 3361 w 9543"/>
              <a:gd name="connsiteY63" fmla="*/ 3799 h 10000"/>
              <a:gd name="connsiteX64" fmla="*/ 2965 w 9543"/>
              <a:gd name="connsiteY64" fmla="*/ 3954 h 10000"/>
              <a:gd name="connsiteX65" fmla="*/ 2899 w 9543"/>
              <a:gd name="connsiteY65" fmla="*/ 4109 h 10000"/>
              <a:gd name="connsiteX66" fmla="*/ 2832 w 9543"/>
              <a:gd name="connsiteY66" fmla="*/ 3954 h 10000"/>
              <a:gd name="connsiteX67" fmla="*/ 2832 w 9543"/>
              <a:gd name="connsiteY67" fmla="*/ 3799 h 10000"/>
              <a:gd name="connsiteX68" fmla="*/ 2168 w 9543"/>
              <a:gd name="connsiteY68" fmla="*/ 4263 h 10000"/>
              <a:gd name="connsiteX69" fmla="*/ 2168 w 9543"/>
              <a:gd name="connsiteY69" fmla="*/ 4418 h 10000"/>
              <a:gd name="connsiteX70" fmla="*/ 2040 w 9543"/>
              <a:gd name="connsiteY70" fmla="*/ 4496 h 10000"/>
              <a:gd name="connsiteX71" fmla="*/ 1844 w 9543"/>
              <a:gd name="connsiteY71" fmla="*/ 4341 h 10000"/>
              <a:gd name="connsiteX72" fmla="*/ 2040 w 9543"/>
              <a:gd name="connsiteY72" fmla="*/ 4186 h 10000"/>
              <a:gd name="connsiteX73" fmla="*/ 1972 w 9543"/>
              <a:gd name="connsiteY73" fmla="*/ 3954 h 10000"/>
              <a:gd name="connsiteX74" fmla="*/ 1711 w 9543"/>
              <a:gd name="connsiteY74" fmla="*/ 3876 h 10000"/>
              <a:gd name="connsiteX75" fmla="*/ 1778 w 9543"/>
              <a:gd name="connsiteY75" fmla="*/ 4031 h 10000"/>
              <a:gd name="connsiteX76" fmla="*/ 1778 w 9543"/>
              <a:gd name="connsiteY76" fmla="*/ 4418 h 10000"/>
              <a:gd name="connsiteX77" fmla="*/ 1844 w 9543"/>
              <a:gd name="connsiteY77" fmla="*/ 4574 h 10000"/>
              <a:gd name="connsiteX78" fmla="*/ 1778 w 9543"/>
              <a:gd name="connsiteY78" fmla="*/ 4729 h 10000"/>
              <a:gd name="connsiteX79" fmla="*/ 1576 w 9543"/>
              <a:gd name="connsiteY79" fmla="*/ 4652 h 10000"/>
              <a:gd name="connsiteX80" fmla="*/ 1318 w 9543"/>
              <a:gd name="connsiteY80" fmla="*/ 4884 h 10000"/>
              <a:gd name="connsiteX81" fmla="*/ 1445 w 9543"/>
              <a:gd name="connsiteY81" fmla="*/ 5194 h 10000"/>
              <a:gd name="connsiteX82" fmla="*/ 1051 w 9543"/>
              <a:gd name="connsiteY82" fmla="*/ 5039 h 10000"/>
              <a:gd name="connsiteX83" fmla="*/ 988 w 9543"/>
              <a:gd name="connsiteY83" fmla="*/ 5116 h 10000"/>
              <a:gd name="connsiteX84" fmla="*/ 1121 w 9543"/>
              <a:gd name="connsiteY84" fmla="*/ 5349 h 10000"/>
              <a:gd name="connsiteX85" fmla="*/ 988 w 9543"/>
              <a:gd name="connsiteY85" fmla="*/ 5349 h 10000"/>
              <a:gd name="connsiteX86" fmla="*/ 792 w 9543"/>
              <a:gd name="connsiteY86" fmla="*/ 5194 h 10000"/>
              <a:gd name="connsiteX87" fmla="*/ 792 w 9543"/>
              <a:gd name="connsiteY87" fmla="*/ 4729 h 10000"/>
              <a:gd name="connsiteX88" fmla="*/ 595 w 9543"/>
              <a:gd name="connsiteY88" fmla="*/ 4574 h 10000"/>
              <a:gd name="connsiteX89" fmla="*/ 525 w 9543"/>
              <a:gd name="connsiteY89" fmla="*/ 4418 h 10000"/>
              <a:gd name="connsiteX90" fmla="*/ 656 w 9543"/>
              <a:gd name="connsiteY90" fmla="*/ 4496 h 10000"/>
              <a:gd name="connsiteX91" fmla="*/ 1181 w 9543"/>
              <a:gd name="connsiteY91" fmla="*/ 4729 h 10000"/>
              <a:gd name="connsiteX92" fmla="*/ 1507 w 9543"/>
              <a:gd name="connsiteY92" fmla="*/ 4496 h 10000"/>
              <a:gd name="connsiteX93" fmla="*/ 1445 w 9543"/>
              <a:gd name="connsiteY93" fmla="*/ 4263 h 10000"/>
              <a:gd name="connsiteX94" fmla="*/ 1051 w 9543"/>
              <a:gd name="connsiteY94" fmla="*/ 3799 h 10000"/>
              <a:gd name="connsiteX95" fmla="*/ 656 w 9543"/>
              <a:gd name="connsiteY95" fmla="*/ 3644 h 10000"/>
              <a:gd name="connsiteX96" fmla="*/ 656 w 9543"/>
              <a:gd name="connsiteY96" fmla="*/ 3566 h 10000"/>
              <a:gd name="connsiteX97" fmla="*/ 525 w 9543"/>
              <a:gd name="connsiteY97" fmla="*/ 3488 h 10000"/>
              <a:gd name="connsiteX98" fmla="*/ 392 w 9543"/>
              <a:gd name="connsiteY98" fmla="*/ 3566 h 10000"/>
              <a:gd name="connsiteX99" fmla="*/ 392 w 9543"/>
              <a:gd name="connsiteY99" fmla="*/ 3644 h 10000"/>
              <a:gd name="connsiteX100" fmla="*/ 327 w 9543"/>
              <a:gd name="connsiteY100" fmla="*/ 3644 h 10000"/>
              <a:gd name="connsiteX101" fmla="*/ 198 w 9543"/>
              <a:gd name="connsiteY101" fmla="*/ 3799 h 10000"/>
              <a:gd name="connsiteX102" fmla="*/ 198 w 9543"/>
              <a:gd name="connsiteY102" fmla="*/ 4031 h 10000"/>
              <a:gd name="connsiteX103" fmla="*/ 327 w 9543"/>
              <a:gd name="connsiteY103" fmla="*/ 4186 h 10000"/>
              <a:gd name="connsiteX104" fmla="*/ 265 w 9543"/>
              <a:gd name="connsiteY104" fmla="*/ 4418 h 10000"/>
              <a:gd name="connsiteX105" fmla="*/ 327 w 9543"/>
              <a:gd name="connsiteY105" fmla="*/ 4807 h 10000"/>
              <a:gd name="connsiteX106" fmla="*/ 265 w 9543"/>
              <a:gd name="connsiteY106" fmla="*/ 5039 h 10000"/>
              <a:gd name="connsiteX107" fmla="*/ 392 w 9543"/>
              <a:gd name="connsiteY107" fmla="*/ 5271 h 10000"/>
              <a:gd name="connsiteX108" fmla="*/ 327 w 9543"/>
              <a:gd name="connsiteY108" fmla="*/ 5426 h 10000"/>
              <a:gd name="connsiteX109" fmla="*/ 458 w 9543"/>
              <a:gd name="connsiteY109" fmla="*/ 5582 h 10000"/>
              <a:gd name="connsiteX110" fmla="*/ 458 w 9543"/>
              <a:gd name="connsiteY110" fmla="*/ 5659 h 10000"/>
              <a:gd name="connsiteX111" fmla="*/ 265 w 9543"/>
              <a:gd name="connsiteY111" fmla="*/ 6047 h 10000"/>
              <a:gd name="connsiteX112" fmla="*/ 60 w 9543"/>
              <a:gd name="connsiteY112" fmla="*/ 6202 h 10000"/>
              <a:gd name="connsiteX113" fmla="*/ 130 w 9543"/>
              <a:gd name="connsiteY113" fmla="*/ 6202 h 10000"/>
              <a:gd name="connsiteX114" fmla="*/ 265 w 9543"/>
              <a:gd name="connsiteY114" fmla="*/ 6356 h 10000"/>
              <a:gd name="connsiteX115" fmla="*/ 130 w 9543"/>
              <a:gd name="connsiteY115" fmla="*/ 6512 h 10000"/>
              <a:gd name="connsiteX116" fmla="*/ 60 w 9543"/>
              <a:gd name="connsiteY116" fmla="*/ 6590 h 10000"/>
              <a:gd name="connsiteX117" fmla="*/ 0 w 9543"/>
              <a:gd name="connsiteY117" fmla="*/ 6590 h 10000"/>
              <a:gd name="connsiteX118" fmla="*/ 60 w 9543"/>
              <a:gd name="connsiteY118" fmla="*/ 6822 h 10000"/>
              <a:gd name="connsiteX119" fmla="*/ 60 w 9543"/>
              <a:gd name="connsiteY119" fmla="*/ 6900 h 10000"/>
              <a:gd name="connsiteX120" fmla="*/ 60 w 9543"/>
              <a:gd name="connsiteY120" fmla="*/ 6977 h 10000"/>
              <a:gd name="connsiteX121" fmla="*/ 60 w 9543"/>
              <a:gd name="connsiteY121" fmla="*/ 7054 h 10000"/>
              <a:gd name="connsiteX122" fmla="*/ 130 w 9543"/>
              <a:gd name="connsiteY122" fmla="*/ 7209 h 10000"/>
              <a:gd name="connsiteX123" fmla="*/ 327 w 9543"/>
              <a:gd name="connsiteY123" fmla="*/ 7287 h 10000"/>
              <a:gd name="connsiteX124" fmla="*/ 392 w 9543"/>
              <a:gd name="connsiteY124" fmla="*/ 7364 h 10000"/>
              <a:gd name="connsiteX125" fmla="*/ 392 w 9543"/>
              <a:gd name="connsiteY125" fmla="*/ 7520 h 10000"/>
              <a:gd name="connsiteX126" fmla="*/ 525 w 9543"/>
              <a:gd name="connsiteY126" fmla="*/ 7752 h 10000"/>
              <a:gd name="connsiteX127" fmla="*/ 595 w 9543"/>
              <a:gd name="connsiteY127" fmla="*/ 7752 h 10000"/>
              <a:gd name="connsiteX128" fmla="*/ 525 w 9543"/>
              <a:gd name="connsiteY128" fmla="*/ 7907 h 10000"/>
              <a:gd name="connsiteX129" fmla="*/ 458 w 9543"/>
              <a:gd name="connsiteY129" fmla="*/ 7830 h 10000"/>
              <a:gd name="connsiteX130" fmla="*/ 458 w 9543"/>
              <a:gd name="connsiteY130" fmla="*/ 7907 h 10000"/>
              <a:gd name="connsiteX131" fmla="*/ 525 w 9543"/>
              <a:gd name="connsiteY131" fmla="*/ 8062 h 10000"/>
              <a:gd name="connsiteX132" fmla="*/ 727 w 9543"/>
              <a:gd name="connsiteY132" fmla="*/ 8062 h 10000"/>
              <a:gd name="connsiteX133" fmla="*/ 792 w 9543"/>
              <a:gd name="connsiteY133" fmla="*/ 8140 h 10000"/>
              <a:gd name="connsiteX134" fmla="*/ 727 w 9543"/>
              <a:gd name="connsiteY134" fmla="*/ 8140 h 10000"/>
              <a:gd name="connsiteX135" fmla="*/ 792 w 9543"/>
              <a:gd name="connsiteY135" fmla="*/ 8217 h 10000"/>
              <a:gd name="connsiteX136" fmla="*/ 854 w 9543"/>
              <a:gd name="connsiteY136" fmla="*/ 8217 h 10000"/>
              <a:gd name="connsiteX137" fmla="*/ 919 w 9543"/>
              <a:gd name="connsiteY137" fmla="*/ 8372 h 10000"/>
              <a:gd name="connsiteX138" fmla="*/ 988 w 9543"/>
              <a:gd name="connsiteY138" fmla="*/ 8449 h 10000"/>
              <a:gd name="connsiteX139" fmla="*/ 1051 w 9543"/>
              <a:gd name="connsiteY139" fmla="*/ 8372 h 10000"/>
              <a:gd name="connsiteX140" fmla="*/ 1383 w 9543"/>
              <a:gd name="connsiteY140" fmla="*/ 8605 h 10000"/>
              <a:gd name="connsiteX141" fmla="*/ 1318 w 9543"/>
              <a:gd name="connsiteY141" fmla="*/ 8915 h 10000"/>
              <a:gd name="connsiteX142" fmla="*/ 1251 w 9543"/>
              <a:gd name="connsiteY142" fmla="*/ 8838 h 10000"/>
              <a:gd name="connsiteX143" fmla="*/ 1181 w 9543"/>
              <a:gd name="connsiteY143" fmla="*/ 8915 h 10000"/>
              <a:gd name="connsiteX144" fmla="*/ 1181 w 9543"/>
              <a:gd name="connsiteY144" fmla="*/ 9070 h 10000"/>
              <a:gd name="connsiteX145" fmla="*/ 1251 w 9543"/>
              <a:gd name="connsiteY145" fmla="*/ 8993 h 10000"/>
              <a:gd name="connsiteX146" fmla="*/ 1318 w 9543"/>
              <a:gd name="connsiteY146" fmla="*/ 9070 h 10000"/>
              <a:gd name="connsiteX147" fmla="*/ 1121 w 9543"/>
              <a:gd name="connsiteY147" fmla="*/ 9147 h 10000"/>
              <a:gd name="connsiteX148" fmla="*/ 1181 w 9543"/>
              <a:gd name="connsiteY148" fmla="*/ 9225 h 10000"/>
              <a:gd name="connsiteX149" fmla="*/ 1051 w 9543"/>
              <a:gd name="connsiteY149" fmla="*/ 9380 h 10000"/>
              <a:gd name="connsiteX150" fmla="*/ 988 w 9543"/>
              <a:gd name="connsiteY150" fmla="*/ 9380 h 10000"/>
              <a:gd name="connsiteX151" fmla="*/ 1051 w 9543"/>
              <a:gd name="connsiteY151" fmla="*/ 9380 h 10000"/>
              <a:gd name="connsiteX152" fmla="*/ 1318 w 9543"/>
              <a:gd name="connsiteY152" fmla="*/ 9691 h 10000"/>
              <a:gd name="connsiteX153" fmla="*/ 1646 w 9543"/>
              <a:gd name="connsiteY153" fmla="*/ 9691 h 10000"/>
              <a:gd name="connsiteX154" fmla="*/ 1778 w 9543"/>
              <a:gd name="connsiteY154" fmla="*/ 9768 h 10000"/>
              <a:gd name="connsiteX155" fmla="*/ 1909 w 9543"/>
              <a:gd name="connsiteY155" fmla="*/ 9768 h 10000"/>
              <a:gd name="connsiteX156" fmla="*/ 2040 w 9543"/>
              <a:gd name="connsiteY156" fmla="*/ 9923 h 10000"/>
              <a:gd name="connsiteX157" fmla="*/ 2106 w 9543"/>
              <a:gd name="connsiteY157" fmla="*/ 10000 h 10000"/>
              <a:gd name="connsiteX158" fmla="*/ 2168 w 9543"/>
              <a:gd name="connsiteY158" fmla="*/ 10000 h 10000"/>
              <a:gd name="connsiteX159" fmla="*/ 2238 w 9543"/>
              <a:gd name="connsiteY159" fmla="*/ 9923 h 10000"/>
              <a:gd name="connsiteX160" fmla="*/ 2106 w 9543"/>
              <a:gd name="connsiteY160" fmla="*/ 9768 h 10000"/>
              <a:gd name="connsiteX161" fmla="*/ 2106 w 9543"/>
              <a:gd name="connsiteY161" fmla="*/ 9613 h 10000"/>
              <a:gd name="connsiteX162" fmla="*/ 2040 w 9543"/>
              <a:gd name="connsiteY162" fmla="*/ 9457 h 10000"/>
              <a:gd name="connsiteX163" fmla="*/ 2168 w 9543"/>
              <a:gd name="connsiteY163" fmla="*/ 9225 h 10000"/>
              <a:gd name="connsiteX164" fmla="*/ 2238 w 9543"/>
              <a:gd name="connsiteY164" fmla="*/ 9302 h 10000"/>
              <a:gd name="connsiteX165" fmla="*/ 2303 w 9543"/>
              <a:gd name="connsiteY165" fmla="*/ 9225 h 10000"/>
              <a:gd name="connsiteX166" fmla="*/ 2303 w 9543"/>
              <a:gd name="connsiteY166" fmla="*/ 9147 h 10000"/>
              <a:gd name="connsiteX167" fmla="*/ 2238 w 9543"/>
              <a:gd name="connsiteY167" fmla="*/ 9147 h 10000"/>
              <a:gd name="connsiteX168" fmla="*/ 2303 w 9543"/>
              <a:gd name="connsiteY168" fmla="*/ 9070 h 10000"/>
              <a:gd name="connsiteX169" fmla="*/ 2238 w 9543"/>
              <a:gd name="connsiteY169" fmla="*/ 8915 h 10000"/>
              <a:gd name="connsiteX170" fmla="*/ 2106 w 9543"/>
              <a:gd name="connsiteY170" fmla="*/ 8915 h 10000"/>
              <a:gd name="connsiteX171" fmla="*/ 2040 w 9543"/>
              <a:gd name="connsiteY171" fmla="*/ 8760 h 10000"/>
              <a:gd name="connsiteX172" fmla="*/ 2106 w 9543"/>
              <a:gd name="connsiteY172" fmla="*/ 8372 h 10000"/>
              <a:gd name="connsiteX173" fmla="*/ 2238 w 9543"/>
              <a:gd name="connsiteY173" fmla="*/ 8528 h 10000"/>
              <a:gd name="connsiteX174" fmla="*/ 2303 w 9543"/>
              <a:gd name="connsiteY174" fmla="*/ 8528 h 10000"/>
              <a:gd name="connsiteX175" fmla="*/ 2238 w 9543"/>
              <a:gd name="connsiteY175" fmla="*/ 8372 h 10000"/>
              <a:gd name="connsiteX176" fmla="*/ 2436 w 9543"/>
              <a:gd name="connsiteY176" fmla="*/ 8140 h 10000"/>
              <a:gd name="connsiteX177" fmla="*/ 2569 w 9543"/>
              <a:gd name="connsiteY177" fmla="*/ 8217 h 10000"/>
              <a:gd name="connsiteX178" fmla="*/ 2633 w 9543"/>
              <a:gd name="connsiteY178" fmla="*/ 8140 h 10000"/>
              <a:gd name="connsiteX179" fmla="*/ 2761 w 9543"/>
              <a:gd name="connsiteY179" fmla="*/ 8217 h 10000"/>
              <a:gd name="connsiteX180" fmla="*/ 2965 w 9543"/>
              <a:gd name="connsiteY180" fmla="*/ 8372 h 10000"/>
              <a:gd name="connsiteX181" fmla="*/ 3092 w 9543"/>
              <a:gd name="connsiteY181" fmla="*/ 8295 h 10000"/>
              <a:gd name="connsiteX182" fmla="*/ 3226 w 9543"/>
              <a:gd name="connsiteY182" fmla="*/ 8295 h 10000"/>
              <a:gd name="connsiteX183" fmla="*/ 3293 w 9543"/>
              <a:gd name="connsiteY183" fmla="*/ 8372 h 10000"/>
              <a:gd name="connsiteX184" fmla="*/ 3556 w 9543"/>
              <a:gd name="connsiteY184" fmla="*/ 8372 h 10000"/>
              <a:gd name="connsiteX185" fmla="*/ 3618 w 9543"/>
              <a:gd name="connsiteY185" fmla="*/ 8217 h 10000"/>
              <a:gd name="connsiteX186" fmla="*/ 3419 w 9543"/>
              <a:gd name="connsiteY186" fmla="*/ 8140 h 10000"/>
              <a:gd name="connsiteX187" fmla="*/ 3556 w 9543"/>
              <a:gd name="connsiteY187" fmla="*/ 8062 h 10000"/>
              <a:gd name="connsiteX188" fmla="*/ 3485 w 9543"/>
              <a:gd name="connsiteY188" fmla="*/ 7985 h 10000"/>
              <a:gd name="connsiteX189" fmla="*/ 3556 w 9543"/>
              <a:gd name="connsiteY189" fmla="*/ 7907 h 10000"/>
              <a:gd name="connsiteX190" fmla="*/ 3556 w 9543"/>
              <a:gd name="connsiteY190" fmla="*/ 7675 h 10000"/>
              <a:gd name="connsiteX191" fmla="*/ 3683 w 9543"/>
              <a:gd name="connsiteY191" fmla="*/ 7752 h 10000"/>
              <a:gd name="connsiteX192" fmla="*/ 4277 w 9543"/>
              <a:gd name="connsiteY192" fmla="*/ 7520 h 10000"/>
              <a:gd name="connsiteX193" fmla="*/ 4277 w 9543"/>
              <a:gd name="connsiteY193" fmla="*/ 7442 h 10000"/>
              <a:gd name="connsiteX194" fmla="*/ 4345 w 9543"/>
              <a:gd name="connsiteY194" fmla="*/ 7442 h 10000"/>
              <a:gd name="connsiteX195" fmla="*/ 4536 w 9543"/>
              <a:gd name="connsiteY195" fmla="*/ 7442 h 10000"/>
              <a:gd name="connsiteX196" fmla="*/ 4609 w 9543"/>
              <a:gd name="connsiteY196" fmla="*/ 7598 h 10000"/>
              <a:gd name="connsiteX197" fmla="*/ 4609 w 9543"/>
              <a:gd name="connsiteY197" fmla="*/ 7675 h 10000"/>
              <a:gd name="connsiteX198" fmla="*/ 4671 w 9543"/>
              <a:gd name="connsiteY198" fmla="*/ 7675 h 10000"/>
              <a:gd name="connsiteX199" fmla="*/ 4803 w 9543"/>
              <a:gd name="connsiteY199" fmla="*/ 7752 h 10000"/>
              <a:gd name="connsiteX200" fmla="*/ 4803 w 9543"/>
              <a:gd name="connsiteY200" fmla="*/ 7830 h 10000"/>
              <a:gd name="connsiteX201" fmla="*/ 4935 w 9543"/>
              <a:gd name="connsiteY201" fmla="*/ 7830 h 10000"/>
              <a:gd name="connsiteX202" fmla="*/ 5066 w 9543"/>
              <a:gd name="connsiteY202" fmla="*/ 7675 h 10000"/>
              <a:gd name="connsiteX203" fmla="*/ 5198 w 9543"/>
              <a:gd name="connsiteY203" fmla="*/ 7598 h 10000"/>
              <a:gd name="connsiteX204" fmla="*/ 5273 w 9543"/>
              <a:gd name="connsiteY204" fmla="*/ 7830 h 10000"/>
              <a:gd name="connsiteX205" fmla="*/ 5529 w 9543"/>
              <a:gd name="connsiteY205" fmla="*/ 8372 h 10000"/>
              <a:gd name="connsiteX206" fmla="*/ 5597 w 9543"/>
              <a:gd name="connsiteY206" fmla="*/ 8217 h 10000"/>
              <a:gd name="connsiteX207" fmla="*/ 5662 w 9543"/>
              <a:gd name="connsiteY207" fmla="*/ 8372 h 10000"/>
              <a:gd name="connsiteX208" fmla="*/ 5859 w 9543"/>
              <a:gd name="connsiteY208" fmla="*/ 8295 h 10000"/>
              <a:gd name="connsiteX209" fmla="*/ 6058 w 9543"/>
              <a:gd name="connsiteY209" fmla="*/ 8528 h 10000"/>
              <a:gd name="connsiteX210" fmla="*/ 6185 w 9543"/>
              <a:gd name="connsiteY210" fmla="*/ 8605 h 10000"/>
              <a:gd name="connsiteX211" fmla="*/ 6185 w 9543"/>
              <a:gd name="connsiteY211" fmla="*/ 8528 h 10000"/>
              <a:gd name="connsiteX212" fmla="*/ 6255 w 9543"/>
              <a:gd name="connsiteY212" fmla="*/ 8683 h 10000"/>
              <a:gd name="connsiteX213" fmla="*/ 6185 w 9543"/>
              <a:gd name="connsiteY213" fmla="*/ 8760 h 10000"/>
              <a:gd name="connsiteX214" fmla="*/ 6320 w 9543"/>
              <a:gd name="connsiteY214" fmla="*/ 8683 h 10000"/>
              <a:gd name="connsiteX215" fmla="*/ 6383 w 9543"/>
              <a:gd name="connsiteY215" fmla="*/ 8605 h 10000"/>
              <a:gd name="connsiteX216" fmla="*/ 6711 w 9543"/>
              <a:gd name="connsiteY216" fmla="*/ 8372 h 10000"/>
              <a:gd name="connsiteX217" fmla="*/ 6977 w 9543"/>
              <a:gd name="connsiteY217" fmla="*/ 8449 h 10000"/>
              <a:gd name="connsiteX218" fmla="*/ 7106 w 9543"/>
              <a:gd name="connsiteY218" fmla="*/ 8528 h 10000"/>
              <a:gd name="connsiteX219" fmla="*/ 7369 w 9543"/>
              <a:gd name="connsiteY219" fmla="*/ 8528 h 10000"/>
              <a:gd name="connsiteX220" fmla="*/ 7369 w 9543"/>
              <a:gd name="connsiteY220" fmla="*/ 8372 h 10000"/>
              <a:gd name="connsiteX221" fmla="*/ 7369 w 9543"/>
              <a:gd name="connsiteY221" fmla="*/ 8217 h 10000"/>
              <a:gd name="connsiteX222" fmla="*/ 7502 w 9543"/>
              <a:gd name="connsiteY222" fmla="*/ 8140 h 10000"/>
              <a:gd name="connsiteX223" fmla="*/ 7761 w 9543"/>
              <a:gd name="connsiteY223" fmla="*/ 8217 h 10000"/>
              <a:gd name="connsiteX224" fmla="*/ 7898 w 9543"/>
              <a:gd name="connsiteY224" fmla="*/ 8449 h 10000"/>
              <a:gd name="connsiteX225" fmla="*/ 7964 w 9543"/>
              <a:gd name="connsiteY225" fmla="*/ 8449 h 10000"/>
              <a:gd name="connsiteX226" fmla="*/ 8095 w 9543"/>
              <a:gd name="connsiteY226" fmla="*/ 8372 h 10000"/>
              <a:gd name="connsiteX227" fmla="*/ 8494 w 9543"/>
              <a:gd name="connsiteY227" fmla="*/ 8605 h 10000"/>
              <a:gd name="connsiteX228" fmla="*/ 8688 w 9543"/>
              <a:gd name="connsiteY228" fmla="*/ 8683 h 10000"/>
              <a:gd name="connsiteX229" fmla="*/ 8950 w 9543"/>
              <a:gd name="connsiteY229" fmla="*/ 8605 h 10000"/>
              <a:gd name="connsiteX230" fmla="*/ 9084 w 9543"/>
              <a:gd name="connsiteY230" fmla="*/ 8449 h 10000"/>
              <a:gd name="connsiteX231" fmla="*/ 9280 w 9543"/>
              <a:gd name="connsiteY231" fmla="*/ 8528 h 10000"/>
              <a:gd name="connsiteX232" fmla="*/ 9411 w 9543"/>
              <a:gd name="connsiteY232" fmla="*/ 8605 h 10000"/>
              <a:gd name="connsiteX233" fmla="*/ 9484 w 9543"/>
              <a:gd name="connsiteY233" fmla="*/ 2248 h 10000"/>
              <a:gd name="connsiteX234" fmla="*/ 9543 w 9543"/>
              <a:gd name="connsiteY234" fmla="*/ 2016 h 10000"/>
              <a:gd name="connsiteX235" fmla="*/ 9214 w 9543"/>
              <a:gd name="connsiteY235" fmla="*/ 1938 h 10000"/>
              <a:gd name="connsiteX236" fmla="*/ 9016 w 9543"/>
              <a:gd name="connsiteY236" fmla="*/ 2093 h 10000"/>
              <a:gd name="connsiteX237" fmla="*/ 8633 w 9543"/>
              <a:gd name="connsiteY237" fmla="*/ 1861 h 10000"/>
              <a:gd name="connsiteX0" fmla="*/ 9046 w 10005"/>
              <a:gd name="connsiteY0" fmla="*/ 1861 h 10000"/>
              <a:gd name="connsiteX1" fmla="*/ 9046 w 10005"/>
              <a:gd name="connsiteY1" fmla="*/ 1861 h 10000"/>
              <a:gd name="connsiteX2" fmla="*/ 8967 w 10005"/>
              <a:gd name="connsiteY2" fmla="*/ 1938 h 10000"/>
              <a:gd name="connsiteX3" fmla="*/ 9046 w 10005"/>
              <a:gd name="connsiteY3" fmla="*/ 2093 h 10000"/>
              <a:gd name="connsiteX4" fmla="*/ 8758 w 10005"/>
              <a:gd name="connsiteY4" fmla="*/ 2248 h 10000"/>
              <a:gd name="connsiteX5" fmla="*/ 8687 w 10005"/>
              <a:gd name="connsiteY5" fmla="*/ 2248 h 10000"/>
              <a:gd name="connsiteX6" fmla="*/ 8758 w 10005"/>
              <a:gd name="connsiteY6" fmla="*/ 2016 h 10000"/>
              <a:gd name="connsiteX7" fmla="*/ 9448 w 10005"/>
              <a:gd name="connsiteY7" fmla="*/ 1318 h 10000"/>
              <a:gd name="connsiteX8" fmla="*/ 9448 w 10005"/>
              <a:gd name="connsiteY8" fmla="*/ 853 h 10000"/>
              <a:gd name="connsiteX9" fmla="*/ 9176 w 10005"/>
              <a:gd name="connsiteY9" fmla="*/ 543 h 10000"/>
              <a:gd name="connsiteX10" fmla="*/ 8828 w 10005"/>
              <a:gd name="connsiteY10" fmla="*/ 543 h 10000"/>
              <a:gd name="connsiteX11" fmla="*/ 8828 w 10005"/>
              <a:gd name="connsiteY11" fmla="*/ 698 h 10000"/>
              <a:gd name="connsiteX12" fmla="*/ 8617 w 10005"/>
              <a:gd name="connsiteY12" fmla="*/ 698 h 10000"/>
              <a:gd name="connsiteX13" fmla="*/ 8758 w 10005"/>
              <a:gd name="connsiteY13" fmla="*/ 387 h 10000"/>
              <a:gd name="connsiteX14" fmla="*/ 8418 w 10005"/>
              <a:gd name="connsiteY14" fmla="*/ 310 h 10000"/>
              <a:gd name="connsiteX15" fmla="*/ 8617 w 10005"/>
              <a:gd name="connsiteY15" fmla="*/ 155 h 10000"/>
              <a:gd name="connsiteX16" fmla="*/ 8418 w 10005"/>
              <a:gd name="connsiteY16" fmla="*/ 0 h 10000"/>
              <a:gd name="connsiteX17" fmla="*/ 8071 w 10005"/>
              <a:gd name="connsiteY17" fmla="*/ 387 h 10000"/>
              <a:gd name="connsiteX18" fmla="*/ 8071 w 10005"/>
              <a:gd name="connsiteY18" fmla="*/ 698 h 10000"/>
              <a:gd name="connsiteX19" fmla="*/ 7861 w 10005"/>
              <a:gd name="connsiteY19" fmla="*/ 698 h 10000"/>
              <a:gd name="connsiteX20" fmla="*/ 7243 w 10005"/>
              <a:gd name="connsiteY20" fmla="*/ 853 h 10000"/>
              <a:gd name="connsiteX21" fmla="*/ 6689 w 10005"/>
              <a:gd name="connsiteY21" fmla="*/ 1240 h 10000"/>
              <a:gd name="connsiteX22" fmla="*/ 6481 w 10005"/>
              <a:gd name="connsiteY22" fmla="*/ 1551 h 10000"/>
              <a:gd name="connsiteX23" fmla="*/ 6555 w 10005"/>
              <a:gd name="connsiteY23" fmla="*/ 1938 h 10000"/>
              <a:gd name="connsiteX24" fmla="*/ 5794 w 10005"/>
              <a:gd name="connsiteY24" fmla="*/ 2093 h 10000"/>
              <a:gd name="connsiteX25" fmla="*/ 5865 w 10005"/>
              <a:gd name="connsiteY25" fmla="*/ 2559 h 10000"/>
              <a:gd name="connsiteX26" fmla="*/ 6070 w 10005"/>
              <a:gd name="connsiteY26" fmla="*/ 2791 h 10000"/>
              <a:gd name="connsiteX27" fmla="*/ 5933 w 10005"/>
              <a:gd name="connsiteY27" fmla="*/ 2868 h 10000"/>
              <a:gd name="connsiteX28" fmla="*/ 5728 w 10005"/>
              <a:gd name="connsiteY28" fmla="*/ 2559 h 10000"/>
              <a:gd name="connsiteX29" fmla="*/ 5526 w 10005"/>
              <a:gd name="connsiteY29" fmla="*/ 2480 h 10000"/>
              <a:gd name="connsiteX30" fmla="*/ 5447 w 10005"/>
              <a:gd name="connsiteY30" fmla="*/ 2559 h 10000"/>
              <a:gd name="connsiteX31" fmla="*/ 5309 w 10005"/>
              <a:gd name="connsiteY31" fmla="*/ 2403 h 10000"/>
              <a:gd name="connsiteX32" fmla="*/ 5171 w 10005"/>
              <a:gd name="connsiteY32" fmla="*/ 2248 h 10000"/>
              <a:gd name="connsiteX33" fmla="*/ 5171 w 10005"/>
              <a:gd name="connsiteY33" fmla="*/ 2325 h 10000"/>
              <a:gd name="connsiteX34" fmla="*/ 5248 w 10005"/>
              <a:gd name="connsiteY34" fmla="*/ 2559 h 10000"/>
              <a:gd name="connsiteX35" fmla="*/ 5033 w 10005"/>
              <a:gd name="connsiteY35" fmla="*/ 2946 h 10000"/>
              <a:gd name="connsiteX36" fmla="*/ 5171 w 10005"/>
              <a:gd name="connsiteY36" fmla="*/ 3256 h 10000"/>
              <a:gd name="connsiteX37" fmla="*/ 5102 w 10005"/>
              <a:gd name="connsiteY37" fmla="*/ 3566 h 10000"/>
              <a:gd name="connsiteX38" fmla="*/ 5102 w 10005"/>
              <a:gd name="connsiteY38" fmla="*/ 3799 h 10000"/>
              <a:gd name="connsiteX39" fmla="*/ 5309 w 10005"/>
              <a:gd name="connsiteY39" fmla="*/ 3799 h 10000"/>
              <a:gd name="connsiteX40" fmla="*/ 5171 w 10005"/>
              <a:gd name="connsiteY40" fmla="*/ 3876 h 10000"/>
              <a:gd name="connsiteX41" fmla="*/ 5248 w 10005"/>
              <a:gd name="connsiteY41" fmla="*/ 4263 h 10000"/>
              <a:gd name="connsiteX42" fmla="*/ 4830 w 10005"/>
              <a:gd name="connsiteY42" fmla="*/ 4652 h 10000"/>
              <a:gd name="connsiteX43" fmla="*/ 4753 w 10005"/>
              <a:gd name="connsiteY43" fmla="*/ 4574 h 10000"/>
              <a:gd name="connsiteX44" fmla="*/ 5033 w 10005"/>
              <a:gd name="connsiteY44" fmla="*/ 4186 h 10000"/>
              <a:gd name="connsiteX45" fmla="*/ 5102 w 10005"/>
              <a:gd name="connsiteY45" fmla="*/ 3954 h 10000"/>
              <a:gd name="connsiteX46" fmla="*/ 4957 w 10005"/>
              <a:gd name="connsiteY46" fmla="*/ 3799 h 10000"/>
              <a:gd name="connsiteX47" fmla="*/ 4957 w 10005"/>
              <a:gd name="connsiteY47" fmla="*/ 3023 h 10000"/>
              <a:gd name="connsiteX48" fmla="*/ 4895 w 10005"/>
              <a:gd name="connsiteY48" fmla="*/ 2868 h 10000"/>
              <a:gd name="connsiteX49" fmla="*/ 4957 w 10005"/>
              <a:gd name="connsiteY49" fmla="*/ 2403 h 10000"/>
              <a:gd name="connsiteX50" fmla="*/ 4830 w 10005"/>
              <a:gd name="connsiteY50" fmla="*/ 2325 h 10000"/>
              <a:gd name="connsiteX51" fmla="*/ 4895 w 10005"/>
              <a:gd name="connsiteY51" fmla="*/ 2248 h 10000"/>
              <a:gd name="connsiteX52" fmla="*/ 4830 w 10005"/>
              <a:gd name="connsiteY52" fmla="*/ 2093 h 10000"/>
              <a:gd name="connsiteX53" fmla="*/ 4686 w 10005"/>
              <a:gd name="connsiteY53" fmla="*/ 2170 h 10000"/>
              <a:gd name="connsiteX54" fmla="*/ 4346 w 10005"/>
              <a:gd name="connsiteY54" fmla="*/ 3178 h 10000"/>
              <a:gd name="connsiteX55" fmla="*/ 4346 w 10005"/>
              <a:gd name="connsiteY55" fmla="*/ 3566 h 10000"/>
              <a:gd name="connsiteX56" fmla="*/ 4553 w 10005"/>
              <a:gd name="connsiteY56" fmla="*/ 3876 h 10000"/>
              <a:gd name="connsiteX57" fmla="*/ 4553 w 10005"/>
              <a:gd name="connsiteY57" fmla="*/ 4031 h 10000"/>
              <a:gd name="connsiteX58" fmla="*/ 4346 w 10005"/>
              <a:gd name="connsiteY58" fmla="*/ 3876 h 10000"/>
              <a:gd name="connsiteX59" fmla="*/ 3522 w 10005"/>
              <a:gd name="connsiteY59" fmla="*/ 3256 h 10000"/>
              <a:gd name="connsiteX60" fmla="*/ 3451 w 10005"/>
              <a:gd name="connsiteY60" fmla="*/ 3411 h 10000"/>
              <a:gd name="connsiteX61" fmla="*/ 3726 w 10005"/>
              <a:gd name="connsiteY61" fmla="*/ 3799 h 10000"/>
              <a:gd name="connsiteX62" fmla="*/ 3583 w 10005"/>
              <a:gd name="connsiteY62" fmla="*/ 3876 h 10000"/>
              <a:gd name="connsiteX63" fmla="*/ 3522 w 10005"/>
              <a:gd name="connsiteY63" fmla="*/ 3799 h 10000"/>
              <a:gd name="connsiteX64" fmla="*/ 3107 w 10005"/>
              <a:gd name="connsiteY64" fmla="*/ 3954 h 10000"/>
              <a:gd name="connsiteX65" fmla="*/ 3038 w 10005"/>
              <a:gd name="connsiteY65" fmla="*/ 4109 h 10000"/>
              <a:gd name="connsiteX66" fmla="*/ 2968 w 10005"/>
              <a:gd name="connsiteY66" fmla="*/ 3954 h 10000"/>
              <a:gd name="connsiteX67" fmla="*/ 2968 w 10005"/>
              <a:gd name="connsiteY67" fmla="*/ 3799 h 10000"/>
              <a:gd name="connsiteX68" fmla="*/ 2272 w 10005"/>
              <a:gd name="connsiteY68" fmla="*/ 4263 h 10000"/>
              <a:gd name="connsiteX69" fmla="*/ 2272 w 10005"/>
              <a:gd name="connsiteY69" fmla="*/ 4418 h 10000"/>
              <a:gd name="connsiteX70" fmla="*/ 2138 w 10005"/>
              <a:gd name="connsiteY70" fmla="*/ 4496 h 10000"/>
              <a:gd name="connsiteX71" fmla="*/ 1932 w 10005"/>
              <a:gd name="connsiteY71" fmla="*/ 4341 h 10000"/>
              <a:gd name="connsiteX72" fmla="*/ 2138 w 10005"/>
              <a:gd name="connsiteY72" fmla="*/ 4186 h 10000"/>
              <a:gd name="connsiteX73" fmla="*/ 2066 w 10005"/>
              <a:gd name="connsiteY73" fmla="*/ 3954 h 10000"/>
              <a:gd name="connsiteX74" fmla="*/ 1793 w 10005"/>
              <a:gd name="connsiteY74" fmla="*/ 3876 h 10000"/>
              <a:gd name="connsiteX75" fmla="*/ 1863 w 10005"/>
              <a:gd name="connsiteY75" fmla="*/ 4031 h 10000"/>
              <a:gd name="connsiteX76" fmla="*/ 1863 w 10005"/>
              <a:gd name="connsiteY76" fmla="*/ 4418 h 10000"/>
              <a:gd name="connsiteX77" fmla="*/ 1932 w 10005"/>
              <a:gd name="connsiteY77" fmla="*/ 4574 h 10000"/>
              <a:gd name="connsiteX78" fmla="*/ 1863 w 10005"/>
              <a:gd name="connsiteY78" fmla="*/ 4729 h 10000"/>
              <a:gd name="connsiteX79" fmla="*/ 1651 w 10005"/>
              <a:gd name="connsiteY79" fmla="*/ 4652 h 10000"/>
              <a:gd name="connsiteX80" fmla="*/ 1381 w 10005"/>
              <a:gd name="connsiteY80" fmla="*/ 4884 h 10000"/>
              <a:gd name="connsiteX81" fmla="*/ 1514 w 10005"/>
              <a:gd name="connsiteY81" fmla="*/ 5194 h 10000"/>
              <a:gd name="connsiteX82" fmla="*/ 1101 w 10005"/>
              <a:gd name="connsiteY82" fmla="*/ 5039 h 10000"/>
              <a:gd name="connsiteX83" fmla="*/ 1035 w 10005"/>
              <a:gd name="connsiteY83" fmla="*/ 5116 h 10000"/>
              <a:gd name="connsiteX84" fmla="*/ 1175 w 10005"/>
              <a:gd name="connsiteY84" fmla="*/ 5349 h 10000"/>
              <a:gd name="connsiteX85" fmla="*/ 1035 w 10005"/>
              <a:gd name="connsiteY85" fmla="*/ 5349 h 10000"/>
              <a:gd name="connsiteX86" fmla="*/ 830 w 10005"/>
              <a:gd name="connsiteY86" fmla="*/ 5194 h 10000"/>
              <a:gd name="connsiteX87" fmla="*/ 830 w 10005"/>
              <a:gd name="connsiteY87" fmla="*/ 4729 h 10000"/>
              <a:gd name="connsiteX88" fmla="*/ 623 w 10005"/>
              <a:gd name="connsiteY88" fmla="*/ 4574 h 10000"/>
              <a:gd name="connsiteX89" fmla="*/ 550 w 10005"/>
              <a:gd name="connsiteY89" fmla="*/ 4418 h 10000"/>
              <a:gd name="connsiteX90" fmla="*/ 687 w 10005"/>
              <a:gd name="connsiteY90" fmla="*/ 4496 h 10000"/>
              <a:gd name="connsiteX91" fmla="*/ 1238 w 10005"/>
              <a:gd name="connsiteY91" fmla="*/ 4729 h 10000"/>
              <a:gd name="connsiteX92" fmla="*/ 1579 w 10005"/>
              <a:gd name="connsiteY92" fmla="*/ 4496 h 10000"/>
              <a:gd name="connsiteX93" fmla="*/ 1514 w 10005"/>
              <a:gd name="connsiteY93" fmla="*/ 4263 h 10000"/>
              <a:gd name="connsiteX94" fmla="*/ 1101 w 10005"/>
              <a:gd name="connsiteY94" fmla="*/ 3799 h 10000"/>
              <a:gd name="connsiteX95" fmla="*/ 687 w 10005"/>
              <a:gd name="connsiteY95" fmla="*/ 3644 h 10000"/>
              <a:gd name="connsiteX96" fmla="*/ 687 w 10005"/>
              <a:gd name="connsiteY96" fmla="*/ 3566 h 10000"/>
              <a:gd name="connsiteX97" fmla="*/ 550 w 10005"/>
              <a:gd name="connsiteY97" fmla="*/ 3488 h 10000"/>
              <a:gd name="connsiteX98" fmla="*/ 411 w 10005"/>
              <a:gd name="connsiteY98" fmla="*/ 3566 h 10000"/>
              <a:gd name="connsiteX99" fmla="*/ 411 w 10005"/>
              <a:gd name="connsiteY99" fmla="*/ 3644 h 10000"/>
              <a:gd name="connsiteX100" fmla="*/ 343 w 10005"/>
              <a:gd name="connsiteY100" fmla="*/ 3644 h 10000"/>
              <a:gd name="connsiteX101" fmla="*/ 207 w 10005"/>
              <a:gd name="connsiteY101" fmla="*/ 3799 h 10000"/>
              <a:gd name="connsiteX102" fmla="*/ 207 w 10005"/>
              <a:gd name="connsiteY102" fmla="*/ 4031 h 10000"/>
              <a:gd name="connsiteX103" fmla="*/ 343 w 10005"/>
              <a:gd name="connsiteY103" fmla="*/ 4186 h 10000"/>
              <a:gd name="connsiteX104" fmla="*/ 278 w 10005"/>
              <a:gd name="connsiteY104" fmla="*/ 4418 h 10000"/>
              <a:gd name="connsiteX105" fmla="*/ 343 w 10005"/>
              <a:gd name="connsiteY105" fmla="*/ 4807 h 10000"/>
              <a:gd name="connsiteX106" fmla="*/ 278 w 10005"/>
              <a:gd name="connsiteY106" fmla="*/ 5039 h 10000"/>
              <a:gd name="connsiteX107" fmla="*/ 411 w 10005"/>
              <a:gd name="connsiteY107" fmla="*/ 5271 h 10000"/>
              <a:gd name="connsiteX108" fmla="*/ 343 w 10005"/>
              <a:gd name="connsiteY108" fmla="*/ 5426 h 10000"/>
              <a:gd name="connsiteX109" fmla="*/ 480 w 10005"/>
              <a:gd name="connsiteY109" fmla="*/ 5582 h 10000"/>
              <a:gd name="connsiteX110" fmla="*/ 480 w 10005"/>
              <a:gd name="connsiteY110" fmla="*/ 5659 h 10000"/>
              <a:gd name="connsiteX111" fmla="*/ 278 w 10005"/>
              <a:gd name="connsiteY111" fmla="*/ 6047 h 10000"/>
              <a:gd name="connsiteX112" fmla="*/ 63 w 10005"/>
              <a:gd name="connsiteY112" fmla="*/ 6202 h 10000"/>
              <a:gd name="connsiteX113" fmla="*/ 136 w 10005"/>
              <a:gd name="connsiteY113" fmla="*/ 6202 h 10000"/>
              <a:gd name="connsiteX114" fmla="*/ 278 w 10005"/>
              <a:gd name="connsiteY114" fmla="*/ 6356 h 10000"/>
              <a:gd name="connsiteX115" fmla="*/ 136 w 10005"/>
              <a:gd name="connsiteY115" fmla="*/ 6512 h 10000"/>
              <a:gd name="connsiteX116" fmla="*/ 63 w 10005"/>
              <a:gd name="connsiteY116" fmla="*/ 6590 h 10000"/>
              <a:gd name="connsiteX117" fmla="*/ 0 w 10005"/>
              <a:gd name="connsiteY117" fmla="*/ 6590 h 10000"/>
              <a:gd name="connsiteX118" fmla="*/ 63 w 10005"/>
              <a:gd name="connsiteY118" fmla="*/ 6822 h 10000"/>
              <a:gd name="connsiteX119" fmla="*/ 63 w 10005"/>
              <a:gd name="connsiteY119" fmla="*/ 6900 h 10000"/>
              <a:gd name="connsiteX120" fmla="*/ 63 w 10005"/>
              <a:gd name="connsiteY120" fmla="*/ 6977 h 10000"/>
              <a:gd name="connsiteX121" fmla="*/ 63 w 10005"/>
              <a:gd name="connsiteY121" fmla="*/ 7054 h 10000"/>
              <a:gd name="connsiteX122" fmla="*/ 136 w 10005"/>
              <a:gd name="connsiteY122" fmla="*/ 7209 h 10000"/>
              <a:gd name="connsiteX123" fmla="*/ 343 w 10005"/>
              <a:gd name="connsiteY123" fmla="*/ 7287 h 10000"/>
              <a:gd name="connsiteX124" fmla="*/ 411 w 10005"/>
              <a:gd name="connsiteY124" fmla="*/ 7364 h 10000"/>
              <a:gd name="connsiteX125" fmla="*/ 411 w 10005"/>
              <a:gd name="connsiteY125" fmla="*/ 7520 h 10000"/>
              <a:gd name="connsiteX126" fmla="*/ 550 w 10005"/>
              <a:gd name="connsiteY126" fmla="*/ 7752 h 10000"/>
              <a:gd name="connsiteX127" fmla="*/ 623 w 10005"/>
              <a:gd name="connsiteY127" fmla="*/ 7752 h 10000"/>
              <a:gd name="connsiteX128" fmla="*/ 550 w 10005"/>
              <a:gd name="connsiteY128" fmla="*/ 7907 h 10000"/>
              <a:gd name="connsiteX129" fmla="*/ 480 w 10005"/>
              <a:gd name="connsiteY129" fmla="*/ 7830 h 10000"/>
              <a:gd name="connsiteX130" fmla="*/ 480 w 10005"/>
              <a:gd name="connsiteY130" fmla="*/ 7907 h 10000"/>
              <a:gd name="connsiteX131" fmla="*/ 550 w 10005"/>
              <a:gd name="connsiteY131" fmla="*/ 8062 h 10000"/>
              <a:gd name="connsiteX132" fmla="*/ 762 w 10005"/>
              <a:gd name="connsiteY132" fmla="*/ 8062 h 10000"/>
              <a:gd name="connsiteX133" fmla="*/ 830 w 10005"/>
              <a:gd name="connsiteY133" fmla="*/ 8140 h 10000"/>
              <a:gd name="connsiteX134" fmla="*/ 762 w 10005"/>
              <a:gd name="connsiteY134" fmla="*/ 8140 h 10000"/>
              <a:gd name="connsiteX135" fmla="*/ 830 w 10005"/>
              <a:gd name="connsiteY135" fmla="*/ 8217 h 10000"/>
              <a:gd name="connsiteX136" fmla="*/ 895 w 10005"/>
              <a:gd name="connsiteY136" fmla="*/ 8217 h 10000"/>
              <a:gd name="connsiteX137" fmla="*/ 963 w 10005"/>
              <a:gd name="connsiteY137" fmla="*/ 8372 h 10000"/>
              <a:gd name="connsiteX138" fmla="*/ 1035 w 10005"/>
              <a:gd name="connsiteY138" fmla="*/ 8449 h 10000"/>
              <a:gd name="connsiteX139" fmla="*/ 1101 w 10005"/>
              <a:gd name="connsiteY139" fmla="*/ 8372 h 10000"/>
              <a:gd name="connsiteX140" fmla="*/ 1449 w 10005"/>
              <a:gd name="connsiteY140" fmla="*/ 8605 h 10000"/>
              <a:gd name="connsiteX141" fmla="*/ 1381 w 10005"/>
              <a:gd name="connsiteY141" fmla="*/ 8915 h 10000"/>
              <a:gd name="connsiteX142" fmla="*/ 1311 w 10005"/>
              <a:gd name="connsiteY142" fmla="*/ 8838 h 10000"/>
              <a:gd name="connsiteX143" fmla="*/ 1238 w 10005"/>
              <a:gd name="connsiteY143" fmla="*/ 8915 h 10000"/>
              <a:gd name="connsiteX144" fmla="*/ 1238 w 10005"/>
              <a:gd name="connsiteY144" fmla="*/ 9070 h 10000"/>
              <a:gd name="connsiteX145" fmla="*/ 1311 w 10005"/>
              <a:gd name="connsiteY145" fmla="*/ 8993 h 10000"/>
              <a:gd name="connsiteX146" fmla="*/ 1381 w 10005"/>
              <a:gd name="connsiteY146" fmla="*/ 9070 h 10000"/>
              <a:gd name="connsiteX147" fmla="*/ 1175 w 10005"/>
              <a:gd name="connsiteY147" fmla="*/ 9147 h 10000"/>
              <a:gd name="connsiteX148" fmla="*/ 1238 w 10005"/>
              <a:gd name="connsiteY148" fmla="*/ 9225 h 10000"/>
              <a:gd name="connsiteX149" fmla="*/ 1101 w 10005"/>
              <a:gd name="connsiteY149" fmla="*/ 9380 h 10000"/>
              <a:gd name="connsiteX150" fmla="*/ 1035 w 10005"/>
              <a:gd name="connsiteY150" fmla="*/ 9380 h 10000"/>
              <a:gd name="connsiteX151" fmla="*/ 1101 w 10005"/>
              <a:gd name="connsiteY151" fmla="*/ 9380 h 10000"/>
              <a:gd name="connsiteX152" fmla="*/ 1381 w 10005"/>
              <a:gd name="connsiteY152" fmla="*/ 9691 h 10000"/>
              <a:gd name="connsiteX153" fmla="*/ 1725 w 10005"/>
              <a:gd name="connsiteY153" fmla="*/ 9691 h 10000"/>
              <a:gd name="connsiteX154" fmla="*/ 1863 w 10005"/>
              <a:gd name="connsiteY154" fmla="*/ 9768 h 10000"/>
              <a:gd name="connsiteX155" fmla="*/ 2000 w 10005"/>
              <a:gd name="connsiteY155" fmla="*/ 9768 h 10000"/>
              <a:gd name="connsiteX156" fmla="*/ 2138 w 10005"/>
              <a:gd name="connsiteY156" fmla="*/ 9923 h 10000"/>
              <a:gd name="connsiteX157" fmla="*/ 2207 w 10005"/>
              <a:gd name="connsiteY157" fmla="*/ 10000 h 10000"/>
              <a:gd name="connsiteX158" fmla="*/ 2272 w 10005"/>
              <a:gd name="connsiteY158" fmla="*/ 10000 h 10000"/>
              <a:gd name="connsiteX159" fmla="*/ 2345 w 10005"/>
              <a:gd name="connsiteY159" fmla="*/ 9923 h 10000"/>
              <a:gd name="connsiteX160" fmla="*/ 2207 w 10005"/>
              <a:gd name="connsiteY160" fmla="*/ 9768 h 10000"/>
              <a:gd name="connsiteX161" fmla="*/ 2207 w 10005"/>
              <a:gd name="connsiteY161" fmla="*/ 9613 h 10000"/>
              <a:gd name="connsiteX162" fmla="*/ 2138 w 10005"/>
              <a:gd name="connsiteY162" fmla="*/ 9457 h 10000"/>
              <a:gd name="connsiteX163" fmla="*/ 2272 w 10005"/>
              <a:gd name="connsiteY163" fmla="*/ 9225 h 10000"/>
              <a:gd name="connsiteX164" fmla="*/ 2345 w 10005"/>
              <a:gd name="connsiteY164" fmla="*/ 9302 h 10000"/>
              <a:gd name="connsiteX165" fmla="*/ 2413 w 10005"/>
              <a:gd name="connsiteY165" fmla="*/ 9225 h 10000"/>
              <a:gd name="connsiteX166" fmla="*/ 2413 w 10005"/>
              <a:gd name="connsiteY166" fmla="*/ 9147 h 10000"/>
              <a:gd name="connsiteX167" fmla="*/ 2345 w 10005"/>
              <a:gd name="connsiteY167" fmla="*/ 9147 h 10000"/>
              <a:gd name="connsiteX168" fmla="*/ 2413 w 10005"/>
              <a:gd name="connsiteY168" fmla="*/ 9070 h 10000"/>
              <a:gd name="connsiteX169" fmla="*/ 2345 w 10005"/>
              <a:gd name="connsiteY169" fmla="*/ 8915 h 10000"/>
              <a:gd name="connsiteX170" fmla="*/ 2207 w 10005"/>
              <a:gd name="connsiteY170" fmla="*/ 8915 h 10000"/>
              <a:gd name="connsiteX171" fmla="*/ 2138 w 10005"/>
              <a:gd name="connsiteY171" fmla="*/ 8760 h 10000"/>
              <a:gd name="connsiteX172" fmla="*/ 2207 w 10005"/>
              <a:gd name="connsiteY172" fmla="*/ 8372 h 10000"/>
              <a:gd name="connsiteX173" fmla="*/ 2345 w 10005"/>
              <a:gd name="connsiteY173" fmla="*/ 8528 h 10000"/>
              <a:gd name="connsiteX174" fmla="*/ 2413 w 10005"/>
              <a:gd name="connsiteY174" fmla="*/ 8528 h 10000"/>
              <a:gd name="connsiteX175" fmla="*/ 2345 w 10005"/>
              <a:gd name="connsiteY175" fmla="*/ 8372 h 10000"/>
              <a:gd name="connsiteX176" fmla="*/ 2553 w 10005"/>
              <a:gd name="connsiteY176" fmla="*/ 8140 h 10000"/>
              <a:gd name="connsiteX177" fmla="*/ 2692 w 10005"/>
              <a:gd name="connsiteY177" fmla="*/ 8217 h 10000"/>
              <a:gd name="connsiteX178" fmla="*/ 2759 w 10005"/>
              <a:gd name="connsiteY178" fmla="*/ 8140 h 10000"/>
              <a:gd name="connsiteX179" fmla="*/ 2893 w 10005"/>
              <a:gd name="connsiteY179" fmla="*/ 8217 h 10000"/>
              <a:gd name="connsiteX180" fmla="*/ 3107 w 10005"/>
              <a:gd name="connsiteY180" fmla="*/ 8372 h 10000"/>
              <a:gd name="connsiteX181" fmla="*/ 3240 w 10005"/>
              <a:gd name="connsiteY181" fmla="*/ 8295 h 10000"/>
              <a:gd name="connsiteX182" fmla="*/ 3380 w 10005"/>
              <a:gd name="connsiteY182" fmla="*/ 8295 h 10000"/>
              <a:gd name="connsiteX183" fmla="*/ 3451 w 10005"/>
              <a:gd name="connsiteY183" fmla="*/ 8372 h 10000"/>
              <a:gd name="connsiteX184" fmla="*/ 3726 w 10005"/>
              <a:gd name="connsiteY184" fmla="*/ 8372 h 10000"/>
              <a:gd name="connsiteX185" fmla="*/ 3791 w 10005"/>
              <a:gd name="connsiteY185" fmla="*/ 8217 h 10000"/>
              <a:gd name="connsiteX186" fmla="*/ 3583 w 10005"/>
              <a:gd name="connsiteY186" fmla="*/ 8140 h 10000"/>
              <a:gd name="connsiteX187" fmla="*/ 3726 w 10005"/>
              <a:gd name="connsiteY187" fmla="*/ 8062 h 10000"/>
              <a:gd name="connsiteX188" fmla="*/ 3652 w 10005"/>
              <a:gd name="connsiteY188" fmla="*/ 7985 h 10000"/>
              <a:gd name="connsiteX189" fmla="*/ 3726 w 10005"/>
              <a:gd name="connsiteY189" fmla="*/ 7907 h 10000"/>
              <a:gd name="connsiteX190" fmla="*/ 3726 w 10005"/>
              <a:gd name="connsiteY190" fmla="*/ 7675 h 10000"/>
              <a:gd name="connsiteX191" fmla="*/ 3859 w 10005"/>
              <a:gd name="connsiteY191" fmla="*/ 7752 h 10000"/>
              <a:gd name="connsiteX192" fmla="*/ 4482 w 10005"/>
              <a:gd name="connsiteY192" fmla="*/ 7520 h 10000"/>
              <a:gd name="connsiteX193" fmla="*/ 4482 w 10005"/>
              <a:gd name="connsiteY193" fmla="*/ 7442 h 10000"/>
              <a:gd name="connsiteX194" fmla="*/ 4553 w 10005"/>
              <a:gd name="connsiteY194" fmla="*/ 7442 h 10000"/>
              <a:gd name="connsiteX195" fmla="*/ 4753 w 10005"/>
              <a:gd name="connsiteY195" fmla="*/ 7442 h 10000"/>
              <a:gd name="connsiteX196" fmla="*/ 4830 w 10005"/>
              <a:gd name="connsiteY196" fmla="*/ 7598 h 10000"/>
              <a:gd name="connsiteX197" fmla="*/ 4830 w 10005"/>
              <a:gd name="connsiteY197" fmla="*/ 7675 h 10000"/>
              <a:gd name="connsiteX198" fmla="*/ 4895 w 10005"/>
              <a:gd name="connsiteY198" fmla="*/ 7675 h 10000"/>
              <a:gd name="connsiteX199" fmla="*/ 5033 w 10005"/>
              <a:gd name="connsiteY199" fmla="*/ 7752 h 10000"/>
              <a:gd name="connsiteX200" fmla="*/ 5033 w 10005"/>
              <a:gd name="connsiteY200" fmla="*/ 7830 h 10000"/>
              <a:gd name="connsiteX201" fmla="*/ 5171 w 10005"/>
              <a:gd name="connsiteY201" fmla="*/ 7830 h 10000"/>
              <a:gd name="connsiteX202" fmla="*/ 5309 w 10005"/>
              <a:gd name="connsiteY202" fmla="*/ 7675 h 10000"/>
              <a:gd name="connsiteX203" fmla="*/ 5447 w 10005"/>
              <a:gd name="connsiteY203" fmla="*/ 7598 h 10000"/>
              <a:gd name="connsiteX204" fmla="*/ 5526 w 10005"/>
              <a:gd name="connsiteY204" fmla="*/ 7830 h 10000"/>
              <a:gd name="connsiteX205" fmla="*/ 5794 w 10005"/>
              <a:gd name="connsiteY205" fmla="*/ 8372 h 10000"/>
              <a:gd name="connsiteX206" fmla="*/ 5865 w 10005"/>
              <a:gd name="connsiteY206" fmla="*/ 8217 h 10000"/>
              <a:gd name="connsiteX207" fmla="*/ 5933 w 10005"/>
              <a:gd name="connsiteY207" fmla="*/ 8372 h 10000"/>
              <a:gd name="connsiteX208" fmla="*/ 6140 w 10005"/>
              <a:gd name="connsiteY208" fmla="*/ 8295 h 10000"/>
              <a:gd name="connsiteX209" fmla="*/ 6348 w 10005"/>
              <a:gd name="connsiteY209" fmla="*/ 8528 h 10000"/>
              <a:gd name="connsiteX210" fmla="*/ 6481 w 10005"/>
              <a:gd name="connsiteY210" fmla="*/ 8605 h 10000"/>
              <a:gd name="connsiteX211" fmla="*/ 6481 w 10005"/>
              <a:gd name="connsiteY211" fmla="*/ 8528 h 10000"/>
              <a:gd name="connsiteX212" fmla="*/ 6555 w 10005"/>
              <a:gd name="connsiteY212" fmla="*/ 8683 h 10000"/>
              <a:gd name="connsiteX213" fmla="*/ 6481 w 10005"/>
              <a:gd name="connsiteY213" fmla="*/ 8760 h 10000"/>
              <a:gd name="connsiteX214" fmla="*/ 6623 w 10005"/>
              <a:gd name="connsiteY214" fmla="*/ 8683 h 10000"/>
              <a:gd name="connsiteX215" fmla="*/ 6689 w 10005"/>
              <a:gd name="connsiteY215" fmla="*/ 8605 h 10000"/>
              <a:gd name="connsiteX216" fmla="*/ 7032 w 10005"/>
              <a:gd name="connsiteY216" fmla="*/ 8372 h 10000"/>
              <a:gd name="connsiteX217" fmla="*/ 7311 w 10005"/>
              <a:gd name="connsiteY217" fmla="*/ 8449 h 10000"/>
              <a:gd name="connsiteX218" fmla="*/ 7446 w 10005"/>
              <a:gd name="connsiteY218" fmla="*/ 8528 h 10000"/>
              <a:gd name="connsiteX219" fmla="*/ 7722 w 10005"/>
              <a:gd name="connsiteY219" fmla="*/ 8528 h 10000"/>
              <a:gd name="connsiteX220" fmla="*/ 7722 w 10005"/>
              <a:gd name="connsiteY220" fmla="*/ 8372 h 10000"/>
              <a:gd name="connsiteX221" fmla="*/ 7722 w 10005"/>
              <a:gd name="connsiteY221" fmla="*/ 8217 h 10000"/>
              <a:gd name="connsiteX222" fmla="*/ 7861 w 10005"/>
              <a:gd name="connsiteY222" fmla="*/ 8140 h 10000"/>
              <a:gd name="connsiteX223" fmla="*/ 8133 w 10005"/>
              <a:gd name="connsiteY223" fmla="*/ 8217 h 10000"/>
              <a:gd name="connsiteX224" fmla="*/ 8276 w 10005"/>
              <a:gd name="connsiteY224" fmla="*/ 8449 h 10000"/>
              <a:gd name="connsiteX225" fmla="*/ 8345 w 10005"/>
              <a:gd name="connsiteY225" fmla="*/ 8449 h 10000"/>
              <a:gd name="connsiteX226" fmla="*/ 8483 w 10005"/>
              <a:gd name="connsiteY226" fmla="*/ 8372 h 10000"/>
              <a:gd name="connsiteX227" fmla="*/ 8901 w 10005"/>
              <a:gd name="connsiteY227" fmla="*/ 8605 h 10000"/>
              <a:gd name="connsiteX228" fmla="*/ 9104 w 10005"/>
              <a:gd name="connsiteY228" fmla="*/ 8683 h 10000"/>
              <a:gd name="connsiteX229" fmla="*/ 9379 w 10005"/>
              <a:gd name="connsiteY229" fmla="*/ 8605 h 10000"/>
              <a:gd name="connsiteX230" fmla="*/ 9519 w 10005"/>
              <a:gd name="connsiteY230" fmla="*/ 8449 h 10000"/>
              <a:gd name="connsiteX231" fmla="*/ 9724 w 10005"/>
              <a:gd name="connsiteY231" fmla="*/ 8528 h 10000"/>
              <a:gd name="connsiteX232" fmla="*/ 9862 w 10005"/>
              <a:gd name="connsiteY232" fmla="*/ 8605 h 10000"/>
              <a:gd name="connsiteX233" fmla="*/ 10000 w 10005"/>
              <a:gd name="connsiteY233" fmla="*/ 2016 h 10000"/>
              <a:gd name="connsiteX234" fmla="*/ 9655 w 10005"/>
              <a:gd name="connsiteY234" fmla="*/ 1938 h 10000"/>
              <a:gd name="connsiteX235" fmla="*/ 9448 w 10005"/>
              <a:gd name="connsiteY235" fmla="*/ 2093 h 10000"/>
              <a:gd name="connsiteX236" fmla="*/ 9046 w 10005"/>
              <a:gd name="connsiteY236" fmla="*/ 1861 h 10000"/>
              <a:gd name="connsiteX0" fmla="*/ 9046 w 9862"/>
              <a:gd name="connsiteY0" fmla="*/ 1861 h 10000"/>
              <a:gd name="connsiteX1" fmla="*/ 9046 w 9862"/>
              <a:gd name="connsiteY1" fmla="*/ 1861 h 10000"/>
              <a:gd name="connsiteX2" fmla="*/ 8967 w 9862"/>
              <a:gd name="connsiteY2" fmla="*/ 1938 h 10000"/>
              <a:gd name="connsiteX3" fmla="*/ 9046 w 9862"/>
              <a:gd name="connsiteY3" fmla="*/ 2093 h 10000"/>
              <a:gd name="connsiteX4" fmla="*/ 8758 w 9862"/>
              <a:gd name="connsiteY4" fmla="*/ 2248 h 10000"/>
              <a:gd name="connsiteX5" fmla="*/ 8687 w 9862"/>
              <a:gd name="connsiteY5" fmla="*/ 2248 h 10000"/>
              <a:gd name="connsiteX6" fmla="*/ 8758 w 9862"/>
              <a:gd name="connsiteY6" fmla="*/ 2016 h 10000"/>
              <a:gd name="connsiteX7" fmla="*/ 9448 w 9862"/>
              <a:gd name="connsiteY7" fmla="*/ 1318 h 10000"/>
              <a:gd name="connsiteX8" fmla="*/ 9448 w 9862"/>
              <a:gd name="connsiteY8" fmla="*/ 853 h 10000"/>
              <a:gd name="connsiteX9" fmla="*/ 9176 w 9862"/>
              <a:gd name="connsiteY9" fmla="*/ 543 h 10000"/>
              <a:gd name="connsiteX10" fmla="*/ 8828 w 9862"/>
              <a:gd name="connsiteY10" fmla="*/ 543 h 10000"/>
              <a:gd name="connsiteX11" fmla="*/ 8828 w 9862"/>
              <a:gd name="connsiteY11" fmla="*/ 698 h 10000"/>
              <a:gd name="connsiteX12" fmla="*/ 8617 w 9862"/>
              <a:gd name="connsiteY12" fmla="*/ 698 h 10000"/>
              <a:gd name="connsiteX13" fmla="*/ 8758 w 9862"/>
              <a:gd name="connsiteY13" fmla="*/ 387 h 10000"/>
              <a:gd name="connsiteX14" fmla="*/ 8418 w 9862"/>
              <a:gd name="connsiteY14" fmla="*/ 310 h 10000"/>
              <a:gd name="connsiteX15" fmla="*/ 8617 w 9862"/>
              <a:gd name="connsiteY15" fmla="*/ 155 h 10000"/>
              <a:gd name="connsiteX16" fmla="*/ 8418 w 9862"/>
              <a:gd name="connsiteY16" fmla="*/ 0 h 10000"/>
              <a:gd name="connsiteX17" fmla="*/ 8071 w 9862"/>
              <a:gd name="connsiteY17" fmla="*/ 387 h 10000"/>
              <a:gd name="connsiteX18" fmla="*/ 8071 w 9862"/>
              <a:gd name="connsiteY18" fmla="*/ 698 h 10000"/>
              <a:gd name="connsiteX19" fmla="*/ 7861 w 9862"/>
              <a:gd name="connsiteY19" fmla="*/ 698 h 10000"/>
              <a:gd name="connsiteX20" fmla="*/ 7243 w 9862"/>
              <a:gd name="connsiteY20" fmla="*/ 853 h 10000"/>
              <a:gd name="connsiteX21" fmla="*/ 6689 w 9862"/>
              <a:gd name="connsiteY21" fmla="*/ 1240 h 10000"/>
              <a:gd name="connsiteX22" fmla="*/ 6481 w 9862"/>
              <a:gd name="connsiteY22" fmla="*/ 1551 h 10000"/>
              <a:gd name="connsiteX23" fmla="*/ 6555 w 9862"/>
              <a:gd name="connsiteY23" fmla="*/ 1938 h 10000"/>
              <a:gd name="connsiteX24" fmla="*/ 5794 w 9862"/>
              <a:gd name="connsiteY24" fmla="*/ 2093 h 10000"/>
              <a:gd name="connsiteX25" fmla="*/ 5865 w 9862"/>
              <a:gd name="connsiteY25" fmla="*/ 2559 h 10000"/>
              <a:gd name="connsiteX26" fmla="*/ 6070 w 9862"/>
              <a:gd name="connsiteY26" fmla="*/ 2791 h 10000"/>
              <a:gd name="connsiteX27" fmla="*/ 5933 w 9862"/>
              <a:gd name="connsiteY27" fmla="*/ 2868 h 10000"/>
              <a:gd name="connsiteX28" fmla="*/ 5728 w 9862"/>
              <a:gd name="connsiteY28" fmla="*/ 2559 h 10000"/>
              <a:gd name="connsiteX29" fmla="*/ 5526 w 9862"/>
              <a:gd name="connsiteY29" fmla="*/ 2480 h 10000"/>
              <a:gd name="connsiteX30" fmla="*/ 5447 w 9862"/>
              <a:gd name="connsiteY30" fmla="*/ 2559 h 10000"/>
              <a:gd name="connsiteX31" fmla="*/ 5309 w 9862"/>
              <a:gd name="connsiteY31" fmla="*/ 2403 h 10000"/>
              <a:gd name="connsiteX32" fmla="*/ 5171 w 9862"/>
              <a:gd name="connsiteY32" fmla="*/ 2248 h 10000"/>
              <a:gd name="connsiteX33" fmla="*/ 5171 w 9862"/>
              <a:gd name="connsiteY33" fmla="*/ 2325 h 10000"/>
              <a:gd name="connsiteX34" fmla="*/ 5248 w 9862"/>
              <a:gd name="connsiteY34" fmla="*/ 2559 h 10000"/>
              <a:gd name="connsiteX35" fmla="*/ 5033 w 9862"/>
              <a:gd name="connsiteY35" fmla="*/ 2946 h 10000"/>
              <a:gd name="connsiteX36" fmla="*/ 5171 w 9862"/>
              <a:gd name="connsiteY36" fmla="*/ 3256 h 10000"/>
              <a:gd name="connsiteX37" fmla="*/ 5102 w 9862"/>
              <a:gd name="connsiteY37" fmla="*/ 3566 h 10000"/>
              <a:gd name="connsiteX38" fmla="*/ 5102 w 9862"/>
              <a:gd name="connsiteY38" fmla="*/ 3799 h 10000"/>
              <a:gd name="connsiteX39" fmla="*/ 5309 w 9862"/>
              <a:gd name="connsiteY39" fmla="*/ 3799 h 10000"/>
              <a:gd name="connsiteX40" fmla="*/ 5171 w 9862"/>
              <a:gd name="connsiteY40" fmla="*/ 3876 h 10000"/>
              <a:gd name="connsiteX41" fmla="*/ 5248 w 9862"/>
              <a:gd name="connsiteY41" fmla="*/ 4263 h 10000"/>
              <a:gd name="connsiteX42" fmla="*/ 4830 w 9862"/>
              <a:gd name="connsiteY42" fmla="*/ 4652 h 10000"/>
              <a:gd name="connsiteX43" fmla="*/ 4753 w 9862"/>
              <a:gd name="connsiteY43" fmla="*/ 4574 h 10000"/>
              <a:gd name="connsiteX44" fmla="*/ 5033 w 9862"/>
              <a:gd name="connsiteY44" fmla="*/ 4186 h 10000"/>
              <a:gd name="connsiteX45" fmla="*/ 5102 w 9862"/>
              <a:gd name="connsiteY45" fmla="*/ 3954 h 10000"/>
              <a:gd name="connsiteX46" fmla="*/ 4957 w 9862"/>
              <a:gd name="connsiteY46" fmla="*/ 3799 h 10000"/>
              <a:gd name="connsiteX47" fmla="*/ 4957 w 9862"/>
              <a:gd name="connsiteY47" fmla="*/ 3023 h 10000"/>
              <a:gd name="connsiteX48" fmla="*/ 4895 w 9862"/>
              <a:gd name="connsiteY48" fmla="*/ 2868 h 10000"/>
              <a:gd name="connsiteX49" fmla="*/ 4957 w 9862"/>
              <a:gd name="connsiteY49" fmla="*/ 2403 h 10000"/>
              <a:gd name="connsiteX50" fmla="*/ 4830 w 9862"/>
              <a:gd name="connsiteY50" fmla="*/ 2325 h 10000"/>
              <a:gd name="connsiteX51" fmla="*/ 4895 w 9862"/>
              <a:gd name="connsiteY51" fmla="*/ 2248 h 10000"/>
              <a:gd name="connsiteX52" fmla="*/ 4830 w 9862"/>
              <a:gd name="connsiteY52" fmla="*/ 2093 h 10000"/>
              <a:gd name="connsiteX53" fmla="*/ 4686 w 9862"/>
              <a:gd name="connsiteY53" fmla="*/ 2170 h 10000"/>
              <a:gd name="connsiteX54" fmla="*/ 4346 w 9862"/>
              <a:gd name="connsiteY54" fmla="*/ 3178 h 10000"/>
              <a:gd name="connsiteX55" fmla="*/ 4346 w 9862"/>
              <a:gd name="connsiteY55" fmla="*/ 3566 h 10000"/>
              <a:gd name="connsiteX56" fmla="*/ 4553 w 9862"/>
              <a:gd name="connsiteY56" fmla="*/ 3876 h 10000"/>
              <a:gd name="connsiteX57" fmla="*/ 4553 w 9862"/>
              <a:gd name="connsiteY57" fmla="*/ 4031 h 10000"/>
              <a:gd name="connsiteX58" fmla="*/ 4346 w 9862"/>
              <a:gd name="connsiteY58" fmla="*/ 3876 h 10000"/>
              <a:gd name="connsiteX59" fmla="*/ 3522 w 9862"/>
              <a:gd name="connsiteY59" fmla="*/ 3256 h 10000"/>
              <a:gd name="connsiteX60" fmla="*/ 3451 w 9862"/>
              <a:gd name="connsiteY60" fmla="*/ 3411 h 10000"/>
              <a:gd name="connsiteX61" fmla="*/ 3726 w 9862"/>
              <a:gd name="connsiteY61" fmla="*/ 3799 h 10000"/>
              <a:gd name="connsiteX62" fmla="*/ 3583 w 9862"/>
              <a:gd name="connsiteY62" fmla="*/ 3876 h 10000"/>
              <a:gd name="connsiteX63" fmla="*/ 3522 w 9862"/>
              <a:gd name="connsiteY63" fmla="*/ 3799 h 10000"/>
              <a:gd name="connsiteX64" fmla="*/ 3107 w 9862"/>
              <a:gd name="connsiteY64" fmla="*/ 3954 h 10000"/>
              <a:gd name="connsiteX65" fmla="*/ 3038 w 9862"/>
              <a:gd name="connsiteY65" fmla="*/ 4109 h 10000"/>
              <a:gd name="connsiteX66" fmla="*/ 2968 w 9862"/>
              <a:gd name="connsiteY66" fmla="*/ 3954 h 10000"/>
              <a:gd name="connsiteX67" fmla="*/ 2968 w 9862"/>
              <a:gd name="connsiteY67" fmla="*/ 3799 h 10000"/>
              <a:gd name="connsiteX68" fmla="*/ 2272 w 9862"/>
              <a:gd name="connsiteY68" fmla="*/ 4263 h 10000"/>
              <a:gd name="connsiteX69" fmla="*/ 2272 w 9862"/>
              <a:gd name="connsiteY69" fmla="*/ 4418 h 10000"/>
              <a:gd name="connsiteX70" fmla="*/ 2138 w 9862"/>
              <a:gd name="connsiteY70" fmla="*/ 4496 h 10000"/>
              <a:gd name="connsiteX71" fmla="*/ 1932 w 9862"/>
              <a:gd name="connsiteY71" fmla="*/ 4341 h 10000"/>
              <a:gd name="connsiteX72" fmla="*/ 2138 w 9862"/>
              <a:gd name="connsiteY72" fmla="*/ 4186 h 10000"/>
              <a:gd name="connsiteX73" fmla="*/ 2066 w 9862"/>
              <a:gd name="connsiteY73" fmla="*/ 3954 h 10000"/>
              <a:gd name="connsiteX74" fmla="*/ 1793 w 9862"/>
              <a:gd name="connsiteY74" fmla="*/ 3876 h 10000"/>
              <a:gd name="connsiteX75" fmla="*/ 1863 w 9862"/>
              <a:gd name="connsiteY75" fmla="*/ 4031 h 10000"/>
              <a:gd name="connsiteX76" fmla="*/ 1863 w 9862"/>
              <a:gd name="connsiteY76" fmla="*/ 4418 h 10000"/>
              <a:gd name="connsiteX77" fmla="*/ 1932 w 9862"/>
              <a:gd name="connsiteY77" fmla="*/ 4574 h 10000"/>
              <a:gd name="connsiteX78" fmla="*/ 1863 w 9862"/>
              <a:gd name="connsiteY78" fmla="*/ 4729 h 10000"/>
              <a:gd name="connsiteX79" fmla="*/ 1651 w 9862"/>
              <a:gd name="connsiteY79" fmla="*/ 4652 h 10000"/>
              <a:gd name="connsiteX80" fmla="*/ 1381 w 9862"/>
              <a:gd name="connsiteY80" fmla="*/ 4884 h 10000"/>
              <a:gd name="connsiteX81" fmla="*/ 1514 w 9862"/>
              <a:gd name="connsiteY81" fmla="*/ 5194 h 10000"/>
              <a:gd name="connsiteX82" fmla="*/ 1101 w 9862"/>
              <a:gd name="connsiteY82" fmla="*/ 5039 h 10000"/>
              <a:gd name="connsiteX83" fmla="*/ 1035 w 9862"/>
              <a:gd name="connsiteY83" fmla="*/ 5116 h 10000"/>
              <a:gd name="connsiteX84" fmla="*/ 1175 w 9862"/>
              <a:gd name="connsiteY84" fmla="*/ 5349 h 10000"/>
              <a:gd name="connsiteX85" fmla="*/ 1035 w 9862"/>
              <a:gd name="connsiteY85" fmla="*/ 5349 h 10000"/>
              <a:gd name="connsiteX86" fmla="*/ 830 w 9862"/>
              <a:gd name="connsiteY86" fmla="*/ 5194 h 10000"/>
              <a:gd name="connsiteX87" fmla="*/ 830 w 9862"/>
              <a:gd name="connsiteY87" fmla="*/ 4729 h 10000"/>
              <a:gd name="connsiteX88" fmla="*/ 623 w 9862"/>
              <a:gd name="connsiteY88" fmla="*/ 4574 h 10000"/>
              <a:gd name="connsiteX89" fmla="*/ 550 w 9862"/>
              <a:gd name="connsiteY89" fmla="*/ 4418 h 10000"/>
              <a:gd name="connsiteX90" fmla="*/ 687 w 9862"/>
              <a:gd name="connsiteY90" fmla="*/ 4496 h 10000"/>
              <a:gd name="connsiteX91" fmla="*/ 1238 w 9862"/>
              <a:gd name="connsiteY91" fmla="*/ 4729 h 10000"/>
              <a:gd name="connsiteX92" fmla="*/ 1579 w 9862"/>
              <a:gd name="connsiteY92" fmla="*/ 4496 h 10000"/>
              <a:gd name="connsiteX93" fmla="*/ 1514 w 9862"/>
              <a:gd name="connsiteY93" fmla="*/ 4263 h 10000"/>
              <a:gd name="connsiteX94" fmla="*/ 1101 w 9862"/>
              <a:gd name="connsiteY94" fmla="*/ 3799 h 10000"/>
              <a:gd name="connsiteX95" fmla="*/ 687 w 9862"/>
              <a:gd name="connsiteY95" fmla="*/ 3644 h 10000"/>
              <a:gd name="connsiteX96" fmla="*/ 687 w 9862"/>
              <a:gd name="connsiteY96" fmla="*/ 3566 h 10000"/>
              <a:gd name="connsiteX97" fmla="*/ 550 w 9862"/>
              <a:gd name="connsiteY97" fmla="*/ 3488 h 10000"/>
              <a:gd name="connsiteX98" fmla="*/ 411 w 9862"/>
              <a:gd name="connsiteY98" fmla="*/ 3566 h 10000"/>
              <a:gd name="connsiteX99" fmla="*/ 411 w 9862"/>
              <a:gd name="connsiteY99" fmla="*/ 3644 h 10000"/>
              <a:gd name="connsiteX100" fmla="*/ 343 w 9862"/>
              <a:gd name="connsiteY100" fmla="*/ 3644 h 10000"/>
              <a:gd name="connsiteX101" fmla="*/ 207 w 9862"/>
              <a:gd name="connsiteY101" fmla="*/ 3799 h 10000"/>
              <a:gd name="connsiteX102" fmla="*/ 207 w 9862"/>
              <a:gd name="connsiteY102" fmla="*/ 4031 h 10000"/>
              <a:gd name="connsiteX103" fmla="*/ 343 w 9862"/>
              <a:gd name="connsiteY103" fmla="*/ 4186 h 10000"/>
              <a:gd name="connsiteX104" fmla="*/ 278 w 9862"/>
              <a:gd name="connsiteY104" fmla="*/ 4418 h 10000"/>
              <a:gd name="connsiteX105" fmla="*/ 343 w 9862"/>
              <a:gd name="connsiteY105" fmla="*/ 4807 h 10000"/>
              <a:gd name="connsiteX106" fmla="*/ 278 w 9862"/>
              <a:gd name="connsiteY106" fmla="*/ 5039 h 10000"/>
              <a:gd name="connsiteX107" fmla="*/ 411 w 9862"/>
              <a:gd name="connsiteY107" fmla="*/ 5271 h 10000"/>
              <a:gd name="connsiteX108" fmla="*/ 343 w 9862"/>
              <a:gd name="connsiteY108" fmla="*/ 5426 h 10000"/>
              <a:gd name="connsiteX109" fmla="*/ 480 w 9862"/>
              <a:gd name="connsiteY109" fmla="*/ 5582 h 10000"/>
              <a:gd name="connsiteX110" fmla="*/ 480 w 9862"/>
              <a:gd name="connsiteY110" fmla="*/ 5659 h 10000"/>
              <a:gd name="connsiteX111" fmla="*/ 278 w 9862"/>
              <a:gd name="connsiteY111" fmla="*/ 6047 h 10000"/>
              <a:gd name="connsiteX112" fmla="*/ 63 w 9862"/>
              <a:gd name="connsiteY112" fmla="*/ 6202 h 10000"/>
              <a:gd name="connsiteX113" fmla="*/ 136 w 9862"/>
              <a:gd name="connsiteY113" fmla="*/ 6202 h 10000"/>
              <a:gd name="connsiteX114" fmla="*/ 278 w 9862"/>
              <a:gd name="connsiteY114" fmla="*/ 6356 h 10000"/>
              <a:gd name="connsiteX115" fmla="*/ 136 w 9862"/>
              <a:gd name="connsiteY115" fmla="*/ 6512 h 10000"/>
              <a:gd name="connsiteX116" fmla="*/ 63 w 9862"/>
              <a:gd name="connsiteY116" fmla="*/ 6590 h 10000"/>
              <a:gd name="connsiteX117" fmla="*/ 0 w 9862"/>
              <a:gd name="connsiteY117" fmla="*/ 6590 h 10000"/>
              <a:gd name="connsiteX118" fmla="*/ 63 w 9862"/>
              <a:gd name="connsiteY118" fmla="*/ 6822 h 10000"/>
              <a:gd name="connsiteX119" fmla="*/ 63 w 9862"/>
              <a:gd name="connsiteY119" fmla="*/ 6900 h 10000"/>
              <a:gd name="connsiteX120" fmla="*/ 63 w 9862"/>
              <a:gd name="connsiteY120" fmla="*/ 6977 h 10000"/>
              <a:gd name="connsiteX121" fmla="*/ 63 w 9862"/>
              <a:gd name="connsiteY121" fmla="*/ 7054 h 10000"/>
              <a:gd name="connsiteX122" fmla="*/ 136 w 9862"/>
              <a:gd name="connsiteY122" fmla="*/ 7209 h 10000"/>
              <a:gd name="connsiteX123" fmla="*/ 343 w 9862"/>
              <a:gd name="connsiteY123" fmla="*/ 7287 h 10000"/>
              <a:gd name="connsiteX124" fmla="*/ 411 w 9862"/>
              <a:gd name="connsiteY124" fmla="*/ 7364 h 10000"/>
              <a:gd name="connsiteX125" fmla="*/ 411 w 9862"/>
              <a:gd name="connsiteY125" fmla="*/ 7520 h 10000"/>
              <a:gd name="connsiteX126" fmla="*/ 550 w 9862"/>
              <a:gd name="connsiteY126" fmla="*/ 7752 h 10000"/>
              <a:gd name="connsiteX127" fmla="*/ 623 w 9862"/>
              <a:gd name="connsiteY127" fmla="*/ 7752 h 10000"/>
              <a:gd name="connsiteX128" fmla="*/ 550 w 9862"/>
              <a:gd name="connsiteY128" fmla="*/ 7907 h 10000"/>
              <a:gd name="connsiteX129" fmla="*/ 480 w 9862"/>
              <a:gd name="connsiteY129" fmla="*/ 7830 h 10000"/>
              <a:gd name="connsiteX130" fmla="*/ 480 w 9862"/>
              <a:gd name="connsiteY130" fmla="*/ 7907 h 10000"/>
              <a:gd name="connsiteX131" fmla="*/ 550 w 9862"/>
              <a:gd name="connsiteY131" fmla="*/ 8062 h 10000"/>
              <a:gd name="connsiteX132" fmla="*/ 762 w 9862"/>
              <a:gd name="connsiteY132" fmla="*/ 8062 h 10000"/>
              <a:gd name="connsiteX133" fmla="*/ 830 w 9862"/>
              <a:gd name="connsiteY133" fmla="*/ 8140 h 10000"/>
              <a:gd name="connsiteX134" fmla="*/ 762 w 9862"/>
              <a:gd name="connsiteY134" fmla="*/ 8140 h 10000"/>
              <a:gd name="connsiteX135" fmla="*/ 830 w 9862"/>
              <a:gd name="connsiteY135" fmla="*/ 8217 h 10000"/>
              <a:gd name="connsiteX136" fmla="*/ 895 w 9862"/>
              <a:gd name="connsiteY136" fmla="*/ 8217 h 10000"/>
              <a:gd name="connsiteX137" fmla="*/ 963 w 9862"/>
              <a:gd name="connsiteY137" fmla="*/ 8372 h 10000"/>
              <a:gd name="connsiteX138" fmla="*/ 1035 w 9862"/>
              <a:gd name="connsiteY138" fmla="*/ 8449 h 10000"/>
              <a:gd name="connsiteX139" fmla="*/ 1101 w 9862"/>
              <a:gd name="connsiteY139" fmla="*/ 8372 h 10000"/>
              <a:gd name="connsiteX140" fmla="*/ 1449 w 9862"/>
              <a:gd name="connsiteY140" fmla="*/ 8605 h 10000"/>
              <a:gd name="connsiteX141" fmla="*/ 1381 w 9862"/>
              <a:gd name="connsiteY141" fmla="*/ 8915 h 10000"/>
              <a:gd name="connsiteX142" fmla="*/ 1311 w 9862"/>
              <a:gd name="connsiteY142" fmla="*/ 8838 h 10000"/>
              <a:gd name="connsiteX143" fmla="*/ 1238 w 9862"/>
              <a:gd name="connsiteY143" fmla="*/ 8915 h 10000"/>
              <a:gd name="connsiteX144" fmla="*/ 1238 w 9862"/>
              <a:gd name="connsiteY144" fmla="*/ 9070 h 10000"/>
              <a:gd name="connsiteX145" fmla="*/ 1311 w 9862"/>
              <a:gd name="connsiteY145" fmla="*/ 8993 h 10000"/>
              <a:gd name="connsiteX146" fmla="*/ 1381 w 9862"/>
              <a:gd name="connsiteY146" fmla="*/ 9070 h 10000"/>
              <a:gd name="connsiteX147" fmla="*/ 1175 w 9862"/>
              <a:gd name="connsiteY147" fmla="*/ 9147 h 10000"/>
              <a:gd name="connsiteX148" fmla="*/ 1238 w 9862"/>
              <a:gd name="connsiteY148" fmla="*/ 9225 h 10000"/>
              <a:gd name="connsiteX149" fmla="*/ 1101 w 9862"/>
              <a:gd name="connsiteY149" fmla="*/ 9380 h 10000"/>
              <a:gd name="connsiteX150" fmla="*/ 1035 w 9862"/>
              <a:gd name="connsiteY150" fmla="*/ 9380 h 10000"/>
              <a:gd name="connsiteX151" fmla="*/ 1101 w 9862"/>
              <a:gd name="connsiteY151" fmla="*/ 9380 h 10000"/>
              <a:gd name="connsiteX152" fmla="*/ 1381 w 9862"/>
              <a:gd name="connsiteY152" fmla="*/ 9691 h 10000"/>
              <a:gd name="connsiteX153" fmla="*/ 1725 w 9862"/>
              <a:gd name="connsiteY153" fmla="*/ 9691 h 10000"/>
              <a:gd name="connsiteX154" fmla="*/ 1863 w 9862"/>
              <a:gd name="connsiteY154" fmla="*/ 9768 h 10000"/>
              <a:gd name="connsiteX155" fmla="*/ 2000 w 9862"/>
              <a:gd name="connsiteY155" fmla="*/ 9768 h 10000"/>
              <a:gd name="connsiteX156" fmla="*/ 2138 w 9862"/>
              <a:gd name="connsiteY156" fmla="*/ 9923 h 10000"/>
              <a:gd name="connsiteX157" fmla="*/ 2207 w 9862"/>
              <a:gd name="connsiteY157" fmla="*/ 10000 h 10000"/>
              <a:gd name="connsiteX158" fmla="*/ 2272 w 9862"/>
              <a:gd name="connsiteY158" fmla="*/ 10000 h 10000"/>
              <a:gd name="connsiteX159" fmla="*/ 2345 w 9862"/>
              <a:gd name="connsiteY159" fmla="*/ 9923 h 10000"/>
              <a:gd name="connsiteX160" fmla="*/ 2207 w 9862"/>
              <a:gd name="connsiteY160" fmla="*/ 9768 h 10000"/>
              <a:gd name="connsiteX161" fmla="*/ 2207 w 9862"/>
              <a:gd name="connsiteY161" fmla="*/ 9613 h 10000"/>
              <a:gd name="connsiteX162" fmla="*/ 2138 w 9862"/>
              <a:gd name="connsiteY162" fmla="*/ 9457 h 10000"/>
              <a:gd name="connsiteX163" fmla="*/ 2272 w 9862"/>
              <a:gd name="connsiteY163" fmla="*/ 9225 h 10000"/>
              <a:gd name="connsiteX164" fmla="*/ 2345 w 9862"/>
              <a:gd name="connsiteY164" fmla="*/ 9302 h 10000"/>
              <a:gd name="connsiteX165" fmla="*/ 2413 w 9862"/>
              <a:gd name="connsiteY165" fmla="*/ 9225 h 10000"/>
              <a:gd name="connsiteX166" fmla="*/ 2413 w 9862"/>
              <a:gd name="connsiteY166" fmla="*/ 9147 h 10000"/>
              <a:gd name="connsiteX167" fmla="*/ 2345 w 9862"/>
              <a:gd name="connsiteY167" fmla="*/ 9147 h 10000"/>
              <a:gd name="connsiteX168" fmla="*/ 2413 w 9862"/>
              <a:gd name="connsiteY168" fmla="*/ 9070 h 10000"/>
              <a:gd name="connsiteX169" fmla="*/ 2345 w 9862"/>
              <a:gd name="connsiteY169" fmla="*/ 8915 h 10000"/>
              <a:gd name="connsiteX170" fmla="*/ 2207 w 9862"/>
              <a:gd name="connsiteY170" fmla="*/ 8915 h 10000"/>
              <a:gd name="connsiteX171" fmla="*/ 2138 w 9862"/>
              <a:gd name="connsiteY171" fmla="*/ 8760 h 10000"/>
              <a:gd name="connsiteX172" fmla="*/ 2207 w 9862"/>
              <a:gd name="connsiteY172" fmla="*/ 8372 h 10000"/>
              <a:gd name="connsiteX173" fmla="*/ 2345 w 9862"/>
              <a:gd name="connsiteY173" fmla="*/ 8528 h 10000"/>
              <a:gd name="connsiteX174" fmla="*/ 2413 w 9862"/>
              <a:gd name="connsiteY174" fmla="*/ 8528 h 10000"/>
              <a:gd name="connsiteX175" fmla="*/ 2345 w 9862"/>
              <a:gd name="connsiteY175" fmla="*/ 8372 h 10000"/>
              <a:gd name="connsiteX176" fmla="*/ 2553 w 9862"/>
              <a:gd name="connsiteY176" fmla="*/ 8140 h 10000"/>
              <a:gd name="connsiteX177" fmla="*/ 2692 w 9862"/>
              <a:gd name="connsiteY177" fmla="*/ 8217 h 10000"/>
              <a:gd name="connsiteX178" fmla="*/ 2759 w 9862"/>
              <a:gd name="connsiteY178" fmla="*/ 8140 h 10000"/>
              <a:gd name="connsiteX179" fmla="*/ 2893 w 9862"/>
              <a:gd name="connsiteY179" fmla="*/ 8217 h 10000"/>
              <a:gd name="connsiteX180" fmla="*/ 3107 w 9862"/>
              <a:gd name="connsiteY180" fmla="*/ 8372 h 10000"/>
              <a:gd name="connsiteX181" fmla="*/ 3240 w 9862"/>
              <a:gd name="connsiteY181" fmla="*/ 8295 h 10000"/>
              <a:gd name="connsiteX182" fmla="*/ 3380 w 9862"/>
              <a:gd name="connsiteY182" fmla="*/ 8295 h 10000"/>
              <a:gd name="connsiteX183" fmla="*/ 3451 w 9862"/>
              <a:gd name="connsiteY183" fmla="*/ 8372 h 10000"/>
              <a:gd name="connsiteX184" fmla="*/ 3726 w 9862"/>
              <a:gd name="connsiteY184" fmla="*/ 8372 h 10000"/>
              <a:gd name="connsiteX185" fmla="*/ 3791 w 9862"/>
              <a:gd name="connsiteY185" fmla="*/ 8217 h 10000"/>
              <a:gd name="connsiteX186" fmla="*/ 3583 w 9862"/>
              <a:gd name="connsiteY186" fmla="*/ 8140 h 10000"/>
              <a:gd name="connsiteX187" fmla="*/ 3726 w 9862"/>
              <a:gd name="connsiteY187" fmla="*/ 8062 h 10000"/>
              <a:gd name="connsiteX188" fmla="*/ 3652 w 9862"/>
              <a:gd name="connsiteY188" fmla="*/ 7985 h 10000"/>
              <a:gd name="connsiteX189" fmla="*/ 3726 w 9862"/>
              <a:gd name="connsiteY189" fmla="*/ 7907 h 10000"/>
              <a:gd name="connsiteX190" fmla="*/ 3726 w 9862"/>
              <a:gd name="connsiteY190" fmla="*/ 7675 h 10000"/>
              <a:gd name="connsiteX191" fmla="*/ 3859 w 9862"/>
              <a:gd name="connsiteY191" fmla="*/ 7752 h 10000"/>
              <a:gd name="connsiteX192" fmla="*/ 4482 w 9862"/>
              <a:gd name="connsiteY192" fmla="*/ 7520 h 10000"/>
              <a:gd name="connsiteX193" fmla="*/ 4482 w 9862"/>
              <a:gd name="connsiteY193" fmla="*/ 7442 h 10000"/>
              <a:gd name="connsiteX194" fmla="*/ 4553 w 9862"/>
              <a:gd name="connsiteY194" fmla="*/ 7442 h 10000"/>
              <a:gd name="connsiteX195" fmla="*/ 4753 w 9862"/>
              <a:gd name="connsiteY195" fmla="*/ 7442 h 10000"/>
              <a:gd name="connsiteX196" fmla="*/ 4830 w 9862"/>
              <a:gd name="connsiteY196" fmla="*/ 7598 h 10000"/>
              <a:gd name="connsiteX197" fmla="*/ 4830 w 9862"/>
              <a:gd name="connsiteY197" fmla="*/ 7675 h 10000"/>
              <a:gd name="connsiteX198" fmla="*/ 4895 w 9862"/>
              <a:gd name="connsiteY198" fmla="*/ 7675 h 10000"/>
              <a:gd name="connsiteX199" fmla="*/ 5033 w 9862"/>
              <a:gd name="connsiteY199" fmla="*/ 7752 h 10000"/>
              <a:gd name="connsiteX200" fmla="*/ 5033 w 9862"/>
              <a:gd name="connsiteY200" fmla="*/ 7830 h 10000"/>
              <a:gd name="connsiteX201" fmla="*/ 5171 w 9862"/>
              <a:gd name="connsiteY201" fmla="*/ 7830 h 10000"/>
              <a:gd name="connsiteX202" fmla="*/ 5309 w 9862"/>
              <a:gd name="connsiteY202" fmla="*/ 7675 h 10000"/>
              <a:gd name="connsiteX203" fmla="*/ 5447 w 9862"/>
              <a:gd name="connsiteY203" fmla="*/ 7598 h 10000"/>
              <a:gd name="connsiteX204" fmla="*/ 5526 w 9862"/>
              <a:gd name="connsiteY204" fmla="*/ 7830 h 10000"/>
              <a:gd name="connsiteX205" fmla="*/ 5794 w 9862"/>
              <a:gd name="connsiteY205" fmla="*/ 8372 h 10000"/>
              <a:gd name="connsiteX206" fmla="*/ 5865 w 9862"/>
              <a:gd name="connsiteY206" fmla="*/ 8217 h 10000"/>
              <a:gd name="connsiteX207" fmla="*/ 5933 w 9862"/>
              <a:gd name="connsiteY207" fmla="*/ 8372 h 10000"/>
              <a:gd name="connsiteX208" fmla="*/ 6140 w 9862"/>
              <a:gd name="connsiteY208" fmla="*/ 8295 h 10000"/>
              <a:gd name="connsiteX209" fmla="*/ 6348 w 9862"/>
              <a:gd name="connsiteY209" fmla="*/ 8528 h 10000"/>
              <a:gd name="connsiteX210" fmla="*/ 6481 w 9862"/>
              <a:gd name="connsiteY210" fmla="*/ 8605 h 10000"/>
              <a:gd name="connsiteX211" fmla="*/ 6481 w 9862"/>
              <a:gd name="connsiteY211" fmla="*/ 8528 h 10000"/>
              <a:gd name="connsiteX212" fmla="*/ 6555 w 9862"/>
              <a:gd name="connsiteY212" fmla="*/ 8683 h 10000"/>
              <a:gd name="connsiteX213" fmla="*/ 6481 w 9862"/>
              <a:gd name="connsiteY213" fmla="*/ 8760 h 10000"/>
              <a:gd name="connsiteX214" fmla="*/ 6623 w 9862"/>
              <a:gd name="connsiteY214" fmla="*/ 8683 h 10000"/>
              <a:gd name="connsiteX215" fmla="*/ 6689 w 9862"/>
              <a:gd name="connsiteY215" fmla="*/ 8605 h 10000"/>
              <a:gd name="connsiteX216" fmla="*/ 7032 w 9862"/>
              <a:gd name="connsiteY216" fmla="*/ 8372 h 10000"/>
              <a:gd name="connsiteX217" fmla="*/ 7311 w 9862"/>
              <a:gd name="connsiteY217" fmla="*/ 8449 h 10000"/>
              <a:gd name="connsiteX218" fmla="*/ 7446 w 9862"/>
              <a:gd name="connsiteY218" fmla="*/ 8528 h 10000"/>
              <a:gd name="connsiteX219" fmla="*/ 7722 w 9862"/>
              <a:gd name="connsiteY219" fmla="*/ 8528 h 10000"/>
              <a:gd name="connsiteX220" fmla="*/ 7722 w 9862"/>
              <a:gd name="connsiteY220" fmla="*/ 8372 h 10000"/>
              <a:gd name="connsiteX221" fmla="*/ 7722 w 9862"/>
              <a:gd name="connsiteY221" fmla="*/ 8217 h 10000"/>
              <a:gd name="connsiteX222" fmla="*/ 7861 w 9862"/>
              <a:gd name="connsiteY222" fmla="*/ 8140 h 10000"/>
              <a:gd name="connsiteX223" fmla="*/ 8133 w 9862"/>
              <a:gd name="connsiteY223" fmla="*/ 8217 h 10000"/>
              <a:gd name="connsiteX224" fmla="*/ 8276 w 9862"/>
              <a:gd name="connsiteY224" fmla="*/ 8449 h 10000"/>
              <a:gd name="connsiteX225" fmla="*/ 8345 w 9862"/>
              <a:gd name="connsiteY225" fmla="*/ 8449 h 10000"/>
              <a:gd name="connsiteX226" fmla="*/ 8483 w 9862"/>
              <a:gd name="connsiteY226" fmla="*/ 8372 h 10000"/>
              <a:gd name="connsiteX227" fmla="*/ 8901 w 9862"/>
              <a:gd name="connsiteY227" fmla="*/ 8605 h 10000"/>
              <a:gd name="connsiteX228" fmla="*/ 9104 w 9862"/>
              <a:gd name="connsiteY228" fmla="*/ 8683 h 10000"/>
              <a:gd name="connsiteX229" fmla="*/ 9379 w 9862"/>
              <a:gd name="connsiteY229" fmla="*/ 8605 h 10000"/>
              <a:gd name="connsiteX230" fmla="*/ 9519 w 9862"/>
              <a:gd name="connsiteY230" fmla="*/ 8449 h 10000"/>
              <a:gd name="connsiteX231" fmla="*/ 9724 w 9862"/>
              <a:gd name="connsiteY231" fmla="*/ 8528 h 10000"/>
              <a:gd name="connsiteX232" fmla="*/ 9862 w 9862"/>
              <a:gd name="connsiteY232" fmla="*/ 8605 h 10000"/>
              <a:gd name="connsiteX233" fmla="*/ 9655 w 9862"/>
              <a:gd name="connsiteY233" fmla="*/ 1938 h 10000"/>
              <a:gd name="connsiteX234" fmla="*/ 9448 w 9862"/>
              <a:gd name="connsiteY234" fmla="*/ 2093 h 10000"/>
              <a:gd name="connsiteX235" fmla="*/ 9046 w 9862"/>
              <a:gd name="connsiteY235" fmla="*/ 1861 h 10000"/>
              <a:gd name="connsiteX0" fmla="*/ 9173 w 10000"/>
              <a:gd name="connsiteY0" fmla="*/ 1861 h 10000"/>
              <a:gd name="connsiteX1" fmla="*/ 9173 w 10000"/>
              <a:gd name="connsiteY1" fmla="*/ 1861 h 10000"/>
              <a:gd name="connsiteX2" fmla="*/ 9092 w 10000"/>
              <a:gd name="connsiteY2" fmla="*/ 1938 h 10000"/>
              <a:gd name="connsiteX3" fmla="*/ 9173 w 10000"/>
              <a:gd name="connsiteY3" fmla="*/ 2093 h 10000"/>
              <a:gd name="connsiteX4" fmla="*/ 8881 w 10000"/>
              <a:gd name="connsiteY4" fmla="*/ 2248 h 10000"/>
              <a:gd name="connsiteX5" fmla="*/ 8809 w 10000"/>
              <a:gd name="connsiteY5" fmla="*/ 2248 h 10000"/>
              <a:gd name="connsiteX6" fmla="*/ 8881 w 10000"/>
              <a:gd name="connsiteY6" fmla="*/ 2016 h 10000"/>
              <a:gd name="connsiteX7" fmla="*/ 9580 w 10000"/>
              <a:gd name="connsiteY7" fmla="*/ 1318 h 10000"/>
              <a:gd name="connsiteX8" fmla="*/ 9580 w 10000"/>
              <a:gd name="connsiteY8" fmla="*/ 853 h 10000"/>
              <a:gd name="connsiteX9" fmla="*/ 9304 w 10000"/>
              <a:gd name="connsiteY9" fmla="*/ 543 h 10000"/>
              <a:gd name="connsiteX10" fmla="*/ 8952 w 10000"/>
              <a:gd name="connsiteY10" fmla="*/ 543 h 10000"/>
              <a:gd name="connsiteX11" fmla="*/ 8952 w 10000"/>
              <a:gd name="connsiteY11" fmla="*/ 698 h 10000"/>
              <a:gd name="connsiteX12" fmla="*/ 8738 w 10000"/>
              <a:gd name="connsiteY12" fmla="*/ 698 h 10000"/>
              <a:gd name="connsiteX13" fmla="*/ 8881 w 10000"/>
              <a:gd name="connsiteY13" fmla="*/ 387 h 10000"/>
              <a:gd name="connsiteX14" fmla="*/ 8536 w 10000"/>
              <a:gd name="connsiteY14" fmla="*/ 310 h 10000"/>
              <a:gd name="connsiteX15" fmla="*/ 8738 w 10000"/>
              <a:gd name="connsiteY15" fmla="*/ 155 h 10000"/>
              <a:gd name="connsiteX16" fmla="*/ 8536 w 10000"/>
              <a:gd name="connsiteY16" fmla="*/ 0 h 10000"/>
              <a:gd name="connsiteX17" fmla="*/ 8184 w 10000"/>
              <a:gd name="connsiteY17" fmla="*/ 387 h 10000"/>
              <a:gd name="connsiteX18" fmla="*/ 8184 w 10000"/>
              <a:gd name="connsiteY18" fmla="*/ 698 h 10000"/>
              <a:gd name="connsiteX19" fmla="*/ 7971 w 10000"/>
              <a:gd name="connsiteY19" fmla="*/ 698 h 10000"/>
              <a:gd name="connsiteX20" fmla="*/ 7344 w 10000"/>
              <a:gd name="connsiteY20" fmla="*/ 853 h 10000"/>
              <a:gd name="connsiteX21" fmla="*/ 6783 w 10000"/>
              <a:gd name="connsiteY21" fmla="*/ 1240 h 10000"/>
              <a:gd name="connsiteX22" fmla="*/ 6572 w 10000"/>
              <a:gd name="connsiteY22" fmla="*/ 1551 h 10000"/>
              <a:gd name="connsiteX23" fmla="*/ 6647 w 10000"/>
              <a:gd name="connsiteY23" fmla="*/ 1938 h 10000"/>
              <a:gd name="connsiteX24" fmla="*/ 5875 w 10000"/>
              <a:gd name="connsiteY24" fmla="*/ 2093 h 10000"/>
              <a:gd name="connsiteX25" fmla="*/ 5947 w 10000"/>
              <a:gd name="connsiteY25" fmla="*/ 2559 h 10000"/>
              <a:gd name="connsiteX26" fmla="*/ 6155 w 10000"/>
              <a:gd name="connsiteY26" fmla="*/ 2791 h 10000"/>
              <a:gd name="connsiteX27" fmla="*/ 6016 w 10000"/>
              <a:gd name="connsiteY27" fmla="*/ 2868 h 10000"/>
              <a:gd name="connsiteX28" fmla="*/ 5808 w 10000"/>
              <a:gd name="connsiteY28" fmla="*/ 2559 h 10000"/>
              <a:gd name="connsiteX29" fmla="*/ 5603 w 10000"/>
              <a:gd name="connsiteY29" fmla="*/ 2480 h 10000"/>
              <a:gd name="connsiteX30" fmla="*/ 5523 w 10000"/>
              <a:gd name="connsiteY30" fmla="*/ 2559 h 10000"/>
              <a:gd name="connsiteX31" fmla="*/ 5383 w 10000"/>
              <a:gd name="connsiteY31" fmla="*/ 2403 h 10000"/>
              <a:gd name="connsiteX32" fmla="*/ 5243 w 10000"/>
              <a:gd name="connsiteY32" fmla="*/ 2248 h 10000"/>
              <a:gd name="connsiteX33" fmla="*/ 5243 w 10000"/>
              <a:gd name="connsiteY33" fmla="*/ 2325 h 10000"/>
              <a:gd name="connsiteX34" fmla="*/ 5321 w 10000"/>
              <a:gd name="connsiteY34" fmla="*/ 2559 h 10000"/>
              <a:gd name="connsiteX35" fmla="*/ 5103 w 10000"/>
              <a:gd name="connsiteY35" fmla="*/ 2946 h 10000"/>
              <a:gd name="connsiteX36" fmla="*/ 5243 w 10000"/>
              <a:gd name="connsiteY36" fmla="*/ 3256 h 10000"/>
              <a:gd name="connsiteX37" fmla="*/ 5173 w 10000"/>
              <a:gd name="connsiteY37" fmla="*/ 3566 h 10000"/>
              <a:gd name="connsiteX38" fmla="*/ 5173 w 10000"/>
              <a:gd name="connsiteY38" fmla="*/ 3799 h 10000"/>
              <a:gd name="connsiteX39" fmla="*/ 5383 w 10000"/>
              <a:gd name="connsiteY39" fmla="*/ 3799 h 10000"/>
              <a:gd name="connsiteX40" fmla="*/ 5243 w 10000"/>
              <a:gd name="connsiteY40" fmla="*/ 3876 h 10000"/>
              <a:gd name="connsiteX41" fmla="*/ 5321 w 10000"/>
              <a:gd name="connsiteY41" fmla="*/ 4263 h 10000"/>
              <a:gd name="connsiteX42" fmla="*/ 4898 w 10000"/>
              <a:gd name="connsiteY42" fmla="*/ 4652 h 10000"/>
              <a:gd name="connsiteX43" fmla="*/ 4820 w 10000"/>
              <a:gd name="connsiteY43" fmla="*/ 4574 h 10000"/>
              <a:gd name="connsiteX44" fmla="*/ 5103 w 10000"/>
              <a:gd name="connsiteY44" fmla="*/ 4186 h 10000"/>
              <a:gd name="connsiteX45" fmla="*/ 5173 w 10000"/>
              <a:gd name="connsiteY45" fmla="*/ 3954 h 10000"/>
              <a:gd name="connsiteX46" fmla="*/ 5026 w 10000"/>
              <a:gd name="connsiteY46" fmla="*/ 3799 h 10000"/>
              <a:gd name="connsiteX47" fmla="*/ 5026 w 10000"/>
              <a:gd name="connsiteY47" fmla="*/ 3023 h 10000"/>
              <a:gd name="connsiteX48" fmla="*/ 4963 w 10000"/>
              <a:gd name="connsiteY48" fmla="*/ 2868 h 10000"/>
              <a:gd name="connsiteX49" fmla="*/ 5026 w 10000"/>
              <a:gd name="connsiteY49" fmla="*/ 2403 h 10000"/>
              <a:gd name="connsiteX50" fmla="*/ 4898 w 10000"/>
              <a:gd name="connsiteY50" fmla="*/ 2325 h 10000"/>
              <a:gd name="connsiteX51" fmla="*/ 4963 w 10000"/>
              <a:gd name="connsiteY51" fmla="*/ 2248 h 10000"/>
              <a:gd name="connsiteX52" fmla="*/ 4898 w 10000"/>
              <a:gd name="connsiteY52" fmla="*/ 2093 h 10000"/>
              <a:gd name="connsiteX53" fmla="*/ 4752 w 10000"/>
              <a:gd name="connsiteY53" fmla="*/ 2170 h 10000"/>
              <a:gd name="connsiteX54" fmla="*/ 4407 w 10000"/>
              <a:gd name="connsiteY54" fmla="*/ 3178 h 10000"/>
              <a:gd name="connsiteX55" fmla="*/ 4407 w 10000"/>
              <a:gd name="connsiteY55" fmla="*/ 3566 h 10000"/>
              <a:gd name="connsiteX56" fmla="*/ 4617 w 10000"/>
              <a:gd name="connsiteY56" fmla="*/ 3876 h 10000"/>
              <a:gd name="connsiteX57" fmla="*/ 4617 w 10000"/>
              <a:gd name="connsiteY57" fmla="*/ 4031 h 10000"/>
              <a:gd name="connsiteX58" fmla="*/ 4407 w 10000"/>
              <a:gd name="connsiteY58" fmla="*/ 3876 h 10000"/>
              <a:gd name="connsiteX59" fmla="*/ 3571 w 10000"/>
              <a:gd name="connsiteY59" fmla="*/ 3256 h 10000"/>
              <a:gd name="connsiteX60" fmla="*/ 3499 w 10000"/>
              <a:gd name="connsiteY60" fmla="*/ 3411 h 10000"/>
              <a:gd name="connsiteX61" fmla="*/ 3778 w 10000"/>
              <a:gd name="connsiteY61" fmla="*/ 3799 h 10000"/>
              <a:gd name="connsiteX62" fmla="*/ 3633 w 10000"/>
              <a:gd name="connsiteY62" fmla="*/ 3876 h 10000"/>
              <a:gd name="connsiteX63" fmla="*/ 3571 w 10000"/>
              <a:gd name="connsiteY63" fmla="*/ 3799 h 10000"/>
              <a:gd name="connsiteX64" fmla="*/ 3150 w 10000"/>
              <a:gd name="connsiteY64" fmla="*/ 3954 h 10000"/>
              <a:gd name="connsiteX65" fmla="*/ 3081 w 10000"/>
              <a:gd name="connsiteY65" fmla="*/ 4109 h 10000"/>
              <a:gd name="connsiteX66" fmla="*/ 3010 w 10000"/>
              <a:gd name="connsiteY66" fmla="*/ 3954 h 10000"/>
              <a:gd name="connsiteX67" fmla="*/ 3010 w 10000"/>
              <a:gd name="connsiteY67" fmla="*/ 3799 h 10000"/>
              <a:gd name="connsiteX68" fmla="*/ 2304 w 10000"/>
              <a:gd name="connsiteY68" fmla="*/ 4263 h 10000"/>
              <a:gd name="connsiteX69" fmla="*/ 2304 w 10000"/>
              <a:gd name="connsiteY69" fmla="*/ 4418 h 10000"/>
              <a:gd name="connsiteX70" fmla="*/ 2168 w 10000"/>
              <a:gd name="connsiteY70" fmla="*/ 4496 h 10000"/>
              <a:gd name="connsiteX71" fmla="*/ 1959 w 10000"/>
              <a:gd name="connsiteY71" fmla="*/ 4341 h 10000"/>
              <a:gd name="connsiteX72" fmla="*/ 2168 w 10000"/>
              <a:gd name="connsiteY72" fmla="*/ 4186 h 10000"/>
              <a:gd name="connsiteX73" fmla="*/ 2095 w 10000"/>
              <a:gd name="connsiteY73" fmla="*/ 3954 h 10000"/>
              <a:gd name="connsiteX74" fmla="*/ 1818 w 10000"/>
              <a:gd name="connsiteY74" fmla="*/ 3876 h 10000"/>
              <a:gd name="connsiteX75" fmla="*/ 1889 w 10000"/>
              <a:gd name="connsiteY75" fmla="*/ 4031 h 10000"/>
              <a:gd name="connsiteX76" fmla="*/ 1889 w 10000"/>
              <a:gd name="connsiteY76" fmla="*/ 4418 h 10000"/>
              <a:gd name="connsiteX77" fmla="*/ 1959 w 10000"/>
              <a:gd name="connsiteY77" fmla="*/ 4574 h 10000"/>
              <a:gd name="connsiteX78" fmla="*/ 1889 w 10000"/>
              <a:gd name="connsiteY78" fmla="*/ 4729 h 10000"/>
              <a:gd name="connsiteX79" fmla="*/ 1674 w 10000"/>
              <a:gd name="connsiteY79" fmla="*/ 4652 h 10000"/>
              <a:gd name="connsiteX80" fmla="*/ 1400 w 10000"/>
              <a:gd name="connsiteY80" fmla="*/ 4884 h 10000"/>
              <a:gd name="connsiteX81" fmla="*/ 1535 w 10000"/>
              <a:gd name="connsiteY81" fmla="*/ 5194 h 10000"/>
              <a:gd name="connsiteX82" fmla="*/ 1116 w 10000"/>
              <a:gd name="connsiteY82" fmla="*/ 5039 h 10000"/>
              <a:gd name="connsiteX83" fmla="*/ 1049 w 10000"/>
              <a:gd name="connsiteY83" fmla="*/ 5116 h 10000"/>
              <a:gd name="connsiteX84" fmla="*/ 1191 w 10000"/>
              <a:gd name="connsiteY84" fmla="*/ 5349 h 10000"/>
              <a:gd name="connsiteX85" fmla="*/ 1049 w 10000"/>
              <a:gd name="connsiteY85" fmla="*/ 5349 h 10000"/>
              <a:gd name="connsiteX86" fmla="*/ 842 w 10000"/>
              <a:gd name="connsiteY86" fmla="*/ 5194 h 10000"/>
              <a:gd name="connsiteX87" fmla="*/ 842 w 10000"/>
              <a:gd name="connsiteY87" fmla="*/ 4729 h 10000"/>
              <a:gd name="connsiteX88" fmla="*/ 632 w 10000"/>
              <a:gd name="connsiteY88" fmla="*/ 4574 h 10000"/>
              <a:gd name="connsiteX89" fmla="*/ 558 w 10000"/>
              <a:gd name="connsiteY89" fmla="*/ 4418 h 10000"/>
              <a:gd name="connsiteX90" fmla="*/ 697 w 10000"/>
              <a:gd name="connsiteY90" fmla="*/ 4496 h 10000"/>
              <a:gd name="connsiteX91" fmla="*/ 1255 w 10000"/>
              <a:gd name="connsiteY91" fmla="*/ 4729 h 10000"/>
              <a:gd name="connsiteX92" fmla="*/ 1601 w 10000"/>
              <a:gd name="connsiteY92" fmla="*/ 4496 h 10000"/>
              <a:gd name="connsiteX93" fmla="*/ 1535 w 10000"/>
              <a:gd name="connsiteY93" fmla="*/ 4263 h 10000"/>
              <a:gd name="connsiteX94" fmla="*/ 1116 w 10000"/>
              <a:gd name="connsiteY94" fmla="*/ 3799 h 10000"/>
              <a:gd name="connsiteX95" fmla="*/ 697 w 10000"/>
              <a:gd name="connsiteY95" fmla="*/ 3644 h 10000"/>
              <a:gd name="connsiteX96" fmla="*/ 697 w 10000"/>
              <a:gd name="connsiteY96" fmla="*/ 3566 h 10000"/>
              <a:gd name="connsiteX97" fmla="*/ 558 w 10000"/>
              <a:gd name="connsiteY97" fmla="*/ 3488 h 10000"/>
              <a:gd name="connsiteX98" fmla="*/ 417 w 10000"/>
              <a:gd name="connsiteY98" fmla="*/ 3566 h 10000"/>
              <a:gd name="connsiteX99" fmla="*/ 417 w 10000"/>
              <a:gd name="connsiteY99" fmla="*/ 3644 h 10000"/>
              <a:gd name="connsiteX100" fmla="*/ 348 w 10000"/>
              <a:gd name="connsiteY100" fmla="*/ 3644 h 10000"/>
              <a:gd name="connsiteX101" fmla="*/ 210 w 10000"/>
              <a:gd name="connsiteY101" fmla="*/ 3799 h 10000"/>
              <a:gd name="connsiteX102" fmla="*/ 210 w 10000"/>
              <a:gd name="connsiteY102" fmla="*/ 4031 h 10000"/>
              <a:gd name="connsiteX103" fmla="*/ 348 w 10000"/>
              <a:gd name="connsiteY103" fmla="*/ 4186 h 10000"/>
              <a:gd name="connsiteX104" fmla="*/ 282 w 10000"/>
              <a:gd name="connsiteY104" fmla="*/ 4418 h 10000"/>
              <a:gd name="connsiteX105" fmla="*/ 348 w 10000"/>
              <a:gd name="connsiteY105" fmla="*/ 4807 h 10000"/>
              <a:gd name="connsiteX106" fmla="*/ 282 w 10000"/>
              <a:gd name="connsiteY106" fmla="*/ 5039 h 10000"/>
              <a:gd name="connsiteX107" fmla="*/ 417 w 10000"/>
              <a:gd name="connsiteY107" fmla="*/ 5271 h 10000"/>
              <a:gd name="connsiteX108" fmla="*/ 348 w 10000"/>
              <a:gd name="connsiteY108" fmla="*/ 5426 h 10000"/>
              <a:gd name="connsiteX109" fmla="*/ 487 w 10000"/>
              <a:gd name="connsiteY109" fmla="*/ 5582 h 10000"/>
              <a:gd name="connsiteX110" fmla="*/ 487 w 10000"/>
              <a:gd name="connsiteY110" fmla="*/ 5659 h 10000"/>
              <a:gd name="connsiteX111" fmla="*/ 282 w 10000"/>
              <a:gd name="connsiteY111" fmla="*/ 6047 h 10000"/>
              <a:gd name="connsiteX112" fmla="*/ 64 w 10000"/>
              <a:gd name="connsiteY112" fmla="*/ 6202 h 10000"/>
              <a:gd name="connsiteX113" fmla="*/ 138 w 10000"/>
              <a:gd name="connsiteY113" fmla="*/ 6202 h 10000"/>
              <a:gd name="connsiteX114" fmla="*/ 282 w 10000"/>
              <a:gd name="connsiteY114" fmla="*/ 6356 h 10000"/>
              <a:gd name="connsiteX115" fmla="*/ 138 w 10000"/>
              <a:gd name="connsiteY115" fmla="*/ 6512 h 10000"/>
              <a:gd name="connsiteX116" fmla="*/ 64 w 10000"/>
              <a:gd name="connsiteY116" fmla="*/ 6590 h 10000"/>
              <a:gd name="connsiteX117" fmla="*/ 0 w 10000"/>
              <a:gd name="connsiteY117" fmla="*/ 6590 h 10000"/>
              <a:gd name="connsiteX118" fmla="*/ 64 w 10000"/>
              <a:gd name="connsiteY118" fmla="*/ 6822 h 10000"/>
              <a:gd name="connsiteX119" fmla="*/ 64 w 10000"/>
              <a:gd name="connsiteY119" fmla="*/ 6900 h 10000"/>
              <a:gd name="connsiteX120" fmla="*/ 64 w 10000"/>
              <a:gd name="connsiteY120" fmla="*/ 6977 h 10000"/>
              <a:gd name="connsiteX121" fmla="*/ 64 w 10000"/>
              <a:gd name="connsiteY121" fmla="*/ 7054 h 10000"/>
              <a:gd name="connsiteX122" fmla="*/ 138 w 10000"/>
              <a:gd name="connsiteY122" fmla="*/ 7209 h 10000"/>
              <a:gd name="connsiteX123" fmla="*/ 348 w 10000"/>
              <a:gd name="connsiteY123" fmla="*/ 7287 h 10000"/>
              <a:gd name="connsiteX124" fmla="*/ 417 w 10000"/>
              <a:gd name="connsiteY124" fmla="*/ 7364 h 10000"/>
              <a:gd name="connsiteX125" fmla="*/ 417 w 10000"/>
              <a:gd name="connsiteY125" fmla="*/ 7520 h 10000"/>
              <a:gd name="connsiteX126" fmla="*/ 558 w 10000"/>
              <a:gd name="connsiteY126" fmla="*/ 7752 h 10000"/>
              <a:gd name="connsiteX127" fmla="*/ 632 w 10000"/>
              <a:gd name="connsiteY127" fmla="*/ 7752 h 10000"/>
              <a:gd name="connsiteX128" fmla="*/ 558 w 10000"/>
              <a:gd name="connsiteY128" fmla="*/ 7907 h 10000"/>
              <a:gd name="connsiteX129" fmla="*/ 487 w 10000"/>
              <a:gd name="connsiteY129" fmla="*/ 7830 h 10000"/>
              <a:gd name="connsiteX130" fmla="*/ 487 w 10000"/>
              <a:gd name="connsiteY130" fmla="*/ 7907 h 10000"/>
              <a:gd name="connsiteX131" fmla="*/ 558 w 10000"/>
              <a:gd name="connsiteY131" fmla="*/ 8062 h 10000"/>
              <a:gd name="connsiteX132" fmla="*/ 773 w 10000"/>
              <a:gd name="connsiteY132" fmla="*/ 8062 h 10000"/>
              <a:gd name="connsiteX133" fmla="*/ 842 w 10000"/>
              <a:gd name="connsiteY133" fmla="*/ 8140 h 10000"/>
              <a:gd name="connsiteX134" fmla="*/ 773 w 10000"/>
              <a:gd name="connsiteY134" fmla="*/ 8140 h 10000"/>
              <a:gd name="connsiteX135" fmla="*/ 842 w 10000"/>
              <a:gd name="connsiteY135" fmla="*/ 8217 h 10000"/>
              <a:gd name="connsiteX136" fmla="*/ 908 w 10000"/>
              <a:gd name="connsiteY136" fmla="*/ 8217 h 10000"/>
              <a:gd name="connsiteX137" fmla="*/ 976 w 10000"/>
              <a:gd name="connsiteY137" fmla="*/ 8372 h 10000"/>
              <a:gd name="connsiteX138" fmla="*/ 1049 w 10000"/>
              <a:gd name="connsiteY138" fmla="*/ 8449 h 10000"/>
              <a:gd name="connsiteX139" fmla="*/ 1116 w 10000"/>
              <a:gd name="connsiteY139" fmla="*/ 8372 h 10000"/>
              <a:gd name="connsiteX140" fmla="*/ 1469 w 10000"/>
              <a:gd name="connsiteY140" fmla="*/ 8605 h 10000"/>
              <a:gd name="connsiteX141" fmla="*/ 1400 w 10000"/>
              <a:gd name="connsiteY141" fmla="*/ 8915 h 10000"/>
              <a:gd name="connsiteX142" fmla="*/ 1329 w 10000"/>
              <a:gd name="connsiteY142" fmla="*/ 8838 h 10000"/>
              <a:gd name="connsiteX143" fmla="*/ 1255 w 10000"/>
              <a:gd name="connsiteY143" fmla="*/ 8915 h 10000"/>
              <a:gd name="connsiteX144" fmla="*/ 1255 w 10000"/>
              <a:gd name="connsiteY144" fmla="*/ 9070 h 10000"/>
              <a:gd name="connsiteX145" fmla="*/ 1329 w 10000"/>
              <a:gd name="connsiteY145" fmla="*/ 8993 h 10000"/>
              <a:gd name="connsiteX146" fmla="*/ 1400 w 10000"/>
              <a:gd name="connsiteY146" fmla="*/ 9070 h 10000"/>
              <a:gd name="connsiteX147" fmla="*/ 1191 w 10000"/>
              <a:gd name="connsiteY147" fmla="*/ 9147 h 10000"/>
              <a:gd name="connsiteX148" fmla="*/ 1255 w 10000"/>
              <a:gd name="connsiteY148" fmla="*/ 9225 h 10000"/>
              <a:gd name="connsiteX149" fmla="*/ 1116 w 10000"/>
              <a:gd name="connsiteY149" fmla="*/ 9380 h 10000"/>
              <a:gd name="connsiteX150" fmla="*/ 1049 w 10000"/>
              <a:gd name="connsiteY150" fmla="*/ 9380 h 10000"/>
              <a:gd name="connsiteX151" fmla="*/ 1116 w 10000"/>
              <a:gd name="connsiteY151" fmla="*/ 9380 h 10000"/>
              <a:gd name="connsiteX152" fmla="*/ 1400 w 10000"/>
              <a:gd name="connsiteY152" fmla="*/ 9691 h 10000"/>
              <a:gd name="connsiteX153" fmla="*/ 1749 w 10000"/>
              <a:gd name="connsiteY153" fmla="*/ 9691 h 10000"/>
              <a:gd name="connsiteX154" fmla="*/ 1889 w 10000"/>
              <a:gd name="connsiteY154" fmla="*/ 9768 h 10000"/>
              <a:gd name="connsiteX155" fmla="*/ 2028 w 10000"/>
              <a:gd name="connsiteY155" fmla="*/ 9768 h 10000"/>
              <a:gd name="connsiteX156" fmla="*/ 2168 w 10000"/>
              <a:gd name="connsiteY156" fmla="*/ 9923 h 10000"/>
              <a:gd name="connsiteX157" fmla="*/ 2238 w 10000"/>
              <a:gd name="connsiteY157" fmla="*/ 10000 h 10000"/>
              <a:gd name="connsiteX158" fmla="*/ 2304 w 10000"/>
              <a:gd name="connsiteY158" fmla="*/ 10000 h 10000"/>
              <a:gd name="connsiteX159" fmla="*/ 2378 w 10000"/>
              <a:gd name="connsiteY159" fmla="*/ 9923 h 10000"/>
              <a:gd name="connsiteX160" fmla="*/ 2238 w 10000"/>
              <a:gd name="connsiteY160" fmla="*/ 9768 h 10000"/>
              <a:gd name="connsiteX161" fmla="*/ 2238 w 10000"/>
              <a:gd name="connsiteY161" fmla="*/ 9613 h 10000"/>
              <a:gd name="connsiteX162" fmla="*/ 2168 w 10000"/>
              <a:gd name="connsiteY162" fmla="*/ 9457 h 10000"/>
              <a:gd name="connsiteX163" fmla="*/ 2304 w 10000"/>
              <a:gd name="connsiteY163" fmla="*/ 9225 h 10000"/>
              <a:gd name="connsiteX164" fmla="*/ 2378 w 10000"/>
              <a:gd name="connsiteY164" fmla="*/ 9302 h 10000"/>
              <a:gd name="connsiteX165" fmla="*/ 2447 w 10000"/>
              <a:gd name="connsiteY165" fmla="*/ 9225 h 10000"/>
              <a:gd name="connsiteX166" fmla="*/ 2447 w 10000"/>
              <a:gd name="connsiteY166" fmla="*/ 9147 h 10000"/>
              <a:gd name="connsiteX167" fmla="*/ 2378 w 10000"/>
              <a:gd name="connsiteY167" fmla="*/ 9147 h 10000"/>
              <a:gd name="connsiteX168" fmla="*/ 2447 w 10000"/>
              <a:gd name="connsiteY168" fmla="*/ 9070 h 10000"/>
              <a:gd name="connsiteX169" fmla="*/ 2378 w 10000"/>
              <a:gd name="connsiteY169" fmla="*/ 8915 h 10000"/>
              <a:gd name="connsiteX170" fmla="*/ 2238 w 10000"/>
              <a:gd name="connsiteY170" fmla="*/ 8915 h 10000"/>
              <a:gd name="connsiteX171" fmla="*/ 2168 w 10000"/>
              <a:gd name="connsiteY171" fmla="*/ 8760 h 10000"/>
              <a:gd name="connsiteX172" fmla="*/ 2238 w 10000"/>
              <a:gd name="connsiteY172" fmla="*/ 8372 h 10000"/>
              <a:gd name="connsiteX173" fmla="*/ 2378 w 10000"/>
              <a:gd name="connsiteY173" fmla="*/ 8528 h 10000"/>
              <a:gd name="connsiteX174" fmla="*/ 2447 w 10000"/>
              <a:gd name="connsiteY174" fmla="*/ 8528 h 10000"/>
              <a:gd name="connsiteX175" fmla="*/ 2378 w 10000"/>
              <a:gd name="connsiteY175" fmla="*/ 8372 h 10000"/>
              <a:gd name="connsiteX176" fmla="*/ 2589 w 10000"/>
              <a:gd name="connsiteY176" fmla="*/ 8140 h 10000"/>
              <a:gd name="connsiteX177" fmla="*/ 2730 w 10000"/>
              <a:gd name="connsiteY177" fmla="*/ 8217 h 10000"/>
              <a:gd name="connsiteX178" fmla="*/ 2798 w 10000"/>
              <a:gd name="connsiteY178" fmla="*/ 8140 h 10000"/>
              <a:gd name="connsiteX179" fmla="*/ 2933 w 10000"/>
              <a:gd name="connsiteY179" fmla="*/ 8217 h 10000"/>
              <a:gd name="connsiteX180" fmla="*/ 3150 w 10000"/>
              <a:gd name="connsiteY180" fmla="*/ 8372 h 10000"/>
              <a:gd name="connsiteX181" fmla="*/ 3285 w 10000"/>
              <a:gd name="connsiteY181" fmla="*/ 8295 h 10000"/>
              <a:gd name="connsiteX182" fmla="*/ 3427 w 10000"/>
              <a:gd name="connsiteY182" fmla="*/ 8295 h 10000"/>
              <a:gd name="connsiteX183" fmla="*/ 3499 w 10000"/>
              <a:gd name="connsiteY183" fmla="*/ 8372 h 10000"/>
              <a:gd name="connsiteX184" fmla="*/ 3778 w 10000"/>
              <a:gd name="connsiteY184" fmla="*/ 8372 h 10000"/>
              <a:gd name="connsiteX185" fmla="*/ 3844 w 10000"/>
              <a:gd name="connsiteY185" fmla="*/ 8217 h 10000"/>
              <a:gd name="connsiteX186" fmla="*/ 3633 w 10000"/>
              <a:gd name="connsiteY186" fmla="*/ 8140 h 10000"/>
              <a:gd name="connsiteX187" fmla="*/ 3778 w 10000"/>
              <a:gd name="connsiteY187" fmla="*/ 8062 h 10000"/>
              <a:gd name="connsiteX188" fmla="*/ 3703 w 10000"/>
              <a:gd name="connsiteY188" fmla="*/ 7985 h 10000"/>
              <a:gd name="connsiteX189" fmla="*/ 3778 w 10000"/>
              <a:gd name="connsiteY189" fmla="*/ 7907 h 10000"/>
              <a:gd name="connsiteX190" fmla="*/ 3778 w 10000"/>
              <a:gd name="connsiteY190" fmla="*/ 7675 h 10000"/>
              <a:gd name="connsiteX191" fmla="*/ 3913 w 10000"/>
              <a:gd name="connsiteY191" fmla="*/ 7752 h 10000"/>
              <a:gd name="connsiteX192" fmla="*/ 4545 w 10000"/>
              <a:gd name="connsiteY192" fmla="*/ 7520 h 10000"/>
              <a:gd name="connsiteX193" fmla="*/ 4545 w 10000"/>
              <a:gd name="connsiteY193" fmla="*/ 7442 h 10000"/>
              <a:gd name="connsiteX194" fmla="*/ 4617 w 10000"/>
              <a:gd name="connsiteY194" fmla="*/ 7442 h 10000"/>
              <a:gd name="connsiteX195" fmla="*/ 4820 w 10000"/>
              <a:gd name="connsiteY195" fmla="*/ 7442 h 10000"/>
              <a:gd name="connsiteX196" fmla="*/ 4898 w 10000"/>
              <a:gd name="connsiteY196" fmla="*/ 7598 h 10000"/>
              <a:gd name="connsiteX197" fmla="*/ 4898 w 10000"/>
              <a:gd name="connsiteY197" fmla="*/ 7675 h 10000"/>
              <a:gd name="connsiteX198" fmla="*/ 4963 w 10000"/>
              <a:gd name="connsiteY198" fmla="*/ 7675 h 10000"/>
              <a:gd name="connsiteX199" fmla="*/ 5103 w 10000"/>
              <a:gd name="connsiteY199" fmla="*/ 7752 h 10000"/>
              <a:gd name="connsiteX200" fmla="*/ 5103 w 10000"/>
              <a:gd name="connsiteY200" fmla="*/ 7830 h 10000"/>
              <a:gd name="connsiteX201" fmla="*/ 5243 w 10000"/>
              <a:gd name="connsiteY201" fmla="*/ 7830 h 10000"/>
              <a:gd name="connsiteX202" fmla="*/ 5383 w 10000"/>
              <a:gd name="connsiteY202" fmla="*/ 7675 h 10000"/>
              <a:gd name="connsiteX203" fmla="*/ 5523 w 10000"/>
              <a:gd name="connsiteY203" fmla="*/ 7598 h 10000"/>
              <a:gd name="connsiteX204" fmla="*/ 5603 w 10000"/>
              <a:gd name="connsiteY204" fmla="*/ 7830 h 10000"/>
              <a:gd name="connsiteX205" fmla="*/ 5875 w 10000"/>
              <a:gd name="connsiteY205" fmla="*/ 8372 h 10000"/>
              <a:gd name="connsiteX206" fmla="*/ 5947 w 10000"/>
              <a:gd name="connsiteY206" fmla="*/ 8217 h 10000"/>
              <a:gd name="connsiteX207" fmla="*/ 6016 w 10000"/>
              <a:gd name="connsiteY207" fmla="*/ 8372 h 10000"/>
              <a:gd name="connsiteX208" fmla="*/ 6226 w 10000"/>
              <a:gd name="connsiteY208" fmla="*/ 8295 h 10000"/>
              <a:gd name="connsiteX209" fmla="*/ 6437 w 10000"/>
              <a:gd name="connsiteY209" fmla="*/ 8528 h 10000"/>
              <a:gd name="connsiteX210" fmla="*/ 6572 w 10000"/>
              <a:gd name="connsiteY210" fmla="*/ 8605 h 10000"/>
              <a:gd name="connsiteX211" fmla="*/ 6572 w 10000"/>
              <a:gd name="connsiteY211" fmla="*/ 8528 h 10000"/>
              <a:gd name="connsiteX212" fmla="*/ 6647 w 10000"/>
              <a:gd name="connsiteY212" fmla="*/ 8683 h 10000"/>
              <a:gd name="connsiteX213" fmla="*/ 6572 w 10000"/>
              <a:gd name="connsiteY213" fmla="*/ 8760 h 10000"/>
              <a:gd name="connsiteX214" fmla="*/ 6716 w 10000"/>
              <a:gd name="connsiteY214" fmla="*/ 8683 h 10000"/>
              <a:gd name="connsiteX215" fmla="*/ 6783 w 10000"/>
              <a:gd name="connsiteY215" fmla="*/ 8605 h 10000"/>
              <a:gd name="connsiteX216" fmla="*/ 7130 w 10000"/>
              <a:gd name="connsiteY216" fmla="*/ 8372 h 10000"/>
              <a:gd name="connsiteX217" fmla="*/ 7413 w 10000"/>
              <a:gd name="connsiteY217" fmla="*/ 8449 h 10000"/>
              <a:gd name="connsiteX218" fmla="*/ 7550 w 10000"/>
              <a:gd name="connsiteY218" fmla="*/ 8528 h 10000"/>
              <a:gd name="connsiteX219" fmla="*/ 7830 w 10000"/>
              <a:gd name="connsiteY219" fmla="*/ 8528 h 10000"/>
              <a:gd name="connsiteX220" fmla="*/ 7830 w 10000"/>
              <a:gd name="connsiteY220" fmla="*/ 8372 h 10000"/>
              <a:gd name="connsiteX221" fmla="*/ 7830 w 10000"/>
              <a:gd name="connsiteY221" fmla="*/ 8217 h 10000"/>
              <a:gd name="connsiteX222" fmla="*/ 7971 w 10000"/>
              <a:gd name="connsiteY222" fmla="*/ 8140 h 10000"/>
              <a:gd name="connsiteX223" fmla="*/ 8247 w 10000"/>
              <a:gd name="connsiteY223" fmla="*/ 8217 h 10000"/>
              <a:gd name="connsiteX224" fmla="*/ 8392 w 10000"/>
              <a:gd name="connsiteY224" fmla="*/ 8449 h 10000"/>
              <a:gd name="connsiteX225" fmla="*/ 8462 w 10000"/>
              <a:gd name="connsiteY225" fmla="*/ 8449 h 10000"/>
              <a:gd name="connsiteX226" fmla="*/ 8602 w 10000"/>
              <a:gd name="connsiteY226" fmla="*/ 8372 h 10000"/>
              <a:gd name="connsiteX227" fmla="*/ 9026 w 10000"/>
              <a:gd name="connsiteY227" fmla="*/ 8605 h 10000"/>
              <a:gd name="connsiteX228" fmla="*/ 9231 w 10000"/>
              <a:gd name="connsiteY228" fmla="*/ 8683 h 10000"/>
              <a:gd name="connsiteX229" fmla="*/ 9510 w 10000"/>
              <a:gd name="connsiteY229" fmla="*/ 8605 h 10000"/>
              <a:gd name="connsiteX230" fmla="*/ 9652 w 10000"/>
              <a:gd name="connsiteY230" fmla="*/ 8449 h 10000"/>
              <a:gd name="connsiteX231" fmla="*/ 9860 w 10000"/>
              <a:gd name="connsiteY231" fmla="*/ 8528 h 10000"/>
              <a:gd name="connsiteX232" fmla="*/ 10000 w 10000"/>
              <a:gd name="connsiteY232" fmla="*/ 8605 h 10000"/>
              <a:gd name="connsiteX233" fmla="*/ 9580 w 10000"/>
              <a:gd name="connsiteY233" fmla="*/ 2093 h 10000"/>
              <a:gd name="connsiteX234" fmla="*/ 9173 w 10000"/>
              <a:gd name="connsiteY234" fmla="*/ 1861 h 10000"/>
              <a:gd name="connsiteX0" fmla="*/ 9173 w 10000"/>
              <a:gd name="connsiteY0" fmla="*/ 1706 h 9845"/>
              <a:gd name="connsiteX1" fmla="*/ 9173 w 10000"/>
              <a:gd name="connsiteY1" fmla="*/ 1706 h 9845"/>
              <a:gd name="connsiteX2" fmla="*/ 9092 w 10000"/>
              <a:gd name="connsiteY2" fmla="*/ 1783 h 9845"/>
              <a:gd name="connsiteX3" fmla="*/ 9173 w 10000"/>
              <a:gd name="connsiteY3" fmla="*/ 1938 h 9845"/>
              <a:gd name="connsiteX4" fmla="*/ 8881 w 10000"/>
              <a:gd name="connsiteY4" fmla="*/ 2093 h 9845"/>
              <a:gd name="connsiteX5" fmla="*/ 8809 w 10000"/>
              <a:gd name="connsiteY5" fmla="*/ 2093 h 9845"/>
              <a:gd name="connsiteX6" fmla="*/ 8881 w 10000"/>
              <a:gd name="connsiteY6" fmla="*/ 1861 h 9845"/>
              <a:gd name="connsiteX7" fmla="*/ 9580 w 10000"/>
              <a:gd name="connsiteY7" fmla="*/ 1163 h 9845"/>
              <a:gd name="connsiteX8" fmla="*/ 9580 w 10000"/>
              <a:gd name="connsiteY8" fmla="*/ 698 h 9845"/>
              <a:gd name="connsiteX9" fmla="*/ 9304 w 10000"/>
              <a:gd name="connsiteY9" fmla="*/ 388 h 9845"/>
              <a:gd name="connsiteX10" fmla="*/ 8952 w 10000"/>
              <a:gd name="connsiteY10" fmla="*/ 388 h 9845"/>
              <a:gd name="connsiteX11" fmla="*/ 8952 w 10000"/>
              <a:gd name="connsiteY11" fmla="*/ 543 h 9845"/>
              <a:gd name="connsiteX12" fmla="*/ 8738 w 10000"/>
              <a:gd name="connsiteY12" fmla="*/ 543 h 9845"/>
              <a:gd name="connsiteX13" fmla="*/ 8881 w 10000"/>
              <a:gd name="connsiteY13" fmla="*/ 232 h 9845"/>
              <a:gd name="connsiteX14" fmla="*/ 8536 w 10000"/>
              <a:gd name="connsiteY14" fmla="*/ 155 h 9845"/>
              <a:gd name="connsiteX15" fmla="*/ 8738 w 10000"/>
              <a:gd name="connsiteY15" fmla="*/ 0 h 9845"/>
              <a:gd name="connsiteX16" fmla="*/ 8184 w 10000"/>
              <a:gd name="connsiteY16" fmla="*/ 232 h 9845"/>
              <a:gd name="connsiteX17" fmla="*/ 8184 w 10000"/>
              <a:gd name="connsiteY17" fmla="*/ 543 h 9845"/>
              <a:gd name="connsiteX18" fmla="*/ 7971 w 10000"/>
              <a:gd name="connsiteY18" fmla="*/ 543 h 9845"/>
              <a:gd name="connsiteX19" fmla="*/ 7344 w 10000"/>
              <a:gd name="connsiteY19" fmla="*/ 698 h 9845"/>
              <a:gd name="connsiteX20" fmla="*/ 6783 w 10000"/>
              <a:gd name="connsiteY20" fmla="*/ 1085 h 9845"/>
              <a:gd name="connsiteX21" fmla="*/ 6572 w 10000"/>
              <a:gd name="connsiteY21" fmla="*/ 1396 h 9845"/>
              <a:gd name="connsiteX22" fmla="*/ 6647 w 10000"/>
              <a:gd name="connsiteY22" fmla="*/ 1783 h 9845"/>
              <a:gd name="connsiteX23" fmla="*/ 5875 w 10000"/>
              <a:gd name="connsiteY23" fmla="*/ 1938 h 9845"/>
              <a:gd name="connsiteX24" fmla="*/ 5947 w 10000"/>
              <a:gd name="connsiteY24" fmla="*/ 2404 h 9845"/>
              <a:gd name="connsiteX25" fmla="*/ 6155 w 10000"/>
              <a:gd name="connsiteY25" fmla="*/ 2636 h 9845"/>
              <a:gd name="connsiteX26" fmla="*/ 6016 w 10000"/>
              <a:gd name="connsiteY26" fmla="*/ 2713 h 9845"/>
              <a:gd name="connsiteX27" fmla="*/ 5808 w 10000"/>
              <a:gd name="connsiteY27" fmla="*/ 2404 h 9845"/>
              <a:gd name="connsiteX28" fmla="*/ 5603 w 10000"/>
              <a:gd name="connsiteY28" fmla="*/ 2325 h 9845"/>
              <a:gd name="connsiteX29" fmla="*/ 5523 w 10000"/>
              <a:gd name="connsiteY29" fmla="*/ 2404 h 9845"/>
              <a:gd name="connsiteX30" fmla="*/ 5383 w 10000"/>
              <a:gd name="connsiteY30" fmla="*/ 2248 h 9845"/>
              <a:gd name="connsiteX31" fmla="*/ 5243 w 10000"/>
              <a:gd name="connsiteY31" fmla="*/ 2093 h 9845"/>
              <a:gd name="connsiteX32" fmla="*/ 5243 w 10000"/>
              <a:gd name="connsiteY32" fmla="*/ 2170 h 9845"/>
              <a:gd name="connsiteX33" fmla="*/ 5321 w 10000"/>
              <a:gd name="connsiteY33" fmla="*/ 2404 h 9845"/>
              <a:gd name="connsiteX34" fmla="*/ 5103 w 10000"/>
              <a:gd name="connsiteY34" fmla="*/ 2791 h 9845"/>
              <a:gd name="connsiteX35" fmla="*/ 5243 w 10000"/>
              <a:gd name="connsiteY35" fmla="*/ 3101 h 9845"/>
              <a:gd name="connsiteX36" fmla="*/ 5173 w 10000"/>
              <a:gd name="connsiteY36" fmla="*/ 3411 h 9845"/>
              <a:gd name="connsiteX37" fmla="*/ 5173 w 10000"/>
              <a:gd name="connsiteY37" fmla="*/ 3644 h 9845"/>
              <a:gd name="connsiteX38" fmla="*/ 5383 w 10000"/>
              <a:gd name="connsiteY38" fmla="*/ 3644 h 9845"/>
              <a:gd name="connsiteX39" fmla="*/ 5243 w 10000"/>
              <a:gd name="connsiteY39" fmla="*/ 3721 h 9845"/>
              <a:gd name="connsiteX40" fmla="*/ 5321 w 10000"/>
              <a:gd name="connsiteY40" fmla="*/ 4108 h 9845"/>
              <a:gd name="connsiteX41" fmla="*/ 4898 w 10000"/>
              <a:gd name="connsiteY41" fmla="*/ 4497 h 9845"/>
              <a:gd name="connsiteX42" fmla="*/ 4820 w 10000"/>
              <a:gd name="connsiteY42" fmla="*/ 4419 h 9845"/>
              <a:gd name="connsiteX43" fmla="*/ 5103 w 10000"/>
              <a:gd name="connsiteY43" fmla="*/ 4031 h 9845"/>
              <a:gd name="connsiteX44" fmla="*/ 5173 w 10000"/>
              <a:gd name="connsiteY44" fmla="*/ 3799 h 9845"/>
              <a:gd name="connsiteX45" fmla="*/ 5026 w 10000"/>
              <a:gd name="connsiteY45" fmla="*/ 3644 h 9845"/>
              <a:gd name="connsiteX46" fmla="*/ 5026 w 10000"/>
              <a:gd name="connsiteY46" fmla="*/ 2868 h 9845"/>
              <a:gd name="connsiteX47" fmla="*/ 4963 w 10000"/>
              <a:gd name="connsiteY47" fmla="*/ 2713 h 9845"/>
              <a:gd name="connsiteX48" fmla="*/ 5026 w 10000"/>
              <a:gd name="connsiteY48" fmla="*/ 2248 h 9845"/>
              <a:gd name="connsiteX49" fmla="*/ 4898 w 10000"/>
              <a:gd name="connsiteY49" fmla="*/ 2170 h 9845"/>
              <a:gd name="connsiteX50" fmla="*/ 4963 w 10000"/>
              <a:gd name="connsiteY50" fmla="*/ 2093 h 9845"/>
              <a:gd name="connsiteX51" fmla="*/ 4898 w 10000"/>
              <a:gd name="connsiteY51" fmla="*/ 1938 h 9845"/>
              <a:gd name="connsiteX52" fmla="*/ 4752 w 10000"/>
              <a:gd name="connsiteY52" fmla="*/ 2015 h 9845"/>
              <a:gd name="connsiteX53" fmla="*/ 4407 w 10000"/>
              <a:gd name="connsiteY53" fmla="*/ 3023 h 9845"/>
              <a:gd name="connsiteX54" fmla="*/ 4407 w 10000"/>
              <a:gd name="connsiteY54" fmla="*/ 3411 h 9845"/>
              <a:gd name="connsiteX55" fmla="*/ 4617 w 10000"/>
              <a:gd name="connsiteY55" fmla="*/ 3721 h 9845"/>
              <a:gd name="connsiteX56" fmla="*/ 4617 w 10000"/>
              <a:gd name="connsiteY56" fmla="*/ 3876 h 9845"/>
              <a:gd name="connsiteX57" fmla="*/ 4407 w 10000"/>
              <a:gd name="connsiteY57" fmla="*/ 3721 h 9845"/>
              <a:gd name="connsiteX58" fmla="*/ 3571 w 10000"/>
              <a:gd name="connsiteY58" fmla="*/ 3101 h 9845"/>
              <a:gd name="connsiteX59" fmla="*/ 3499 w 10000"/>
              <a:gd name="connsiteY59" fmla="*/ 3256 h 9845"/>
              <a:gd name="connsiteX60" fmla="*/ 3778 w 10000"/>
              <a:gd name="connsiteY60" fmla="*/ 3644 h 9845"/>
              <a:gd name="connsiteX61" fmla="*/ 3633 w 10000"/>
              <a:gd name="connsiteY61" fmla="*/ 3721 h 9845"/>
              <a:gd name="connsiteX62" fmla="*/ 3571 w 10000"/>
              <a:gd name="connsiteY62" fmla="*/ 3644 h 9845"/>
              <a:gd name="connsiteX63" fmla="*/ 3150 w 10000"/>
              <a:gd name="connsiteY63" fmla="*/ 3799 h 9845"/>
              <a:gd name="connsiteX64" fmla="*/ 3081 w 10000"/>
              <a:gd name="connsiteY64" fmla="*/ 3954 h 9845"/>
              <a:gd name="connsiteX65" fmla="*/ 3010 w 10000"/>
              <a:gd name="connsiteY65" fmla="*/ 3799 h 9845"/>
              <a:gd name="connsiteX66" fmla="*/ 3010 w 10000"/>
              <a:gd name="connsiteY66" fmla="*/ 3644 h 9845"/>
              <a:gd name="connsiteX67" fmla="*/ 2304 w 10000"/>
              <a:gd name="connsiteY67" fmla="*/ 4108 h 9845"/>
              <a:gd name="connsiteX68" fmla="*/ 2304 w 10000"/>
              <a:gd name="connsiteY68" fmla="*/ 4263 h 9845"/>
              <a:gd name="connsiteX69" fmla="*/ 2168 w 10000"/>
              <a:gd name="connsiteY69" fmla="*/ 4341 h 9845"/>
              <a:gd name="connsiteX70" fmla="*/ 1959 w 10000"/>
              <a:gd name="connsiteY70" fmla="*/ 4186 h 9845"/>
              <a:gd name="connsiteX71" fmla="*/ 2168 w 10000"/>
              <a:gd name="connsiteY71" fmla="*/ 4031 h 9845"/>
              <a:gd name="connsiteX72" fmla="*/ 2095 w 10000"/>
              <a:gd name="connsiteY72" fmla="*/ 3799 h 9845"/>
              <a:gd name="connsiteX73" fmla="*/ 1818 w 10000"/>
              <a:gd name="connsiteY73" fmla="*/ 3721 h 9845"/>
              <a:gd name="connsiteX74" fmla="*/ 1889 w 10000"/>
              <a:gd name="connsiteY74" fmla="*/ 3876 h 9845"/>
              <a:gd name="connsiteX75" fmla="*/ 1889 w 10000"/>
              <a:gd name="connsiteY75" fmla="*/ 4263 h 9845"/>
              <a:gd name="connsiteX76" fmla="*/ 1959 w 10000"/>
              <a:gd name="connsiteY76" fmla="*/ 4419 h 9845"/>
              <a:gd name="connsiteX77" fmla="*/ 1889 w 10000"/>
              <a:gd name="connsiteY77" fmla="*/ 4574 h 9845"/>
              <a:gd name="connsiteX78" fmla="*/ 1674 w 10000"/>
              <a:gd name="connsiteY78" fmla="*/ 4497 h 9845"/>
              <a:gd name="connsiteX79" fmla="*/ 1400 w 10000"/>
              <a:gd name="connsiteY79" fmla="*/ 4729 h 9845"/>
              <a:gd name="connsiteX80" fmla="*/ 1535 w 10000"/>
              <a:gd name="connsiteY80" fmla="*/ 5039 h 9845"/>
              <a:gd name="connsiteX81" fmla="*/ 1116 w 10000"/>
              <a:gd name="connsiteY81" fmla="*/ 4884 h 9845"/>
              <a:gd name="connsiteX82" fmla="*/ 1049 w 10000"/>
              <a:gd name="connsiteY82" fmla="*/ 4961 h 9845"/>
              <a:gd name="connsiteX83" fmla="*/ 1191 w 10000"/>
              <a:gd name="connsiteY83" fmla="*/ 5194 h 9845"/>
              <a:gd name="connsiteX84" fmla="*/ 1049 w 10000"/>
              <a:gd name="connsiteY84" fmla="*/ 5194 h 9845"/>
              <a:gd name="connsiteX85" fmla="*/ 842 w 10000"/>
              <a:gd name="connsiteY85" fmla="*/ 5039 h 9845"/>
              <a:gd name="connsiteX86" fmla="*/ 842 w 10000"/>
              <a:gd name="connsiteY86" fmla="*/ 4574 h 9845"/>
              <a:gd name="connsiteX87" fmla="*/ 632 w 10000"/>
              <a:gd name="connsiteY87" fmla="*/ 4419 h 9845"/>
              <a:gd name="connsiteX88" fmla="*/ 558 w 10000"/>
              <a:gd name="connsiteY88" fmla="*/ 4263 h 9845"/>
              <a:gd name="connsiteX89" fmla="*/ 697 w 10000"/>
              <a:gd name="connsiteY89" fmla="*/ 4341 h 9845"/>
              <a:gd name="connsiteX90" fmla="*/ 1255 w 10000"/>
              <a:gd name="connsiteY90" fmla="*/ 4574 h 9845"/>
              <a:gd name="connsiteX91" fmla="*/ 1601 w 10000"/>
              <a:gd name="connsiteY91" fmla="*/ 4341 h 9845"/>
              <a:gd name="connsiteX92" fmla="*/ 1535 w 10000"/>
              <a:gd name="connsiteY92" fmla="*/ 4108 h 9845"/>
              <a:gd name="connsiteX93" fmla="*/ 1116 w 10000"/>
              <a:gd name="connsiteY93" fmla="*/ 3644 h 9845"/>
              <a:gd name="connsiteX94" fmla="*/ 697 w 10000"/>
              <a:gd name="connsiteY94" fmla="*/ 3489 h 9845"/>
              <a:gd name="connsiteX95" fmla="*/ 697 w 10000"/>
              <a:gd name="connsiteY95" fmla="*/ 3411 h 9845"/>
              <a:gd name="connsiteX96" fmla="*/ 558 w 10000"/>
              <a:gd name="connsiteY96" fmla="*/ 3333 h 9845"/>
              <a:gd name="connsiteX97" fmla="*/ 417 w 10000"/>
              <a:gd name="connsiteY97" fmla="*/ 3411 h 9845"/>
              <a:gd name="connsiteX98" fmla="*/ 417 w 10000"/>
              <a:gd name="connsiteY98" fmla="*/ 3489 h 9845"/>
              <a:gd name="connsiteX99" fmla="*/ 348 w 10000"/>
              <a:gd name="connsiteY99" fmla="*/ 3489 h 9845"/>
              <a:gd name="connsiteX100" fmla="*/ 210 w 10000"/>
              <a:gd name="connsiteY100" fmla="*/ 3644 h 9845"/>
              <a:gd name="connsiteX101" fmla="*/ 210 w 10000"/>
              <a:gd name="connsiteY101" fmla="*/ 3876 h 9845"/>
              <a:gd name="connsiteX102" fmla="*/ 348 w 10000"/>
              <a:gd name="connsiteY102" fmla="*/ 4031 h 9845"/>
              <a:gd name="connsiteX103" fmla="*/ 282 w 10000"/>
              <a:gd name="connsiteY103" fmla="*/ 4263 h 9845"/>
              <a:gd name="connsiteX104" fmla="*/ 348 w 10000"/>
              <a:gd name="connsiteY104" fmla="*/ 4652 h 9845"/>
              <a:gd name="connsiteX105" fmla="*/ 282 w 10000"/>
              <a:gd name="connsiteY105" fmla="*/ 4884 h 9845"/>
              <a:gd name="connsiteX106" fmla="*/ 417 w 10000"/>
              <a:gd name="connsiteY106" fmla="*/ 5116 h 9845"/>
              <a:gd name="connsiteX107" fmla="*/ 348 w 10000"/>
              <a:gd name="connsiteY107" fmla="*/ 5271 h 9845"/>
              <a:gd name="connsiteX108" fmla="*/ 487 w 10000"/>
              <a:gd name="connsiteY108" fmla="*/ 5427 h 9845"/>
              <a:gd name="connsiteX109" fmla="*/ 487 w 10000"/>
              <a:gd name="connsiteY109" fmla="*/ 5504 h 9845"/>
              <a:gd name="connsiteX110" fmla="*/ 282 w 10000"/>
              <a:gd name="connsiteY110" fmla="*/ 5892 h 9845"/>
              <a:gd name="connsiteX111" fmla="*/ 64 w 10000"/>
              <a:gd name="connsiteY111" fmla="*/ 6047 h 9845"/>
              <a:gd name="connsiteX112" fmla="*/ 138 w 10000"/>
              <a:gd name="connsiteY112" fmla="*/ 6047 h 9845"/>
              <a:gd name="connsiteX113" fmla="*/ 282 w 10000"/>
              <a:gd name="connsiteY113" fmla="*/ 6201 h 9845"/>
              <a:gd name="connsiteX114" fmla="*/ 138 w 10000"/>
              <a:gd name="connsiteY114" fmla="*/ 6357 h 9845"/>
              <a:gd name="connsiteX115" fmla="*/ 64 w 10000"/>
              <a:gd name="connsiteY115" fmla="*/ 6435 h 9845"/>
              <a:gd name="connsiteX116" fmla="*/ 0 w 10000"/>
              <a:gd name="connsiteY116" fmla="*/ 6435 h 9845"/>
              <a:gd name="connsiteX117" fmla="*/ 64 w 10000"/>
              <a:gd name="connsiteY117" fmla="*/ 6667 h 9845"/>
              <a:gd name="connsiteX118" fmla="*/ 64 w 10000"/>
              <a:gd name="connsiteY118" fmla="*/ 6745 h 9845"/>
              <a:gd name="connsiteX119" fmla="*/ 64 w 10000"/>
              <a:gd name="connsiteY119" fmla="*/ 6822 h 9845"/>
              <a:gd name="connsiteX120" fmla="*/ 64 w 10000"/>
              <a:gd name="connsiteY120" fmla="*/ 6899 h 9845"/>
              <a:gd name="connsiteX121" fmla="*/ 138 w 10000"/>
              <a:gd name="connsiteY121" fmla="*/ 7054 h 9845"/>
              <a:gd name="connsiteX122" fmla="*/ 348 w 10000"/>
              <a:gd name="connsiteY122" fmla="*/ 7132 h 9845"/>
              <a:gd name="connsiteX123" fmla="*/ 417 w 10000"/>
              <a:gd name="connsiteY123" fmla="*/ 7209 h 9845"/>
              <a:gd name="connsiteX124" fmla="*/ 417 w 10000"/>
              <a:gd name="connsiteY124" fmla="*/ 7365 h 9845"/>
              <a:gd name="connsiteX125" fmla="*/ 558 w 10000"/>
              <a:gd name="connsiteY125" fmla="*/ 7597 h 9845"/>
              <a:gd name="connsiteX126" fmla="*/ 632 w 10000"/>
              <a:gd name="connsiteY126" fmla="*/ 7597 h 9845"/>
              <a:gd name="connsiteX127" fmla="*/ 558 w 10000"/>
              <a:gd name="connsiteY127" fmla="*/ 7752 h 9845"/>
              <a:gd name="connsiteX128" fmla="*/ 487 w 10000"/>
              <a:gd name="connsiteY128" fmla="*/ 7675 h 9845"/>
              <a:gd name="connsiteX129" fmla="*/ 487 w 10000"/>
              <a:gd name="connsiteY129" fmla="*/ 7752 h 9845"/>
              <a:gd name="connsiteX130" fmla="*/ 558 w 10000"/>
              <a:gd name="connsiteY130" fmla="*/ 7907 h 9845"/>
              <a:gd name="connsiteX131" fmla="*/ 773 w 10000"/>
              <a:gd name="connsiteY131" fmla="*/ 7907 h 9845"/>
              <a:gd name="connsiteX132" fmla="*/ 842 w 10000"/>
              <a:gd name="connsiteY132" fmla="*/ 7985 h 9845"/>
              <a:gd name="connsiteX133" fmla="*/ 773 w 10000"/>
              <a:gd name="connsiteY133" fmla="*/ 7985 h 9845"/>
              <a:gd name="connsiteX134" fmla="*/ 842 w 10000"/>
              <a:gd name="connsiteY134" fmla="*/ 8062 h 9845"/>
              <a:gd name="connsiteX135" fmla="*/ 908 w 10000"/>
              <a:gd name="connsiteY135" fmla="*/ 8062 h 9845"/>
              <a:gd name="connsiteX136" fmla="*/ 976 w 10000"/>
              <a:gd name="connsiteY136" fmla="*/ 8217 h 9845"/>
              <a:gd name="connsiteX137" fmla="*/ 1049 w 10000"/>
              <a:gd name="connsiteY137" fmla="*/ 8294 h 9845"/>
              <a:gd name="connsiteX138" fmla="*/ 1116 w 10000"/>
              <a:gd name="connsiteY138" fmla="*/ 8217 h 9845"/>
              <a:gd name="connsiteX139" fmla="*/ 1469 w 10000"/>
              <a:gd name="connsiteY139" fmla="*/ 8450 h 9845"/>
              <a:gd name="connsiteX140" fmla="*/ 1400 w 10000"/>
              <a:gd name="connsiteY140" fmla="*/ 8760 h 9845"/>
              <a:gd name="connsiteX141" fmla="*/ 1329 w 10000"/>
              <a:gd name="connsiteY141" fmla="*/ 8683 h 9845"/>
              <a:gd name="connsiteX142" fmla="*/ 1255 w 10000"/>
              <a:gd name="connsiteY142" fmla="*/ 8760 h 9845"/>
              <a:gd name="connsiteX143" fmla="*/ 1255 w 10000"/>
              <a:gd name="connsiteY143" fmla="*/ 8915 h 9845"/>
              <a:gd name="connsiteX144" fmla="*/ 1329 w 10000"/>
              <a:gd name="connsiteY144" fmla="*/ 8838 h 9845"/>
              <a:gd name="connsiteX145" fmla="*/ 1400 w 10000"/>
              <a:gd name="connsiteY145" fmla="*/ 8915 h 9845"/>
              <a:gd name="connsiteX146" fmla="*/ 1191 w 10000"/>
              <a:gd name="connsiteY146" fmla="*/ 8992 h 9845"/>
              <a:gd name="connsiteX147" fmla="*/ 1255 w 10000"/>
              <a:gd name="connsiteY147" fmla="*/ 9070 h 9845"/>
              <a:gd name="connsiteX148" fmla="*/ 1116 w 10000"/>
              <a:gd name="connsiteY148" fmla="*/ 9225 h 9845"/>
              <a:gd name="connsiteX149" fmla="*/ 1049 w 10000"/>
              <a:gd name="connsiteY149" fmla="*/ 9225 h 9845"/>
              <a:gd name="connsiteX150" fmla="*/ 1116 w 10000"/>
              <a:gd name="connsiteY150" fmla="*/ 9225 h 9845"/>
              <a:gd name="connsiteX151" fmla="*/ 1400 w 10000"/>
              <a:gd name="connsiteY151" fmla="*/ 9536 h 9845"/>
              <a:gd name="connsiteX152" fmla="*/ 1749 w 10000"/>
              <a:gd name="connsiteY152" fmla="*/ 9536 h 9845"/>
              <a:gd name="connsiteX153" fmla="*/ 1889 w 10000"/>
              <a:gd name="connsiteY153" fmla="*/ 9613 h 9845"/>
              <a:gd name="connsiteX154" fmla="*/ 2028 w 10000"/>
              <a:gd name="connsiteY154" fmla="*/ 9613 h 9845"/>
              <a:gd name="connsiteX155" fmla="*/ 2168 w 10000"/>
              <a:gd name="connsiteY155" fmla="*/ 9768 h 9845"/>
              <a:gd name="connsiteX156" fmla="*/ 2238 w 10000"/>
              <a:gd name="connsiteY156" fmla="*/ 9845 h 9845"/>
              <a:gd name="connsiteX157" fmla="*/ 2304 w 10000"/>
              <a:gd name="connsiteY157" fmla="*/ 9845 h 9845"/>
              <a:gd name="connsiteX158" fmla="*/ 2378 w 10000"/>
              <a:gd name="connsiteY158" fmla="*/ 9768 h 9845"/>
              <a:gd name="connsiteX159" fmla="*/ 2238 w 10000"/>
              <a:gd name="connsiteY159" fmla="*/ 9613 h 9845"/>
              <a:gd name="connsiteX160" fmla="*/ 2238 w 10000"/>
              <a:gd name="connsiteY160" fmla="*/ 9458 h 9845"/>
              <a:gd name="connsiteX161" fmla="*/ 2168 w 10000"/>
              <a:gd name="connsiteY161" fmla="*/ 9302 h 9845"/>
              <a:gd name="connsiteX162" fmla="*/ 2304 w 10000"/>
              <a:gd name="connsiteY162" fmla="*/ 9070 h 9845"/>
              <a:gd name="connsiteX163" fmla="*/ 2378 w 10000"/>
              <a:gd name="connsiteY163" fmla="*/ 9147 h 9845"/>
              <a:gd name="connsiteX164" fmla="*/ 2447 w 10000"/>
              <a:gd name="connsiteY164" fmla="*/ 9070 h 9845"/>
              <a:gd name="connsiteX165" fmla="*/ 2447 w 10000"/>
              <a:gd name="connsiteY165" fmla="*/ 8992 h 9845"/>
              <a:gd name="connsiteX166" fmla="*/ 2378 w 10000"/>
              <a:gd name="connsiteY166" fmla="*/ 8992 h 9845"/>
              <a:gd name="connsiteX167" fmla="*/ 2447 w 10000"/>
              <a:gd name="connsiteY167" fmla="*/ 8915 h 9845"/>
              <a:gd name="connsiteX168" fmla="*/ 2378 w 10000"/>
              <a:gd name="connsiteY168" fmla="*/ 8760 h 9845"/>
              <a:gd name="connsiteX169" fmla="*/ 2238 w 10000"/>
              <a:gd name="connsiteY169" fmla="*/ 8760 h 9845"/>
              <a:gd name="connsiteX170" fmla="*/ 2168 w 10000"/>
              <a:gd name="connsiteY170" fmla="*/ 8605 h 9845"/>
              <a:gd name="connsiteX171" fmla="*/ 2238 w 10000"/>
              <a:gd name="connsiteY171" fmla="*/ 8217 h 9845"/>
              <a:gd name="connsiteX172" fmla="*/ 2378 w 10000"/>
              <a:gd name="connsiteY172" fmla="*/ 8373 h 9845"/>
              <a:gd name="connsiteX173" fmla="*/ 2447 w 10000"/>
              <a:gd name="connsiteY173" fmla="*/ 8373 h 9845"/>
              <a:gd name="connsiteX174" fmla="*/ 2378 w 10000"/>
              <a:gd name="connsiteY174" fmla="*/ 8217 h 9845"/>
              <a:gd name="connsiteX175" fmla="*/ 2589 w 10000"/>
              <a:gd name="connsiteY175" fmla="*/ 7985 h 9845"/>
              <a:gd name="connsiteX176" fmla="*/ 2730 w 10000"/>
              <a:gd name="connsiteY176" fmla="*/ 8062 h 9845"/>
              <a:gd name="connsiteX177" fmla="*/ 2798 w 10000"/>
              <a:gd name="connsiteY177" fmla="*/ 7985 h 9845"/>
              <a:gd name="connsiteX178" fmla="*/ 2933 w 10000"/>
              <a:gd name="connsiteY178" fmla="*/ 8062 h 9845"/>
              <a:gd name="connsiteX179" fmla="*/ 3150 w 10000"/>
              <a:gd name="connsiteY179" fmla="*/ 8217 h 9845"/>
              <a:gd name="connsiteX180" fmla="*/ 3285 w 10000"/>
              <a:gd name="connsiteY180" fmla="*/ 8140 h 9845"/>
              <a:gd name="connsiteX181" fmla="*/ 3427 w 10000"/>
              <a:gd name="connsiteY181" fmla="*/ 8140 h 9845"/>
              <a:gd name="connsiteX182" fmla="*/ 3499 w 10000"/>
              <a:gd name="connsiteY182" fmla="*/ 8217 h 9845"/>
              <a:gd name="connsiteX183" fmla="*/ 3778 w 10000"/>
              <a:gd name="connsiteY183" fmla="*/ 8217 h 9845"/>
              <a:gd name="connsiteX184" fmla="*/ 3844 w 10000"/>
              <a:gd name="connsiteY184" fmla="*/ 8062 h 9845"/>
              <a:gd name="connsiteX185" fmla="*/ 3633 w 10000"/>
              <a:gd name="connsiteY185" fmla="*/ 7985 h 9845"/>
              <a:gd name="connsiteX186" fmla="*/ 3778 w 10000"/>
              <a:gd name="connsiteY186" fmla="*/ 7907 h 9845"/>
              <a:gd name="connsiteX187" fmla="*/ 3703 w 10000"/>
              <a:gd name="connsiteY187" fmla="*/ 7830 h 9845"/>
              <a:gd name="connsiteX188" fmla="*/ 3778 w 10000"/>
              <a:gd name="connsiteY188" fmla="*/ 7752 h 9845"/>
              <a:gd name="connsiteX189" fmla="*/ 3778 w 10000"/>
              <a:gd name="connsiteY189" fmla="*/ 7520 h 9845"/>
              <a:gd name="connsiteX190" fmla="*/ 3913 w 10000"/>
              <a:gd name="connsiteY190" fmla="*/ 7597 h 9845"/>
              <a:gd name="connsiteX191" fmla="*/ 4545 w 10000"/>
              <a:gd name="connsiteY191" fmla="*/ 7365 h 9845"/>
              <a:gd name="connsiteX192" fmla="*/ 4545 w 10000"/>
              <a:gd name="connsiteY192" fmla="*/ 7287 h 9845"/>
              <a:gd name="connsiteX193" fmla="*/ 4617 w 10000"/>
              <a:gd name="connsiteY193" fmla="*/ 7287 h 9845"/>
              <a:gd name="connsiteX194" fmla="*/ 4820 w 10000"/>
              <a:gd name="connsiteY194" fmla="*/ 7287 h 9845"/>
              <a:gd name="connsiteX195" fmla="*/ 4898 w 10000"/>
              <a:gd name="connsiteY195" fmla="*/ 7443 h 9845"/>
              <a:gd name="connsiteX196" fmla="*/ 4898 w 10000"/>
              <a:gd name="connsiteY196" fmla="*/ 7520 h 9845"/>
              <a:gd name="connsiteX197" fmla="*/ 4963 w 10000"/>
              <a:gd name="connsiteY197" fmla="*/ 7520 h 9845"/>
              <a:gd name="connsiteX198" fmla="*/ 5103 w 10000"/>
              <a:gd name="connsiteY198" fmla="*/ 7597 h 9845"/>
              <a:gd name="connsiteX199" fmla="*/ 5103 w 10000"/>
              <a:gd name="connsiteY199" fmla="*/ 7675 h 9845"/>
              <a:gd name="connsiteX200" fmla="*/ 5243 w 10000"/>
              <a:gd name="connsiteY200" fmla="*/ 7675 h 9845"/>
              <a:gd name="connsiteX201" fmla="*/ 5383 w 10000"/>
              <a:gd name="connsiteY201" fmla="*/ 7520 h 9845"/>
              <a:gd name="connsiteX202" fmla="*/ 5523 w 10000"/>
              <a:gd name="connsiteY202" fmla="*/ 7443 h 9845"/>
              <a:gd name="connsiteX203" fmla="*/ 5603 w 10000"/>
              <a:gd name="connsiteY203" fmla="*/ 7675 h 9845"/>
              <a:gd name="connsiteX204" fmla="*/ 5875 w 10000"/>
              <a:gd name="connsiteY204" fmla="*/ 8217 h 9845"/>
              <a:gd name="connsiteX205" fmla="*/ 5947 w 10000"/>
              <a:gd name="connsiteY205" fmla="*/ 8062 h 9845"/>
              <a:gd name="connsiteX206" fmla="*/ 6016 w 10000"/>
              <a:gd name="connsiteY206" fmla="*/ 8217 h 9845"/>
              <a:gd name="connsiteX207" fmla="*/ 6226 w 10000"/>
              <a:gd name="connsiteY207" fmla="*/ 8140 h 9845"/>
              <a:gd name="connsiteX208" fmla="*/ 6437 w 10000"/>
              <a:gd name="connsiteY208" fmla="*/ 8373 h 9845"/>
              <a:gd name="connsiteX209" fmla="*/ 6572 w 10000"/>
              <a:gd name="connsiteY209" fmla="*/ 8450 h 9845"/>
              <a:gd name="connsiteX210" fmla="*/ 6572 w 10000"/>
              <a:gd name="connsiteY210" fmla="*/ 8373 h 9845"/>
              <a:gd name="connsiteX211" fmla="*/ 6647 w 10000"/>
              <a:gd name="connsiteY211" fmla="*/ 8528 h 9845"/>
              <a:gd name="connsiteX212" fmla="*/ 6572 w 10000"/>
              <a:gd name="connsiteY212" fmla="*/ 8605 h 9845"/>
              <a:gd name="connsiteX213" fmla="*/ 6716 w 10000"/>
              <a:gd name="connsiteY213" fmla="*/ 8528 h 9845"/>
              <a:gd name="connsiteX214" fmla="*/ 6783 w 10000"/>
              <a:gd name="connsiteY214" fmla="*/ 8450 h 9845"/>
              <a:gd name="connsiteX215" fmla="*/ 7130 w 10000"/>
              <a:gd name="connsiteY215" fmla="*/ 8217 h 9845"/>
              <a:gd name="connsiteX216" fmla="*/ 7413 w 10000"/>
              <a:gd name="connsiteY216" fmla="*/ 8294 h 9845"/>
              <a:gd name="connsiteX217" fmla="*/ 7550 w 10000"/>
              <a:gd name="connsiteY217" fmla="*/ 8373 h 9845"/>
              <a:gd name="connsiteX218" fmla="*/ 7830 w 10000"/>
              <a:gd name="connsiteY218" fmla="*/ 8373 h 9845"/>
              <a:gd name="connsiteX219" fmla="*/ 7830 w 10000"/>
              <a:gd name="connsiteY219" fmla="*/ 8217 h 9845"/>
              <a:gd name="connsiteX220" fmla="*/ 7830 w 10000"/>
              <a:gd name="connsiteY220" fmla="*/ 8062 h 9845"/>
              <a:gd name="connsiteX221" fmla="*/ 7971 w 10000"/>
              <a:gd name="connsiteY221" fmla="*/ 7985 h 9845"/>
              <a:gd name="connsiteX222" fmla="*/ 8247 w 10000"/>
              <a:gd name="connsiteY222" fmla="*/ 8062 h 9845"/>
              <a:gd name="connsiteX223" fmla="*/ 8392 w 10000"/>
              <a:gd name="connsiteY223" fmla="*/ 8294 h 9845"/>
              <a:gd name="connsiteX224" fmla="*/ 8462 w 10000"/>
              <a:gd name="connsiteY224" fmla="*/ 8294 h 9845"/>
              <a:gd name="connsiteX225" fmla="*/ 8602 w 10000"/>
              <a:gd name="connsiteY225" fmla="*/ 8217 h 9845"/>
              <a:gd name="connsiteX226" fmla="*/ 9026 w 10000"/>
              <a:gd name="connsiteY226" fmla="*/ 8450 h 9845"/>
              <a:gd name="connsiteX227" fmla="*/ 9231 w 10000"/>
              <a:gd name="connsiteY227" fmla="*/ 8528 h 9845"/>
              <a:gd name="connsiteX228" fmla="*/ 9510 w 10000"/>
              <a:gd name="connsiteY228" fmla="*/ 8450 h 9845"/>
              <a:gd name="connsiteX229" fmla="*/ 9652 w 10000"/>
              <a:gd name="connsiteY229" fmla="*/ 8294 h 9845"/>
              <a:gd name="connsiteX230" fmla="*/ 9860 w 10000"/>
              <a:gd name="connsiteY230" fmla="*/ 8373 h 9845"/>
              <a:gd name="connsiteX231" fmla="*/ 10000 w 10000"/>
              <a:gd name="connsiteY231" fmla="*/ 8450 h 9845"/>
              <a:gd name="connsiteX232" fmla="*/ 9580 w 10000"/>
              <a:gd name="connsiteY232" fmla="*/ 1938 h 9845"/>
              <a:gd name="connsiteX233" fmla="*/ 9173 w 10000"/>
              <a:gd name="connsiteY233" fmla="*/ 1706 h 9845"/>
              <a:gd name="connsiteX0" fmla="*/ 9173 w 10000"/>
              <a:gd name="connsiteY0" fmla="*/ 1733 h 10000"/>
              <a:gd name="connsiteX1" fmla="*/ 9173 w 10000"/>
              <a:gd name="connsiteY1" fmla="*/ 1733 h 10000"/>
              <a:gd name="connsiteX2" fmla="*/ 9092 w 10000"/>
              <a:gd name="connsiteY2" fmla="*/ 1811 h 10000"/>
              <a:gd name="connsiteX3" fmla="*/ 9173 w 10000"/>
              <a:gd name="connsiteY3" fmla="*/ 1969 h 10000"/>
              <a:gd name="connsiteX4" fmla="*/ 8881 w 10000"/>
              <a:gd name="connsiteY4" fmla="*/ 2126 h 10000"/>
              <a:gd name="connsiteX5" fmla="*/ 8809 w 10000"/>
              <a:gd name="connsiteY5" fmla="*/ 2126 h 10000"/>
              <a:gd name="connsiteX6" fmla="*/ 8881 w 10000"/>
              <a:gd name="connsiteY6" fmla="*/ 1890 h 10000"/>
              <a:gd name="connsiteX7" fmla="*/ 9580 w 10000"/>
              <a:gd name="connsiteY7" fmla="*/ 1181 h 10000"/>
              <a:gd name="connsiteX8" fmla="*/ 9580 w 10000"/>
              <a:gd name="connsiteY8" fmla="*/ 709 h 10000"/>
              <a:gd name="connsiteX9" fmla="*/ 9304 w 10000"/>
              <a:gd name="connsiteY9" fmla="*/ 394 h 10000"/>
              <a:gd name="connsiteX10" fmla="*/ 8952 w 10000"/>
              <a:gd name="connsiteY10" fmla="*/ 394 h 10000"/>
              <a:gd name="connsiteX11" fmla="*/ 8952 w 10000"/>
              <a:gd name="connsiteY11" fmla="*/ 552 h 10000"/>
              <a:gd name="connsiteX12" fmla="*/ 8738 w 10000"/>
              <a:gd name="connsiteY12" fmla="*/ 552 h 10000"/>
              <a:gd name="connsiteX13" fmla="*/ 8881 w 10000"/>
              <a:gd name="connsiteY13" fmla="*/ 236 h 10000"/>
              <a:gd name="connsiteX14" fmla="*/ 8536 w 10000"/>
              <a:gd name="connsiteY14" fmla="*/ 157 h 10000"/>
              <a:gd name="connsiteX15" fmla="*/ 8738 w 10000"/>
              <a:gd name="connsiteY15" fmla="*/ 0 h 10000"/>
              <a:gd name="connsiteX16" fmla="*/ 8184 w 10000"/>
              <a:gd name="connsiteY16" fmla="*/ 552 h 10000"/>
              <a:gd name="connsiteX17" fmla="*/ 7971 w 10000"/>
              <a:gd name="connsiteY17" fmla="*/ 552 h 10000"/>
              <a:gd name="connsiteX18" fmla="*/ 7344 w 10000"/>
              <a:gd name="connsiteY18" fmla="*/ 709 h 10000"/>
              <a:gd name="connsiteX19" fmla="*/ 6783 w 10000"/>
              <a:gd name="connsiteY19" fmla="*/ 1102 h 10000"/>
              <a:gd name="connsiteX20" fmla="*/ 6572 w 10000"/>
              <a:gd name="connsiteY20" fmla="*/ 1418 h 10000"/>
              <a:gd name="connsiteX21" fmla="*/ 6647 w 10000"/>
              <a:gd name="connsiteY21" fmla="*/ 1811 h 10000"/>
              <a:gd name="connsiteX22" fmla="*/ 5875 w 10000"/>
              <a:gd name="connsiteY22" fmla="*/ 1969 h 10000"/>
              <a:gd name="connsiteX23" fmla="*/ 5947 w 10000"/>
              <a:gd name="connsiteY23" fmla="*/ 2442 h 10000"/>
              <a:gd name="connsiteX24" fmla="*/ 6155 w 10000"/>
              <a:gd name="connsiteY24" fmla="*/ 2678 h 10000"/>
              <a:gd name="connsiteX25" fmla="*/ 6016 w 10000"/>
              <a:gd name="connsiteY25" fmla="*/ 2756 h 10000"/>
              <a:gd name="connsiteX26" fmla="*/ 5808 w 10000"/>
              <a:gd name="connsiteY26" fmla="*/ 2442 h 10000"/>
              <a:gd name="connsiteX27" fmla="*/ 5603 w 10000"/>
              <a:gd name="connsiteY27" fmla="*/ 2362 h 10000"/>
              <a:gd name="connsiteX28" fmla="*/ 5523 w 10000"/>
              <a:gd name="connsiteY28" fmla="*/ 2442 h 10000"/>
              <a:gd name="connsiteX29" fmla="*/ 5383 w 10000"/>
              <a:gd name="connsiteY29" fmla="*/ 2283 h 10000"/>
              <a:gd name="connsiteX30" fmla="*/ 5243 w 10000"/>
              <a:gd name="connsiteY30" fmla="*/ 2126 h 10000"/>
              <a:gd name="connsiteX31" fmla="*/ 5243 w 10000"/>
              <a:gd name="connsiteY31" fmla="*/ 2204 h 10000"/>
              <a:gd name="connsiteX32" fmla="*/ 5321 w 10000"/>
              <a:gd name="connsiteY32" fmla="*/ 2442 h 10000"/>
              <a:gd name="connsiteX33" fmla="*/ 5103 w 10000"/>
              <a:gd name="connsiteY33" fmla="*/ 2835 h 10000"/>
              <a:gd name="connsiteX34" fmla="*/ 5243 w 10000"/>
              <a:gd name="connsiteY34" fmla="*/ 3150 h 10000"/>
              <a:gd name="connsiteX35" fmla="*/ 5173 w 10000"/>
              <a:gd name="connsiteY35" fmla="*/ 3465 h 10000"/>
              <a:gd name="connsiteX36" fmla="*/ 5173 w 10000"/>
              <a:gd name="connsiteY36" fmla="*/ 3701 h 10000"/>
              <a:gd name="connsiteX37" fmla="*/ 5383 w 10000"/>
              <a:gd name="connsiteY37" fmla="*/ 3701 h 10000"/>
              <a:gd name="connsiteX38" fmla="*/ 5243 w 10000"/>
              <a:gd name="connsiteY38" fmla="*/ 3780 h 10000"/>
              <a:gd name="connsiteX39" fmla="*/ 5321 w 10000"/>
              <a:gd name="connsiteY39" fmla="*/ 4173 h 10000"/>
              <a:gd name="connsiteX40" fmla="*/ 4898 w 10000"/>
              <a:gd name="connsiteY40" fmla="*/ 4568 h 10000"/>
              <a:gd name="connsiteX41" fmla="*/ 4820 w 10000"/>
              <a:gd name="connsiteY41" fmla="*/ 4489 h 10000"/>
              <a:gd name="connsiteX42" fmla="*/ 5103 w 10000"/>
              <a:gd name="connsiteY42" fmla="*/ 4094 h 10000"/>
              <a:gd name="connsiteX43" fmla="*/ 5173 w 10000"/>
              <a:gd name="connsiteY43" fmla="*/ 3859 h 10000"/>
              <a:gd name="connsiteX44" fmla="*/ 5026 w 10000"/>
              <a:gd name="connsiteY44" fmla="*/ 3701 h 10000"/>
              <a:gd name="connsiteX45" fmla="*/ 5026 w 10000"/>
              <a:gd name="connsiteY45" fmla="*/ 2913 h 10000"/>
              <a:gd name="connsiteX46" fmla="*/ 4963 w 10000"/>
              <a:gd name="connsiteY46" fmla="*/ 2756 h 10000"/>
              <a:gd name="connsiteX47" fmla="*/ 5026 w 10000"/>
              <a:gd name="connsiteY47" fmla="*/ 2283 h 10000"/>
              <a:gd name="connsiteX48" fmla="*/ 4898 w 10000"/>
              <a:gd name="connsiteY48" fmla="*/ 2204 h 10000"/>
              <a:gd name="connsiteX49" fmla="*/ 4963 w 10000"/>
              <a:gd name="connsiteY49" fmla="*/ 2126 h 10000"/>
              <a:gd name="connsiteX50" fmla="*/ 4898 w 10000"/>
              <a:gd name="connsiteY50" fmla="*/ 1969 h 10000"/>
              <a:gd name="connsiteX51" fmla="*/ 4752 w 10000"/>
              <a:gd name="connsiteY51" fmla="*/ 2047 h 10000"/>
              <a:gd name="connsiteX52" fmla="*/ 4407 w 10000"/>
              <a:gd name="connsiteY52" fmla="*/ 3071 h 10000"/>
              <a:gd name="connsiteX53" fmla="*/ 4407 w 10000"/>
              <a:gd name="connsiteY53" fmla="*/ 3465 h 10000"/>
              <a:gd name="connsiteX54" fmla="*/ 4617 w 10000"/>
              <a:gd name="connsiteY54" fmla="*/ 3780 h 10000"/>
              <a:gd name="connsiteX55" fmla="*/ 4617 w 10000"/>
              <a:gd name="connsiteY55" fmla="*/ 3937 h 10000"/>
              <a:gd name="connsiteX56" fmla="*/ 4407 w 10000"/>
              <a:gd name="connsiteY56" fmla="*/ 3780 h 10000"/>
              <a:gd name="connsiteX57" fmla="*/ 3571 w 10000"/>
              <a:gd name="connsiteY57" fmla="*/ 3150 h 10000"/>
              <a:gd name="connsiteX58" fmla="*/ 3499 w 10000"/>
              <a:gd name="connsiteY58" fmla="*/ 3307 h 10000"/>
              <a:gd name="connsiteX59" fmla="*/ 3778 w 10000"/>
              <a:gd name="connsiteY59" fmla="*/ 3701 h 10000"/>
              <a:gd name="connsiteX60" fmla="*/ 3633 w 10000"/>
              <a:gd name="connsiteY60" fmla="*/ 3780 h 10000"/>
              <a:gd name="connsiteX61" fmla="*/ 3571 w 10000"/>
              <a:gd name="connsiteY61" fmla="*/ 3701 h 10000"/>
              <a:gd name="connsiteX62" fmla="*/ 3150 w 10000"/>
              <a:gd name="connsiteY62" fmla="*/ 3859 h 10000"/>
              <a:gd name="connsiteX63" fmla="*/ 3081 w 10000"/>
              <a:gd name="connsiteY63" fmla="*/ 4016 h 10000"/>
              <a:gd name="connsiteX64" fmla="*/ 3010 w 10000"/>
              <a:gd name="connsiteY64" fmla="*/ 3859 h 10000"/>
              <a:gd name="connsiteX65" fmla="*/ 3010 w 10000"/>
              <a:gd name="connsiteY65" fmla="*/ 3701 h 10000"/>
              <a:gd name="connsiteX66" fmla="*/ 2304 w 10000"/>
              <a:gd name="connsiteY66" fmla="*/ 4173 h 10000"/>
              <a:gd name="connsiteX67" fmla="*/ 2304 w 10000"/>
              <a:gd name="connsiteY67" fmla="*/ 4330 h 10000"/>
              <a:gd name="connsiteX68" fmla="*/ 2168 w 10000"/>
              <a:gd name="connsiteY68" fmla="*/ 4409 h 10000"/>
              <a:gd name="connsiteX69" fmla="*/ 1959 w 10000"/>
              <a:gd name="connsiteY69" fmla="*/ 4252 h 10000"/>
              <a:gd name="connsiteX70" fmla="*/ 2168 w 10000"/>
              <a:gd name="connsiteY70" fmla="*/ 4094 h 10000"/>
              <a:gd name="connsiteX71" fmla="*/ 2095 w 10000"/>
              <a:gd name="connsiteY71" fmla="*/ 3859 h 10000"/>
              <a:gd name="connsiteX72" fmla="*/ 1818 w 10000"/>
              <a:gd name="connsiteY72" fmla="*/ 3780 h 10000"/>
              <a:gd name="connsiteX73" fmla="*/ 1889 w 10000"/>
              <a:gd name="connsiteY73" fmla="*/ 3937 h 10000"/>
              <a:gd name="connsiteX74" fmla="*/ 1889 w 10000"/>
              <a:gd name="connsiteY74" fmla="*/ 4330 h 10000"/>
              <a:gd name="connsiteX75" fmla="*/ 1959 w 10000"/>
              <a:gd name="connsiteY75" fmla="*/ 4489 h 10000"/>
              <a:gd name="connsiteX76" fmla="*/ 1889 w 10000"/>
              <a:gd name="connsiteY76" fmla="*/ 4646 h 10000"/>
              <a:gd name="connsiteX77" fmla="*/ 1674 w 10000"/>
              <a:gd name="connsiteY77" fmla="*/ 4568 h 10000"/>
              <a:gd name="connsiteX78" fmla="*/ 1400 w 10000"/>
              <a:gd name="connsiteY78" fmla="*/ 4803 h 10000"/>
              <a:gd name="connsiteX79" fmla="*/ 1535 w 10000"/>
              <a:gd name="connsiteY79" fmla="*/ 5118 h 10000"/>
              <a:gd name="connsiteX80" fmla="*/ 1116 w 10000"/>
              <a:gd name="connsiteY80" fmla="*/ 4961 h 10000"/>
              <a:gd name="connsiteX81" fmla="*/ 1049 w 10000"/>
              <a:gd name="connsiteY81" fmla="*/ 5039 h 10000"/>
              <a:gd name="connsiteX82" fmla="*/ 1191 w 10000"/>
              <a:gd name="connsiteY82" fmla="*/ 5276 h 10000"/>
              <a:gd name="connsiteX83" fmla="*/ 1049 w 10000"/>
              <a:gd name="connsiteY83" fmla="*/ 5276 h 10000"/>
              <a:gd name="connsiteX84" fmla="*/ 842 w 10000"/>
              <a:gd name="connsiteY84" fmla="*/ 5118 h 10000"/>
              <a:gd name="connsiteX85" fmla="*/ 842 w 10000"/>
              <a:gd name="connsiteY85" fmla="*/ 4646 h 10000"/>
              <a:gd name="connsiteX86" fmla="*/ 632 w 10000"/>
              <a:gd name="connsiteY86" fmla="*/ 4489 h 10000"/>
              <a:gd name="connsiteX87" fmla="*/ 558 w 10000"/>
              <a:gd name="connsiteY87" fmla="*/ 4330 h 10000"/>
              <a:gd name="connsiteX88" fmla="*/ 697 w 10000"/>
              <a:gd name="connsiteY88" fmla="*/ 4409 h 10000"/>
              <a:gd name="connsiteX89" fmla="*/ 1255 w 10000"/>
              <a:gd name="connsiteY89" fmla="*/ 4646 h 10000"/>
              <a:gd name="connsiteX90" fmla="*/ 1601 w 10000"/>
              <a:gd name="connsiteY90" fmla="*/ 4409 h 10000"/>
              <a:gd name="connsiteX91" fmla="*/ 1535 w 10000"/>
              <a:gd name="connsiteY91" fmla="*/ 4173 h 10000"/>
              <a:gd name="connsiteX92" fmla="*/ 1116 w 10000"/>
              <a:gd name="connsiteY92" fmla="*/ 3701 h 10000"/>
              <a:gd name="connsiteX93" fmla="*/ 697 w 10000"/>
              <a:gd name="connsiteY93" fmla="*/ 3544 h 10000"/>
              <a:gd name="connsiteX94" fmla="*/ 697 w 10000"/>
              <a:gd name="connsiteY94" fmla="*/ 3465 h 10000"/>
              <a:gd name="connsiteX95" fmla="*/ 558 w 10000"/>
              <a:gd name="connsiteY95" fmla="*/ 3385 h 10000"/>
              <a:gd name="connsiteX96" fmla="*/ 417 w 10000"/>
              <a:gd name="connsiteY96" fmla="*/ 3465 h 10000"/>
              <a:gd name="connsiteX97" fmla="*/ 417 w 10000"/>
              <a:gd name="connsiteY97" fmla="*/ 3544 h 10000"/>
              <a:gd name="connsiteX98" fmla="*/ 348 w 10000"/>
              <a:gd name="connsiteY98" fmla="*/ 3544 h 10000"/>
              <a:gd name="connsiteX99" fmla="*/ 210 w 10000"/>
              <a:gd name="connsiteY99" fmla="*/ 3701 h 10000"/>
              <a:gd name="connsiteX100" fmla="*/ 210 w 10000"/>
              <a:gd name="connsiteY100" fmla="*/ 3937 h 10000"/>
              <a:gd name="connsiteX101" fmla="*/ 348 w 10000"/>
              <a:gd name="connsiteY101" fmla="*/ 4094 h 10000"/>
              <a:gd name="connsiteX102" fmla="*/ 282 w 10000"/>
              <a:gd name="connsiteY102" fmla="*/ 4330 h 10000"/>
              <a:gd name="connsiteX103" fmla="*/ 348 w 10000"/>
              <a:gd name="connsiteY103" fmla="*/ 4725 h 10000"/>
              <a:gd name="connsiteX104" fmla="*/ 282 w 10000"/>
              <a:gd name="connsiteY104" fmla="*/ 4961 h 10000"/>
              <a:gd name="connsiteX105" fmla="*/ 417 w 10000"/>
              <a:gd name="connsiteY105" fmla="*/ 5197 h 10000"/>
              <a:gd name="connsiteX106" fmla="*/ 348 w 10000"/>
              <a:gd name="connsiteY106" fmla="*/ 5354 h 10000"/>
              <a:gd name="connsiteX107" fmla="*/ 487 w 10000"/>
              <a:gd name="connsiteY107" fmla="*/ 5512 h 10000"/>
              <a:gd name="connsiteX108" fmla="*/ 487 w 10000"/>
              <a:gd name="connsiteY108" fmla="*/ 5591 h 10000"/>
              <a:gd name="connsiteX109" fmla="*/ 282 w 10000"/>
              <a:gd name="connsiteY109" fmla="*/ 5985 h 10000"/>
              <a:gd name="connsiteX110" fmla="*/ 64 w 10000"/>
              <a:gd name="connsiteY110" fmla="*/ 6142 h 10000"/>
              <a:gd name="connsiteX111" fmla="*/ 138 w 10000"/>
              <a:gd name="connsiteY111" fmla="*/ 6142 h 10000"/>
              <a:gd name="connsiteX112" fmla="*/ 282 w 10000"/>
              <a:gd name="connsiteY112" fmla="*/ 6299 h 10000"/>
              <a:gd name="connsiteX113" fmla="*/ 138 w 10000"/>
              <a:gd name="connsiteY113" fmla="*/ 6457 h 10000"/>
              <a:gd name="connsiteX114" fmla="*/ 64 w 10000"/>
              <a:gd name="connsiteY114" fmla="*/ 6536 h 10000"/>
              <a:gd name="connsiteX115" fmla="*/ 0 w 10000"/>
              <a:gd name="connsiteY115" fmla="*/ 6536 h 10000"/>
              <a:gd name="connsiteX116" fmla="*/ 64 w 10000"/>
              <a:gd name="connsiteY116" fmla="*/ 6772 h 10000"/>
              <a:gd name="connsiteX117" fmla="*/ 64 w 10000"/>
              <a:gd name="connsiteY117" fmla="*/ 6851 h 10000"/>
              <a:gd name="connsiteX118" fmla="*/ 64 w 10000"/>
              <a:gd name="connsiteY118" fmla="*/ 6929 h 10000"/>
              <a:gd name="connsiteX119" fmla="*/ 64 w 10000"/>
              <a:gd name="connsiteY119" fmla="*/ 7008 h 10000"/>
              <a:gd name="connsiteX120" fmla="*/ 138 w 10000"/>
              <a:gd name="connsiteY120" fmla="*/ 7165 h 10000"/>
              <a:gd name="connsiteX121" fmla="*/ 348 w 10000"/>
              <a:gd name="connsiteY121" fmla="*/ 7244 h 10000"/>
              <a:gd name="connsiteX122" fmla="*/ 417 w 10000"/>
              <a:gd name="connsiteY122" fmla="*/ 7322 h 10000"/>
              <a:gd name="connsiteX123" fmla="*/ 417 w 10000"/>
              <a:gd name="connsiteY123" fmla="*/ 7481 h 10000"/>
              <a:gd name="connsiteX124" fmla="*/ 558 w 10000"/>
              <a:gd name="connsiteY124" fmla="*/ 7717 h 10000"/>
              <a:gd name="connsiteX125" fmla="*/ 632 w 10000"/>
              <a:gd name="connsiteY125" fmla="*/ 7717 h 10000"/>
              <a:gd name="connsiteX126" fmla="*/ 558 w 10000"/>
              <a:gd name="connsiteY126" fmla="*/ 7874 h 10000"/>
              <a:gd name="connsiteX127" fmla="*/ 487 w 10000"/>
              <a:gd name="connsiteY127" fmla="*/ 7796 h 10000"/>
              <a:gd name="connsiteX128" fmla="*/ 487 w 10000"/>
              <a:gd name="connsiteY128" fmla="*/ 7874 h 10000"/>
              <a:gd name="connsiteX129" fmla="*/ 558 w 10000"/>
              <a:gd name="connsiteY129" fmla="*/ 8031 h 10000"/>
              <a:gd name="connsiteX130" fmla="*/ 773 w 10000"/>
              <a:gd name="connsiteY130" fmla="*/ 8031 h 10000"/>
              <a:gd name="connsiteX131" fmla="*/ 842 w 10000"/>
              <a:gd name="connsiteY131" fmla="*/ 8111 h 10000"/>
              <a:gd name="connsiteX132" fmla="*/ 773 w 10000"/>
              <a:gd name="connsiteY132" fmla="*/ 8111 h 10000"/>
              <a:gd name="connsiteX133" fmla="*/ 842 w 10000"/>
              <a:gd name="connsiteY133" fmla="*/ 8189 h 10000"/>
              <a:gd name="connsiteX134" fmla="*/ 908 w 10000"/>
              <a:gd name="connsiteY134" fmla="*/ 8189 h 10000"/>
              <a:gd name="connsiteX135" fmla="*/ 976 w 10000"/>
              <a:gd name="connsiteY135" fmla="*/ 8346 h 10000"/>
              <a:gd name="connsiteX136" fmla="*/ 1049 w 10000"/>
              <a:gd name="connsiteY136" fmla="*/ 8425 h 10000"/>
              <a:gd name="connsiteX137" fmla="*/ 1116 w 10000"/>
              <a:gd name="connsiteY137" fmla="*/ 8346 h 10000"/>
              <a:gd name="connsiteX138" fmla="*/ 1469 w 10000"/>
              <a:gd name="connsiteY138" fmla="*/ 8583 h 10000"/>
              <a:gd name="connsiteX139" fmla="*/ 1400 w 10000"/>
              <a:gd name="connsiteY139" fmla="*/ 8898 h 10000"/>
              <a:gd name="connsiteX140" fmla="*/ 1329 w 10000"/>
              <a:gd name="connsiteY140" fmla="*/ 8820 h 10000"/>
              <a:gd name="connsiteX141" fmla="*/ 1255 w 10000"/>
              <a:gd name="connsiteY141" fmla="*/ 8898 h 10000"/>
              <a:gd name="connsiteX142" fmla="*/ 1255 w 10000"/>
              <a:gd name="connsiteY142" fmla="*/ 9055 h 10000"/>
              <a:gd name="connsiteX143" fmla="*/ 1329 w 10000"/>
              <a:gd name="connsiteY143" fmla="*/ 8977 h 10000"/>
              <a:gd name="connsiteX144" fmla="*/ 1400 w 10000"/>
              <a:gd name="connsiteY144" fmla="*/ 9055 h 10000"/>
              <a:gd name="connsiteX145" fmla="*/ 1191 w 10000"/>
              <a:gd name="connsiteY145" fmla="*/ 9134 h 10000"/>
              <a:gd name="connsiteX146" fmla="*/ 1255 w 10000"/>
              <a:gd name="connsiteY146" fmla="*/ 9213 h 10000"/>
              <a:gd name="connsiteX147" fmla="*/ 1116 w 10000"/>
              <a:gd name="connsiteY147" fmla="*/ 9370 h 10000"/>
              <a:gd name="connsiteX148" fmla="*/ 1049 w 10000"/>
              <a:gd name="connsiteY148" fmla="*/ 9370 h 10000"/>
              <a:gd name="connsiteX149" fmla="*/ 1116 w 10000"/>
              <a:gd name="connsiteY149" fmla="*/ 9370 h 10000"/>
              <a:gd name="connsiteX150" fmla="*/ 1400 w 10000"/>
              <a:gd name="connsiteY150" fmla="*/ 9686 h 10000"/>
              <a:gd name="connsiteX151" fmla="*/ 1749 w 10000"/>
              <a:gd name="connsiteY151" fmla="*/ 9686 h 10000"/>
              <a:gd name="connsiteX152" fmla="*/ 1889 w 10000"/>
              <a:gd name="connsiteY152" fmla="*/ 9764 h 10000"/>
              <a:gd name="connsiteX153" fmla="*/ 2028 w 10000"/>
              <a:gd name="connsiteY153" fmla="*/ 9764 h 10000"/>
              <a:gd name="connsiteX154" fmla="*/ 2168 w 10000"/>
              <a:gd name="connsiteY154" fmla="*/ 9922 h 10000"/>
              <a:gd name="connsiteX155" fmla="*/ 2238 w 10000"/>
              <a:gd name="connsiteY155" fmla="*/ 10000 h 10000"/>
              <a:gd name="connsiteX156" fmla="*/ 2304 w 10000"/>
              <a:gd name="connsiteY156" fmla="*/ 10000 h 10000"/>
              <a:gd name="connsiteX157" fmla="*/ 2378 w 10000"/>
              <a:gd name="connsiteY157" fmla="*/ 9922 h 10000"/>
              <a:gd name="connsiteX158" fmla="*/ 2238 w 10000"/>
              <a:gd name="connsiteY158" fmla="*/ 9764 h 10000"/>
              <a:gd name="connsiteX159" fmla="*/ 2238 w 10000"/>
              <a:gd name="connsiteY159" fmla="*/ 9607 h 10000"/>
              <a:gd name="connsiteX160" fmla="*/ 2168 w 10000"/>
              <a:gd name="connsiteY160" fmla="*/ 9448 h 10000"/>
              <a:gd name="connsiteX161" fmla="*/ 2304 w 10000"/>
              <a:gd name="connsiteY161" fmla="*/ 9213 h 10000"/>
              <a:gd name="connsiteX162" fmla="*/ 2378 w 10000"/>
              <a:gd name="connsiteY162" fmla="*/ 9291 h 10000"/>
              <a:gd name="connsiteX163" fmla="*/ 2447 w 10000"/>
              <a:gd name="connsiteY163" fmla="*/ 9213 h 10000"/>
              <a:gd name="connsiteX164" fmla="*/ 2447 w 10000"/>
              <a:gd name="connsiteY164" fmla="*/ 9134 h 10000"/>
              <a:gd name="connsiteX165" fmla="*/ 2378 w 10000"/>
              <a:gd name="connsiteY165" fmla="*/ 9134 h 10000"/>
              <a:gd name="connsiteX166" fmla="*/ 2447 w 10000"/>
              <a:gd name="connsiteY166" fmla="*/ 9055 h 10000"/>
              <a:gd name="connsiteX167" fmla="*/ 2378 w 10000"/>
              <a:gd name="connsiteY167" fmla="*/ 8898 h 10000"/>
              <a:gd name="connsiteX168" fmla="*/ 2238 w 10000"/>
              <a:gd name="connsiteY168" fmla="*/ 8898 h 10000"/>
              <a:gd name="connsiteX169" fmla="*/ 2168 w 10000"/>
              <a:gd name="connsiteY169" fmla="*/ 8740 h 10000"/>
              <a:gd name="connsiteX170" fmla="*/ 2238 w 10000"/>
              <a:gd name="connsiteY170" fmla="*/ 8346 h 10000"/>
              <a:gd name="connsiteX171" fmla="*/ 2378 w 10000"/>
              <a:gd name="connsiteY171" fmla="*/ 8505 h 10000"/>
              <a:gd name="connsiteX172" fmla="*/ 2447 w 10000"/>
              <a:gd name="connsiteY172" fmla="*/ 8505 h 10000"/>
              <a:gd name="connsiteX173" fmla="*/ 2378 w 10000"/>
              <a:gd name="connsiteY173" fmla="*/ 8346 h 10000"/>
              <a:gd name="connsiteX174" fmla="*/ 2589 w 10000"/>
              <a:gd name="connsiteY174" fmla="*/ 8111 h 10000"/>
              <a:gd name="connsiteX175" fmla="*/ 2730 w 10000"/>
              <a:gd name="connsiteY175" fmla="*/ 8189 h 10000"/>
              <a:gd name="connsiteX176" fmla="*/ 2798 w 10000"/>
              <a:gd name="connsiteY176" fmla="*/ 8111 h 10000"/>
              <a:gd name="connsiteX177" fmla="*/ 2933 w 10000"/>
              <a:gd name="connsiteY177" fmla="*/ 8189 h 10000"/>
              <a:gd name="connsiteX178" fmla="*/ 3150 w 10000"/>
              <a:gd name="connsiteY178" fmla="*/ 8346 h 10000"/>
              <a:gd name="connsiteX179" fmla="*/ 3285 w 10000"/>
              <a:gd name="connsiteY179" fmla="*/ 8268 h 10000"/>
              <a:gd name="connsiteX180" fmla="*/ 3427 w 10000"/>
              <a:gd name="connsiteY180" fmla="*/ 8268 h 10000"/>
              <a:gd name="connsiteX181" fmla="*/ 3499 w 10000"/>
              <a:gd name="connsiteY181" fmla="*/ 8346 h 10000"/>
              <a:gd name="connsiteX182" fmla="*/ 3778 w 10000"/>
              <a:gd name="connsiteY182" fmla="*/ 8346 h 10000"/>
              <a:gd name="connsiteX183" fmla="*/ 3844 w 10000"/>
              <a:gd name="connsiteY183" fmla="*/ 8189 h 10000"/>
              <a:gd name="connsiteX184" fmla="*/ 3633 w 10000"/>
              <a:gd name="connsiteY184" fmla="*/ 8111 h 10000"/>
              <a:gd name="connsiteX185" fmla="*/ 3778 w 10000"/>
              <a:gd name="connsiteY185" fmla="*/ 8031 h 10000"/>
              <a:gd name="connsiteX186" fmla="*/ 3703 w 10000"/>
              <a:gd name="connsiteY186" fmla="*/ 7953 h 10000"/>
              <a:gd name="connsiteX187" fmla="*/ 3778 w 10000"/>
              <a:gd name="connsiteY187" fmla="*/ 7874 h 10000"/>
              <a:gd name="connsiteX188" fmla="*/ 3778 w 10000"/>
              <a:gd name="connsiteY188" fmla="*/ 7638 h 10000"/>
              <a:gd name="connsiteX189" fmla="*/ 3913 w 10000"/>
              <a:gd name="connsiteY189" fmla="*/ 7717 h 10000"/>
              <a:gd name="connsiteX190" fmla="*/ 4545 w 10000"/>
              <a:gd name="connsiteY190" fmla="*/ 7481 h 10000"/>
              <a:gd name="connsiteX191" fmla="*/ 4545 w 10000"/>
              <a:gd name="connsiteY191" fmla="*/ 7402 h 10000"/>
              <a:gd name="connsiteX192" fmla="*/ 4617 w 10000"/>
              <a:gd name="connsiteY192" fmla="*/ 7402 h 10000"/>
              <a:gd name="connsiteX193" fmla="*/ 4820 w 10000"/>
              <a:gd name="connsiteY193" fmla="*/ 7402 h 10000"/>
              <a:gd name="connsiteX194" fmla="*/ 4898 w 10000"/>
              <a:gd name="connsiteY194" fmla="*/ 7560 h 10000"/>
              <a:gd name="connsiteX195" fmla="*/ 4898 w 10000"/>
              <a:gd name="connsiteY195" fmla="*/ 7638 h 10000"/>
              <a:gd name="connsiteX196" fmla="*/ 4963 w 10000"/>
              <a:gd name="connsiteY196" fmla="*/ 7638 h 10000"/>
              <a:gd name="connsiteX197" fmla="*/ 5103 w 10000"/>
              <a:gd name="connsiteY197" fmla="*/ 7717 h 10000"/>
              <a:gd name="connsiteX198" fmla="*/ 5103 w 10000"/>
              <a:gd name="connsiteY198" fmla="*/ 7796 h 10000"/>
              <a:gd name="connsiteX199" fmla="*/ 5243 w 10000"/>
              <a:gd name="connsiteY199" fmla="*/ 7796 h 10000"/>
              <a:gd name="connsiteX200" fmla="*/ 5383 w 10000"/>
              <a:gd name="connsiteY200" fmla="*/ 7638 h 10000"/>
              <a:gd name="connsiteX201" fmla="*/ 5523 w 10000"/>
              <a:gd name="connsiteY201" fmla="*/ 7560 h 10000"/>
              <a:gd name="connsiteX202" fmla="*/ 5603 w 10000"/>
              <a:gd name="connsiteY202" fmla="*/ 7796 h 10000"/>
              <a:gd name="connsiteX203" fmla="*/ 5875 w 10000"/>
              <a:gd name="connsiteY203" fmla="*/ 8346 h 10000"/>
              <a:gd name="connsiteX204" fmla="*/ 5947 w 10000"/>
              <a:gd name="connsiteY204" fmla="*/ 8189 h 10000"/>
              <a:gd name="connsiteX205" fmla="*/ 6016 w 10000"/>
              <a:gd name="connsiteY205" fmla="*/ 8346 h 10000"/>
              <a:gd name="connsiteX206" fmla="*/ 6226 w 10000"/>
              <a:gd name="connsiteY206" fmla="*/ 8268 h 10000"/>
              <a:gd name="connsiteX207" fmla="*/ 6437 w 10000"/>
              <a:gd name="connsiteY207" fmla="*/ 8505 h 10000"/>
              <a:gd name="connsiteX208" fmla="*/ 6572 w 10000"/>
              <a:gd name="connsiteY208" fmla="*/ 8583 h 10000"/>
              <a:gd name="connsiteX209" fmla="*/ 6572 w 10000"/>
              <a:gd name="connsiteY209" fmla="*/ 8505 h 10000"/>
              <a:gd name="connsiteX210" fmla="*/ 6647 w 10000"/>
              <a:gd name="connsiteY210" fmla="*/ 8662 h 10000"/>
              <a:gd name="connsiteX211" fmla="*/ 6572 w 10000"/>
              <a:gd name="connsiteY211" fmla="*/ 8740 h 10000"/>
              <a:gd name="connsiteX212" fmla="*/ 6716 w 10000"/>
              <a:gd name="connsiteY212" fmla="*/ 8662 h 10000"/>
              <a:gd name="connsiteX213" fmla="*/ 6783 w 10000"/>
              <a:gd name="connsiteY213" fmla="*/ 8583 h 10000"/>
              <a:gd name="connsiteX214" fmla="*/ 7130 w 10000"/>
              <a:gd name="connsiteY214" fmla="*/ 8346 h 10000"/>
              <a:gd name="connsiteX215" fmla="*/ 7413 w 10000"/>
              <a:gd name="connsiteY215" fmla="*/ 8425 h 10000"/>
              <a:gd name="connsiteX216" fmla="*/ 7550 w 10000"/>
              <a:gd name="connsiteY216" fmla="*/ 8505 h 10000"/>
              <a:gd name="connsiteX217" fmla="*/ 7830 w 10000"/>
              <a:gd name="connsiteY217" fmla="*/ 8505 h 10000"/>
              <a:gd name="connsiteX218" fmla="*/ 7830 w 10000"/>
              <a:gd name="connsiteY218" fmla="*/ 8346 h 10000"/>
              <a:gd name="connsiteX219" fmla="*/ 7830 w 10000"/>
              <a:gd name="connsiteY219" fmla="*/ 8189 h 10000"/>
              <a:gd name="connsiteX220" fmla="*/ 7971 w 10000"/>
              <a:gd name="connsiteY220" fmla="*/ 8111 h 10000"/>
              <a:gd name="connsiteX221" fmla="*/ 8247 w 10000"/>
              <a:gd name="connsiteY221" fmla="*/ 8189 h 10000"/>
              <a:gd name="connsiteX222" fmla="*/ 8392 w 10000"/>
              <a:gd name="connsiteY222" fmla="*/ 8425 h 10000"/>
              <a:gd name="connsiteX223" fmla="*/ 8462 w 10000"/>
              <a:gd name="connsiteY223" fmla="*/ 8425 h 10000"/>
              <a:gd name="connsiteX224" fmla="*/ 8602 w 10000"/>
              <a:gd name="connsiteY224" fmla="*/ 8346 h 10000"/>
              <a:gd name="connsiteX225" fmla="*/ 9026 w 10000"/>
              <a:gd name="connsiteY225" fmla="*/ 8583 h 10000"/>
              <a:gd name="connsiteX226" fmla="*/ 9231 w 10000"/>
              <a:gd name="connsiteY226" fmla="*/ 8662 h 10000"/>
              <a:gd name="connsiteX227" fmla="*/ 9510 w 10000"/>
              <a:gd name="connsiteY227" fmla="*/ 8583 h 10000"/>
              <a:gd name="connsiteX228" fmla="*/ 9652 w 10000"/>
              <a:gd name="connsiteY228" fmla="*/ 8425 h 10000"/>
              <a:gd name="connsiteX229" fmla="*/ 9860 w 10000"/>
              <a:gd name="connsiteY229" fmla="*/ 8505 h 10000"/>
              <a:gd name="connsiteX230" fmla="*/ 10000 w 10000"/>
              <a:gd name="connsiteY230" fmla="*/ 8583 h 10000"/>
              <a:gd name="connsiteX231" fmla="*/ 9580 w 10000"/>
              <a:gd name="connsiteY231" fmla="*/ 1969 h 10000"/>
              <a:gd name="connsiteX232" fmla="*/ 9173 w 10000"/>
              <a:gd name="connsiteY232" fmla="*/ 1733 h 10000"/>
              <a:gd name="connsiteX0" fmla="*/ 9173 w 10000"/>
              <a:gd name="connsiteY0" fmla="*/ 1733 h 10000"/>
              <a:gd name="connsiteX1" fmla="*/ 9173 w 10000"/>
              <a:gd name="connsiteY1" fmla="*/ 1733 h 10000"/>
              <a:gd name="connsiteX2" fmla="*/ 9092 w 10000"/>
              <a:gd name="connsiteY2" fmla="*/ 1811 h 10000"/>
              <a:gd name="connsiteX3" fmla="*/ 9173 w 10000"/>
              <a:gd name="connsiteY3" fmla="*/ 1969 h 10000"/>
              <a:gd name="connsiteX4" fmla="*/ 8881 w 10000"/>
              <a:gd name="connsiteY4" fmla="*/ 2126 h 10000"/>
              <a:gd name="connsiteX5" fmla="*/ 8809 w 10000"/>
              <a:gd name="connsiteY5" fmla="*/ 2126 h 10000"/>
              <a:gd name="connsiteX6" fmla="*/ 8881 w 10000"/>
              <a:gd name="connsiteY6" fmla="*/ 1890 h 10000"/>
              <a:gd name="connsiteX7" fmla="*/ 9580 w 10000"/>
              <a:gd name="connsiteY7" fmla="*/ 1181 h 10000"/>
              <a:gd name="connsiteX8" fmla="*/ 9580 w 10000"/>
              <a:gd name="connsiteY8" fmla="*/ 709 h 10000"/>
              <a:gd name="connsiteX9" fmla="*/ 9304 w 10000"/>
              <a:gd name="connsiteY9" fmla="*/ 394 h 10000"/>
              <a:gd name="connsiteX10" fmla="*/ 8952 w 10000"/>
              <a:gd name="connsiteY10" fmla="*/ 394 h 10000"/>
              <a:gd name="connsiteX11" fmla="*/ 8952 w 10000"/>
              <a:gd name="connsiteY11" fmla="*/ 552 h 10000"/>
              <a:gd name="connsiteX12" fmla="*/ 8738 w 10000"/>
              <a:gd name="connsiteY12" fmla="*/ 552 h 10000"/>
              <a:gd name="connsiteX13" fmla="*/ 8881 w 10000"/>
              <a:gd name="connsiteY13" fmla="*/ 236 h 10000"/>
              <a:gd name="connsiteX14" fmla="*/ 8738 w 10000"/>
              <a:gd name="connsiteY14" fmla="*/ 0 h 10000"/>
              <a:gd name="connsiteX15" fmla="*/ 8184 w 10000"/>
              <a:gd name="connsiteY15" fmla="*/ 552 h 10000"/>
              <a:gd name="connsiteX16" fmla="*/ 7971 w 10000"/>
              <a:gd name="connsiteY16" fmla="*/ 552 h 10000"/>
              <a:gd name="connsiteX17" fmla="*/ 7344 w 10000"/>
              <a:gd name="connsiteY17" fmla="*/ 709 h 10000"/>
              <a:gd name="connsiteX18" fmla="*/ 6783 w 10000"/>
              <a:gd name="connsiteY18" fmla="*/ 1102 h 10000"/>
              <a:gd name="connsiteX19" fmla="*/ 6572 w 10000"/>
              <a:gd name="connsiteY19" fmla="*/ 1418 h 10000"/>
              <a:gd name="connsiteX20" fmla="*/ 6647 w 10000"/>
              <a:gd name="connsiteY20" fmla="*/ 1811 h 10000"/>
              <a:gd name="connsiteX21" fmla="*/ 5875 w 10000"/>
              <a:gd name="connsiteY21" fmla="*/ 1969 h 10000"/>
              <a:gd name="connsiteX22" fmla="*/ 5947 w 10000"/>
              <a:gd name="connsiteY22" fmla="*/ 2442 h 10000"/>
              <a:gd name="connsiteX23" fmla="*/ 6155 w 10000"/>
              <a:gd name="connsiteY23" fmla="*/ 2678 h 10000"/>
              <a:gd name="connsiteX24" fmla="*/ 6016 w 10000"/>
              <a:gd name="connsiteY24" fmla="*/ 2756 h 10000"/>
              <a:gd name="connsiteX25" fmla="*/ 5808 w 10000"/>
              <a:gd name="connsiteY25" fmla="*/ 2442 h 10000"/>
              <a:gd name="connsiteX26" fmla="*/ 5603 w 10000"/>
              <a:gd name="connsiteY26" fmla="*/ 2362 h 10000"/>
              <a:gd name="connsiteX27" fmla="*/ 5523 w 10000"/>
              <a:gd name="connsiteY27" fmla="*/ 2442 h 10000"/>
              <a:gd name="connsiteX28" fmla="*/ 5383 w 10000"/>
              <a:gd name="connsiteY28" fmla="*/ 2283 h 10000"/>
              <a:gd name="connsiteX29" fmla="*/ 5243 w 10000"/>
              <a:gd name="connsiteY29" fmla="*/ 2126 h 10000"/>
              <a:gd name="connsiteX30" fmla="*/ 5243 w 10000"/>
              <a:gd name="connsiteY30" fmla="*/ 2204 h 10000"/>
              <a:gd name="connsiteX31" fmla="*/ 5321 w 10000"/>
              <a:gd name="connsiteY31" fmla="*/ 2442 h 10000"/>
              <a:gd name="connsiteX32" fmla="*/ 5103 w 10000"/>
              <a:gd name="connsiteY32" fmla="*/ 2835 h 10000"/>
              <a:gd name="connsiteX33" fmla="*/ 5243 w 10000"/>
              <a:gd name="connsiteY33" fmla="*/ 3150 h 10000"/>
              <a:gd name="connsiteX34" fmla="*/ 5173 w 10000"/>
              <a:gd name="connsiteY34" fmla="*/ 3465 h 10000"/>
              <a:gd name="connsiteX35" fmla="*/ 5173 w 10000"/>
              <a:gd name="connsiteY35" fmla="*/ 3701 h 10000"/>
              <a:gd name="connsiteX36" fmla="*/ 5383 w 10000"/>
              <a:gd name="connsiteY36" fmla="*/ 3701 h 10000"/>
              <a:gd name="connsiteX37" fmla="*/ 5243 w 10000"/>
              <a:gd name="connsiteY37" fmla="*/ 3780 h 10000"/>
              <a:gd name="connsiteX38" fmla="*/ 5321 w 10000"/>
              <a:gd name="connsiteY38" fmla="*/ 4173 h 10000"/>
              <a:gd name="connsiteX39" fmla="*/ 4898 w 10000"/>
              <a:gd name="connsiteY39" fmla="*/ 4568 h 10000"/>
              <a:gd name="connsiteX40" fmla="*/ 4820 w 10000"/>
              <a:gd name="connsiteY40" fmla="*/ 4489 h 10000"/>
              <a:gd name="connsiteX41" fmla="*/ 5103 w 10000"/>
              <a:gd name="connsiteY41" fmla="*/ 4094 h 10000"/>
              <a:gd name="connsiteX42" fmla="*/ 5173 w 10000"/>
              <a:gd name="connsiteY42" fmla="*/ 3859 h 10000"/>
              <a:gd name="connsiteX43" fmla="*/ 5026 w 10000"/>
              <a:gd name="connsiteY43" fmla="*/ 3701 h 10000"/>
              <a:gd name="connsiteX44" fmla="*/ 5026 w 10000"/>
              <a:gd name="connsiteY44" fmla="*/ 2913 h 10000"/>
              <a:gd name="connsiteX45" fmla="*/ 4963 w 10000"/>
              <a:gd name="connsiteY45" fmla="*/ 2756 h 10000"/>
              <a:gd name="connsiteX46" fmla="*/ 5026 w 10000"/>
              <a:gd name="connsiteY46" fmla="*/ 2283 h 10000"/>
              <a:gd name="connsiteX47" fmla="*/ 4898 w 10000"/>
              <a:gd name="connsiteY47" fmla="*/ 2204 h 10000"/>
              <a:gd name="connsiteX48" fmla="*/ 4963 w 10000"/>
              <a:gd name="connsiteY48" fmla="*/ 2126 h 10000"/>
              <a:gd name="connsiteX49" fmla="*/ 4898 w 10000"/>
              <a:gd name="connsiteY49" fmla="*/ 1969 h 10000"/>
              <a:gd name="connsiteX50" fmla="*/ 4752 w 10000"/>
              <a:gd name="connsiteY50" fmla="*/ 2047 h 10000"/>
              <a:gd name="connsiteX51" fmla="*/ 4407 w 10000"/>
              <a:gd name="connsiteY51" fmla="*/ 3071 h 10000"/>
              <a:gd name="connsiteX52" fmla="*/ 4407 w 10000"/>
              <a:gd name="connsiteY52" fmla="*/ 3465 h 10000"/>
              <a:gd name="connsiteX53" fmla="*/ 4617 w 10000"/>
              <a:gd name="connsiteY53" fmla="*/ 3780 h 10000"/>
              <a:gd name="connsiteX54" fmla="*/ 4617 w 10000"/>
              <a:gd name="connsiteY54" fmla="*/ 3937 h 10000"/>
              <a:gd name="connsiteX55" fmla="*/ 4407 w 10000"/>
              <a:gd name="connsiteY55" fmla="*/ 3780 h 10000"/>
              <a:gd name="connsiteX56" fmla="*/ 3571 w 10000"/>
              <a:gd name="connsiteY56" fmla="*/ 3150 h 10000"/>
              <a:gd name="connsiteX57" fmla="*/ 3499 w 10000"/>
              <a:gd name="connsiteY57" fmla="*/ 3307 h 10000"/>
              <a:gd name="connsiteX58" fmla="*/ 3778 w 10000"/>
              <a:gd name="connsiteY58" fmla="*/ 3701 h 10000"/>
              <a:gd name="connsiteX59" fmla="*/ 3633 w 10000"/>
              <a:gd name="connsiteY59" fmla="*/ 3780 h 10000"/>
              <a:gd name="connsiteX60" fmla="*/ 3571 w 10000"/>
              <a:gd name="connsiteY60" fmla="*/ 3701 h 10000"/>
              <a:gd name="connsiteX61" fmla="*/ 3150 w 10000"/>
              <a:gd name="connsiteY61" fmla="*/ 3859 h 10000"/>
              <a:gd name="connsiteX62" fmla="*/ 3081 w 10000"/>
              <a:gd name="connsiteY62" fmla="*/ 4016 h 10000"/>
              <a:gd name="connsiteX63" fmla="*/ 3010 w 10000"/>
              <a:gd name="connsiteY63" fmla="*/ 3859 h 10000"/>
              <a:gd name="connsiteX64" fmla="*/ 3010 w 10000"/>
              <a:gd name="connsiteY64" fmla="*/ 3701 h 10000"/>
              <a:gd name="connsiteX65" fmla="*/ 2304 w 10000"/>
              <a:gd name="connsiteY65" fmla="*/ 4173 h 10000"/>
              <a:gd name="connsiteX66" fmla="*/ 2304 w 10000"/>
              <a:gd name="connsiteY66" fmla="*/ 4330 h 10000"/>
              <a:gd name="connsiteX67" fmla="*/ 2168 w 10000"/>
              <a:gd name="connsiteY67" fmla="*/ 4409 h 10000"/>
              <a:gd name="connsiteX68" fmla="*/ 1959 w 10000"/>
              <a:gd name="connsiteY68" fmla="*/ 4252 h 10000"/>
              <a:gd name="connsiteX69" fmla="*/ 2168 w 10000"/>
              <a:gd name="connsiteY69" fmla="*/ 4094 h 10000"/>
              <a:gd name="connsiteX70" fmla="*/ 2095 w 10000"/>
              <a:gd name="connsiteY70" fmla="*/ 3859 h 10000"/>
              <a:gd name="connsiteX71" fmla="*/ 1818 w 10000"/>
              <a:gd name="connsiteY71" fmla="*/ 3780 h 10000"/>
              <a:gd name="connsiteX72" fmla="*/ 1889 w 10000"/>
              <a:gd name="connsiteY72" fmla="*/ 3937 h 10000"/>
              <a:gd name="connsiteX73" fmla="*/ 1889 w 10000"/>
              <a:gd name="connsiteY73" fmla="*/ 4330 h 10000"/>
              <a:gd name="connsiteX74" fmla="*/ 1959 w 10000"/>
              <a:gd name="connsiteY74" fmla="*/ 4489 h 10000"/>
              <a:gd name="connsiteX75" fmla="*/ 1889 w 10000"/>
              <a:gd name="connsiteY75" fmla="*/ 4646 h 10000"/>
              <a:gd name="connsiteX76" fmla="*/ 1674 w 10000"/>
              <a:gd name="connsiteY76" fmla="*/ 4568 h 10000"/>
              <a:gd name="connsiteX77" fmla="*/ 1400 w 10000"/>
              <a:gd name="connsiteY77" fmla="*/ 4803 h 10000"/>
              <a:gd name="connsiteX78" fmla="*/ 1535 w 10000"/>
              <a:gd name="connsiteY78" fmla="*/ 5118 h 10000"/>
              <a:gd name="connsiteX79" fmla="*/ 1116 w 10000"/>
              <a:gd name="connsiteY79" fmla="*/ 4961 h 10000"/>
              <a:gd name="connsiteX80" fmla="*/ 1049 w 10000"/>
              <a:gd name="connsiteY80" fmla="*/ 5039 h 10000"/>
              <a:gd name="connsiteX81" fmla="*/ 1191 w 10000"/>
              <a:gd name="connsiteY81" fmla="*/ 5276 h 10000"/>
              <a:gd name="connsiteX82" fmla="*/ 1049 w 10000"/>
              <a:gd name="connsiteY82" fmla="*/ 5276 h 10000"/>
              <a:gd name="connsiteX83" fmla="*/ 842 w 10000"/>
              <a:gd name="connsiteY83" fmla="*/ 5118 h 10000"/>
              <a:gd name="connsiteX84" fmla="*/ 842 w 10000"/>
              <a:gd name="connsiteY84" fmla="*/ 4646 h 10000"/>
              <a:gd name="connsiteX85" fmla="*/ 632 w 10000"/>
              <a:gd name="connsiteY85" fmla="*/ 4489 h 10000"/>
              <a:gd name="connsiteX86" fmla="*/ 558 w 10000"/>
              <a:gd name="connsiteY86" fmla="*/ 4330 h 10000"/>
              <a:gd name="connsiteX87" fmla="*/ 697 w 10000"/>
              <a:gd name="connsiteY87" fmla="*/ 4409 h 10000"/>
              <a:gd name="connsiteX88" fmla="*/ 1255 w 10000"/>
              <a:gd name="connsiteY88" fmla="*/ 4646 h 10000"/>
              <a:gd name="connsiteX89" fmla="*/ 1601 w 10000"/>
              <a:gd name="connsiteY89" fmla="*/ 4409 h 10000"/>
              <a:gd name="connsiteX90" fmla="*/ 1535 w 10000"/>
              <a:gd name="connsiteY90" fmla="*/ 4173 h 10000"/>
              <a:gd name="connsiteX91" fmla="*/ 1116 w 10000"/>
              <a:gd name="connsiteY91" fmla="*/ 3701 h 10000"/>
              <a:gd name="connsiteX92" fmla="*/ 697 w 10000"/>
              <a:gd name="connsiteY92" fmla="*/ 3544 h 10000"/>
              <a:gd name="connsiteX93" fmla="*/ 697 w 10000"/>
              <a:gd name="connsiteY93" fmla="*/ 3465 h 10000"/>
              <a:gd name="connsiteX94" fmla="*/ 558 w 10000"/>
              <a:gd name="connsiteY94" fmla="*/ 3385 h 10000"/>
              <a:gd name="connsiteX95" fmla="*/ 417 w 10000"/>
              <a:gd name="connsiteY95" fmla="*/ 3465 h 10000"/>
              <a:gd name="connsiteX96" fmla="*/ 417 w 10000"/>
              <a:gd name="connsiteY96" fmla="*/ 3544 h 10000"/>
              <a:gd name="connsiteX97" fmla="*/ 348 w 10000"/>
              <a:gd name="connsiteY97" fmla="*/ 3544 h 10000"/>
              <a:gd name="connsiteX98" fmla="*/ 210 w 10000"/>
              <a:gd name="connsiteY98" fmla="*/ 3701 h 10000"/>
              <a:gd name="connsiteX99" fmla="*/ 210 w 10000"/>
              <a:gd name="connsiteY99" fmla="*/ 3937 h 10000"/>
              <a:gd name="connsiteX100" fmla="*/ 348 w 10000"/>
              <a:gd name="connsiteY100" fmla="*/ 4094 h 10000"/>
              <a:gd name="connsiteX101" fmla="*/ 282 w 10000"/>
              <a:gd name="connsiteY101" fmla="*/ 4330 h 10000"/>
              <a:gd name="connsiteX102" fmla="*/ 348 w 10000"/>
              <a:gd name="connsiteY102" fmla="*/ 4725 h 10000"/>
              <a:gd name="connsiteX103" fmla="*/ 282 w 10000"/>
              <a:gd name="connsiteY103" fmla="*/ 4961 h 10000"/>
              <a:gd name="connsiteX104" fmla="*/ 417 w 10000"/>
              <a:gd name="connsiteY104" fmla="*/ 5197 h 10000"/>
              <a:gd name="connsiteX105" fmla="*/ 348 w 10000"/>
              <a:gd name="connsiteY105" fmla="*/ 5354 h 10000"/>
              <a:gd name="connsiteX106" fmla="*/ 487 w 10000"/>
              <a:gd name="connsiteY106" fmla="*/ 5512 h 10000"/>
              <a:gd name="connsiteX107" fmla="*/ 487 w 10000"/>
              <a:gd name="connsiteY107" fmla="*/ 5591 h 10000"/>
              <a:gd name="connsiteX108" fmla="*/ 282 w 10000"/>
              <a:gd name="connsiteY108" fmla="*/ 5985 h 10000"/>
              <a:gd name="connsiteX109" fmla="*/ 64 w 10000"/>
              <a:gd name="connsiteY109" fmla="*/ 6142 h 10000"/>
              <a:gd name="connsiteX110" fmla="*/ 138 w 10000"/>
              <a:gd name="connsiteY110" fmla="*/ 6142 h 10000"/>
              <a:gd name="connsiteX111" fmla="*/ 282 w 10000"/>
              <a:gd name="connsiteY111" fmla="*/ 6299 h 10000"/>
              <a:gd name="connsiteX112" fmla="*/ 138 w 10000"/>
              <a:gd name="connsiteY112" fmla="*/ 6457 h 10000"/>
              <a:gd name="connsiteX113" fmla="*/ 64 w 10000"/>
              <a:gd name="connsiteY113" fmla="*/ 6536 h 10000"/>
              <a:gd name="connsiteX114" fmla="*/ 0 w 10000"/>
              <a:gd name="connsiteY114" fmla="*/ 6536 h 10000"/>
              <a:gd name="connsiteX115" fmla="*/ 64 w 10000"/>
              <a:gd name="connsiteY115" fmla="*/ 6772 h 10000"/>
              <a:gd name="connsiteX116" fmla="*/ 64 w 10000"/>
              <a:gd name="connsiteY116" fmla="*/ 6851 h 10000"/>
              <a:gd name="connsiteX117" fmla="*/ 64 w 10000"/>
              <a:gd name="connsiteY117" fmla="*/ 6929 h 10000"/>
              <a:gd name="connsiteX118" fmla="*/ 64 w 10000"/>
              <a:gd name="connsiteY118" fmla="*/ 7008 h 10000"/>
              <a:gd name="connsiteX119" fmla="*/ 138 w 10000"/>
              <a:gd name="connsiteY119" fmla="*/ 7165 h 10000"/>
              <a:gd name="connsiteX120" fmla="*/ 348 w 10000"/>
              <a:gd name="connsiteY120" fmla="*/ 7244 h 10000"/>
              <a:gd name="connsiteX121" fmla="*/ 417 w 10000"/>
              <a:gd name="connsiteY121" fmla="*/ 7322 h 10000"/>
              <a:gd name="connsiteX122" fmla="*/ 417 w 10000"/>
              <a:gd name="connsiteY122" fmla="*/ 7481 h 10000"/>
              <a:gd name="connsiteX123" fmla="*/ 558 w 10000"/>
              <a:gd name="connsiteY123" fmla="*/ 7717 h 10000"/>
              <a:gd name="connsiteX124" fmla="*/ 632 w 10000"/>
              <a:gd name="connsiteY124" fmla="*/ 7717 h 10000"/>
              <a:gd name="connsiteX125" fmla="*/ 558 w 10000"/>
              <a:gd name="connsiteY125" fmla="*/ 7874 h 10000"/>
              <a:gd name="connsiteX126" fmla="*/ 487 w 10000"/>
              <a:gd name="connsiteY126" fmla="*/ 7796 h 10000"/>
              <a:gd name="connsiteX127" fmla="*/ 487 w 10000"/>
              <a:gd name="connsiteY127" fmla="*/ 7874 h 10000"/>
              <a:gd name="connsiteX128" fmla="*/ 558 w 10000"/>
              <a:gd name="connsiteY128" fmla="*/ 8031 h 10000"/>
              <a:gd name="connsiteX129" fmla="*/ 773 w 10000"/>
              <a:gd name="connsiteY129" fmla="*/ 8031 h 10000"/>
              <a:gd name="connsiteX130" fmla="*/ 842 w 10000"/>
              <a:gd name="connsiteY130" fmla="*/ 8111 h 10000"/>
              <a:gd name="connsiteX131" fmla="*/ 773 w 10000"/>
              <a:gd name="connsiteY131" fmla="*/ 8111 h 10000"/>
              <a:gd name="connsiteX132" fmla="*/ 842 w 10000"/>
              <a:gd name="connsiteY132" fmla="*/ 8189 h 10000"/>
              <a:gd name="connsiteX133" fmla="*/ 908 w 10000"/>
              <a:gd name="connsiteY133" fmla="*/ 8189 h 10000"/>
              <a:gd name="connsiteX134" fmla="*/ 976 w 10000"/>
              <a:gd name="connsiteY134" fmla="*/ 8346 h 10000"/>
              <a:gd name="connsiteX135" fmla="*/ 1049 w 10000"/>
              <a:gd name="connsiteY135" fmla="*/ 8425 h 10000"/>
              <a:gd name="connsiteX136" fmla="*/ 1116 w 10000"/>
              <a:gd name="connsiteY136" fmla="*/ 8346 h 10000"/>
              <a:gd name="connsiteX137" fmla="*/ 1469 w 10000"/>
              <a:gd name="connsiteY137" fmla="*/ 8583 h 10000"/>
              <a:gd name="connsiteX138" fmla="*/ 1400 w 10000"/>
              <a:gd name="connsiteY138" fmla="*/ 8898 h 10000"/>
              <a:gd name="connsiteX139" fmla="*/ 1329 w 10000"/>
              <a:gd name="connsiteY139" fmla="*/ 8820 h 10000"/>
              <a:gd name="connsiteX140" fmla="*/ 1255 w 10000"/>
              <a:gd name="connsiteY140" fmla="*/ 8898 h 10000"/>
              <a:gd name="connsiteX141" fmla="*/ 1255 w 10000"/>
              <a:gd name="connsiteY141" fmla="*/ 9055 h 10000"/>
              <a:gd name="connsiteX142" fmla="*/ 1329 w 10000"/>
              <a:gd name="connsiteY142" fmla="*/ 8977 h 10000"/>
              <a:gd name="connsiteX143" fmla="*/ 1400 w 10000"/>
              <a:gd name="connsiteY143" fmla="*/ 9055 h 10000"/>
              <a:gd name="connsiteX144" fmla="*/ 1191 w 10000"/>
              <a:gd name="connsiteY144" fmla="*/ 9134 h 10000"/>
              <a:gd name="connsiteX145" fmla="*/ 1255 w 10000"/>
              <a:gd name="connsiteY145" fmla="*/ 9213 h 10000"/>
              <a:gd name="connsiteX146" fmla="*/ 1116 w 10000"/>
              <a:gd name="connsiteY146" fmla="*/ 9370 h 10000"/>
              <a:gd name="connsiteX147" fmla="*/ 1049 w 10000"/>
              <a:gd name="connsiteY147" fmla="*/ 9370 h 10000"/>
              <a:gd name="connsiteX148" fmla="*/ 1116 w 10000"/>
              <a:gd name="connsiteY148" fmla="*/ 9370 h 10000"/>
              <a:gd name="connsiteX149" fmla="*/ 1400 w 10000"/>
              <a:gd name="connsiteY149" fmla="*/ 9686 h 10000"/>
              <a:gd name="connsiteX150" fmla="*/ 1749 w 10000"/>
              <a:gd name="connsiteY150" fmla="*/ 9686 h 10000"/>
              <a:gd name="connsiteX151" fmla="*/ 1889 w 10000"/>
              <a:gd name="connsiteY151" fmla="*/ 9764 h 10000"/>
              <a:gd name="connsiteX152" fmla="*/ 2028 w 10000"/>
              <a:gd name="connsiteY152" fmla="*/ 9764 h 10000"/>
              <a:gd name="connsiteX153" fmla="*/ 2168 w 10000"/>
              <a:gd name="connsiteY153" fmla="*/ 9922 h 10000"/>
              <a:gd name="connsiteX154" fmla="*/ 2238 w 10000"/>
              <a:gd name="connsiteY154" fmla="*/ 10000 h 10000"/>
              <a:gd name="connsiteX155" fmla="*/ 2304 w 10000"/>
              <a:gd name="connsiteY155" fmla="*/ 10000 h 10000"/>
              <a:gd name="connsiteX156" fmla="*/ 2378 w 10000"/>
              <a:gd name="connsiteY156" fmla="*/ 9922 h 10000"/>
              <a:gd name="connsiteX157" fmla="*/ 2238 w 10000"/>
              <a:gd name="connsiteY157" fmla="*/ 9764 h 10000"/>
              <a:gd name="connsiteX158" fmla="*/ 2238 w 10000"/>
              <a:gd name="connsiteY158" fmla="*/ 9607 h 10000"/>
              <a:gd name="connsiteX159" fmla="*/ 2168 w 10000"/>
              <a:gd name="connsiteY159" fmla="*/ 9448 h 10000"/>
              <a:gd name="connsiteX160" fmla="*/ 2304 w 10000"/>
              <a:gd name="connsiteY160" fmla="*/ 9213 h 10000"/>
              <a:gd name="connsiteX161" fmla="*/ 2378 w 10000"/>
              <a:gd name="connsiteY161" fmla="*/ 9291 h 10000"/>
              <a:gd name="connsiteX162" fmla="*/ 2447 w 10000"/>
              <a:gd name="connsiteY162" fmla="*/ 9213 h 10000"/>
              <a:gd name="connsiteX163" fmla="*/ 2447 w 10000"/>
              <a:gd name="connsiteY163" fmla="*/ 9134 h 10000"/>
              <a:gd name="connsiteX164" fmla="*/ 2378 w 10000"/>
              <a:gd name="connsiteY164" fmla="*/ 9134 h 10000"/>
              <a:gd name="connsiteX165" fmla="*/ 2447 w 10000"/>
              <a:gd name="connsiteY165" fmla="*/ 9055 h 10000"/>
              <a:gd name="connsiteX166" fmla="*/ 2378 w 10000"/>
              <a:gd name="connsiteY166" fmla="*/ 8898 h 10000"/>
              <a:gd name="connsiteX167" fmla="*/ 2238 w 10000"/>
              <a:gd name="connsiteY167" fmla="*/ 8898 h 10000"/>
              <a:gd name="connsiteX168" fmla="*/ 2168 w 10000"/>
              <a:gd name="connsiteY168" fmla="*/ 8740 h 10000"/>
              <a:gd name="connsiteX169" fmla="*/ 2238 w 10000"/>
              <a:gd name="connsiteY169" fmla="*/ 8346 h 10000"/>
              <a:gd name="connsiteX170" fmla="*/ 2378 w 10000"/>
              <a:gd name="connsiteY170" fmla="*/ 8505 h 10000"/>
              <a:gd name="connsiteX171" fmla="*/ 2447 w 10000"/>
              <a:gd name="connsiteY171" fmla="*/ 8505 h 10000"/>
              <a:gd name="connsiteX172" fmla="*/ 2378 w 10000"/>
              <a:gd name="connsiteY172" fmla="*/ 8346 h 10000"/>
              <a:gd name="connsiteX173" fmla="*/ 2589 w 10000"/>
              <a:gd name="connsiteY173" fmla="*/ 8111 h 10000"/>
              <a:gd name="connsiteX174" fmla="*/ 2730 w 10000"/>
              <a:gd name="connsiteY174" fmla="*/ 8189 h 10000"/>
              <a:gd name="connsiteX175" fmla="*/ 2798 w 10000"/>
              <a:gd name="connsiteY175" fmla="*/ 8111 h 10000"/>
              <a:gd name="connsiteX176" fmla="*/ 2933 w 10000"/>
              <a:gd name="connsiteY176" fmla="*/ 8189 h 10000"/>
              <a:gd name="connsiteX177" fmla="*/ 3150 w 10000"/>
              <a:gd name="connsiteY177" fmla="*/ 8346 h 10000"/>
              <a:gd name="connsiteX178" fmla="*/ 3285 w 10000"/>
              <a:gd name="connsiteY178" fmla="*/ 8268 h 10000"/>
              <a:gd name="connsiteX179" fmla="*/ 3427 w 10000"/>
              <a:gd name="connsiteY179" fmla="*/ 8268 h 10000"/>
              <a:gd name="connsiteX180" fmla="*/ 3499 w 10000"/>
              <a:gd name="connsiteY180" fmla="*/ 8346 h 10000"/>
              <a:gd name="connsiteX181" fmla="*/ 3778 w 10000"/>
              <a:gd name="connsiteY181" fmla="*/ 8346 h 10000"/>
              <a:gd name="connsiteX182" fmla="*/ 3844 w 10000"/>
              <a:gd name="connsiteY182" fmla="*/ 8189 h 10000"/>
              <a:gd name="connsiteX183" fmla="*/ 3633 w 10000"/>
              <a:gd name="connsiteY183" fmla="*/ 8111 h 10000"/>
              <a:gd name="connsiteX184" fmla="*/ 3778 w 10000"/>
              <a:gd name="connsiteY184" fmla="*/ 8031 h 10000"/>
              <a:gd name="connsiteX185" fmla="*/ 3703 w 10000"/>
              <a:gd name="connsiteY185" fmla="*/ 7953 h 10000"/>
              <a:gd name="connsiteX186" fmla="*/ 3778 w 10000"/>
              <a:gd name="connsiteY186" fmla="*/ 7874 h 10000"/>
              <a:gd name="connsiteX187" fmla="*/ 3778 w 10000"/>
              <a:gd name="connsiteY187" fmla="*/ 7638 h 10000"/>
              <a:gd name="connsiteX188" fmla="*/ 3913 w 10000"/>
              <a:gd name="connsiteY188" fmla="*/ 7717 h 10000"/>
              <a:gd name="connsiteX189" fmla="*/ 4545 w 10000"/>
              <a:gd name="connsiteY189" fmla="*/ 7481 h 10000"/>
              <a:gd name="connsiteX190" fmla="*/ 4545 w 10000"/>
              <a:gd name="connsiteY190" fmla="*/ 7402 h 10000"/>
              <a:gd name="connsiteX191" fmla="*/ 4617 w 10000"/>
              <a:gd name="connsiteY191" fmla="*/ 7402 h 10000"/>
              <a:gd name="connsiteX192" fmla="*/ 4820 w 10000"/>
              <a:gd name="connsiteY192" fmla="*/ 7402 h 10000"/>
              <a:gd name="connsiteX193" fmla="*/ 4898 w 10000"/>
              <a:gd name="connsiteY193" fmla="*/ 7560 h 10000"/>
              <a:gd name="connsiteX194" fmla="*/ 4898 w 10000"/>
              <a:gd name="connsiteY194" fmla="*/ 7638 h 10000"/>
              <a:gd name="connsiteX195" fmla="*/ 4963 w 10000"/>
              <a:gd name="connsiteY195" fmla="*/ 7638 h 10000"/>
              <a:gd name="connsiteX196" fmla="*/ 5103 w 10000"/>
              <a:gd name="connsiteY196" fmla="*/ 7717 h 10000"/>
              <a:gd name="connsiteX197" fmla="*/ 5103 w 10000"/>
              <a:gd name="connsiteY197" fmla="*/ 7796 h 10000"/>
              <a:gd name="connsiteX198" fmla="*/ 5243 w 10000"/>
              <a:gd name="connsiteY198" fmla="*/ 7796 h 10000"/>
              <a:gd name="connsiteX199" fmla="*/ 5383 w 10000"/>
              <a:gd name="connsiteY199" fmla="*/ 7638 h 10000"/>
              <a:gd name="connsiteX200" fmla="*/ 5523 w 10000"/>
              <a:gd name="connsiteY200" fmla="*/ 7560 h 10000"/>
              <a:gd name="connsiteX201" fmla="*/ 5603 w 10000"/>
              <a:gd name="connsiteY201" fmla="*/ 7796 h 10000"/>
              <a:gd name="connsiteX202" fmla="*/ 5875 w 10000"/>
              <a:gd name="connsiteY202" fmla="*/ 8346 h 10000"/>
              <a:gd name="connsiteX203" fmla="*/ 5947 w 10000"/>
              <a:gd name="connsiteY203" fmla="*/ 8189 h 10000"/>
              <a:gd name="connsiteX204" fmla="*/ 6016 w 10000"/>
              <a:gd name="connsiteY204" fmla="*/ 8346 h 10000"/>
              <a:gd name="connsiteX205" fmla="*/ 6226 w 10000"/>
              <a:gd name="connsiteY205" fmla="*/ 8268 h 10000"/>
              <a:gd name="connsiteX206" fmla="*/ 6437 w 10000"/>
              <a:gd name="connsiteY206" fmla="*/ 8505 h 10000"/>
              <a:gd name="connsiteX207" fmla="*/ 6572 w 10000"/>
              <a:gd name="connsiteY207" fmla="*/ 8583 h 10000"/>
              <a:gd name="connsiteX208" fmla="*/ 6572 w 10000"/>
              <a:gd name="connsiteY208" fmla="*/ 8505 h 10000"/>
              <a:gd name="connsiteX209" fmla="*/ 6647 w 10000"/>
              <a:gd name="connsiteY209" fmla="*/ 8662 h 10000"/>
              <a:gd name="connsiteX210" fmla="*/ 6572 w 10000"/>
              <a:gd name="connsiteY210" fmla="*/ 8740 h 10000"/>
              <a:gd name="connsiteX211" fmla="*/ 6716 w 10000"/>
              <a:gd name="connsiteY211" fmla="*/ 8662 h 10000"/>
              <a:gd name="connsiteX212" fmla="*/ 6783 w 10000"/>
              <a:gd name="connsiteY212" fmla="*/ 8583 h 10000"/>
              <a:gd name="connsiteX213" fmla="*/ 7130 w 10000"/>
              <a:gd name="connsiteY213" fmla="*/ 8346 h 10000"/>
              <a:gd name="connsiteX214" fmla="*/ 7413 w 10000"/>
              <a:gd name="connsiteY214" fmla="*/ 8425 h 10000"/>
              <a:gd name="connsiteX215" fmla="*/ 7550 w 10000"/>
              <a:gd name="connsiteY215" fmla="*/ 8505 h 10000"/>
              <a:gd name="connsiteX216" fmla="*/ 7830 w 10000"/>
              <a:gd name="connsiteY216" fmla="*/ 8505 h 10000"/>
              <a:gd name="connsiteX217" fmla="*/ 7830 w 10000"/>
              <a:gd name="connsiteY217" fmla="*/ 8346 h 10000"/>
              <a:gd name="connsiteX218" fmla="*/ 7830 w 10000"/>
              <a:gd name="connsiteY218" fmla="*/ 8189 h 10000"/>
              <a:gd name="connsiteX219" fmla="*/ 7971 w 10000"/>
              <a:gd name="connsiteY219" fmla="*/ 8111 h 10000"/>
              <a:gd name="connsiteX220" fmla="*/ 8247 w 10000"/>
              <a:gd name="connsiteY220" fmla="*/ 8189 h 10000"/>
              <a:gd name="connsiteX221" fmla="*/ 8392 w 10000"/>
              <a:gd name="connsiteY221" fmla="*/ 8425 h 10000"/>
              <a:gd name="connsiteX222" fmla="*/ 8462 w 10000"/>
              <a:gd name="connsiteY222" fmla="*/ 8425 h 10000"/>
              <a:gd name="connsiteX223" fmla="*/ 8602 w 10000"/>
              <a:gd name="connsiteY223" fmla="*/ 8346 h 10000"/>
              <a:gd name="connsiteX224" fmla="*/ 9026 w 10000"/>
              <a:gd name="connsiteY224" fmla="*/ 8583 h 10000"/>
              <a:gd name="connsiteX225" fmla="*/ 9231 w 10000"/>
              <a:gd name="connsiteY225" fmla="*/ 8662 h 10000"/>
              <a:gd name="connsiteX226" fmla="*/ 9510 w 10000"/>
              <a:gd name="connsiteY226" fmla="*/ 8583 h 10000"/>
              <a:gd name="connsiteX227" fmla="*/ 9652 w 10000"/>
              <a:gd name="connsiteY227" fmla="*/ 8425 h 10000"/>
              <a:gd name="connsiteX228" fmla="*/ 9860 w 10000"/>
              <a:gd name="connsiteY228" fmla="*/ 8505 h 10000"/>
              <a:gd name="connsiteX229" fmla="*/ 10000 w 10000"/>
              <a:gd name="connsiteY229" fmla="*/ 8583 h 10000"/>
              <a:gd name="connsiteX230" fmla="*/ 9580 w 10000"/>
              <a:gd name="connsiteY230" fmla="*/ 1969 h 10000"/>
              <a:gd name="connsiteX231" fmla="*/ 9173 w 10000"/>
              <a:gd name="connsiteY231" fmla="*/ 1733 h 10000"/>
              <a:gd name="connsiteX0" fmla="*/ 9173 w 10000"/>
              <a:gd name="connsiteY0" fmla="*/ 1497 h 9764"/>
              <a:gd name="connsiteX1" fmla="*/ 9173 w 10000"/>
              <a:gd name="connsiteY1" fmla="*/ 1497 h 9764"/>
              <a:gd name="connsiteX2" fmla="*/ 9092 w 10000"/>
              <a:gd name="connsiteY2" fmla="*/ 1575 h 9764"/>
              <a:gd name="connsiteX3" fmla="*/ 9173 w 10000"/>
              <a:gd name="connsiteY3" fmla="*/ 1733 h 9764"/>
              <a:gd name="connsiteX4" fmla="*/ 8881 w 10000"/>
              <a:gd name="connsiteY4" fmla="*/ 1890 h 9764"/>
              <a:gd name="connsiteX5" fmla="*/ 8809 w 10000"/>
              <a:gd name="connsiteY5" fmla="*/ 1890 h 9764"/>
              <a:gd name="connsiteX6" fmla="*/ 8881 w 10000"/>
              <a:gd name="connsiteY6" fmla="*/ 1654 h 9764"/>
              <a:gd name="connsiteX7" fmla="*/ 9580 w 10000"/>
              <a:gd name="connsiteY7" fmla="*/ 945 h 9764"/>
              <a:gd name="connsiteX8" fmla="*/ 9580 w 10000"/>
              <a:gd name="connsiteY8" fmla="*/ 473 h 9764"/>
              <a:gd name="connsiteX9" fmla="*/ 9304 w 10000"/>
              <a:gd name="connsiteY9" fmla="*/ 158 h 9764"/>
              <a:gd name="connsiteX10" fmla="*/ 8952 w 10000"/>
              <a:gd name="connsiteY10" fmla="*/ 158 h 9764"/>
              <a:gd name="connsiteX11" fmla="*/ 8952 w 10000"/>
              <a:gd name="connsiteY11" fmla="*/ 316 h 9764"/>
              <a:gd name="connsiteX12" fmla="*/ 8738 w 10000"/>
              <a:gd name="connsiteY12" fmla="*/ 316 h 9764"/>
              <a:gd name="connsiteX13" fmla="*/ 8881 w 10000"/>
              <a:gd name="connsiteY13" fmla="*/ 0 h 9764"/>
              <a:gd name="connsiteX14" fmla="*/ 8184 w 10000"/>
              <a:gd name="connsiteY14" fmla="*/ 316 h 9764"/>
              <a:gd name="connsiteX15" fmla="*/ 7971 w 10000"/>
              <a:gd name="connsiteY15" fmla="*/ 316 h 9764"/>
              <a:gd name="connsiteX16" fmla="*/ 7344 w 10000"/>
              <a:gd name="connsiteY16" fmla="*/ 473 h 9764"/>
              <a:gd name="connsiteX17" fmla="*/ 6783 w 10000"/>
              <a:gd name="connsiteY17" fmla="*/ 866 h 9764"/>
              <a:gd name="connsiteX18" fmla="*/ 6572 w 10000"/>
              <a:gd name="connsiteY18" fmla="*/ 1182 h 9764"/>
              <a:gd name="connsiteX19" fmla="*/ 6647 w 10000"/>
              <a:gd name="connsiteY19" fmla="*/ 1575 h 9764"/>
              <a:gd name="connsiteX20" fmla="*/ 5875 w 10000"/>
              <a:gd name="connsiteY20" fmla="*/ 1733 h 9764"/>
              <a:gd name="connsiteX21" fmla="*/ 5947 w 10000"/>
              <a:gd name="connsiteY21" fmla="*/ 2206 h 9764"/>
              <a:gd name="connsiteX22" fmla="*/ 6155 w 10000"/>
              <a:gd name="connsiteY22" fmla="*/ 2442 h 9764"/>
              <a:gd name="connsiteX23" fmla="*/ 6016 w 10000"/>
              <a:gd name="connsiteY23" fmla="*/ 2520 h 9764"/>
              <a:gd name="connsiteX24" fmla="*/ 5808 w 10000"/>
              <a:gd name="connsiteY24" fmla="*/ 2206 h 9764"/>
              <a:gd name="connsiteX25" fmla="*/ 5603 w 10000"/>
              <a:gd name="connsiteY25" fmla="*/ 2126 h 9764"/>
              <a:gd name="connsiteX26" fmla="*/ 5523 w 10000"/>
              <a:gd name="connsiteY26" fmla="*/ 2206 h 9764"/>
              <a:gd name="connsiteX27" fmla="*/ 5383 w 10000"/>
              <a:gd name="connsiteY27" fmla="*/ 2047 h 9764"/>
              <a:gd name="connsiteX28" fmla="*/ 5243 w 10000"/>
              <a:gd name="connsiteY28" fmla="*/ 1890 h 9764"/>
              <a:gd name="connsiteX29" fmla="*/ 5243 w 10000"/>
              <a:gd name="connsiteY29" fmla="*/ 1968 h 9764"/>
              <a:gd name="connsiteX30" fmla="*/ 5321 w 10000"/>
              <a:gd name="connsiteY30" fmla="*/ 2206 h 9764"/>
              <a:gd name="connsiteX31" fmla="*/ 5103 w 10000"/>
              <a:gd name="connsiteY31" fmla="*/ 2599 h 9764"/>
              <a:gd name="connsiteX32" fmla="*/ 5243 w 10000"/>
              <a:gd name="connsiteY32" fmla="*/ 2914 h 9764"/>
              <a:gd name="connsiteX33" fmla="*/ 5173 w 10000"/>
              <a:gd name="connsiteY33" fmla="*/ 3229 h 9764"/>
              <a:gd name="connsiteX34" fmla="*/ 5173 w 10000"/>
              <a:gd name="connsiteY34" fmla="*/ 3465 h 9764"/>
              <a:gd name="connsiteX35" fmla="*/ 5383 w 10000"/>
              <a:gd name="connsiteY35" fmla="*/ 3465 h 9764"/>
              <a:gd name="connsiteX36" fmla="*/ 5243 w 10000"/>
              <a:gd name="connsiteY36" fmla="*/ 3544 h 9764"/>
              <a:gd name="connsiteX37" fmla="*/ 5321 w 10000"/>
              <a:gd name="connsiteY37" fmla="*/ 3937 h 9764"/>
              <a:gd name="connsiteX38" fmla="*/ 4898 w 10000"/>
              <a:gd name="connsiteY38" fmla="*/ 4332 h 9764"/>
              <a:gd name="connsiteX39" fmla="*/ 4820 w 10000"/>
              <a:gd name="connsiteY39" fmla="*/ 4253 h 9764"/>
              <a:gd name="connsiteX40" fmla="*/ 5103 w 10000"/>
              <a:gd name="connsiteY40" fmla="*/ 3858 h 9764"/>
              <a:gd name="connsiteX41" fmla="*/ 5173 w 10000"/>
              <a:gd name="connsiteY41" fmla="*/ 3623 h 9764"/>
              <a:gd name="connsiteX42" fmla="*/ 5026 w 10000"/>
              <a:gd name="connsiteY42" fmla="*/ 3465 h 9764"/>
              <a:gd name="connsiteX43" fmla="*/ 5026 w 10000"/>
              <a:gd name="connsiteY43" fmla="*/ 2677 h 9764"/>
              <a:gd name="connsiteX44" fmla="*/ 4963 w 10000"/>
              <a:gd name="connsiteY44" fmla="*/ 2520 h 9764"/>
              <a:gd name="connsiteX45" fmla="*/ 5026 w 10000"/>
              <a:gd name="connsiteY45" fmla="*/ 2047 h 9764"/>
              <a:gd name="connsiteX46" fmla="*/ 4898 w 10000"/>
              <a:gd name="connsiteY46" fmla="*/ 1968 h 9764"/>
              <a:gd name="connsiteX47" fmla="*/ 4963 w 10000"/>
              <a:gd name="connsiteY47" fmla="*/ 1890 h 9764"/>
              <a:gd name="connsiteX48" fmla="*/ 4898 w 10000"/>
              <a:gd name="connsiteY48" fmla="*/ 1733 h 9764"/>
              <a:gd name="connsiteX49" fmla="*/ 4752 w 10000"/>
              <a:gd name="connsiteY49" fmla="*/ 1811 h 9764"/>
              <a:gd name="connsiteX50" fmla="*/ 4407 w 10000"/>
              <a:gd name="connsiteY50" fmla="*/ 2835 h 9764"/>
              <a:gd name="connsiteX51" fmla="*/ 4407 w 10000"/>
              <a:gd name="connsiteY51" fmla="*/ 3229 h 9764"/>
              <a:gd name="connsiteX52" fmla="*/ 4617 w 10000"/>
              <a:gd name="connsiteY52" fmla="*/ 3544 h 9764"/>
              <a:gd name="connsiteX53" fmla="*/ 4617 w 10000"/>
              <a:gd name="connsiteY53" fmla="*/ 3701 h 9764"/>
              <a:gd name="connsiteX54" fmla="*/ 4407 w 10000"/>
              <a:gd name="connsiteY54" fmla="*/ 3544 h 9764"/>
              <a:gd name="connsiteX55" fmla="*/ 3571 w 10000"/>
              <a:gd name="connsiteY55" fmla="*/ 2914 h 9764"/>
              <a:gd name="connsiteX56" fmla="*/ 3499 w 10000"/>
              <a:gd name="connsiteY56" fmla="*/ 3071 h 9764"/>
              <a:gd name="connsiteX57" fmla="*/ 3778 w 10000"/>
              <a:gd name="connsiteY57" fmla="*/ 3465 h 9764"/>
              <a:gd name="connsiteX58" fmla="*/ 3633 w 10000"/>
              <a:gd name="connsiteY58" fmla="*/ 3544 h 9764"/>
              <a:gd name="connsiteX59" fmla="*/ 3571 w 10000"/>
              <a:gd name="connsiteY59" fmla="*/ 3465 h 9764"/>
              <a:gd name="connsiteX60" fmla="*/ 3150 w 10000"/>
              <a:gd name="connsiteY60" fmla="*/ 3623 h 9764"/>
              <a:gd name="connsiteX61" fmla="*/ 3081 w 10000"/>
              <a:gd name="connsiteY61" fmla="*/ 3780 h 9764"/>
              <a:gd name="connsiteX62" fmla="*/ 3010 w 10000"/>
              <a:gd name="connsiteY62" fmla="*/ 3623 h 9764"/>
              <a:gd name="connsiteX63" fmla="*/ 3010 w 10000"/>
              <a:gd name="connsiteY63" fmla="*/ 3465 h 9764"/>
              <a:gd name="connsiteX64" fmla="*/ 2304 w 10000"/>
              <a:gd name="connsiteY64" fmla="*/ 3937 h 9764"/>
              <a:gd name="connsiteX65" fmla="*/ 2304 w 10000"/>
              <a:gd name="connsiteY65" fmla="*/ 4094 h 9764"/>
              <a:gd name="connsiteX66" fmla="*/ 2168 w 10000"/>
              <a:gd name="connsiteY66" fmla="*/ 4173 h 9764"/>
              <a:gd name="connsiteX67" fmla="*/ 1959 w 10000"/>
              <a:gd name="connsiteY67" fmla="*/ 4016 h 9764"/>
              <a:gd name="connsiteX68" fmla="*/ 2168 w 10000"/>
              <a:gd name="connsiteY68" fmla="*/ 3858 h 9764"/>
              <a:gd name="connsiteX69" fmla="*/ 2095 w 10000"/>
              <a:gd name="connsiteY69" fmla="*/ 3623 h 9764"/>
              <a:gd name="connsiteX70" fmla="*/ 1818 w 10000"/>
              <a:gd name="connsiteY70" fmla="*/ 3544 h 9764"/>
              <a:gd name="connsiteX71" fmla="*/ 1889 w 10000"/>
              <a:gd name="connsiteY71" fmla="*/ 3701 h 9764"/>
              <a:gd name="connsiteX72" fmla="*/ 1889 w 10000"/>
              <a:gd name="connsiteY72" fmla="*/ 4094 h 9764"/>
              <a:gd name="connsiteX73" fmla="*/ 1959 w 10000"/>
              <a:gd name="connsiteY73" fmla="*/ 4253 h 9764"/>
              <a:gd name="connsiteX74" fmla="*/ 1889 w 10000"/>
              <a:gd name="connsiteY74" fmla="*/ 4410 h 9764"/>
              <a:gd name="connsiteX75" fmla="*/ 1674 w 10000"/>
              <a:gd name="connsiteY75" fmla="*/ 4332 h 9764"/>
              <a:gd name="connsiteX76" fmla="*/ 1400 w 10000"/>
              <a:gd name="connsiteY76" fmla="*/ 4567 h 9764"/>
              <a:gd name="connsiteX77" fmla="*/ 1535 w 10000"/>
              <a:gd name="connsiteY77" fmla="*/ 4882 h 9764"/>
              <a:gd name="connsiteX78" fmla="*/ 1116 w 10000"/>
              <a:gd name="connsiteY78" fmla="*/ 4725 h 9764"/>
              <a:gd name="connsiteX79" fmla="*/ 1049 w 10000"/>
              <a:gd name="connsiteY79" fmla="*/ 4803 h 9764"/>
              <a:gd name="connsiteX80" fmla="*/ 1191 w 10000"/>
              <a:gd name="connsiteY80" fmla="*/ 5040 h 9764"/>
              <a:gd name="connsiteX81" fmla="*/ 1049 w 10000"/>
              <a:gd name="connsiteY81" fmla="*/ 5040 h 9764"/>
              <a:gd name="connsiteX82" fmla="*/ 842 w 10000"/>
              <a:gd name="connsiteY82" fmla="*/ 4882 h 9764"/>
              <a:gd name="connsiteX83" fmla="*/ 842 w 10000"/>
              <a:gd name="connsiteY83" fmla="*/ 4410 h 9764"/>
              <a:gd name="connsiteX84" fmla="*/ 632 w 10000"/>
              <a:gd name="connsiteY84" fmla="*/ 4253 h 9764"/>
              <a:gd name="connsiteX85" fmla="*/ 558 w 10000"/>
              <a:gd name="connsiteY85" fmla="*/ 4094 h 9764"/>
              <a:gd name="connsiteX86" fmla="*/ 697 w 10000"/>
              <a:gd name="connsiteY86" fmla="*/ 4173 h 9764"/>
              <a:gd name="connsiteX87" fmla="*/ 1255 w 10000"/>
              <a:gd name="connsiteY87" fmla="*/ 4410 h 9764"/>
              <a:gd name="connsiteX88" fmla="*/ 1601 w 10000"/>
              <a:gd name="connsiteY88" fmla="*/ 4173 h 9764"/>
              <a:gd name="connsiteX89" fmla="*/ 1535 w 10000"/>
              <a:gd name="connsiteY89" fmla="*/ 3937 h 9764"/>
              <a:gd name="connsiteX90" fmla="*/ 1116 w 10000"/>
              <a:gd name="connsiteY90" fmla="*/ 3465 h 9764"/>
              <a:gd name="connsiteX91" fmla="*/ 697 w 10000"/>
              <a:gd name="connsiteY91" fmla="*/ 3308 h 9764"/>
              <a:gd name="connsiteX92" fmla="*/ 697 w 10000"/>
              <a:gd name="connsiteY92" fmla="*/ 3229 h 9764"/>
              <a:gd name="connsiteX93" fmla="*/ 558 w 10000"/>
              <a:gd name="connsiteY93" fmla="*/ 3149 h 9764"/>
              <a:gd name="connsiteX94" fmla="*/ 417 w 10000"/>
              <a:gd name="connsiteY94" fmla="*/ 3229 h 9764"/>
              <a:gd name="connsiteX95" fmla="*/ 417 w 10000"/>
              <a:gd name="connsiteY95" fmla="*/ 3308 h 9764"/>
              <a:gd name="connsiteX96" fmla="*/ 348 w 10000"/>
              <a:gd name="connsiteY96" fmla="*/ 3308 h 9764"/>
              <a:gd name="connsiteX97" fmla="*/ 210 w 10000"/>
              <a:gd name="connsiteY97" fmla="*/ 3465 h 9764"/>
              <a:gd name="connsiteX98" fmla="*/ 210 w 10000"/>
              <a:gd name="connsiteY98" fmla="*/ 3701 h 9764"/>
              <a:gd name="connsiteX99" fmla="*/ 348 w 10000"/>
              <a:gd name="connsiteY99" fmla="*/ 3858 h 9764"/>
              <a:gd name="connsiteX100" fmla="*/ 282 w 10000"/>
              <a:gd name="connsiteY100" fmla="*/ 4094 h 9764"/>
              <a:gd name="connsiteX101" fmla="*/ 348 w 10000"/>
              <a:gd name="connsiteY101" fmla="*/ 4489 h 9764"/>
              <a:gd name="connsiteX102" fmla="*/ 282 w 10000"/>
              <a:gd name="connsiteY102" fmla="*/ 4725 h 9764"/>
              <a:gd name="connsiteX103" fmla="*/ 417 w 10000"/>
              <a:gd name="connsiteY103" fmla="*/ 4961 h 9764"/>
              <a:gd name="connsiteX104" fmla="*/ 348 w 10000"/>
              <a:gd name="connsiteY104" fmla="*/ 5118 h 9764"/>
              <a:gd name="connsiteX105" fmla="*/ 487 w 10000"/>
              <a:gd name="connsiteY105" fmla="*/ 5276 h 9764"/>
              <a:gd name="connsiteX106" fmla="*/ 487 w 10000"/>
              <a:gd name="connsiteY106" fmla="*/ 5355 h 9764"/>
              <a:gd name="connsiteX107" fmla="*/ 282 w 10000"/>
              <a:gd name="connsiteY107" fmla="*/ 5749 h 9764"/>
              <a:gd name="connsiteX108" fmla="*/ 64 w 10000"/>
              <a:gd name="connsiteY108" fmla="*/ 5906 h 9764"/>
              <a:gd name="connsiteX109" fmla="*/ 138 w 10000"/>
              <a:gd name="connsiteY109" fmla="*/ 5906 h 9764"/>
              <a:gd name="connsiteX110" fmla="*/ 282 w 10000"/>
              <a:gd name="connsiteY110" fmla="*/ 6063 h 9764"/>
              <a:gd name="connsiteX111" fmla="*/ 138 w 10000"/>
              <a:gd name="connsiteY111" fmla="*/ 6221 h 9764"/>
              <a:gd name="connsiteX112" fmla="*/ 64 w 10000"/>
              <a:gd name="connsiteY112" fmla="*/ 6300 h 9764"/>
              <a:gd name="connsiteX113" fmla="*/ 0 w 10000"/>
              <a:gd name="connsiteY113" fmla="*/ 6300 h 9764"/>
              <a:gd name="connsiteX114" fmla="*/ 64 w 10000"/>
              <a:gd name="connsiteY114" fmla="*/ 6536 h 9764"/>
              <a:gd name="connsiteX115" fmla="*/ 64 w 10000"/>
              <a:gd name="connsiteY115" fmla="*/ 6615 h 9764"/>
              <a:gd name="connsiteX116" fmla="*/ 64 w 10000"/>
              <a:gd name="connsiteY116" fmla="*/ 6693 h 9764"/>
              <a:gd name="connsiteX117" fmla="*/ 64 w 10000"/>
              <a:gd name="connsiteY117" fmla="*/ 6772 h 9764"/>
              <a:gd name="connsiteX118" fmla="*/ 138 w 10000"/>
              <a:gd name="connsiteY118" fmla="*/ 6929 h 9764"/>
              <a:gd name="connsiteX119" fmla="*/ 348 w 10000"/>
              <a:gd name="connsiteY119" fmla="*/ 7008 h 9764"/>
              <a:gd name="connsiteX120" fmla="*/ 417 w 10000"/>
              <a:gd name="connsiteY120" fmla="*/ 7086 h 9764"/>
              <a:gd name="connsiteX121" fmla="*/ 417 w 10000"/>
              <a:gd name="connsiteY121" fmla="*/ 7245 h 9764"/>
              <a:gd name="connsiteX122" fmla="*/ 558 w 10000"/>
              <a:gd name="connsiteY122" fmla="*/ 7481 h 9764"/>
              <a:gd name="connsiteX123" fmla="*/ 632 w 10000"/>
              <a:gd name="connsiteY123" fmla="*/ 7481 h 9764"/>
              <a:gd name="connsiteX124" fmla="*/ 558 w 10000"/>
              <a:gd name="connsiteY124" fmla="*/ 7638 h 9764"/>
              <a:gd name="connsiteX125" fmla="*/ 487 w 10000"/>
              <a:gd name="connsiteY125" fmla="*/ 7560 h 9764"/>
              <a:gd name="connsiteX126" fmla="*/ 487 w 10000"/>
              <a:gd name="connsiteY126" fmla="*/ 7638 h 9764"/>
              <a:gd name="connsiteX127" fmla="*/ 558 w 10000"/>
              <a:gd name="connsiteY127" fmla="*/ 7795 h 9764"/>
              <a:gd name="connsiteX128" fmla="*/ 773 w 10000"/>
              <a:gd name="connsiteY128" fmla="*/ 7795 h 9764"/>
              <a:gd name="connsiteX129" fmla="*/ 842 w 10000"/>
              <a:gd name="connsiteY129" fmla="*/ 7875 h 9764"/>
              <a:gd name="connsiteX130" fmla="*/ 773 w 10000"/>
              <a:gd name="connsiteY130" fmla="*/ 7875 h 9764"/>
              <a:gd name="connsiteX131" fmla="*/ 842 w 10000"/>
              <a:gd name="connsiteY131" fmla="*/ 7953 h 9764"/>
              <a:gd name="connsiteX132" fmla="*/ 908 w 10000"/>
              <a:gd name="connsiteY132" fmla="*/ 7953 h 9764"/>
              <a:gd name="connsiteX133" fmla="*/ 976 w 10000"/>
              <a:gd name="connsiteY133" fmla="*/ 8110 h 9764"/>
              <a:gd name="connsiteX134" fmla="*/ 1049 w 10000"/>
              <a:gd name="connsiteY134" fmla="*/ 8189 h 9764"/>
              <a:gd name="connsiteX135" fmla="*/ 1116 w 10000"/>
              <a:gd name="connsiteY135" fmla="*/ 8110 h 9764"/>
              <a:gd name="connsiteX136" fmla="*/ 1469 w 10000"/>
              <a:gd name="connsiteY136" fmla="*/ 8347 h 9764"/>
              <a:gd name="connsiteX137" fmla="*/ 1400 w 10000"/>
              <a:gd name="connsiteY137" fmla="*/ 8662 h 9764"/>
              <a:gd name="connsiteX138" fmla="*/ 1329 w 10000"/>
              <a:gd name="connsiteY138" fmla="*/ 8584 h 9764"/>
              <a:gd name="connsiteX139" fmla="*/ 1255 w 10000"/>
              <a:gd name="connsiteY139" fmla="*/ 8662 h 9764"/>
              <a:gd name="connsiteX140" fmla="*/ 1255 w 10000"/>
              <a:gd name="connsiteY140" fmla="*/ 8819 h 9764"/>
              <a:gd name="connsiteX141" fmla="*/ 1329 w 10000"/>
              <a:gd name="connsiteY141" fmla="*/ 8741 h 9764"/>
              <a:gd name="connsiteX142" fmla="*/ 1400 w 10000"/>
              <a:gd name="connsiteY142" fmla="*/ 8819 h 9764"/>
              <a:gd name="connsiteX143" fmla="*/ 1191 w 10000"/>
              <a:gd name="connsiteY143" fmla="*/ 8898 h 9764"/>
              <a:gd name="connsiteX144" fmla="*/ 1255 w 10000"/>
              <a:gd name="connsiteY144" fmla="*/ 8977 h 9764"/>
              <a:gd name="connsiteX145" fmla="*/ 1116 w 10000"/>
              <a:gd name="connsiteY145" fmla="*/ 9134 h 9764"/>
              <a:gd name="connsiteX146" fmla="*/ 1049 w 10000"/>
              <a:gd name="connsiteY146" fmla="*/ 9134 h 9764"/>
              <a:gd name="connsiteX147" fmla="*/ 1116 w 10000"/>
              <a:gd name="connsiteY147" fmla="*/ 9134 h 9764"/>
              <a:gd name="connsiteX148" fmla="*/ 1400 w 10000"/>
              <a:gd name="connsiteY148" fmla="*/ 9450 h 9764"/>
              <a:gd name="connsiteX149" fmla="*/ 1749 w 10000"/>
              <a:gd name="connsiteY149" fmla="*/ 9450 h 9764"/>
              <a:gd name="connsiteX150" fmla="*/ 1889 w 10000"/>
              <a:gd name="connsiteY150" fmla="*/ 9528 h 9764"/>
              <a:gd name="connsiteX151" fmla="*/ 2028 w 10000"/>
              <a:gd name="connsiteY151" fmla="*/ 9528 h 9764"/>
              <a:gd name="connsiteX152" fmla="*/ 2168 w 10000"/>
              <a:gd name="connsiteY152" fmla="*/ 9686 h 9764"/>
              <a:gd name="connsiteX153" fmla="*/ 2238 w 10000"/>
              <a:gd name="connsiteY153" fmla="*/ 9764 h 9764"/>
              <a:gd name="connsiteX154" fmla="*/ 2304 w 10000"/>
              <a:gd name="connsiteY154" fmla="*/ 9764 h 9764"/>
              <a:gd name="connsiteX155" fmla="*/ 2378 w 10000"/>
              <a:gd name="connsiteY155" fmla="*/ 9686 h 9764"/>
              <a:gd name="connsiteX156" fmla="*/ 2238 w 10000"/>
              <a:gd name="connsiteY156" fmla="*/ 9528 h 9764"/>
              <a:gd name="connsiteX157" fmla="*/ 2238 w 10000"/>
              <a:gd name="connsiteY157" fmla="*/ 9371 h 9764"/>
              <a:gd name="connsiteX158" fmla="*/ 2168 w 10000"/>
              <a:gd name="connsiteY158" fmla="*/ 9212 h 9764"/>
              <a:gd name="connsiteX159" fmla="*/ 2304 w 10000"/>
              <a:gd name="connsiteY159" fmla="*/ 8977 h 9764"/>
              <a:gd name="connsiteX160" fmla="*/ 2378 w 10000"/>
              <a:gd name="connsiteY160" fmla="*/ 9055 h 9764"/>
              <a:gd name="connsiteX161" fmla="*/ 2447 w 10000"/>
              <a:gd name="connsiteY161" fmla="*/ 8977 h 9764"/>
              <a:gd name="connsiteX162" fmla="*/ 2447 w 10000"/>
              <a:gd name="connsiteY162" fmla="*/ 8898 h 9764"/>
              <a:gd name="connsiteX163" fmla="*/ 2378 w 10000"/>
              <a:gd name="connsiteY163" fmla="*/ 8898 h 9764"/>
              <a:gd name="connsiteX164" fmla="*/ 2447 w 10000"/>
              <a:gd name="connsiteY164" fmla="*/ 8819 h 9764"/>
              <a:gd name="connsiteX165" fmla="*/ 2378 w 10000"/>
              <a:gd name="connsiteY165" fmla="*/ 8662 h 9764"/>
              <a:gd name="connsiteX166" fmla="*/ 2238 w 10000"/>
              <a:gd name="connsiteY166" fmla="*/ 8662 h 9764"/>
              <a:gd name="connsiteX167" fmla="*/ 2168 w 10000"/>
              <a:gd name="connsiteY167" fmla="*/ 8504 h 9764"/>
              <a:gd name="connsiteX168" fmla="*/ 2238 w 10000"/>
              <a:gd name="connsiteY168" fmla="*/ 8110 h 9764"/>
              <a:gd name="connsiteX169" fmla="*/ 2378 w 10000"/>
              <a:gd name="connsiteY169" fmla="*/ 8269 h 9764"/>
              <a:gd name="connsiteX170" fmla="*/ 2447 w 10000"/>
              <a:gd name="connsiteY170" fmla="*/ 8269 h 9764"/>
              <a:gd name="connsiteX171" fmla="*/ 2378 w 10000"/>
              <a:gd name="connsiteY171" fmla="*/ 8110 h 9764"/>
              <a:gd name="connsiteX172" fmla="*/ 2589 w 10000"/>
              <a:gd name="connsiteY172" fmla="*/ 7875 h 9764"/>
              <a:gd name="connsiteX173" fmla="*/ 2730 w 10000"/>
              <a:gd name="connsiteY173" fmla="*/ 7953 h 9764"/>
              <a:gd name="connsiteX174" fmla="*/ 2798 w 10000"/>
              <a:gd name="connsiteY174" fmla="*/ 7875 h 9764"/>
              <a:gd name="connsiteX175" fmla="*/ 2933 w 10000"/>
              <a:gd name="connsiteY175" fmla="*/ 7953 h 9764"/>
              <a:gd name="connsiteX176" fmla="*/ 3150 w 10000"/>
              <a:gd name="connsiteY176" fmla="*/ 8110 h 9764"/>
              <a:gd name="connsiteX177" fmla="*/ 3285 w 10000"/>
              <a:gd name="connsiteY177" fmla="*/ 8032 h 9764"/>
              <a:gd name="connsiteX178" fmla="*/ 3427 w 10000"/>
              <a:gd name="connsiteY178" fmla="*/ 8032 h 9764"/>
              <a:gd name="connsiteX179" fmla="*/ 3499 w 10000"/>
              <a:gd name="connsiteY179" fmla="*/ 8110 h 9764"/>
              <a:gd name="connsiteX180" fmla="*/ 3778 w 10000"/>
              <a:gd name="connsiteY180" fmla="*/ 8110 h 9764"/>
              <a:gd name="connsiteX181" fmla="*/ 3844 w 10000"/>
              <a:gd name="connsiteY181" fmla="*/ 7953 h 9764"/>
              <a:gd name="connsiteX182" fmla="*/ 3633 w 10000"/>
              <a:gd name="connsiteY182" fmla="*/ 7875 h 9764"/>
              <a:gd name="connsiteX183" fmla="*/ 3778 w 10000"/>
              <a:gd name="connsiteY183" fmla="*/ 7795 h 9764"/>
              <a:gd name="connsiteX184" fmla="*/ 3703 w 10000"/>
              <a:gd name="connsiteY184" fmla="*/ 7717 h 9764"/>
              <a:gd name="connsiteX185" fmla="*/ 3778 w 10000"/>
              <a:gd name="connsiteY185" fmla="*/ 7638 h 9764"/>
              <a:gd name="connsiteX186" fmla="*/ 3778 w 10000"/>
              <a:gd name="connsiteY186" fmla="*/ 7402 h 9764"/>
              <a:gd name="connsiteX187" fmla="*/ 3913 w 10000"/>
              <a:gd name="connsiteY187" fmla="*/ 7481 h 9764"/>
              <a:gd name="connsiteX188" fmla="*/ 4545 w 10000"/>
              <a:gd name="connsiteY188" fmla="*/ 7245 h 9764"/>
              <a:gd name="connsiteX189" fmla="*/ 4545 w 10000"/>
              <a:gd name="connsiteY189" fmla="*/ 7166 h 9764"/>
              <a:gd name="connsiteX190" fmla="*/ 4617 w 10000"/>
              <a:gd name="connsiteY190" fmla="*/ 7166 h 9764"/>
              <a:gd name="connsiteX191" fmla="*/ 4820 w 10000"/>
              <a:gd name="connsiteY191" fmla="*/ 7166 h 9764"/>
              <a:gd name="connsiteX192" fmla="*/ 4898 w 10000"/>
              <a:gd name="connsiteY192" fmla="*/ 7324 h 9764"/>
              <a:gd name="connsiteX193" fmla="*/ 4898 w 10000"/>
              <a:gd name="connsiteY193" fmla="*/ 7402 h 9764"/>
              <a:gd name="connsiteX194" fmla="*/ 4963 w 10000"/>
              <a:gd name="connsiteY194" fmla="*/ 7402 h 9764"/>
              <a:gd name="connsiteX195" fmla="*/ 5103 w 10000"/>
              <a:gd name="connsiteY195" fmla="*/ 7481 h 9764"/>
              <a:gd name="connsiteX196" fmla="*/ 5103 w 10000"/>
              <a:gd name="connsiteY196" fmla="*/ 7560 h 9764"/>
              <a:gd name="connsiteX197" fmla="*/ 5243 w 10000"/>
              <a:gd name="connsiteY197" fmla="*/ 7560 h 9764"/>
              <a:gd name="connsiteX198" fmla="*/ 5383 w 10000"/>
              <a:gd name="connsiteY198" fmla="*/ 7402 h 9764"/>
              <a:gd name="connsiteX199" fmla="*/ 5523 w 10000"/>
              <a:gd name="connsiteY199" fmla="*/ 7324 h 9764"/>
              <a:gd name="connsiteX200" fmla="*/ 5603 w 10000"/>
              <a:gd name="connsiteY200" fmla="*/ 7560 h 9764"/>
              <a:gd name="connsiteX201" fmla="*/ 5875 w 10000"/>
              <a:gd name="connsiteY201" fmla="*/ 8110 h 9764"/>
              <a:gd name="connsiteX202" fmla="*/ 5947 w 10000"/>
              <a:gd name="connsiteY202" fmla="*/ 7953 h 9764"/>
              <a:gd name="connsiteX203" fmla="*/ 6016 w 10000"/>
              <a:gd name="connsiteY203" fmla="*/ 8110 h 9764"/>
              <a:gd name="connsiteX204" fmla="*/ 6226 w 10000"/>
              <a:gd name="connsiteY204" fmla="*/ 8032 h 9764"/>
              <a:gd name="connsiteX205" fmla="*/ 6437 w 10000"/>
              <a:gd name="connsiteY205" fmla="*/ 8269 h 9764"/>
              <a:gd name="connsiteX206" fmla="*/ 6572 w 10000"/>
              <a:gd name="connsiteY206" fmla="*/ 8347 h 9764"/>
              <a:gd name="connsiteX207" fmla="*/ 6572 w 10000"/>
              <a:gd name="connsiteY207" fmla="*/ 8269 h 9764"/>
              <a:gd name="connsiteX208" fmla="*/ 6647 w 10000"/>
              <a:gd name="connsiteY208" fmla="*/ 8426 h 9764"/>
              <a:gd name="connsiteX209" fmla="*/ 6572 w 10000"/>
              <a:gd name="connsiteY209" fmla="*/ 8504 h 9764"/>
              <a:gd name="connsiteX210" fmla="*/ 6716 w 10000"/>
              <a:gd name="connsiteY210" fmla="*/ 8426 h 9764"/>
              <a:gd name="connsiteX211" fmla="*/ 6783 w 10000"/>
              <a:gd name="connsiteY211" fmla="*/ 8347 h 9764"/>
              <a:gd name="connsiteX212" fmla="*/ 7130 w 10000"/>
              <a:gd name="connsiteY212" fmla="*/ 8110 h 9764"/>
              <a:gd name="connsiteX213" fmla="*/ 7413 w 10000"/>
              <a:gd name="connsiteY213" fmla="*/ 8189 h 9764"/>
              <a:gd name="connsiteX214" fmla="*/ 7550 w 10000"/>
              <a:gd name="connsiteY214" fmla="*/ 8269 h 9764"/>
              <a:gd name="connsiteX215" fmla="*/ 7830 w 10000"/>
              <a:gd name="connsiteY215" fmla="*/ 8269 h 9764"/>
              <a:gd name="connsiteX216" fmla="*/ 7830 w 10000"/>
              <a:gd name="connsiteY216" fmla="*/ 8110 h 9764"/>
              <a:gd name="connsiteX217" fmla="*/ 7830 w 10000"/>
              <a:gd name="connsiteY217" fmla="*/ 7953 h 9764"/>
              <a:gd name="connsiteX218" fmla="*/ 7971 w 10000"/>
              <a:gd name="connsiteY218" fmla="*/ 7875 h 9764"/>
              <a:gd name="connsiteX219" fmla="*/ 8247 w 10000"/>
              <a:gd name="connsiteY219" fmla="*/ 7953 h 9764"/>
              <a:gd name="connsiteX220" fmla="*/ 8392 w 10000"/>
              <a:gd name="connsiteY220" fmla="*/ 8189 h 9764"/>
              <a:gd name="connsiteX221" fmla="*/ 8462 w 10000"/>
              <a:gd name="connsiteY221" fmla="*/ 8189 h 9764"/>
              <a:gd name="connsiteX222" fmla="*/ 8602 w 10000"/>
              <a:gd name="connsiteY222" fmla="*/ 8110 h 9764"/>
              <a:gd name="connsiteX223" fmla="*/ 9026 w 10000"/>
              <a:gd name="connsiteY223" fmla="*/ 8347 h 9764"/>
              <a:gd name="connsiteX224" fmla="*/ 9231 w 10000"/>
              <a:gd name="connsiteY224" fmla="*/ 8426 h 9764"/>
              <a:gd name="connsiteX225" fmla="*/ 9510 w 10000"/>
              <a:gd name="connsiteY225" fmla="*/ 8347 h 9764"/>
              <a:gd name="connsiteX226" fmla="*/ 9652 w 10000"/>
              <a:gd name="connsiteY226" fmla="*/ 8189 h 9764"/>
              <a:gd name="connsiteX227" fmla="*/ 9860 w 10000"/>
              <a:gd name="connsiteY227" fmla="*/ 8269 h 9764"/>
              <a:gd name="connsiteX228" fmla="*/ 10000 w 10000"/>
              <a:gd name="connsiteY228" fmla="*/ 8347 h 9764"/>
              <a:gd name="connsiteX229" fmla="*/ 9580 w 10000"/>
              <a:gd name="connsiteY229" fmla="*/ 1733 h 9764"/>
              <a:gd name="connsiteX230" fmla="*/ 9173 w 10000"/>
              <a:gd name="connsiteY230" fmla="*/ 1497 h 9764"/>
              <a:gd name="connsiteX0" fmla="*/ 9173 w 10000"/>
              <a:gd name="connsiteY0" fmla="*/ 1371 h 9838"/>
              <a:gd name="connsiteX1" fmla="*/ 9173 w 10000"/>
              <a:gd name="connsiteY1" fmla="*/ 1371 h 9838"/>
              <a:gd name="connsiteX2" fmla="*/ 9092 w 10000"/>
              <a:gd name="connsiteY2" fmla="*/ 1451 h 9838"/>
              <a:gd name="connsiteX3" fmla="*/ 9173 w 10000"/>
              <a:gd name="connsiteY3" fmla="*/ 1613 h 9838"/>
              <a:gd name="connsiteX4" fmla="*/ 8881 w 10000"/>
              <a:gd name="connsiteY4" fmla="*/ 1774 h 9838"/>
              <a:gd name="connsiteX5" fmla="*/ 8809 w 10000"/>
              <a:gd name="connsiteY5" fmla="*/ 1774 h 9838"/>
              <a:gd name="connsiteX6" fmla="*/ 8881 w 10000"/>
              <a:gd name="connsiteY6" fmla="*/ 1532 h 9838"/>
              <a:gd name="connsiteX7" fmla="*/ 9580 w 10000"/>
              <a:gd name="connsiteY7" fmla="*/ 806 h 9838"/>
              <a:gd name="connsiteX8" fmla="*/ 9580 w 10000"/>
              <a:gd name="connsiteY8" fmla="*/ 322 h 9838"/>
              <a:gd name="connsiteX9" fmla="*/ 9304 w 10000"/>
              <a:gd name="connsiteY9" fmla="*/ 0 h 9838"/>
              <a:gd name="connsiteX10" fmla="*/ 8952 w 10000"/>
              <a:gd name="connsiteY10" fmla="*/ 0 h 9838"/>
              <a:gd name="connsiteX11" fmla="*/ 8952 w 10000"/>
              <a:gd name="connsiteY11" fmla="*/ 162 h 9838"/>
              <a:gd name="connsiteX12" fmla="*/ 8738 w 10000"/>
              <a:gd name="connsiteY12" fmla="*/ 162 h 9838"/>
              <a:gd name="connsiteX13" fmla="*/ 8184 w 10000"/>
              <a:gd name="connsiteY13" fmla="*/ 162 h 9838"/>
              <a:gd name="connsiteX14" fmla="*/ 7971 w 10000"/>
              <a:gd name="connsiteY14" fmla="*/ 162 h 9838"/>
              <a:gd name="connsiteX15" fmla="*/ 7344 w 10000"/>
              <a:gd name="connsiteY15" fmla="*/ 322 h 9838"/>
              <a:gd name="connsiteX16" fmla="*/ 6783 w 10000"/>
              <a:gd name="connsiteY16" fmla="*/ 725 h 9838"/>
              <a:gd name="connsiteX17" fmla="*/ 6572 w 10000"/>
              <a:gd name="connsiteY17" fmla="*/ 1049 h 9838"/>
              <a:gd name="connsiteX18" fmla="*/ 6647 w 10000"/>
              <a:gd name="connsiteY18" fmla="*/ 1451 h 9838"/>
              <a:gd name="connsiteX19" fmla="*/ 5875 w 10000"/>
              <a:gd name="connsiteY19" fmla="*/ 1613 h 9838"/>
              <a:gd name="connsiteX20" fmla="*/ 5947 w 10000"/>
              <a:gd name="connsiteY20" fmla="*/ 2097 h 9838"/>
              <a:gd name="connsiteX21" fmla="*/ 6155 w 10000"/>
              <a:gd name="connsiteY21" fmla="*/ 2339 h 9838"/>
              <a:gd name="connsiteX22" fmla="*/ 6016 w 10000"/>
              <a:gd name="connsiteY22" fmla="*/ 2419 h 9838"/>
              <a:gd name="connsiteX23" fmla="*/ 5808 w 10000"/>
              <a:gd name="connsiteY23" fmla="*/ 2097 h 9838"/>
              <a:gd name="connsiteX24" fmla="*/ 5603 w 10000"/>
              <a:gd name="connsiteY24" fmla="*/ 2015 h 9838"/>
              <a:gd name="connsiteX25" fmla="*/ 5523 w 10000"/>
              <a:gd name="connsiteY25" fmla="*/ 2097 h 9838"/>
              <a:gd name="connsiteX26" fmla="*/ 5383 w 10000"/>
              <a:gd name="connsiteY26" fmla="*/ 1934 h 9838"/>
              <a:gd name="connsiteX27" fmla="*/ 5243 w 10000"/>
              <a:gd name="connsiteY27" fmla="*/ 1774 h 9838"/>
              <a:gd name="connsiteX28" fmla="*/ 5243 w 10000"/>
              <a:gd name="connsiteY28" fmla="*/ 1854 h 9838"/>
              <a:gd name="connsiteX29" fmla="*/ 5321 w 10000"/>
              <a:gd name="connsiteY29" fmla="*/ 2097 h 9838"/>
              <a:gd name="connsiteX30" fmla="*/ 5103 w 10000"/>
              <a:gd name="connsiteY30" fmla="*/ 2500 h 9838"/>
              <a:gd name="connsiteX31" fmla="*/ 5243 w 10000"/>
              <a:gd name="connsiteY31" fmla="*/ 2822 h 9838"/>
              <a:gd name="connsiteX32" fmla="*/ 5173 w 10000"/>
              <a:gd name="connsiteY32" fmla="*/ 3145 h 9838"/>
              <a:gd name="connsiteX33" fmla="*/ 5173 w 10000"/>
              <a:gd name="connsiteY33" fmla="*/ 3387 h 9838"/>
              <a:gd name="connsiteX34" fmla="*/ 5383 w 10000"/>
              <a:gd name="connsiteY34" fmla="*/ 3387 h 9838"/>
              <a:gd name="connsiteX35" fmla="*/ 5243 w 10000"/>
              <a:gd name="connsiteY35" fmla="*/ 3468 h 9838"/>
              <a:gd name="connsiteX36" fmla="*/ 5321 w 10000"/>
              <a:gd name="connsiteY36" fmla="*/ 3870 h 9838"/>
              <a:gd name="connsiteX37" fmla="*/ 4898 w 10000"/>
              <a:gd name="connsiteY37" fmla="*/ 4275 h 9838"/>
              <a:gd name="connsiteX38" fmla="*/ 4820 w 10000"/>
              <a:gd name="connsiteY38" fmla="*/ 4194 h 9838"/>
              <a:gd name="connsiteX39" fmla="*/ 5103 w 10000"/>
              <a:gd name="connsiteY39" fmla="*/ 3789 h 9838"/>
              <a:gd name="connsiteX40" fmla="*/ 5173 w 10000"/>
              <a:gd name="connsiteY40" fmla="*/ 3549 h 9838"/>
              <a:gd name="connsiteX41" fmla="*/ 5026 w 10000"/>
              <a:gd name="connsiteY41" fmla="*/ 3387 h 9838"/>
              <a:gd name="connsiteX42" fmla="*/ 5026 w 10000"/>
              <a:gd name="connsiteY42" fmla="*/ 2580 h 9838"/>
              <a:gd name="connsiteX43" fmla="*/ 4963 w 10000"/>
              <a:gd name="connsiteY43" fmla="*/ 2419 h 9838"/>
              <a:gd name="connsiteX44" fmla="*/ 5026 w 10000"/>
              <a:gd name="connsiteY44" fmla="*/ 1934 h 9838"/>
              <a:gd name="connsiteX45" fmla="*/ 4898 w 10000"/>
              <a:gd name="connsiteY45" fmla="*/ 1854 h 9838"/>
              <a:gd name="connsiteX46" fmla="*/ 4963 w 10000"/>
              <a:gd name="connsiteY46" fmla="*/ 1774 h 9838"/>
              <a:gd name="connsiteX47" fmla="*/ 4898 w 10000"/>
              <a:gd name="connsiteY47" fmla="*/ 1613 h 9838"/>
              <a:gd name="connsiteX48" fmla="*/ 4752 w 10000"/>
              <a:gd name="connsiteY48" fmla="*/ 1693 h 9838"/>
              <a:gd name="connsiteX49" fmla="*/ 4407 w 10000"/>
              <a:gd name="connsiteY49" fmla="*/ 2742 h 9838"/>
              <a:gd name="connsiteX50" fmla="*/ 4407 w 10000"/>
              <a:gd name="connsiteY50" fmla="*/ 3145 h 9838"/>
              <a:gd name="connsiteX51" fmla="*/ 4617 w 10000"/>
              <a:gd name="connsiteY51" fmla="*/ 3468 h 9838"/>
              <a:gd name="connsiteX52" fmla="*/ 4617 w 10000"/>
              <a:gd name="connsiteY52" fmla="*/ 3628 h 9838"/>
              <a:gd name="connsiteX53" fmla="*/ 4407 w 10000"/>
              <a:gd name="connsiteY53" fmla="*/ 3468 h 9838"/>
              <a:gd name="connsiteX54" fmla="*/ 3571 w 10000"/>
              <a:gd name="connsiteY54" fmla="*/ 2822 h 9838"/>
              <a:gd name="connsiteX55" fmla="*/ 3499 w 10000"/>
              <a:gd name="connsiteY55" fmla="*/ 2983 h 9838"/>
              <a:gd name="connsiteX56" fmla="*/ 3778 w 10000"/>
              <a:gd name="connsiteY56" fmla="*/ 3387 h 9838"/>
              <a:gd name="connsiteX57" fmla="*/ 3633 w 10000"/>
              <a:gd name="connsiteY57" fmla="*/ 3468 h 9838"/>
              <a:gd name="connsiteX58" fmla="*/ 3571 w 10000"/>
              <a:gd name="connsiteY58" fmla="*/ 3387 h 9838"/>
              <a:gd name="connsiteX59" fmla="*/ 3150 w 10000"/>
              <a:gd name="connsiteY59" fmla="*/ 3549 h 9838"/>
              <a:gd name="connsiteX60" fmla="*/ 3081 w 10000"/>
              <a:gd name="connsiteY60" fmla="*/ 3709 h 9838"/>
              <a:gd name="connsiteX61" fmla="*/ 3010 w 10000"/>
              <a:gd name="connsiteY61" fmla="*/ 3549 h 9838"/>
              <a:gd name="connsiteX62" fmla="*/ 3010 w 10000"/>
              <a:gd name="connsiteY62" fmla="*/ 3387 h 9838"/>
              <a:gd name="connsiteX63" fmla="*/ 2304 w 10000"/>
              <a:gd name="connsiteY63" fmla="*/ 3870 h 9838"/>
              <a:gd name="connsiteX64" fmla="*/ 2304 w 10000"/>
              <a:gd name="connsiteY64" fmla="*/ 4031 h 9838"/>
              <a:gd name="connsiteX65" fmla="*/ 2168 w 10000"/>
              <a:gd name="connsiteY65" fmla="*/ 4112 h 9838"/>
              <a:gd name="connsiteX66" fmla="*/ 1959 w 10000"/>
              <a:gd name="connsiteY66" fmla="*/ 3951 h 9838"/>
              <a:gd name="connsiteX67" fmla="*/ 2168 w 10000"/>
              <a:gd name="connsiteY67" fmla="*/ 3789 h 9838"/>
              <a:gd name="connsiteX68" fmla="*/ 2095 w 10000"/>
              <a:gd name="connsiteY68" fmla="*/ 3549 h 9838"/>
              <a:gd name="connsiteX69" fmla="*/ 1818 w 10000"/>
              <a:gd name="connsiteY69" fmla="*/ 3468 h 9838"/>
              <a:gd name="connsiteX70" fmla="*/ 1889 w 10000"/>
              <a:gd name="connsiteY70" fmla="*/ 3628 h 9838"/>
              <a:gd name="connsiteX71" fmla="*/ 1889 w 10000"/>
              <a:gd name="connsiteY71" fmla="*/ 4031 h 9838"/>
              <a:gd name="connsiteX72" fmla="*/ 1959 w 10000"/>
              <a:gd name="connsiteY72" fmla="*/ 4194 h 9838"/>
              <a:gd name="connsiteX73" fmla="*/ 1889 w 10000"/>
              <a:gd name="connsiteY73" fmla="*/ 4355 h 9838"/>
              <a:gd name="connsiteX74" fmla="*/ 1674 w 10000"/>
              <a:gd name="connsiteY74" fmla="*/ 4275 h 9838"/>
              <a:gd name="connsiteX75" fmla="*/ 1400 w 10000"/>
              <a:gd name="connsiteY75" fmla="*/ 4515 h 9838"/>
              <a:gd name="connsiteX76" fmla="*/ 1535 w 10000"/>
              <a:gd name="connsiteY76" fmla="*/ 4838 h 9838"/>
              <a:gd name="connsiteX77" fmla="*/ 1116 w 10000"/>
              <a:gd name="connsiteY77" fmla="*/ 4677 h 9838"/>
              <a:gd name="connsiteX78" fmla="*/ 1049 w 10000"/>
              <a:gd name="connsiteY78" fmla="*/ 4757 h 9838"/>
              <a:gd name="connsiteX79" fmla="*/ 1191 w 10000"/>
              <a:gd name="connsiteY79" fmla="*/ 5000 h 9838"/>
              <a:gd name="connsiteX80" fmla="*/ 1049 w 10000"/>
              <a:gd name="connsiteY80" fmla="*/ 5000 h 9838"/>
              <a:gd name="connsiteX81" fmla="*/ 842 w 10000"/>
              <a:gd name="connsiteY81" fmla="*/ 4838 h 9838"/>
              <a:gd name="connsiteX82" fmla="*/ 842 w 10000"/>
              <a:gd name="connsiteY82" fmla="*/ 4355 h 9838"/>
              <a:gd name="connsiteX83" fmla="*/ 632 w 10000"/>
              <a:gd name="connsiteY83" fmla="*/ 4194 h 9838"/>
              <a:gd name="connsiteX84" fmla="*/ 558 w 10000"/>
              <a:gd name="connsiteY84" fmla="*/ 4031 h 9838"/>
              <a:gd name="connsiteX85" fmla="*/ 697 w 10000"/>
              <a:gd name="connsiteY85" fmla="*/ 4112 h 9838"/>
              <a:gd name="connsiteX86" fmla="*/ 1255 w 10000"/>
              <a:gd name="connsiteY86" fmla="*/ 4355 h 9838"/>
              <a:gd name="connsiteX87" fmla="*/ 1601 w 10000"/>
              <a:gd name="connsiteY87" fmla="*/ 4112 h 9838"/>
              <a:gd name="connsiteX88" fmla="*/ 1535 w 10000"/>
              <a:gd name="connsiteY88" fmla="*/ 3870 h 9838"/>
              <a:gd name="connsiteX89" fmla="*/ 1116 w 10000"/>
              <a:gd name="connsiteY89" fmla="*/ 3387 h 9838"/>
              <a:gd name="connsiteX90" fmla="*/ 697 w 10000"/>
              <a:gd name="connsiteY90" fmla="*/ 3226 h 9838"/>
              <a:gd name="connsiteX91" fmla="*/ 697 w 10000"/>
              <a:gd name="connsiteY91" fmla="*/ 3145 h 9838"/>
              <a:gd name="connsiteX92" fmla="*/ 558 w 10000"/>
              <a:gd name="connsiteY92" fmla="*/ 3063 h 9838"/>
              <a:gd name="connsiteX93" fmla="*/ 417 w 10000"/>
              <a:gd name="connsiteY93" fmla="*/ 3145 h 9838"/>
              <a:gd name="connsiteX94" fmla="*/ 417 w 10000"/>
              <a:gd name="connsiteY94" fmla="*/ 3226 h 9838"/>
              <a:gd name="connsiteX95" fmla="*/ 348 w 10000"/>
              <a:gd name="connsiteY95" fmla="*/ 3226 h 9838"/>
              <a:gd name="connsiteX96" fmla="*/ 210 w 10000"/>
              <a:gd name="connsiteY96" fmla="*/ 3387 h 9838"/>
              <a:gd name="connsiteX97" fmla="*/ 210 w 10000"/>
              <a:gd name="connsiteY97" fmla="*/ 3628 h 9838"/>
              <a:gd name="connsiteX98" fmla="*/ 348 w 10000"/>
              <a:gd name="connsiteY98" fmla="*/ 3789 h 9838"/>
              <a:gd name="connsiteX99" fmla="*/ 282 w 10000"/>
              <a:gd name="connsiteY99" fmla="*/ 4031 h 9838"/>
              <a:gd name="connsiteX100" fmla="*/ 348 w 10000"/>
              <a:gd name="connsiteY100" fmla="*/ 4436 h 9838"/>
              <a:gd name="connsiteX101" fmla="*/ 282 w 10000"/>
              <a:gd name="connsiteY101" fmla="*/ 4677 h 9838"/>
              <a:gd name="connsiteX102" fmla="*/ 417 w 10000"/>
              <a:gd name="connsiteY102" fmla="*/ 4919 h 9838"/>
              <a:gd name="connsiteX103" fmla="*/ 348 w 10000"/>
              <a:gd name="connsiteY103" fmla="*/ 5080 h 9838"/>
              <a:gd name="connsiteX104" fmla="*/ 487 w 10000"/>
              <a:gd name="connsiteY104" fmla="*/ 5242 h 9838"/>
              <a:gd name="connsiteX105" fmla="*/ 487 w 10000"/>
              <a:gd name="connsiteY105" fmla="*/ 5322 h 9838"/>
              <a:gd name="connsiteX106" fmla="*/ 282 w 10000"/>
              <a:gd name="connsiteY106" fmla="*/ 5726 h 9838"/>
              <a:gd name="connsiteX107" fmla="*/ 64 w 10000"/>
              <a:gd name="connsiteY107" fmla="*/ 5887 h 9838"/>
              <a:gd name="connsiteX108" fmla="*/ 138 w 10000"/>
              <a:gd name="connsiteY108" fmla="*/ 5887 h 9838"/>
              <a:gd name="connsiteX109" fmla="*/ 282 w 10000"/>
              <a:gd name="connsiteY109" fmla="*/ 6048 h 9838"/>
              <a:gd name="connsiteX110" fmla="*/ 138 w 10000"/>
              <a:gd name="connsiteY110" fmla="*/ 6209 h 9838"/>
              <a:gd name="connsiteX111" fmla="*/ 64 w 10000"/>
              <a:gd name="connsiteY111" fmla="*/ 6290 h 9838"/>
              <a:gd name="connsiteX112" fmla="*/ 0 w 10000"/>
              <a:gd name="connsiteY112" fmla="*/ 6290 h 9838"/>
              <a:gd name="connsiteX113" fmla="*/ 64 w 10000"/>
              <a:gd name="connsiteY113" fmla="*/ 6532 h 9838"/>
              <a:gd name="connsiteX114" fmla="*/ 64 w 10000"/>
              <a:gd name="connsiteY114" fmla="*/ 6613 h 9838"/>
              <a:gd name="connsiteX115" fmla="*/ 64 w 10000"/>
              <a:gd name="connsiteY115" fmla="*/ 6693 h 9838"/>
              <a:gd name="connsiteX116" fmla="*/ 64 w 10000"/>
              <a:gd name="connsiteY116" fmla="*/ 6774 h 9838"/>
              <a:gd name="connsiteX117" fmla="*/ 138 w 10000"/>
              <a:gd name="connsiteY117" fmla="*/ 6934 h 9838"/>
              <a:gd name="connsiteX118" fmla="*/ 348 w 10000"/>
              <a:gd name="connsiteY118" fmla="*/ 7015 h 9838"/>
              <a:gd name="connsiteX119" fmla="*/ 417 w 10000"/>
              <a:gd name="connsiteY119" fmla="*/ 7095 h 9838"/>
              <a:gd name="connsiteX120" fmla="*/ 417 w 10000"/>
              <a:gd name="connsiteY120" fmla="*/ 7258 h 9838"/>
              <a:gd name="connsiteX121" fmla="*/ 558 w 10000"/>
              <a:gd name="connsiteY121" fmla="*/ 7500 h 9838"/>
              <a:gd name="connsiteX122" fmla="*/ 632 w 10000"/>
              <a:gd name="connsiteY122" fmla="*/ 7500 h 9838"/>
              <a:gd name="connsiteX123" fmla="*/ 558 w 10000"/>
              <a:gd name="connsiteY123" fmla="*/ 7661 h 9838"/>
              <a:gd name="connsiteX124" fmla="*/ 487 w 10000"/>
              <a:gd name="connsiteY124" fmla="*/ 7581 h 9838"/>
              <a:gd name="connsiteX125" fmla="*/ 487 w 10000"/>
              <a:gd name="connsiteY125" fmla="*/ 7661 h 9838"/>
              <a:gd name="connsiteX126" fmla="*/ 558 w 10000"/>
              <a:gd name="connsiteY126" fmla="*/ 7821 h 9838"/>
              <a:gd name="connsiteX127" fmla="*/ 773 w 10000"/>
              <a:gd name="connsiteY127" fmla="*/ 7821 h 9838"/>
              <a:gd name="connsiteX128" fmla="*/ 842 w 10000"/>
              <a:gd name="connsiteY128" fmla="*/ 7903 h 9838"/>
              <a:gd name="connsiteX129" fmla="*/ 773 w 10000"/>
              <a:gd name="connsiteY129" fmla="*/ 7903 h 9838"/>
              <a:gd name="connsiteX130" fmla="*/ 842 w 10000"/>
              <a:gd name="connsiteY130" fmla="*/ 7983 h 9838"/>
              <a:gd name="connsiteX131" fmla="*/ 908 w 10000"/>
              <a:gd name="connsiteY131" fmla="*/ 7983 h 9838"/>
              <a:gd name="connsiteX132" fmla="*/ 976 w 10000"/>
              <a:gd name="connsiteY132" fmla="*/ 8144 h 9838"/>
              <a:gd name="connsiteX133" fmla="*/ 1049 w 10000"/>
              <a:gd name="connsiteY133" fmla="*/ 8225 h 9838"/>
              <a:gd name="connsiteX134" fmla="*/ 1116 w 10000"/>
              <a:gd name="connsiteY134" fmla="*/ 8144 h 9838"/>
              <a:gd name="connsiteX135" fmla="*/ 1469 w 10000"/>
              <a:gd name="connsiteY135" fmla="*/ 8387 h 9838"/>
              <a:gd name="connsiteX136" fmla="*/ 1400 w 10000"/>
              <a:gd name="connsiteY136" fmla="*/ 8709 h 9838"/>
              <a:gd name="connsiteX137" fmla="*/ 1329 w 10000"/>
              <a:gd name="connsiteY137" fmla="*/ 8629 h 9838"/>
              <a:gd name="connsiteX138" fmla="*/ 1255 w 10000"/>
              <a:gd name="connsiteY138" fmla="*/ 8709 h 9838"/>
              <a:gd name="connsiteX139" fmla="*/ 1255 w 10000"/>
              <a:gd name="connsiteY139" fmla="*/ 8870 h 9838"/>
              <a:gd name="connsiteX140" fmla="*/ 1329 w 10000"/>
              <a:gd name="connsiteY140" fmla="*/ 8790 h 9838"/>
              <a:gd name="connsiteX141" fmla="*/ 1400 w 10000"/>
              <a:gd name="connsiteY141" fmla="*/ 8870 h 9838"/>
              <a:gd name="connsiteX142" fmla="*/ 1191 w 10000"/>
              <a:gd name="connsiteY142" fmla="*/ 8951 h 9838"/>
              <a:gd name="connsiteX143" fmla="*/ 1255 w 10000"/>
              <a:gd name="connsiteY143" fmla="*/ 9032 h 9838"/>
              <a:gd name="connsiteX144" fmla="*/ 1116 w 10000"/>
              <a:gd name="connsiteY144" fmla="*/ 9193 h 9838"/>
              <a:gd name="connsiteX145" fmla="*/ 1049 w 10000"/>
              <a:gd name="connsiteY145" fmla="*/ 9193 h 9838"/>
              <a:gd name="connsiteX146" fmla="*/ 1116 w 10000"/>
              <a:gd name="connsiteY146" fmla="*/ 9193 h 9838"/>
              <a:gd name="connsiteX147" fmla="*/ 1400 w 10000"/>
              <a:gd name="connsiteY147" fmla="*/ 9516 h 9838"/>
              <a:gd name="connsiteX148" fmla="*/ 1749 w 10000"/>
              <a:gd name="connsiteY148" fmla="*/ 9516 h 9838"/>
              <a:gd name="connsiteX149" fmla="*/ 1889 w 10000"/>
              <a:gd name="connsiteY149" fmla="*/ 9596 h 9838"/>
              <a:gd name="connsiteX150" fmla="*/ 2028 w 10000"/>
              <a:gd name="connsiteY150" fmla="*/ 9596 h 9838"/>
              <a:gd name="connsiteX151" fmla="*/ 2168 w 10000"/>
              <a:gd name="connsiteY151" fmla="*/ 9758 h 9838"/>
              <a:gd name="connsiteX152" fmla="*/ 2238 w 10000"/>
              <a:gd name="connsiteY152" fmla="*/ 9838 h 9838"/>
              <a:gd name="connsiteX153" fmla="*/ 2304 w 10000"/>
              <a:gd name="connsiteY153" fmla="*/ 9838 h 9838"/>
              <a:gd name="connsiteX154" fmla="*/ 2378 w 10000"/>
              <a:gd name="connsiteY154" fmla="*/ 9758 h 9838"/>
              <a:gd name="connsiteX155" fmla="*/ 2238 w 10000"/>
              <a:gd name="connsiteY155" fmla="*/ 9596 h 9838"/>
              <a:gd name="connsiteX156" fmla="*/ 2238 w 10000"/>
              <a:gd name="connsiteY156" fmla="*/ 9436 h 9838"/>
              <a:gd name="connsiteX157" fmla="*/ 2168 w 10000"/>
              <a:gd name="connsiteY157" fmla="*/ 9273 h 9838"/>
              <a:gd name="connsiteX158" fmla="*/ 2304 w 10000"/>
              <a:gd name="connsiteY158" fmla="*/ 9032 h 9838"/>
              <a:gd name="connsiteX159" fmla="*/ 2378 w 10000"/>
              <a:gd name="connsiteY159" fmla="*/ 9112 h 9838"/>
              <a:gd name="connsiteX160" fmla="*/ 2447 w 10000"/>
              <a:gd name="connsiteY160" fmla="*/ 9032 h 9838"/>
              <a:gd name="connsiteX161" fmla="*/ 2447 w 10000"/>
              <a:gd name="connsiteY161" fmla="*/ 8951 h 9838"/>
              <a:gd name="connsiteX162" fmla="*/ 2378 w 10000"/>
              <a:gd name="connsiteY162" fmla="*/ 8951 h 9838"/>
              <a:gd name="connsiteX163" fmla="*/ 2447 w 10000"/>
              <a:gd name="connsiteY163" fmla="*/ 8870 h 9838"/>
              <a:gd name="connsiteX164" fmla="*/ 2378 w 10000"/>
              <a:gd name="connsiteY164" fmla="*/ 8709 h 9838"/>
              <a:gd name="connsiteX165" fmla="*/ 2238 w 10000"/>
              <a:gd name="connsiteY165" fmla="*/ 8709 h 9838"/>
              <a:gd name="connsiteX166" fmla="*/ 2168 w 10000"/>
              <a:gd name="connsiteY166" fmla="*/ 8548 h 9838"/>
              <a:gd name="connsiteX167" fmla="*/ 2238 w 10000"/>
              <a:gd name="connsiteY167" fmla="*/ 8144 h 9838"/>
              <a:gd name="connsiteX168" fmla="*/ 2378 w 10000"/>
              <a:gd name="connsiteY168" fmla="*/ 8307 h 9838"/>
              <a:gd name="connsiteX169" fmla="*/ 2447 w 10000"/>
              <a:gd name="connsiteY169" fmla="*/ 8307 h 9838"/>
              <a:gd name="connsiteX170" fmla="*/ 2378 w 10000"/>
              <a:gd name="connsiteY170" fmla="*/ 8144 h 9838"/>
              <a:gd name="connsiteX171" fmla="*/ 2589 w 10000"/>
              <a:gd name="connsiteY171" fmla="*/ 7903 h 9838"/>
              <a:gd name="connsiteX172" fmla="*/ 2730 w 10000"/>
              <a:gd name="connsiteY172" fmla="*/ 7983 h 9838"/>
              <a:gd name="connsiteX173" fmla="*/ 2798 w 10000"/>
              <a:gd name="connsiteY173" fmla="*/ 7903 h 9838"/>
              <a:gd name="connsiteX174" fmla="*/ 2933 w 10000"/>
              <a:gd name="connsiteY174" fmla="*/ 7983 h 9838"/>
              <a:gd name="connsiteX175" fmla="*/ 3150 w 10000"/>
              <a:gd name="connsiteY175" fmla="*/ 8144 h 9838"/>
              <a:gd name="connsiteX176" fmla="*/ 3285 w 10000"/>
              <a:gd name="connsiteY176" fmla="*/ 8064 h 9838"/>
              <a:gd name="connsiteX177" fmla="*/ 3427 w 10000"/>
              <a:gd name="connsiteY177" fmla="*/ 8064 h 9838"/>
              <a:gd name="connsiteX178" fmla="*/ 3499 w 10000"/>
              <a:gd name="connsiteY178" fmla="*/ 8144 h 9838"/>
              <a:gd name="connsiteX179" fmla="*/ 3778 w 10000"/>
              <a:gd name="connsiteY179" fmla="*/ 8144 h 9838"/>
              <a:gd name="connsiteX180" fmla="*/ 3844 w 10000"/>
              <a:gd name="connsiteY180" fmla="*/ 7983 h 9838"/>
              <a:gd name="connsiteX181" fmla="*/ 3633 w 10000"/>
              <a:gd name="connsiteY181" fmla="*/ 7903 h 9838"/>
              <a:gd name="connsiteX182" fmla="*/ 3778 w 10000"/>
              <a:gd name="connsiteY182" fmla="*/ 7821 h 9838"/>
              <a:gd name="connsiteX183" fmla="*/ 3703 w 10000"/>
              <a:gd name="connsiteY183" fmla="*/ 7742 h 9838"/>
              <a:gd name="connsiteX184" fmla="*/ 3778 w 10000"/>
              <a:gd name="connsiteY184" fmla="*/ 7661 h 9838"/>
              <a:gd name="connsiteX185" fmla="*/ 3778 w 10000"/>
              <a:gd name="connsiteY185" fmla="*/ 7419 h 9838"/>
              <a:gd name="connsiteX186" fmla="*/ 3913 w 10000"/>
              <a:gd name="connsiteY186" fmla="*/ 7500 h 9838"/>
              <a:gd name="connsiteX187" fmla="*/ 4545 w 10000"/>
              <a:gd name="connsiteY187" fmla="*/ 7258 h 9838"/>
              <a:gd name="connsiteX188" fmla="*/ 4545 w 10000"/>
              <a:gd name="connsiteY188" fmla="*/ 7177 h 9838"/>
              <a:gd name="connsiteX189" fmla="*/ 4617 w 10000"/>
              <a:gd name="connsiteY189" fmla="*/ 7177 h 9838"/>
              <a:gd name="connsiteX190" fmla="*/ 4820 w 10000"/>
              <a:gd name="connsiteY190" fmla="*/ 7177 h 9838"/>
              <a:gd name="connsiteX191" fmla="*/ 4898 w 10000"/>
              <a:gd name="connsiteY191" fmla="*/ 7339 h 9838"/>
              <a:gd name="connsiteX192" fmla="*/ 4898 w 10000"/>
              <a:gd name="connsiteY192" fmla="*/ 7419 h 9838"/>
              <a:gd name="connsiteX193" fmla="*/ 4963 w 10000"/>
              <a:gd name="connsiteY193" fmla="*/ 7419 h 9838"/>
              <a:gd name="connsiteX194" fmla="*/ 5103 w 10000"/>
              <a:gd name="connsiteY194" fmla="*/ 7500 h 9838"/>
              <a:gd name="connsiteX195" fmla="*/ 5103 w 10000"/>
              <a:gd name="connsiteY195" fmla="*/ 7581 h 9838"/>
              <a:gd name="connsiteX196" fmla="*/ 5243 w 10000"/>
              <a:gd name="connsiteY196" fmla="*/ 7581 h 9838"/>
              <a:gd name="connsiteX197" fmla="*/ 5383 w 10000"/>
              <a:gd name="connsiteY197" fmla="*/ 7419 h 9838"/>
              <a:gd name="connsiteX198" fmla="*/ 5523 w 10000"/>
              <a:gd name="connsiteY198" fmla="*/ 7339 h 9838"/>
              <a:gd name="connsiteX199" fmla="*/ 5603 w 10000"/>
              <a:gd name="connsiteY199" fmla="*/ 7581 h 9838"/>
              <a:gd name="connsiteX200" fmla="*/ 5875 w 10000"/>
              <a:gd name="connsiteY200" fmla="*/ 8144 h 9838"/>
              <a:gd name="connsiteX201" fmla="*/ 5947 w 10000"/>
              <a:gd name="connsiteY201" fmla="*/ 7983 h 9838"/>
              <a:gd name="connsiteX202" fmla="*/ 6016 w 10000"/>
              <a:gd name="connsiteY202" fmla="*/ 8144 h 9838"/>
              <a:gd name="connsiteX203" fmla="*/ 6226 w 10000"/>
              <a:gd name="connsiteY203" fmla="*/ 8064 h 9838"/>
              <a:gd name="connsiteX204" fmla="*/ 6437 w 10000"/>
              <a:gd name="connsiteY204" fmla="*/ 8307 h 9838"/>
              <a:gd name="connsiteX205" fmla="*/ 6572 w 10000"/>
              <a:gd name="connsiteY205" fmla="*/ 8387 h 9838"/>
              <a:gd name="connsiteX206" fmla="*/ 6572 w 10000"/>
              <a:gd name="connsiteY206" fmla="*/ 8307 h 9838"/>
              <a:gd name="connsiteX207" fmla="*/ 6647 w 10000"/>
              <a:gd name="connsiteY207" fmla="*/ 8468 h 9838"/>
              <a:gd name="connsiteX208" fmla="*/ 6572 w 10000"/>
              <a:gd name="connsiteY208" fmla="*/ 8548 h 9838"/>
              <a:gd name="connsiteX209" fmla="*/ 6716 w 10000"/>
              <a:gd name="connsiteY209" fmla="*/ 8468 h 9838"/>
              <a:gd name="connsiteX210" fmla="*/ 6783 w 10000"/>
              <a:gd name="connsiteY210" fmla="*/ 8387 h 9838"/>
              <a:gd name="connsiteX211" fmla="*/ 7130 w 10000"/>
              <a:gd name="connsiteY211" fmla="*/ 8144 h 9838"/>
              <a:gd name="connsiteX212" fmla="*/ 7413 w 10000"/>
              <a:gd name="connsiteY212" fmla="*/ 8225 h 9838"/>
              <a:gd name="connsiteX213" fmla="*/ 7550 w 10000"/>
              <a:gd name="connsiteY213" fmla="*/ 8307 h 9838"/>
              <a:gd name="connsiteX214" fmla="*/ 7830 w 10000"/>
              <a:gd name="connsiteY214" fmla="*/ 8307 h 9838"/>
              <a:gd name="connsiteX215" fmla="*/ 7830 w 10000"/>
              <a:gd name="connsiteY215" fmla="*/ 8144 h 9838"/>
              <a:gd name="connsiteX216" fmla="*/ 7830 w 10000"/>
              <a:gd name="connsiteY216" fmla="*/ 7983 h 9838"/>
              <a:gd name="connsiteX217" fmla="*/ 7971 w 10000"/>
              <a:gd name="connsiteY217" fmla="*/ 7903 h 9838"/>
              <a:gd name="connsiteX218" fmla="*/ 8247 w 10000"/>
              <a:gd name="connsiteY218" fmla="*/ 7983 h 9838"/>
              <a:gd name="connsiteX219" fmla="*/ 8392 w 10000"/>
              <a:gd name="connsiteY219" fmla="*/ 8225 h 9838"/>
              <a:gd name="connsiteX220" fmla="*/ 8462 w 10000"/>
              <a:gd name="connsiteY220" fmla="*/ 8225 h 9838"/>
              <a:gd name="connsiteX221" fmla="*/ 8602 w 10000"/>
              <a:gd name="connsiteY221" fmla="*/ 8144 h 9838"/>
              <a:gd name="connsiteX222" fmla="*/ 9026 w 10000"/>
              <a:gd name="connsiteY222" fmla="*/ 8387 h 9838"/>
              <a:gd name="connsiteX223" fmla="*/ 9231 w 10000"/>
              <a:gd name="connsiteY223" fmla="*/ 8468 h 9838"/>
              <a:gd name="connsiteX224" fmla="*/ 9510 w 10000"/>
              <a:gd name="connsiteY224" fmla="*/ 8387 h 9838"/>
              <a:gd name="connsiteX225" fmla="*/ 9652 w 10000"/>
              <a:gd name="connsiteY225" fmla="*/ 8225 h 9838"/>
              <a:gd name="connsiteX226" fmla="*/ 9860 w 10000"/>
              <a:gd name="connsiteY226" fmla="*/ 8307 h 9838"/>
              <a:gd name="connsiteX227" fmla="*/ 10000 w 10000"/>
              <a:gd name="connsiteY227" fmla="*/ 8387 h 9838"/>
              <a:gd name="connsiteX228" fmla="*/ 9580 w 10000"/>
              <a:gd name="connsiteY228" fmla="*/ 1613 h 9838"/>
              <a:gd name="connsiteX229" fmla="*/ 9173 w 10000"/>
              <a:gd name="connsiteY229" fmla="*/ 1371 h 9838"/>
              <a:gd name="connsiteX0" fmla="*/ 9173 w 10000"/>
              <a:gd name="connsiteY0" fmla="*/ 1394 h 10000"/>
              <a:gd name="connsiteX1" fmla="*/ 9173 w 10000"/>
              <a:gd name="connsiteY1" fmla="*/ 1394 h 10000"/>
              <a:gd name="connsiteX2" fmla="*/ 9092 w 10000"/>
              <a:gd name="connsiteY2" fmla="*/ 1475 h 10000"/>
              <a:gd name="connsiteX3" fmla="*/ 9173 w 10000"/>
              <a:gd name="connsiteY3" fmla="*/ 1640 h 10000"/>
              <a:gd name="connsiteX4" fmla="*/ 8881 w 10000"/>
              <a:gd name="connsiteY4" fmla="*/ 1803 h 10000"/>
              <a:gd name="connsiteX5" fmla="*/ 8809 w 10000"/>
              <a:gd name="connsiteY5" fmla="*/ 1803 h 10000"/>
              <a:gd name="connsiteX6" fmla="*/ 8881 w 10000"/>
              <a:gd name="connsiteY6" fmla="*/ 1557 h 10000"/>
              <a:gd name="connsiteX7" fmla="*/ 9580 w 10000"/>
              <a:gd name="connsiteY7" fmla="*/ 819 h 10000"/>
              <a:gd name="connsiteX8" fmla="*/ 9580 w 10000"/>
              <a:gd name="connsiteY8" fmla="*/ 327 h 10000"/>
              <a:gd name="connsiteX9" fmla="*/ 9304 w 10000"/>
              <a:gd name="connsiteY9" fmla="*/ 0 h 10000"/>
              <a:gd name="connsiteX10" fmla="*/ 8952 w 10000"/>
              <a:gd name="connsiteY10" fmla="*/ 0 h 10000"/>
              <a:gd name="connsiteX11" fmla="*/ 8952 w 10000"/>
              <a:gd name="connsiteY11" fmla="*/ 165 h 10000"/>
              <a:gd name="connsiteX12" fmla="*/ 8184 w 10000"/>
              <a:gd name="connsiteY12" fmla="*/ 165 h 10000"/>
              <a:gd name="connsiteX13" fmla="*/ 7971 w 10000"/>
              <a:gd name="connsiteY13" fmla="*/ 165 h 10000"/>
              <a:gd name="connsiteX14" fmla="*/ 7344 w 10000"/>
              <a:gd name="connsiteY14" fmla="*/ 327 h 10000"/>
              <a:gd name="connsiteX15" fmla="*/ 6783 w 10000"/>
              <a:gd name="connsiteY15" fmla="*/ 737 h 10000"/>
              <a:gd name="connsiteX16" fmla="*/ 6572 w 10000"/>
              <a:gd name="connsiteY16" fmla="*/ 1066 h 10000"/>
              <a:gd name="connsiteX17" fmla="*/ 6647 w 10000"/>
              <a:gd name="connsiteY17" fmla="*/ 1475 h 10000"/>
              <a:gd name="connsiteX18" fmla="*/ 5875 w 10000"/>
              <a:gd name="connsiteY18" fmla="*/ 1640 h 10000"/>
              <a:gd name="connsiteX19" fmla="*/ 5947 w 10000"/>
              <a:gd name="connsiteY19" fmla="*/ 2132 h 10000"/>
              <a:gd name="connsiteX20" fmla="*/ 6155 w 10000"/>
              <a:gd name="connsiteY20" fmla="*/ 2378 h 10000"/>
              <a:gd name="connsiteX21" fmla="*/ 6016 w 10000"/>
              <a:gd name="connsiteY21" fmla="*/ 2459 h 10000"/>
              <a:gd name="connsiteX22" fmla="*/ 5808 w 10000"/>
              <a:gd name="connsiteY22" fmla="*/ 2132 h 10000"/>
              <a:gd name="connsiteX23" fmla="*/ 5603 w 10000"/>
              <a:gd name="connsiteY23" fmla="*/ 2048 h 10000"/>
              <a:gd name="connsiteX24" fmla="*/ 5523 w 10000"/>
              <a:gd name="connsiteY24" fmla="*/ 2132 h 10000"/>
              <a:gd name="connsiteX25" fmla="*/ 5383 w 10000"/>
              <a:gd name="connsiteY25" fmla="*/ 1966 h 10000"/>
              <a:gd name="connsiteX26" fmla="*/ 5243 w 10000"/>
              <a:gd name="connsiteY26" fmla="*/ 1803 h 10000"/>
              <a:gd name="connsiteX27" fmla="*/ 5243 w 10000"/>
              <a:gd name="connsiteY27" fmla="*/ 1885 h 10000"/>
              <a:gd name="connsiteX28" fmla="*/ 5321 w 10000"/>
              <a:gd name="connsiteY28" fmla="*/ 2132 h 10000"/>
              <a:gd name="connsiteX29" fmla="*/ 5103 w 10000"/>
              <a:gd name="connsiteY29" fmla="*/ 2541 h 10000"/>
              <a:gd name="connsiteX30" fmla="*/ 5243 w 10000"/>
              <a:gd name="connsiteY30" fmla="*/ 2868 h 10000"/>
              <a:gd name="connsiteX31" fmla="*/ 5173 w 10000"/>
              <a:gd name="connsiteY31" fmla="*/ 3197 h 10000"/>
              <a:gd name="connsiteX32" fmla="*/ 5173 w 10000"/>
              <a:gd name="connsiteY32" fmla="*/ 3443 h 10000"/>
              <a:gd name="connsiteX33" fmla="*/ 5383 w 10000"/>
              <a:gd name="connsiteY33" fmla="*/ 3443 h 10000"/>
              <a:gd name="connsiteX34" fmla="*/ 5243 w 10000"/>
              <a:gd name="connsiteY34" fmla="*/ 3525 h 10000"/>
              <a:gd name="connsiteX35" fmla="*/ 5321 w 10000"/>
              <a:gd name="connsiteY35" fmla="*/ 3934 h 10000"/>
              <a:gd name="connsiteX36" fmla="*/ 4898 w 10000"/>
              <a:gd name="connsiteY36" fmla="*/ 4345 h 10000"/>
              <a:gd name="connsiteX37" fmla="*/ 4820 w 10000"/>
              <a:gd name="connsiteY37" fmla="*/ 4263 h 10000"/>
              <a:gd name="connsiteX38" fmla="*/ 5103 w 10000"/>
              <a:gd name="connsiteY38" fmla="*/ 3851 h 10000"/>
              <a:gd name="connsiteX39" fmla="*/ 5173 w 10000"/>
              <a:gd name="connsiteY39" fmla="*/ 3607 h 10000"/>
              <a:gd name="connsiteX40" fmla="*/ 5026 w 10000"/>
              <a:gd name="connsiteY40" fmla="*/ 3443 h 10000"/>
              <a:gd name="connsiteX41" fmla="*/ 5026 w 10000"/>
              <a:gd name="connsiteY41" fmla="*/ 2622 h 10000"/>
              <a:gd name="connsiteX42" fmla="*/ 4963 w 10000"/>
              <a:gd name="connsiteY42" fmla="*/ 2459 h 10000"/>
              <a:gd name="connsiteX43" fmla="*/ 5026 w 10000"/>
              <a:gd name="connsiteY43" fmla="*/ 1966 h 10000"/>
              <a:gd name="connsiteX44" fmla="*/ 4898 w 10000"/>
              <a:gd name="connsiteY44" fmla="*/ 1885 h 10000"/>
              <a:gd name="connsiteX45" fmla="*/ 4963 w 10000"/>
              <a:gd name="connsiteY45" fmla="*/ 1803 h 10000"/>
              <a:gd name="connsiteX46" fmla="*/ 4898 w 10000"/>
              <a:gd name="connsiteY46" fmla="*/ 1640 h 10000"/>
              <a:gd name="connsiteX47" fmla="*/ 4752 w 10000"/>
              <a:gd name="connsiteY47" fmla="*/ 1721 h 10000"/>
              <a:gd name="connsiteX48" fmla="*/ 4407 w 10000"/>
              <a:gd name="connsiteY48" fmla="*/ 2787 h 10000"/>
              <a:gd name="connsiteX49" fmla="*/ 4407 w 10000"/>
              <a:gd name="connsiteY49" fmla="*/ 3197 h 10000"/>
              <a:gd name="connsiteX50" fmla="*/ 4617 w 10000"/>
              <a:gd name="connsiteY50" fmla="*/ 3525 h 10000"/>
              <a:gd name="connsiteX51" fmla="*/ 4617 w 10000"/>
              <a:gd name="connsiteY51" fmla="*/ 3688 h 10000"/>
              <a:gd name="connsiteX52" fmla="*/ 4407 w 10000"/>
              <a:gd name="connsiteY52" fmla="*/ 3525 h 10000"/>
              <a:gd name="connsiteX53" fmla="*/ 3571 w 10000"/>
              <a:gd name="connsiteY53" fmla="*/ 2868 h 10000"/>
              <a:gd name="connsiteX54" fmla="*/ 3499 w 10000"/>
              <a:gd name="connsiteY54" fmla="*/ 3032 h 10000"/>
              <a:gd name="connsiteX55" fmla="*/ 3778 w 10000"/>
              <a:gd name="connsiteY55" fmla="*/ 3443 h 10000"/>
              <a:gd name="connsiteX56" fmla="*/ 3633 w 10000"/>
              <a:gd name="connsiteY56" fmla="*/ 3525 h 10000"/>
              <a:gd name="connsiteX57" fmla="*/ 3571 w 10000"/>
              <a:gd name="connsiteY57" fmla="*/ 3443 h 10000"/>
              <a:gd name="connsiteX58" fmla="*/ 3150 w 10000"/>
              <a:gd name="connsiteY58" fmla="*/ 3607 h 10000"/>
              <a:gd name="connsiteX59" fmla="*/ 3081 w 10000"/>
              <a:gd name="connsiteY59" fmla="*/ 3770 h 10000"/>
              <a:gd name="connsiteX60" fmla="*/ 3010 w 10000"/>
              <a:gd name="connsiteY60" fmla="*/ 3607 h 10000"/>
              <a:gd name="connsiteX61" fmla="*/ 3010 w 10000"/>
              <a:gd name="connsiteY61" fmla="*/ 3443 h 10000"/>
              <a:gd name="connsiteX62" fmla="*/ 2304 w 10000"/>
              <a:gd name="connsiteY62" fmla="*/ 3934 h 10000"/>
              <a:gd name="connsiteX63" fmla="*/ 2304 w 10000"/>
              <a:gd name="connsiteY63" fmla="*/ 4097 h 10000"/>
              <a:gd name="connsiteX64" fmla="*/ 2168 w 10000"/>
              <a:gd name="connsiteY64" fmla="*/ 4180 h 10000"/>
              <a:gd name="connsiteX65" fmla="*/ 1959 w 10000"/>
              <a:gd name="connsiteY65" fmla="*/ 4016 h 10000"/>
              <a:gd name="connsiteX66" fmla="*/ 2168 w 10000"/>
              <a:gd name="connsiteY66" fmla="*/ 3851 h 10000"/>
              <a:gd name="connsiteX67" fmla="*/ 2095 w 10000"/>
              <a:gd name="connsiteY67" fmla="*/ 3607 h 10000"/>
              <a:gd name="connsiteX68" fmla="*/ 1818 w 10000"/>
              <a:gd name="connsiteY68" fmla="*/ 3525 h 10000"/>
              <a:gd name="connsiteX69" fmla="*/ 1889 w 10000"/>
              <a:gd name="connsiteY69" fmla="*/ 3688 h 10000"/>
              <a:gd name="connsiteX70" fmla="*/ 1889 w 10000"/>
              <a:gd name="connsiteY70" fmla="*/ 4097 h 10000"/>
              <a:gd name="connsiteX71" fmla="*/ 1959 w 10000"/>
              <a:gd name="connsiteY71" fmla="*/ 4263 h 10000"/>
              <a:gd name="connsiteX72" fmla="*/ 1889 w 10000"/>
              <a:gd name="connsiteY72" fmla="*/ 4427 h 10000"/>
              <a:gd name="connsiteX73" fmla="*/ 1674 w 10000"/>
              <a:gd name="connsiteY73" fmla="*/ 4345 h 10000"/>
              <a:gd name="connsiteX74" fmla="*/ 1400 w 10000"/>
              <a:gd name="connsiteY74" fmla="*/ 4589 h 10000"/>
              <a:gd name="connsiteX75" fmla="*/ 1535 w 10000"/>
              <a:gd name="connsiteY75" fmla="*/ 4918 h 10000"/>
              <a:gd name="connsiteX76" fmla="*/ 1116 w 10000"/>
              <a:gd name="connsiteY76" fmla="*/ 4754 h 10000"/>
              <a:gd name="connsiteX77" fmla="*/ 1049 w 10000"/>
              <a:gd name="connsiteY77" fmla="*/ 4835 h 10000"/>
              <a:gd name="connsiteX78" fmla="*/ 1191 w 10000"/>
              <a:gd name="connsiteY78" fmla="*/ 5082 h 10000"/>
              <a:gd name="connsiteX79" fmla="*/ 1049 w 10000"/>
              <a:gd name="connsiteY79" fmla="*/ 5082 h 10000"/>
              <a:gd name="connsiteX80" fmla="*/ 842 w 10000"/>
              <a:gd name="connsiteY80" fmla="*/ 4918 h 10000"/>
              <a:gd name="connsiteX81" fmla="*/ 842 w 10000"/>
              <a:gd name="connsiteY81" fmla="*/ 4427 h 10000"/>
              <a:gd name="connsiteX82" fmla="*/ 632 w 10000"/>
              <a:gd name="connsiteY82" fmla="*/ 4263 h 10000"/>
              <a:gd name="connsiteX83" fmla="*/ 558 w 10000"/>
              <a:gd name="connsiteY83" fmla="*/ 4097 h 10000"/>
              <a:gd name="connsiteX84" fmla="*/ 697 w 10000"/>
              <a:gd name="connsiteY84" fmla="*/ 4180 h 10000"/>
              <a:gd name="connsiteX85" fmla="*/ 1255 w 10000"/>
              <a:gd name="connsiteY85" fmla="*/ 4427 h 10000"/>
              <a:gd name="connsiteX86" fmla="*/ 1601 w 10000"/>
              <a:gd name="connsiteY86" fmla="*/ 4180 h 10000"/>
              <a:gd name="connsiteX87" fmla="*/ 1535 w 10000"/>
              <a:gd name="connsiteY87" fmla="*/ 3934 h 10000"/>
              <a:gd name="connsiteX88" fmla="*/ 1116 w 10000"/>
              <a:gd name="connsiteY88" fmla="*/ 3443 h 10000"/>
              <a:gd name="connsiteX89" fmla="*/ 697 w 10000"/>
              <a:gd name="connsiteY89" fmla="*/ 3279 h 10000"/>
              <a:gd name="connsiteX90" fmla="*/ 697 w 10000"/>
              <a:gd name="connsiteY90" fmla="*/ 3197 h 10000"/>
              <a:gd name="connsiteX91" fmla="*/ 558 w 10000"/>
              <a:gd name="connsiteY91" fmla="*/ 3113 h 10000"/>
              <a:gd name="connsiteX92" fmla="*/ 417 w 10000"/>
              <a:gd name="connsiteY92" fmla="*/ 3197 h 10000"/>
              <a:gd name="connsiteX93" fmla="*/ 417 w 10000"/>
              <a:gd name="connsiteY93" fmla="*/ 3279 h 10000"/>
              <a:gd name="connsiteX94" fmla="*/ 348 w 10000"/>
              <a:gd name="connsiteY94" fmla="*/ 3279 h 10000"/>
              <a:gd name="connsiteX95" fmla="*/ 210 w 10000"/>
              <a:gd name="connsiteY95" fmla="*/ 3443 h 10000"/>
              <a:gd name="connsiteX96" fmla="*/ 210 w 10000"/>
              <a:gd name="connsiteY96" fmla="*/ 3688 h 10000"/>
              <a:gd name="connsiteX97" fmla="*/ 348 w 10000"/>
              <a:gd name="connsiteY97" fmla="*/ 3851 h 10000"/>
              <a:gd name="connsiteX98" fmla="*/ 282 w 10000"/>
              <a:gd name="connsiteY98" fmla="*/ 4097 h 10000"/>
              <a:gd name="connsiteX99" fmla="*/ 348 w 10000"/>
              <a:gd name="connsiteY99" fmla="*/ 4509 h 10000"/>
              <a:gd name="connsiteX100" fmla="*/ 282 w 10000"/>
              <a:gd name="connsiteY100" fmla="*/ 4754 h 10000"/>
              <a:gd name="connsiteX101" fmla="*/ 417 w 10000"/>
              <a:gd name="connsiteY101" fmla="*/ 5000 h 10000"/>
              <a:gd name="connsiteX102" fmla="*/ 348 w 10000"/>
              <a:gd name="connsiteY102" fmla="*/ 5164 h 10000"/>
              <a:gd name="connsiteX103" fmla="*/ 487 w 10000"/>
              <a:gd name="connsiteY103" fmla="*/ 5328 h 10000"/>
              <a:gd name="connsiteX104" fmla="*/ 487 w 10000"/>
              <a:gd name="connsiteY104" fmla="*/ 5410 h 10000"/>
              <a:gd name="connsiteX105" fmla="*/ 282 w 10000"/>
              <a:gd name="connsiteY105" fmla="*/ 5820 h 10000"/>
              <a:gd name="connsiteX106" fmla="*/ 64 w 10000"/>
              <a:gd name="connsiteY106" fmla="*/ 5984 h 10000"/>
              <a:gd name="connsiteX107" fmla="*/ 138 w 10000"/>
              <a:gd name="connsiteY107" fmla="*/ 5984 h 10000"/>
              <a:gd name="connsiteX108" fmla="*/ 282 w 10000"/>
              <a:gd name="connsiteY108" fmla="*/ 6148 h 10000"/>
              <a:gd name="connsiteX109" fmla="*/ 138 w 10000"/>
              <a:gd name="connsiteY109" fmla="*/ 6311 h 10000"/>
              <a:gd name="connsiteX110" fmla="*/ 64 w 10000"/>
              <a:gd name="connsiteY110" fmla="*/ 6394 h 10000"/>
              <a:gd name="connsiteX111" fmla="*/ 0 w 10000"/>
              <a:gd name="connsiteY111" fmla="*/ 6394 h 10000"/>
              <a:gd name="connsiteX112" fmla="*/ 64 w 10000"/>
              <a:gd name="connsiteY112" fmla="*/ 6640 h 10000"/>
              <a:gd name="connsiteX113" fmla="*/ 64 w 10000"/>
              <a:gd name="connsiteY113" fmla="*/ 6722 h 10000"/>
              <a:gd name="connsiteX114" fmla="*/ 64 w 10000"/>
              <a:gd name="connsiteY114" fmla="*/ 6803 h 10000"/>
              <a:gd name="connsiteX115" fmla="*/ 64 w 10000"/>
              <a:gd name="connsiteY115" fmla="*/ 6886 h 10000"/>
              <a:gd name="connsiteX116" fmla="*/ 138 w 10000"/>
              <a:gd name="connsiteY116" fmla="*/ 7048 h 10000"/>
              <a:gd name="connsiteX117" fmla="*/ 348 w 10000"/>
              <a:gd name="connsiteY117" fmla="*/ 7131 h 10000"/>
              <a:gd name="connsiteX118" fmla="*/ 417 w 10000"/>
              <a:gd name="connsiteY118" fmla="*/ 7212 h 10000"/>
              <a:gd name="connsiteX119" fmla="*/ 417 w 10000"/>
              <a:gd name="connsiteY119" fmla="*/ 7378 h 10000"/>
              <a:gd name="connsiteX120" fmla="*/ 558 w 10000"/>
              <a:gd name="connsiteY120" fmla="*/ 7624 h 10000"/>
              <a:gd name="connsiteX121" fmla="*/ 632 w 10000"/>
              <a:gd name="connsiteY121" fmla="*/ 7624 h 10000"/>
              <a:gd name="connsiteX122" fmla="*/ 558 w 10000"/>
              <a:gd name="connsiteY122" fmla="*/ 7787 h 10000"/>
              <a:gd name="connsiteX123" fmla="*/ 487 w 10000"/>
              <a:gd name="connsiteY123" fmla="*/ 7706 h 10000"/>
              <a:gd name="connsiteX124" fmla="*/ 487 w 10000"/>
              <a:gd name="connsiteY124" fmla="*/ 7787 h 10000"/>
              <a:gd name="connsiteX125" fmla="*/ 558 w 10000"/>
              <a:gd name="connsiteY125" fmla="*/ 7950 h 10000"/>
              <a:gd name="connsiteX126" fmla="*/ 773 w 10000"/>
              <a:gd name="connsiteY126" fmla="*/ 7950 h 10000"/>
              <a:gd name="connsiteX127" fmla="*/ 842 w 10000"/>
              <a:gd name="connsiteY127" fmla="*/ 8033 h 10000"/>
              <a:gd name="connsiteX128" fmla="*/ 773 w 10000"/>
              <a:gd name="connsiteY128" fmla="*/ 8033 h 10000"/>
              <a:gd name="connsiteX129" fmla="*/ 842 w 10000"/>
              <a:gd name="connsiteY129" fmla="*/ 8114 h 10000"/>
              <a:gd name="connsiteX130" fmla="*/ 908 w 10000"/>
              <a:gd name="connsiteY130" fmla="*/ 8114 h 10000"/>
              <a:gd name="connsiteX131" fmla="*/ 976 w 10000"/>
              <a:gd name="connsiteY131" fmla="*/ 8278 h 10000"/>
              <a:gd name="connsiteX132" fmla="*/ 1049 w 10000"/>
              <a:gd name="connsiteY132" fmla="*/ 8360 h 10000"/>
              <a:gd name="connsiteX133" fmla="*/ 1116 w 10000"/>
              <a:gd name="connsiteY133" fmla="*/ 8278 h 10000"/>
              <a:gd name="connsiteX134" fmla="*/ 1469 w 10000"/>
              <a:gd name="connsiteY134" fmla="*/ 8525 h 10000"/>
              <a:gd name="connsiteX135" fmla="*/ 1400 w 10000"/>
              <a:gd name="connsiteY135" fmla="*/ 8852 h 10000"/>
              <a:gd name="connsiteX136" fmla="*/ 1329 w 10000"/>
              <a:gd name="connsiteY136" fmla="*/ 8771 h 10000"/>
              <a:gd name="connsiteX137" fmla="*/ 1255 w 10000"/>
              <a:gd name="connsiteY137" fmla="*/ 8852 h 10000"/>
              <a:gd name="connsiteX138" fmla="*/ 1255 w 10000"/>
              <a:gd name="connsiteY138" fmla="*/ 9016 h 10000"/>
              <a:gd name="connsiteX139" fmla="*/ 1329 w 10000"/>
              <a:gd name="connsiteY139" fmla="*/ 8935 h 10000"/>
              <a:gd name="connsiteX140" fmla="*/ 1400 w 10000"/>
              <a:gd name="connsiteY140" fmla="*/ 9016 h 10000"/>
              <a:gd name="connsiteX141" fmla="*/ 1191 w 10000"/>
              <a:gd name="connsiteY141" fmla="*/ 9098 h 10000"/>
              <a:gd name="connsiteX142" fmla="*/ 1255 w 10000"/>
              <a:gd name="connsiteY142" fmla="*/ 9181 h 10000"/>
              <a:gd name="connsiteX143" fmla="*/ 1116 w 10000"/>
              <a:gd name="connsiteY143" fmla="*/ 9344 h 10000"/>
              <a:gd name="connsiteX144" fmla="*/ 1049 w 10000"/>
              <a:gd name="connsiteY144" fmla="*/ 9344 h 10000"/>
              <a:gd name="connsiteX145" fmla="*/ 1116 w 10000"/>
              <a:gd name="connsiteY145" fmla="*/ 9344 h 10000"/>
              <a:gd name="connsiteX146" fmla="*/ 1400 w 10000"/>
              <a:gd name="connsiteY146" fmla="*/ 9673 h 10000"/>
              <a:gd name="connsiteX147" fmla="*/ 1749 w 10000"/>
              <a:gd name="connsiteY147" fmla="*/ 9673 h 10000"/>
              <a:gd name="connsiteX148" fmla="*/ 1889 w 10000"/>
              <a:gd name="connsiteY148" fmla="*/ 9754 h 10000"/>
              <a:gd name="connsiteX149" fmla="*/ 2028 w 10000"/>
              <a:gd name="connsiteY149" fmla="*/ 9754 h 10000"/>
              <a:gd name="connsiteX150" fmla="*/ 2168 w 10000"/>
              <a:gd name="connsiteY150" fmla="*/ 9919 h 10000"/>
              <a:gd name="connsiteX151" fmla="*/ 2238 w 10000"/>
              <a:gd name="connsiteY151" fmla="*/ 10000 h 10000"/>
              <a:gd name="connsiteX152" fmla="*/ 2304 w 10000"/>
              <a:gd name="connsiteY152" fmla="*/ 10000 h 10000"/>
              <a:gd name="connsiteX153" fmla="*/ 2378 w 10000"/>
              <a:gd name="connsiteY153" fmla="*/ 9919 h 10000"/>
              <a:gd name="connsiteX154" fmla="*/ 2238 w 10000"/>
              <a:gd name="connsiteY154" fmla="*/ 9754 h 10000"/>
              <a:gd name="connsiteX155" fmla="*/ 2238 w 10000"/>
              <a:gd name="connsiteY155" fmla="*/ 9591 h 10000"/>
              <a:gd name="connsiteX156" fmla="*/ 2168 w 10000"/>
              <a:gd name="connsiteY156" fmla="*/ 9426 h 10000"/>
              <a:gd name="connsiteX157" fmla="*/ 2304 w 10000"/>
              <a:gd name="connsiteY157" fmla="*/ 9181 h 10000"/>
              <a:gd name="connsiteX158" fmla="*/ 2378 w 10000"/>
              <a:gd name="connsiteY158" fmla="*/ 9262 h 10000"/>
              <a:gd name="connsiteX159" fmla="*/ 2447 w 10000"/>
              <a:gd name="connsiteY159" fmla="*/ 9181 h 10000"/>
              <a:gd name="connsiteX160" fmla="*/ 2447 w 10000"/>
              <a:gd name="connsiteY160" fmla="*/ 9098 h 10000"/>
              <a:gd name="connsiteX161" fmla="*/ 2378 w 10000"/>
              <a:gd name="connsiteY161" fmla="*/ 9098 h 10000"/>
              <a:gd name="connsiteX162" fmla="*/ 2447 w 10000"/>
              <a:gd name="connsiteY162" fmla="*/ 9016 h 10000"/>
              <a:gd name="connsiteX163" fmla="*/ 2378 w 10000"/>
              <a:gd name="connsiteY163" fmla="*/ 8852 h 10000"/>
              <a:gd name="connsiteX164" fmla="*/ 2238 w 10000"/>
              <a:gd name="connsiteY164" fmla="*/ 8852 h 10000"/>
              <a:gd name="connsiteX165" fmla="*/ 2168 w 10000"/>
              <a:gd name="connsiteY165" fmla="*/ 8689 h 10000"/>
              <a:gd name="connsiteX166" fmla="*/ 2238 w 10000"/>
              <a:gd name="connsiteY166" fmla="*/ 8278 h 10000"/>
              <a:gd name="connsiteX167" fmla="*/ 2378 w 10000"/>
              <a:gd name="connsiteY167" fmla="*/ 8444 h 10000"/>
              <a:gd name="connsiteX168" fmla="*/ 2447 w 10000"/>
              <a:gd name="connsiteY168" fmla="*/ 8444 h 10000"/>
              <a:gd name="connsiteX169" fmla="*/ 2378 w 10000"/>
              <a:gd name="connsiteY169" fmla="*/ 8278 h 10000"/>
              <a:gd name="connsiteX170" fmla="*/ 2589 w 10000"/>
              <a:gd name="connsiteY170" fmla="*/ 8033 h 10000"/>
              <a:gd name="connsiteX171" fmla="*/ 2730 w 10000"/>
              <a:gd name="connsiteY171" fmla="*/ 8114 h 10000"/>
              <a:gd name="connsiteX172" fmla="*/ 2798 w 10000"/>
              <a:gd name="connsiteY172" fmla="*/ 8033 h 10000"/>
              <a:gd name="connsiteX173" fmla="*/ 2933 w 10000"/>
              <a:gd name="connsiteY173" fmla="*/ 8114 h 10000"/>
              <a:gd name="connsiteX174" fmla="*/ 3150 w 10000"/>
              <a:gd name="connsiteY174" fmla="*/ 8278 h 10000"/>
              <a:gd name="connsiteX175" fmla="*/ 3285 w 10000"/>
              <a:gd name="connsiteY175" fmla="*/ 8197 h 10000"/>
              <a:gd name="connsiteX176" fmla="*/ 3427 w 10000"/>
              <a:gd name="connsiteY176" fmla="*/ 8197 h 10000"/>
              <a:gd name="connsiteX177" fmla="*/ 3499 w 10000"/>
              <a:gd name="connsiteY177" fmla="*/ 8278 h 10000"/>
              <a:gd name="connsiteX178" fmla="*/ 3778 w 10000"/>
              <a:gd name="connsiteY178" fmla="*/ 8278 h 10000"/>
              <a:gd name="connsiteX179" fmla="*/ 3844 w 10000"/>
              <a:gd name="connsiteY179" fmla="*/ 8114 h 10000"/>
              <a:gd name="connsiteX180" fmla="*/ 3633 w 10000"/>
              <a:gd name="connsiteY180" fmla="*/ 8033 h 10000"/>
              <a:gd name="connsiteX181" fmla="*/ 3778 w 10000"/>
              <a:gd name="connsiteY181" fmla="*/ 7950 h 10000"/>
              <a:gd name="connsiteX182" fmla="*/ 3703 w 10000"/>
              <a:gd name="connsiteY182" fmla="*/ 7869 h 10000"/>
              <a:gd name="connsiteX183" fmla="*/ 3778 w 10000"/>
              <a:gd name="connsiteY183" fmla="*/ 7787 h 10000"/>
              <a:gd name="connsiteX184" fmla="*/ 3778 w 10000"/>
              <a:gd name="connsiteY184" fmla="*/ 7541 h 10000"/>
              <a:gd name="connsiteX185" fmla="*/ 3913 w 10000"/>
              <a:gd name="connsiteY185" fmla="*/ 7624 h 10000"/>
              <a:gd name="connsiteX186" fmla="*/ 4545 w 10000"/>
              <a:gd name="connsiteY186" fmla="*/ 7378 h 10000"/>
              <a:gd name="connsiteX187" fmla="*/ 4545 w 10000"/>
              <a:gd name="connsiteY187" fmla="*/ 7295 h 10000"/>
              <a:gd name="connsiteX188" fmla="*/ 4617 w 10000"/>
              <a:gd name="connsiteY188" fmla="*/ 7295 h 10000"/>
              <a:gd name="connsiteX189" fmla="*/ 4820 w 10000"/>
              <a:gd name="connsiteY189" fmla="*/ 7295 h 10000"/>
              <a:gd name="connsiteX190" fmla="*/ 4898 w 10000"/>
              <a:gd name="connsiteY190" fmla="*/ 7460 h 10000"/>
              <a:gd name="connsiteX191" fmla="*/ 4898 w 10000"/>
              <a:gd name="connsiteY191" fmla="*/ 7541 h 10000"/>
              <a:gd name="connsiteX192" fmla="*/ 4963 w 10000"/>
              <a:gd name="connsiteY192" fmla="*/ 7541 h 10000"/>
              <a:gd name="connsiteX193" fmla="*/ 5103 w 10000"/>
              <a:gd name="connsiteY193" fmla="*/ 7624 h 10000"/>
              <a:gd name="connsiteX194" fmla="*/ 5103 w 10000"/>
              <a:gd name="connsiteY194" fmla="*/ 7706 h 10000"/>
              <a:gd name="connsiteX195" fmla="*/ 5243 w 10000"/>
              <a:gd name="connsiteY195" fmla="*/ 7706 h 10000"/>
              <a:gd name="connsiteX196" fmla="*/ 5383 w 10000"/>
              <a:gd name="connsiteY196" fmla="*/ 7541 h 10000"/>
              <a:gd name="connsiteX197" fmla="*/ 5523 w 10000"/>
              <a:gd name="connsiteY197" fmla="*/ 7460 h 10000"/>
              <a:gd name="connsiteX198" fmla="*/ 5603 w 10000"/>
              <a:gd name="connsiteY198" fmla="*/ 7706 h 10000"/>
              <a:gd name="connsiteX199" fmla="*/ 5875 w 10000"/>
              <a:gd name="connsiteY199" fmla="*/ 8278 h 10000"/>
              <a:gd name="connsiteX200" fmla="*/ 5947 w 10000"/>
              <a:gd name="connsiteY200" fmla="*/ 8114 h 10000"/>
              <a:gd name="connsiteX201" fmla="*/ 6016 w 10000"/>
              <a:gd name="connsiteY201" fmla="*/ 8278 h 10000"/>
              <a:gd name="connsiteX202" fmla="*/ 6226 w 10000"/>
              <a:gd name="connsiteY202" fmla="*/ 8197 h 10000"/>
              <a:gd name="connsiteX203" fmla="*/ 6437 w 10000"/>
              <a:gd name="connsiteY203" fmla="*/ 8444 h 10000"/>
              <a:gd name="connsiteX204" fmla="*/ 6572 w 10000"/>
              <a:gd name="connsiteY204" fmla="*/ 8525 h 10000"/>
              <a:gd name="connsiteX205" fmla="*/ 6572 w 10000"/>
              <a:gd name="connsiteY205" fmla="*/ 8444 h 10000"/>
              <a:gd name="connsiteX206" fmla="*/ 6647 w 10000"/>
              <a:gd name="connsiteY206" fmla="*/ 8607 h 10000"/>
              <a:gd name="connsiteX207" fmla="*/ 6572 w 10000"/>
              <a:gd name="connsiteY207" fmla="*/ 8689 h 10000"/>
              <a:gd name="connsiteX208" fmla="*/ 6716 w 10000"/>
              <a:gd name="connsiteY208" fmla="*/ 8607 h 10000"/>
              <a:gd name="connsiteX209" fmla="*/ 6783 w 10000"/>
              <a:gd name="connsiteY209" fmla="*/ 8525 h 10000"/>
              <a:gd name="connsiteX210" fmla="*/ 7130 w 10000"/>
              <a:gd name="connsiteY210" fmla="*/ 8278 h 10000"/>
              <a:gd name="connsiteX211" fmla="*/ 7413 w 10000"/>
              <a:gd name="connsiteY211" fmla="*/ 8360 h 10000"/>
              <a:gd name="connsiteX212" fmla="*/ 7550 w 10000"/>
              <a:gd name="connsiteY212" fmla="*/ 8444 h 10000"/>
              <a:gd name="connsiteX213" fmla="*/ 7830 w 10000"/>
              <a:gd name="connsiteY213" fmla="*/ 8444 h 10000"/>
              <a:gd name="connsiteX214" fmla="*/ 7830 w 10000"/>
              <a:gd name="connsiteY214" fmla="*/ 8278 h 10000"/>
              <a:gd name="connsiteX215" fmla="*/ 7830 w 10000"/>
              <a:gd name="connsiteY215" fmla="*/ 8114 h 10000"/>
              <a:gd name="connsiteX216" fmla="*/ 7971 w 10000"/>
              <a:gd name="connsiteY216" fmla="*/ 8033 h 10000"/>
              <a:gd name="connsiteX217" fmla="*/ 8247 w 10000"/>
              <a:gd name="connsiteY217" fmla="*/ 8114 h 10000"/>
              <a:gd name="connsiteX218" fmla="*/ 8392 w 10000"/>
              <a:gd name="connsiteY218" fmla="*/ 8360 h 10000"/>
              <a:gd name="connsiteX219" fmla="*/ 8462 w 10000"/>
              <a:gd name="connsiteY219" fmla="*/ 8360 h 10000"/>
              <a:gd name="connsiteX220" fmla="*/ 8602 w 10000"/>
              <a:gd name="connsiteY220" fmla="*/ 8278 h 10000"/>
              <a:gd name="connsiteX221" fmla="*/ 9026 w 10000"/>
              <a:gd name="connsiteY221" fmla="*/ 8525 h 10000"/>
              <a:gd name="connsiteX222" fmla="*/ 9231 w 10000"/>
              <a:gd name="connsiteY222" fmla="*/ 8607 h 10000"/>
              <a:gd name="connsiteX223" fmla="*/ 9510 w 10000"/>
              <a:gd name="connsiteY223" fmla="*/ 8525 h 10000"/>
              <a:gd name="connsiteX224" fmla="*/ 9652 w 10000"/>
              <a:gd name="connsiteY224" fmla="*/ 8360 h 10000"/>
              <a:gd name="connsiteX225" fmla="*/ 9860 w 10000"/>
              <a:gd name="connsiteY225" fmla="*/ 8444 h 10000"/>
              <a:gd name="connsiteX226" fmla="*/ 10000 w 10000"/>
              <a:gd name="connsiteY226" fmla="*/ 8525 h 10000"/>
              <a:gd name="connsiteX227" fmla="*/ 9580 w 10000"/>
              <a:gd name="connsiteY227" fmla="*/ 1640 h 10000"/>
              <a:gd name="connsiteX228" fmla="*/ 9173 w 10000"/>
              <a:gd name="connsiteY228" fmla="*/ 1394 h 10000"/>
              <a:gd name="connsiteX0" fmla="*/ 9173 w 10000"/>
              <a:gd name="connsiteY0" fmla="*/ 1394 h 10000"/>
              <a:gd name="connsiteX1" fmla="*/ 9173 w 10000"/>
              <a:gd name="connsiteY1" fmla="*/ 1394 h 10000"/>
              <a:gd name="connsiteX2" fmla="*/ 9092 w 10000"/>
              <a:gd name="connsiteY2" fmla="*/ 1475 h 10000"/>
              <a:gd name="connsiteX3" fmla="*/ 9173 w 10000"/>
              <a:gd name="connsiteY3" fmla="*/ 1640 h 10000"/>
              <a:gd name="connsiteX4" fmla="*/ 8881 w 10000"/>
              <a:gd name="connsiteY4" fmla="*/ 1803 h 10000"/>
              <a:gd name="connsiteX5" fmla="*/ 8809 w 10000"/>
              <a:gd name="connsiteY5" fmla="*/ 1803 h 10000"/>
              <a:gd name="connsiteX6" fmla="*/ 8881 w 10000"/>
              <a:gd name="connsiteY6" fmla="*/ 1557 h 10000"/>
              <a:gd name="connsiteX7" fmla="*/ 9580 w 10000"/>
              <a:gd name="connsiteY7" fmla="*/ 819 h 10000"/>
              <a:gd name="connsiteX8" fmla="*/ 9580 w 10000"/>
              <a:gd name="connsiteY8" fmla="*/ 327 h 10000"/>
              <a:gd name="connsiteX9" fmla="*/ 9304 w 10000"/>
              <a:gd name="connsiteY9" fmla="*/ 0 h 10000"/>
              <a:gd name="connsiteX10" fmla="*/ 8952 w 10000"/>
              <a:gd name="connsiteY10" fmla="*/ 0 h 10000"/>
              <a:gd name="connsiteX11" fmla="*/ 8184 w 10000"/>
              <a:gd name="connsiteY11" fmla="*/ 165 h 10000"/>
              <a:gd name="connsiteX12" fmla="*/ 7971 w 10000"/>
              <a:gd name="connsiteY12" fmla="*/ 165 h 10000"/>
              <a:gd name="connsiteX13" fmla="*/ 7344 w 10000"/>
              <a:gd name="connsiteY13" fmla="*/ 327 h 10000"/>
              <a:gd name="connsiteX14" fmla="*/ 6783 w 10000"/>
              <a:gd name="connsiteY14" fmla="*/ 737 h 10000"/>
              <a:gd name="connsiteX15" fmla="*/ 6572 w 10000"/>
              <a:gd name="connsiteY15" fmla="*/ 1066 h 10000"/>
              <a:gd name="connsiteX16" fmla="*/ 6647 w 10000"/>
              <a:gd name="connsiteY16" fmla="*/ 1475 h 10000"/>
              <a:gd name="connsiteX17" fmla="*/ 5875 w 10000"/>
              <a:gd name="connsiteY17" fmla="*/ 1640 h 10000"/>
              <a:gd name="connsiteX18" fmla="*/ 5947 w 10000"/>
              <a:gd name="connsiteY18" fmla="*/ 2132 h 10000"/>
              <a:gd name="connsiteX19" fmla="*/ 6155 w 10000"/>
              <a:gd name="connsiteY19" fmla="*/ 2378 h 10000"/>
              <a:gd name="connsiteX20" fmla="*/ 6016 w 10000"/>
              <a:gd name="connsiteY20" fmla="*/ 2459 h 10000"/>
              <a:gd name="connsiteX21" fmla="*/ 5808 w 10000"/>
              <a:gd name="connsiteY21" fmla="*/ 2132 h 10000"/>
              <a:gd name="connsiteX22" fmla="*/ 5603 w 10000"/>
              <a:gd name="connsiteY22" fmla="*/ 2048 h 10000"/>
              <a:gd name="connsiteX23" fmla="*/ 5523 w 10000"/>
              <a:gd name="connsiteY23" fmla="*/ 2132 h 10000"/>
              <a:gd name="connsiteX24" fmla="*/ 5383 w 10000"/>
              <a:gd name="connsiteY24" fmla="*/ 1966 h 10000"/>
              <a:gd name="connsiteX25" fmla="*/ 5243 w 10000"/>
              <a:gd name="connsiteY25" fmla="*/ 1803 h 10000"/>
              <a:gd name="connsiteX26" fmla="*/ 5243 w 10000"/>
              <a:gd name="connsiteY26" fmla="*/ 1885 h 10000"/>
              <a:gd name="connsiteX27" fmla="*/ 5321 w 10000"/>
              <a:gd name="connsiteY27" fmla="*/ 2132 h 10000"/>
              <a:gd name="connsiteX28" fmla="*/ 5103 w 10000"/>
              <a:gd name="connsiteY28" fmla="*/ 2541 h 10000"/>
              <a:gd name="connsiteX29" fmla="*/ 5243 w 10000"/>
              <a:gd name="connsiteY29" fmla="*/ 2868 h 10000"/>
              <a:gd name="connsiteX30" fmla="*/ 5173 w 10000"/>
              <a:gd name="connsiteY30" fmla="*/ 3197 h 10000"/>
              <a:gd name="connsiteX31" fmla="*/ 5173 w 10000"/>
              <a:gd name="connsiteY31" fmla="*/ 3443 h 10000"/>
              <a:gd name="connsiteX32" fmla="*/ 5383 w 10000"/>
              <a:gd name="connsiteY32" fmla="*/ 3443 h 10000"/>
              <a:gd name="connsiteX33" fmla="*/ 5243 w 10000"/>
              <a:gd name="connsiteY33" fmla="*/ 3525 h 10000"/>
              <a:gd name="connsiteX34" fmla="*/ 5321 w 10000"/>
              <a:gd name="connsiteY34" fmla="*/ 3934 h 10000"/>
              <a:gd name="connsiteX35" fmla="*/ 4898 w 10000"/>
              <a:gd name="connsiteY35" fmla="*/ 4345 h 10000"/>
              <a:gd name="connsiteX36" fmla="*/ 4820 w 10000"/>
              <a:gd name="connsiteY36" fmla="*/ 4263 h 10000"/>
              <a:gd name="connsiteX37" fmla="*/ 5103 w 10000"/>
              <a:gd name="connsiteY37" fmla="*/ 3851 h 10000"/>
              <a:gd name="connsiteX38" fmla="*/ 5173 w 10000"/>
              <a:gd name="connsiteY38" fmla="*/ 3607 h 10000"/>
              <a:gd name="connsiteX39" fmla="*/ 5026 w 10000"/>
              <a:gd name="connsiteY39" fmla="*/ 3443 h 10000"/>
              <a:gd name="connsiteX40" fmla="*/ 5026 w 10000"/>
              <a:gd name="connsiteY40" fmla="*/ 2622 h 10000"/>
              <a:gd name="connsiteX41" fmla="*/ 4963 w 10000"/>
              <a:gd name="connsiteY41" fmla="*/ 2459 h 10000"/>
              <a:gd name="connsiteX42" fmla="*/ 5026 w 10000"/>
              <a:gd name="connsiteY42" fmla="*/ 1966 h 10000"/>
              <a:gd name="connsiteX43" fmla="*/ 4898 w 10000"/>
              <a:gd name="connsiteY43" fmla="*/ 1885 h 10000"/>
              <a:gd name="connsiteX44" fmla="*/ 4963 w 10000"/>
              <a:gd name="connsiteY44" fmla="*/ 1803 h 10000"/>
              <a:gd name="connsiteX45" fmla="*/ 4898 w 10000"/>
              <a:gd name="connsiteY45" fmla="*/ 1640 h 10000"/>
              <a:gd name="connsiteX46" fmla="*/ 4752 w 10000"/>
              <a:gd name="connsiteY46" fmla="*/ 1721 h 10000"/>
              <a:gd name="connsiteX47" fmla="*/ 4407 w 10000"/>
              <a:gd name="connsiteY47" fmla="*/ 2787 h 10000"/>
              <a:gd name="connsiteX48" fmla="*/ 4407 w 10000"/>
              <a:gd name="connsiteY48" fmla="*/ 3197 h 10000"/>
              <a:gd name="connsiteX49" fmla="*/ 4617 w 10000"/>
              <a:gd name="connsiteY49" fmla="*/ 3525 h 10000"/>
              <a:gd name="connsiteX50" fmla="*/ 4617 w 10000"/>
              <a:gd name="connsiteY50" fmla="*/ 3688 h 10000"/>
              <a:gd name="connsiteX51" fmla="*/ 4407 w 10000"/>
              <a:gd name="connsiteY51" fmla="*/ 3525 h 10000"/>
              <a:gd name="connsiteX52" fmla="*/ 3571 w 10000"/>
              <a:gd name="connsiteY52" fmla="*/ 2868 h 10000"/>
              <a:gd name="connsiteX53" fmla="*/ 3499 w 10000"/>
              <a:gd name="connsiteY53" fmla="*/ 3032 h 10000"/>
              <a:gd name="connsiteX54" fmla="*/ 3778 w 10000"/>
              <a:gd name="connsiteY54" fmla="*/ 3443 h 10000"/>
              <a:gd name="connsiteX55" fmla="*/ 3633 w 10000"/>
              <a:gd name="connsiteY55" fmla="*/ 3525 h 10000"/>
              <a:gd name="connsiteX56" fmla="*/ 3571 w 10000"/>
              <a:gd name="connsiteY56" fmla="*/ 3443 h 10000"/>
              <a:gd name="connsiteX57" fmla="*/ 3150 w 10000"/>
              <a:gd name="connsiteY57" fmla="*/ 3607 h 10000"/>
              <a:gd name="connsiteX58" fmla="*/ 3081 w 10000"/>
              <a:gd name="connsiteY58" fmla="*/ 3770 h 10000"/>
              <a:gd name="connsiteX59" fmla="*/ 3010 w 10000"/>
              <a:gd name="connsiteY59" fmla="*/ 3607 h 10000"/>
              <a:gd name="connsiteX60" fmla="*/ 3010 w 10000"/>
              <a:gd name="connsiteY60" fmla="*/ 3443 h 10000"/>
              <a:gd name="connsiteX61" fmla="*/ 2304 w 10000"/>
              <a:gd name="connsiteY61" fmla="*/ 3934 h 10000"/>
              <a:gd name="connsiteX62" fmla="*/ 2304 w 10000"/>
              <a:gd name="connsiteY62" fmla="*/ 4097 h 10000"/>
              <a:gd name="connsiteX63" fmla="*/ 2168 w 10000"/>
              <a:gd name="connsiteY63" fmla="*/ 4180 h 10000"/>
              <a:gd name="connsiteX64" fmla="*/ 1959 w 10000"/>
              <a:gd name="connsiteY64" fmla="*/ 4016 h 10000"/>
              <a:gd name="connsiteX65" fmla="*/ 2168 w 10000"/>
              <a:gd name="connsiteY65" fmla="*/ 3851 h 10000"/>
              <a:gd name="connsiteX66" fmla="*/ 2095 w 10000"/>
              <a:gd name="connsiteY66" fmla="*/ 3607 h 10000"/>
              <a:gd name="connsiteX67" fmla="*/ 1818 w 10000"/>
              <a:gd name="connsiteY67" fmla="*/ 3525 h 10000"/>
              <a:gd name="connsiteX68" fmla="*/ 1889 w 10000"/>
              <a:gd name="connsiteY68" fmla="*/ 3688 h 10000"/>
              <a:gd name="connsiteX69" fmla="*/ 1889 w 10000"/>
              <a:gd name="connsiteY69" fmla="*/ 4097 h 10000"/>
              <a:gd name="connsiteX70" fmla="*/ 1959 w 10000"/>
              <a:gd name="connsiteY70" fmla="*/ 4263 h 10000"/>
              <a:gd name="connsiteX71" fmla="*/ 1889 w 10000"/>
              <a:gd name="connsiteY71" fmla="*/ 4427 h 10000"/>
              <a:gd name="connsiteX72" fmla="*/ 1674 w 10000"/>
              <a:gd name="connsiteY72" fmla="*/ 4345 h 10000"/>
              <a:gd name="connsiteX73" fmla="*/ 1400 w 10000"/>
              <a:gd name="connsiteY73" fmla="*/ 4589 h 10000"/>
              <a:gd name="connsiteX74" fmla="*/ 1535 w 10000"/>
              <a:gd name="connsiteY74" fmla="*/ 4918 h 10000"/>
              <a:gd name="connsiteX75" fmla="*/ 1116 w 10000"/>
              <a:gd name="connsiteY75" fmla="*/ 4754 h 10000"/>
              <a:gd name="connsiteX76" fmla="*/ 1049 w 10000"/>
              <a:gd name="connsiteY76" fmla="*/ 4835 h 10000"/>
              <a:gd name="connsiteX77" fmla="*/ 1191 w 10000"/>
              <a:gd name="connsiteY77" fmla="*/ 5082 h 10000"/>
              <a:gd name="connsiteX78" fmla="*/ 1049 w 10000"/>
              <a:gd name="connsiteY78" fmla="*/ 5082 h 10000"/>
              <a:gd name="connsiteX79" fmla="*/ 842 w 10000"/>
              <a:gd name="connsiteY79" fmla="*/ 4918 h 10000"/>
              <a:gd name="connsiteX80" fmla="*/ 842 w 10000"/>
              <a:gd name="connsiteY80" fmla="*/ 4427 h 10000"/>
              <a:gd name="connsiteX81" fmla="*/ 632 w 10000"/>
              <a:gd name="connsiteY81" fmla="*/ 4263 h 10000"/>
              <a:gd name="connsiteX82" fmla="*/ 558 w 10000"/>
              <a:gd name="connsiteY82" fmla="*/ 4097 h 10000"/>
              <a:gd name="connsiteX83" fmla="*/ 697 w 10000"/>
              <a:gd name="connsiteY83" fmla="*/ 4180 h 10000"/>
              <a:gd name="connsiteX84" fmla="*/ 1255 w 10000"/>
              <a:gd name="connsiteY84" fmla="*/ 4427 h 10000"/>
              <a:gd name="connsiteX85" fmla="*/ 1601 w 10000"/>
              <a:gd name="connsiteY85" fmla="*/ 4180 h 10000"/>
              <a:gd name="connsiteX86" fmla="*/ 1535 w 10000"/>
              <a:gd name="connsiteY86" fmla="*/ 3934 h 10000"/>
              <a:gd name="connsiteX87" fmla="*/ 1116 w 10000"/>
              <a:gd name="connsiteY87" fmla="*/ 3443 h 10000"/>
              <a:gd name="connsiteX88" fmla="*/ 697 w 10000"/>
              <a:gd name="connsiteY88" fmla="*/ 3279 h 10000"/>
              <a:gd name="connsiteX89" fmla="*/ 697 w 10000"/>
              <a:gd name="connsiteY89" fmla="*/ 3197 h 10000"/>
              <a:gd name="connsiteX90" fmla="*/ 558 w 10000"/>
              <a:gd name="connsiteY90" fmla="*/ 3113 h 10000"/>
              <a:gd name="connsiteX91" fmla="*/ 417 w 10000"/>
              <a:gd name="connsiteY91" fmla="*/ 3197 h 10000"/>
              <a:gd name="connsiteX92" fmla="*/ 417 w 10000"/>
              <a:gd name="connsiteY92" fmla="*/ 3279 h 10000"/>
              <a:gd name="connsiteX93" fmla="*/ 348 w 10000"/>
              <a:gd name="connsiteY93" fmla="*/ 3279 h 10000"/>
              <a:gd name="connsiteX94" fmla="*/ 210 w 10000"/>
              <a:gd name="connsiteY94" fmla="*/ 3443 h 10000"/>
              <a:gd name="connsiteX95" fmla="*/ 210 w 10000"/>
              <a:gd name="connsiteY95" fmla="*/ 3688 h 10000"/>
              <a:gd name="connsiteX96" fmla="*/ 348 w 10000"/>
              <a:gd name="connsiteY96" fmla="*/ 3851 h 10000"/>
              <a:gd name="connsiteX97" fmla="*/ 282 w 10000"/>
              <a:gd name="connsiteY97" fmla="*/ 4097 h 10000"/>
              <a:gd name="connsiteX98" fmla="*/ 348 w 10000"/>
              <a:gd name="connsiteY98" fmla="*/ 4509 h 10000"/>
              <a:gd name="connsiteX99" fmla="*/ 282 w 10000"/>
              <a:gd name="connsiteY99" fmla="*/ 4754 h 10000"/>
              <a:gd name="connsiteX100" fmla="*/ 417 w 10000"/>
              <a:gd name="connsiteY100" fmla="*/ 5000 h 10000"/>
              <a:gd name="connsiteX101" fmla="*/ 348 w 10000"/>
              <a:gd name="connsiteY101" fmla="*/ 5164 h 10000"/>
              <a:gd name="connsiteX102" fmla="*/ 487 w 10000"/>
              <a:gd name="connsiteY102" fmla="*/ 5328 h 10000"/>
              <a:gd name="connsiteX103" fmla="*/ 487 w 10000"/>
              <a:gd name="connsiteY103" fmla="*/ 5410 h 10000"/>
              <a:gd name="connsiteX104" fmla="*/ 282 w 10000"/>
              <a:gd name="connsiteY104" fmla="*/ 5820 h 10000"/>
              <a:gd name="connsiteX105" fmla="*/ 64 w 10000"/>
              <a:gd name="connsiteY105" fmla="*/ 5984 h 10000"/>
              <a:gd name="connsiteX106" fmla="*/ 138 w 10000"/>
              <a:gd name="connsiteY106" fmla="*/ 5984 h 10000"/>
              <a:gd name="connsiteX107" fmla="*/ 282 w 10000"/>
              <a:gd name="connsiteY107" fmla="*/ 6148 h 10000"/>
              <a:gd name="connsiteX108" fmla="*/ 138 w 10000"/>
              <a:gd name="connsiteY108" fmla="*/ 6311 h 10000"/>
              <a:gd name="connsiteX109" fmla="*/ 64 w 10000"/>
              <a:gd name="connsiteY109" fmla="*/ 6394 h 10000"/>
              <a:gd name="connsiteX110" fmla="*/ 0 w 10000"/>
              <a:gd name="connsiteY110" fmla="*/ 6394 h 10000"/>
              <a:gd name="connsiteX111" fmla="*/ 64 w 10000"/>
              <a:gd name="connsiteY111" fmla="*/ 6640 h 10000"/>
              <a:gd name="connsiteX112" fmla="*/ 64 w 10000"/>
              <a:gd name="connsiteY112" fmla="*/ 6722 h 10000"/>
              <a:gd name="connsiteX113" fmla="*/ 64 w 10000"/>
              <a:gd name="connsiteY113" fmla="*/ 6803 h 10000"/>
              <a:gd name="connsiteX114" fmla="*/ 64 w 10000"/>
              <a:gd name="connsiteY114" fmla="*/ 6886 h 10000"/>
              <a:gd name="connsiteX115" fmla="*/ 138 w 10000"/>
              <a:gd name="connsiteY115" fmla="*/ 7048 h 10000"/>
              <a:gd name="connsiteX116" fmla="*/ 348 w 10000"/>
              <a:gd name="connsiteY116" fmla="*/ 7131 h 10000"/>
              <a:gd name="connsiteX117" fmla="*/ 417 w 10000"/>
              <a:gd name="connsiteY117" fmla="*/ 7212 h 10000"/>
              <a:gd name="connsiteX118" fmla="*/ 417 w 10000"/>
              <a:gd name="connsiteY118" fmla="*/ 7378 h 10000"/>
              <a:gd name="connsiteX119" fmla="*/ 558 w 10000"/>
              <a:gd name="connsiteY119" fmla="*/ 7624 h 10000"/>
              <a:gd name="connsiteX120" fmla="*/ 632 w 10000"/>
              <a:gd name="connsiteY120" fmla="*/ 7624 h 10000"/>
              <a:gd name="connsiteX121" fmla="*/ 558 w 10000"/>
              <a:gd name="connsiteY121" fmla="*/ 7787 h 10000"/>
              <a:gd name="connsiteX122" fmla="*/ 487 w 10000"/>
              <a:gd name="connsiteY122" fmla="*/ 7706 h 10000"/>
              <a:gd name="connsiteX123" fmla="*/ 487 w 10000"/>
              <a:gd name="connsiteY123" fmla="*/ 7787 h 10000"/>
              <a:gd name="connsiteX124" fmla="*/ 558 w 10000"/>
              <a:gd name="connsiteY124" fmla="*/ 7950 h 10000"/>
              <a:gd name="connsiteX125" fmla="*/ 773 w 10000"/>
              <a:gd name="connsiteY125" fmla="*/ 7950 h 10000"/>
              <a:gd name="connsiteX126" fmla="*/ 842 w 10000"/>
              <a:gd name="connsiteY126" fmla="*/ 8033 h 10000"/>
              <a:gd name="connsiteX127" fmla="*/ 773 w 10000"/>
              <a:gd name="connsiteY127" fmla="*/ 8033 h 10000"/>
              <a:gd name="connsiteX128" fmla="*/ 842 w 10000"/>
              <a:gd name="connsiteY128" fmla="*/ 8114 h 10000"/>
              <a:gd name="connsiteX129" fmla="*/ 908 w 10000"/>
              <a:gd name="connsiteY129" fmla="*/ 8114 h 10000"/>
              <a:gd name="connsiteX130" fmla="*/ 976 w 10000"/>
              <a:gd name="connsiteY130" fmla="*/ 8278 h 10000"/>
              <a:gd name="connsiteX131" fmla="*/ 1049 w 10000"/>
              <a:gd name="connsiteY131" fmla="*/ 8360 h 10000"/>
              <a:gd name="connsiteX132" fmla="*/ 1116 w 10000"/>
              <a:gd name="connsiteY132" fmla="*/ 8278 h 10000"/>
              <a:gd name="connsiteX133" fmla="*/ 1469 w 10000"/>
              <a:gd name="connsiteY133" fmla="*/ 8525 h 10000"/>
              <a:gd name="connsiteX134" fmla="*/ 1400 w 10000"/>
              <a:gd name="connsiteY134" fmla="*/ 8852 h 10000"/>
              <a:gd name="connsiteX135" fmla="*/ 1329 w 10000"/>
              <a:gd name="connsiteY135" fmla="*/ 8771 h 10000"/>
              <a:gd name="connsiteX136" fmla="*/ 1255 w 10000"/>
              <a:gd name="connsiteY136" fmla="*/ 8852 h 10000"/>
              <a:gd name="connsiteX137" fmla="*/ 1255 w 10000"/>
              <a:gd name="connsiteY137" fmla="*/ 9016 h 10000"/>
              <a:gd name="connsiteX138" fmla="*/ 1329 w 10000"/>
              <a:gd name="connsiteY138" fmla="*/ 8935 h 10000"/>
              <a:gd name="connsiteX139" fmla="*/ 1400 w 10000"/>
              <a:gd name="connsiteY139" fmla="*/ 9016 h 10000"/>
              <a:gd name="connsiteX140" fmla="*/ 1191 w 10000"/>
              <a:gd name="connsiteY140" fmla="*/ 9098 h 10000"/>
              <a:gd name="connsiteX141" fmla="*/ 1255 w 10000"/>
              <a:gd name="connsiteY141" fmla="*/ 9181 h 10000"/>
              <a:gd name="connsiteX142" fmla="*/ 1116 w 10000"/>
              <a:gd name="connsiteY142" fmla="*/ 9344 h 10000"/>
              <a:gd name="connsiteX143" fmla="*/ 1049 w 10000"/>
              <a:gd name="connsiteY143" fmla="*/ 9344 h 10000"/>
              <a:gd name="connsiteX144" fmla="*/ 1116 w 10000"/>
              <a:gd name="connsiteY144" fmla="*/ 9344 h 10000"/>
              <a:gd name="connsiteX145" fmla="*/ 1400 w 10000"/>
              <a:gd name="connsiteY145" fmla="*/ 9673 h 10000"/>
              <a:gd name="connsiteX146" fmla="*/ 1749 w 10000"/>
              <a:gd name="connsiteY146" fmla="*/ 9673 h 10000"/>
              <a:gd name="connsiteX147" fmla="*/ 1889 w 10000"/>
              <a:gd name="connsiteY147" fmla="*/ 9754 h 10000"/>
              <a:gd name="connsiteX148" fmla="*/ 2028 w 10000"/>
              <a:gd name="connsiteY148" fmla="*/ 9754 h 10000"/>
              <a:gd name="connsiteX149" fmla="*/ 2168 w 10000"/>
              <a:gd name="connsiteY149" fmla="*/ 9919 h 10000"/>
              <a:gd name="connsiteX150" fmla="*/ 2238 w 10000"/>
              <a:gd name="connsiteY150" fmla="*/ 10000 h 10000"/>
              <a:gd name="connsiteX151" fmla="*/ 2304 w 10000"/>
              <a:gd name="connsiteY151" fmla="*/ 10000 h 10000"/>
              <a:gd name="connsiteX152" fmla="*/ 2378 w 10000"/>
              <a:gd name="connsiteY152" fmla="*/ 9919 h 10000"/>
              <a:gd name="connsiteX153" fmla="*/ 2238 w 10000"/>
              <a:gd name="connsiteY153" fmla="*/ 9754 h 10000"/>
              <a:gd name="connsiteX154" fmla="*/ 2238 w 10000"/>
              <a:gd name="connsiteY154" fmla="*/ 9591 h 10000"/>
              <a:gd name="connsiteX155" fmla="*/ 2168 w 10000"/>
              <a:gd name="connsiteY155" fmla="*/ 9426 h 10000"/>
              <a:gd name="connsiteX156" fmla="*/ 2304 w 10000"/>
              <a:gd name="connsiteY156" fmla="*/ 9181 h 10000"/>
              <a:gd name="connsiteX157" fmla="*/ 2378 w 10000"/>
              <a:gd name="connsiteY157" fmla="*/ 9262 h 10000"/>
              <a:gd name="connsiteX158" fmla="*/ 2447 w 10000"/>
              <a:gd name="connsiteY158" fmla="*/ 9181 h 10000"/>
              <a:gd name="connsiteX159" fmla="*/ 2447 w 10000"/>
              <a:gd name="connsiteY159" fmla="*/ 9098 h 10000"/>
              <a:gd name="connsiteX160" fmla="*/ 2378 w 10000"/>
              <a:gd name="connsiteY160" fmla="*/ 9098 h 10000"/>
              <a:gd name="connsiteX161" fmla="*/ 2447 w 10000"/>
              <a:gd name="connsiteY161" fmla="*/ 9016 h 10000"/>
              <a:gd name="connsiteX162" fmla="*/ 2378 w 10000"/>
              <a:gd name="connsiteY162" fmla="*/ 8852 h 10000"/>
              <a:gd name="connsiteX163" fmla="*/ 2238 w 10000"/>
              <a:gd name="connsiteY163" fmla="*/ 8852 h 10000"/>
              <a:gd name="connsiteX164" fmla="*/ 2168 w 10000"/>
              <a:gd name="connsiteY164" fmla="*/ 8689 h 10000"/>
              <a:gd name="connsiteX165" fmla="*/ 2238 w 10000"/>
              <a:gd name="connsiteY165" fmla="*/ 8278 h 10000"/>
              <a:gd name="connsiteX166" fmla="*/ 2378 w 10000"/>
              <a:gd name="connsiteY166" fmla="*/ 8444 h 10000"/>
              <a:gd name="connsiteX167" fmla="*/ 2447 w 10000"/>
              <a:gd name="connsiteY167" fmla="*/ 8444 h 10000"/>
              <a:gd name="connsiteX168" fmla="*/ 2378 w 10000"/>
              <a:gd name="connsiteY168" fmla="*/ 8278 h 10000"/>
              <a:gd name="connsiteX169" fmla="*/ 2589 w 10000"/>
              <a:gd name="connsiteY169" fmla="*/ 8033 h 10000"/>
              <a:gd name="connsiteX170" fmla="*/ 2730 w 10000"/>
              <a:gd name="connsiteY170" fmla="*/ 8114 h 10000"/>
              <a:gd name="connsiteX171" fmla="*/ 2798 w 10000"/>
              <a:gd name="connsiteY171" fmla="*/ 8033 h 10000"/>
              <a:gd name="connsiteX172" fmla="*/ 2933 w 10000"/>
              <a:gd name="connsiteY172" fmla="*/ 8114 h 10000"/>
              <a:gd name="connsiteX173" fmla="*/ 3150 w 10000"/>
              <a:gd name="connsiteY173" fmla="*/ 8278 h 10000"/>
              <a:gd name="connsiteX174" fmla="*/ 3285 w 10000"/>
              <a:gd name="connsiteY174" fmla="*/ 8197 h 10000"/>
              <a:gd name="connsiteX175" fmla="*/ 3427 w 10000"/>
              <a:gd name="connsiteY175" fmla="*/ 8197 h 10000"/>
              <a:gd name="connsiteX176" fmla="*/ 3499 w 10000"/>
              <a:gd name="connsiteY176" fmla="*/ 8278 h 10000"/>
              <a:gd name="connsiteX177" fmla="*/ 3778 w 10000"/>
              <a:gd name="connsiteY177" fmla="*/ 8278 h 10000"/>
              <a:gd name="connsiteX178" fmla="*/ 3844 w 10000"/>
              <a:gd name="connsiteY178" fmla="*/ 8114 h 10000"/>
              <a:gd name="connsiteX179" fmla="*/ 3633 w 10000"/>
              <a:gd name="connsiteY179" fmla="*/ 8033 h 10000"/>
              <a:gd name="connsiteX180" fmla="*/ 3778 w 10000"/>
              <a:gd name="connsiteY180" fmla="*/ 7950 h 10000"/>
              <a:gd name="connsiteX181" fmla="*/ 3703 w 10000"/>
              <a:gd name="connsiteY181" fmla="*/ 7869 h 10000"/>
              <a:gd name="connsiteX182" fmla="*/ 3778 w 10000"/>
              <a:gd name="connsiteY182" fmla="*/ 7787 h 10000"/>
              <a:gd name="connsiteX183" fmla="*/ 3778 w 10000"/>
              <a:gd name="connsiteY183" fmla="*/ 7541 h 10000"/>
              <a:gd name="connsiteX184" fmla="*/ 3913 w 10000"/>
              <a:gd name="connsiteY184" fmla="*/ 7624 h 10000"/>
              <a:gd name="connsiteX185" fmla="*/ 4545 w 10000"/>
              <a:gd name="connsiteY185" fmla="*/ 7378 h 10000"/>
              <a:gd name="connsiteX186" fmla="*/ 4545 w 10000"/>
              <a:gd name="connsiteY186" fmla="*/ 7295 h 10000"/>
              <a:gd name="connsiteX187" fmla="*/ 4617 w 10000"/>
              <a:gd name="connsiteY187" fmla="*/ 7295 h 10000"/>
              <a:gd name="connsiteX188" fmla="*/ 4820 w 10000"/>
              <a:gd name="connsiteY188" fmla="*/ 7295 h 10000"/>
              <a:gd name="connsiteX189" fmla="*/ 4898 w 10000"/>
              <a:gd name="connsiteY189" fmla="*/ 7460 h 10000"/>
              <a:gd name="connsiteX190" fmla="*/ 4898 w 10000"/>
              <a:gd name="connsiteY190" fmla="*/ 7541 h 10000"/>
              <a:gd name="connsiteX191" fmla="*/ 4963 w 10000"/>
              <a:gd name="connsiteY191" fmla="*/ 7541 h 10000"/>
              <a:gd name="connsiteX192" fmla="*/ 5103 w 10000"/>
              <a:gd name="connsiteY192" fmla="*/ 7624 h 10000"/>
              <a:gd name="connsiteX193" fmla="*/ 5103 w 10000"/>
              <a:gd name="connsiteY193" fmla="*/ 7706 h 10000"/>
              <a:gd name="connsiteX194" fmla="*/ 5243 w 10000"/>
              <a:gd name="connsiteY194" fmla="*/ 7706 h 10000"/>
              <a:gd name="connsiteX195" fmla="*/ 5383 w 10000"/>
              <a:gd name="connsiteY195" fmla="*/ 7541 h 10000"/>
              <a:gd name="connsiteX196" fmla="*/ 5523 w 10000"/>
              <a:gd name="connsiteY196" fmla="*/ 7460 h 10000"/>
              <a:gd name="connsiteX197" fmla="*/ 5603 w 10000"/>
              <a:gd name="connsiteY197" fmla="*/ 7706 h 10000"/>
              <a:gd name="connsiteX198" fmla="*/ 5875 w 10000"/>
              <a:gd name="connsiteY198" fmla="*/ 8278 h 10000"/>
              <a:gd name="connsiteX199" fmla="*/ 5947 w 10000"/>
              <a:gd name="connsiteY199" fmla="*/ 8114 h 10000"/>
              <a:gd name="connsiteX200" fmla="*/ 6016 w 10000"/>
              <a:gd name="connsiteY200" fmla="*/ 8278 h 10000"/>
              <a:gd name="connsiteX201" fmla="*/ 6226 w 10000"/>
              <a:gd name="connsiteY201" fmla="*/ 8197 h 10000"/>
              <a:gd name="connsiteX202" fmla="*/ 6437 w 10000"/>
              <a:gd name="connsiteY202" fmla="*/ 8444 h 10000"/>
              <a:gd name="connsiteX203" fmla="*/ 6572 w 10000"/>
              <a:gd name="connsiteY203" fmla="*/ 8525 h 10000"/>
              <a:gd name="connsiteX204" fmla="*/ 6572 w 10000"/>
              <a:gd name="connsiteY204" fmla="*/ 8444 h 10000"/>
              <a:gd name="connsiteX205" fmla="*/ 6647 w 10000"/>
              <a:gd name="connsiteY205" fmla="*/ 8607 h 10000"/>
              <a:gd name="connsiteX206" fmla="*/ 6572 w 10000"/>
              <a:gd name="connsiteY206" fmla="*/ 8689 h 10000"/>
              <a:gd name="connsiteX207" fmla="*/ 6716 w 10000"/>
              <a:gd name="connsiteY207" fmla="*/ 8607 h 10000"/>
              <a:gd name="connsiteX208" fmla="*/ 6783 w 10000"/>
              <a:gd name="connsiteY208" fmla="*/ 8525 h 10000"/>
              <a:gd name="connsiteX209" fmla="*/ 7130 w 10000"/>
              <a:gd name="connsiteY209" fmla="*/ 8278 h 10000"/>
              <a:gd name="connsiteX210" fmla="*/ 7413 w 10000"/>
              <a:gd name="connsiteY210" fmla="*/ 8360 h 10000"/>
              <a:gd name="connsiteX211" fmla="*/ 7550 w 10000"/>
              <a:gd name="connsiteY211" fmla="*/ 8444 h 10000"/>
              <a:gd name="connsiteX212" fmla="*/ 7830 w 10000"/>
              <a:gd name="connsiteY212" fmla="*/ 8444 h 10000"/>
              <a:gd name="connsiteX213" fmla="*/ 7830 w 10000"/>
              <a:gd name="connsiteY213" fmla="*/ 8278 h 10000"/>
              <a:gd name="connsiteX214" fmla="*/ 7830 w 10000"/>
              <a:gd name="connsiteY214" fmla="*/ 8114 h 10000"/>
              <a:gd name="connsiteX215" fmla="*/ 7971 w 10000"/>
              <a:gd name="connsiteY215" fmla="*/ 8033 h 10000"/>
              <a:gd name="connsiteX216" fmla="*/ 8247 w 10000"/>
              <a:gd name="connsiteY216" fmla="*/ 8114 h 10000"/>
              <a:gd name="connsiteX217" fmla="*/ 8392 w 10000"/>
              <a:gd name="connsiteY217" fmla="*/ 8360 h 10000"/>
              <a:gd name="connsiteX218" fmla="*/ 8462 w 10000"/>
              <a:gd name="connsiteY218" fmla="*/ 8360 h 10000"/>
              <a:gd name="connsiteX219" fmla="*/ 8602 w 10000"/>
              <a:gd name="connsiteY219" fmla="*/ 8278 h 10000"/>
              <a:gd name="connsiteX220" fmla="*/ 9026 w 10000"/>
              <a:gd name="connsiteY220" fmla="*/ 8525 h 10000"/>
              <a:gd name="connsiteX221" fmla="*/ 9231 w 10000"/>
              <a:gd name="connsiteY221" fmla="*/ 8607 h 10000"/>
              <a:gd name="connsiteX222" fmla="*/ 9510 w 10000"/>
              <a:gd name="connsiteY222" fmla="*/ 8525 h 10000"/>
              <a:gd name="connsiteX223" fmla="*/ 9652 w 10000"/>
              <a:gd name="connsiteY223" fmla="*/ 8360 h 10000"/>
              <a:gd name="connsiteX224" fmla="*/ 9860 w 10000"/>
              <a:gd name="connsiteY224" fmla="*/ 8444 h 10000"/>
              <a:gd name="connsiteX225" fmla="*/ 10000 w 10000"/>
              <a:gd name="connsiteY225" fmla="*/ 8525 h 10000"/>
              <a:gd name="connsiteX226" fmla="*/ 9580 w 10000"/>
              <a:gd name="connsiteY226" fmla="*/ 1640 h 10000"/>
              <a:gd name="connsiteX227" fmla="*/ 9173 w 10000"/>
              <a:gd name="connsiteY227" fmla="*/ 1394 h 10000"/>
              <a:gd name="connsiteX0" fmla="*/ 9173 w 10000"/>
              <a:gd name="connsiteY0" fmla="*/ 1394 h 10000"/>
              <a:gd name="connsiteX1" fmla="*/ 9173 w 10000"/>
              <a:gd name="connsiteY1" fmla="*/ 1394 h 10000"/>
              <a:gd name="connsiteX2" fmla="*/ 9092 w 10000"/>
              <a:gd name="connsiteY2" fmla="*/ 1475 h 10000"/>
              <a:gd name="connsiteX3" fmla="*/ 9173 w 10000"/>
              <a:gd name="connsiteY3" fmla="*/ 1640 h 10000"/>
              <a:gd name="connsiteX4" fmla="*/ 8881 w 10000"/>
              <a:gd name="connsiteY4" fmla="*/ 1803 h 10000"/>
              <a:gd name="connsiteX5" fmla="*/ 8809 w 10000"/>
              <a:gd name="connsiteY5" fmla="*/ 1803 h 10000"/>
              <a:gd name="connsiteX6" fmla="*/ 8881 w 10000"/>
              <a:gd name="connsiteY6" fmla="*/ 1557 h 10000"/>
              <a:gd name="connsiteX7" fmla="*/ 9580 w 10000"/>
              <a:gd name="connsiteY7" fmla="*/ 819 h 10000"/>
              <a:gd name="connsiteX8" fmla="*/ 9580 w 10000"/>
              <a:gd name="connsiteY8" fmla="*/ 327 h 10000"/>
              <a:gd name="connsiteX9" fmla="*/ 9304 w 10000"/>
              <a:gd name="connsiteY9" fmla="*/ 0 h 10000"/>
              <a:gd name="connsiteX10" fmla="*/ 8184 w 10000"/>
              <a:gd name="connsiteY10" fmla="*/ 165 h 10000"/>
              <a:gd name="connsiteX11" fmla="*/ 7971 w 10000"/>
              <a:gd name="connsiteY11" fmla="*/ 165 h 10000"/>
              <a:gd name="connsiteX12" fmla="*/ 7344 w 10000"/>
              <a:gd name="connsiteY12" fmla="*/ 327 h 10000"/>
              <a:gd name="connsiteX13" fmla="*/ 6783 w 10000"/>
              <a:gd name="connsiteY13" fmla="*/ 737 h 10000"/>
              <a:gd name="connsiteX14" fmla="*/ 6572 w 10000"/>
              <a:gd name="connsiteY14" fmla="*/ 1066 h 10000"/>
              <a:gd name="connsiteX15" fmla="*/ 6647 w 10000"/>
              <a:gd name="connsiteY15" fmla="*/ 1475 h 10000"/>
              <a:gd name="connsiteX16" fmla="*/ 5875 w 10000"/>
              <a:gd name="connsiteY16" fmla="*/ 1640 h 10000"/>
              <a:gd name="connsiteX17" fmla="*/ 5947 w 10000"/>
              <a:gd name="connsiteY17" fmla="*/ 2132 h 10000"/>
              <a:gd name="connsiteX18" fmla="*/ 6155 w 10000"/>
              <a:gd name="connsiteY18" fmla="*/ 2378 h 10000"/>
              <a:gd name="connsiteX19" fmla="*/ 6016 w 10000"/>
              <a:gd name="connsiteY19" fmla="*/ 2459 h 10000"/>
              <a:gd name="connsiteX20" fmla="*/ 5808 w 10000"/>
              <a:gd name="connsiteY20" fmla="*/ 2132 h 10000"/>
              <a:gd name="connsiteX21" fmla="*/ 5603 w 10000"/>
              <a:gd name="connsiteY21" fmla="*/ 2048 h 10000"/>
              <a:gd name="connsiteX22" fmla="*/ 5523 w 10000"/>
              <a:gd name="connsiteY22" fmla="*/ 2132 h 10000"/>
              <a:gd name="connsiteX23" fmla="*/ 5383 w 10000"/>
              <a:gd name="connsiteY23" fmla="*/ 1966 h 10000"/>
              <a:gd name="connsiteX24" fmla="*/ 5243 w 10000"/>
              <a:gd name="connsiteY24" fmla="*/ 1803 h 10000"/>
              <a:gd name="connsiteX25" fmla="*/ 5243 w 10000"/>
              <a:gd name="connsiteY25" fmla="*/ 1885 h 10000"/>
              <a:gd name="connsiteX26" fmla="*/ 5321 w 10000"/>
              <a:gd name="connsiteY26" fmla="*/ 2132 h 10000"/>
              <a:gd name="connsiteX27" fmla="*/ 5103 w 10000"/>
              <a:gd name="connsiteY27" fmla="*/ 2541 h 10000"/>
              <a:gd name="connsiteX28" fmla="*/ 5243 w 10000"/>
              <a:gd name="connsiteY28" fmla="*/ 2868 h 10000"/>
              <a:gd name="connsiteX29" fmla="*/ 5173 w 10000"/>
              <a:gd name="connsiteY29" fmla="*/ 3197 h 10000"/>
              <a:gd name="connsiteX30" fmla="*/ 5173 w 10000"/>
              <a:gd name="connsiteY30" fmla="*/ 3443 h 10000"/>
              <a:gd name="connsiteX31" fmla="*/ 5383 w 10000"/>
              <a:gd name="connsiteY31" fmla="*/ 3443 h 10000"/>
              <a:gd name="connsiteX32" fmla="*/ 5243 w 10000"/>
              <a:gd name="connsiteY32" fmla="*/ 3525 h 10000"/>
              <a:gd name="connsiteX33" fmla="*/ 5321 w 10000"/>
              <a:gd name="connsiteY33" fmla="*/ 3934 h 10000"/>
              <a:gd name="connsiteX34" fmla="*/ 4898 w 10000"/>
              <a:gd name="connsiteY34" fmla="*/ 4345 h 10000"/>
              <a:gd name="connsiteX35" fmla="*/ 4820 w 10000"/>
              <a:gd name="connsiteY35" fmla="*/ 4263 h 10000"/>
              <a:gd name="connsiteX36" fmla="*/ 5103 w 10000"/>
              <a:gd name="connsiteY36" fmla="*/ 3851 h 10000"/>
              <a:gd name="connsiteX37" fmla="*/ 5173 w 10000"/>
              <a:gd name="connsiteY37" fmla="*/ 3607 h 10000"/>
              <a:gd name="connsiteX38" fmla="*/ 5026 w 10000"/>
              <a:gd name="connsiteY38" fmla="*/ 3443 h 10000"/>
              <a:gd name="connsiteX39" fmla="*/ 5026 w 10000"/>
              <a:gd name="connsiteY39" fmla="*/ 2622 h 10000"/>
              <a:gd name="connsiteX40" fmla="*/ 4963 w 10000"/>
              <a:gd name="connsiteY40" fmla="*/ 2459 h 10000"/>
              <a:gd name="connsiteX41" fmla="*/ 5026 w 10000"/>
              <a:gd name="connsiteY41" fmla="*/ 1966 h 10000"/>
              <a:gd name="connsiteX42" fmla="*/ 4898 w 10000"/>
              <a:gd name="connsiteY42" fmla="*/ 1885 h 10000"/>
              <a:gd name="connsiteX43" fmla="*/ 4963 w 10000"/>
              <a:gd name="connsiteY43" fmla="*/ 1803 h 10000"/>
              <a:gd name="connsiteX44" fmla="*/ 4898 w 10000"/>
              <a:gd name="connsiteY44" fmla="*/ 1640 h 10000"/>
              <a:gd name="connsiteX45" fmla="*/ 4752 w 10000"/>
              <a:gd name="connsiteY45" fmla="*/ 1721 h 10000"/>
              <a:gd name="connsiteX46" fmla="*/ 4407 w 10000"/>
              <a:gd name="connsiteY46" fmla="*/ 2787 h 10000"/>
              <a:gd name="connsiteX47" fmla="*/ 4407 w 10000"/>
              <a:gd name="connsiteY47" fmla="*/ 3197 h 10000"/>
              <a:gd name="connsiteX48" fmla="*/ 4617 w 10000"/>
              <a:gd name="connsiteY48" fmla="*/ 3525 h 10000"/>
              <a:gd name="connsiteX49" fmla="*/ 4617 w 10000"/>
              <a:gd name="connsiteY49" fmla="*/ 3688 h 10000"/>
              <a:gd name="connsiteX50" fmla="*/ 4407 w 10000"/>
              <a:gd name="connsiteY50" fmla="*/ 3525 h 10000"/>
              <a:gd name="connsiteX51" fmla="*/ 3571 w 10000"/>
              <a:gd name="connsiteY51" fmla="*/ 2868 h 10000"/>
              <a:gd name="connsiteX52" fmla="*/ 3499 w 10000"/>
              <a:gd name="connsiteY52" fmla="*/ 3032 h 10000"/>
              <a:gd name="connsiteX53" fmla="*/ 3778 w 10000"/>
              <a:gd name="connsiteY53" fmla="*/ 3443 h 10000"/>
              <a:gd name="connsiteX54" fmla="*/ 3633 w 10000"/>
              <a:gd name="connsiteY54" fmla="*/ 3525 h 10000"/>
              <a:gd name="connsiteX55" fmla="*/ 3571 w 10000"/>
              <a:gd name="connsiteY55" fmla="*/ 3443 h 10000"/>
              <a:gd name="connsiteX56" fmla="*/ 3150 w 10000"/>
              <a:gd name="connsiteY56" fmla="*/ 3607 h 10000"/>
              <a:gd name="connsiteX57" fmla="*/ 3081 w 10000"/>
              <a:gd name="connsiteY57" fmla="*/ 3770 h 10000"/>
              <a:gd name="connsiteX58" fmla="*/ 3010 w 10000"/>
              <a:gd name="connsiteY58" fmla="*/ 3607 h 10000"/>
              <a:gd name="connsiteX59" fmla="*/ 3010 w 10000"/>
              <a:gd name="connsiteY59" fmla="*/ 3443 h 10000"/>
              <a:gd name="connsiteX60" fmla="*/ 2304 w 10000"/>
              <a:gd name="connsiteY60" fmla="*/ 3934 h 10000"/>
              <a:gd name="connsiteX61" fmla="*/ 2304 w 10000"/>
              <a:gd name="connsiteY61" fmla="*/ 4097 h 10000"/>
              <a:gd name="connsiteX62" fmla="*/ 2168 w 10000"/>
              <a:gd name="connsiteY62" fmla="*/ 4180 h 10000"/>
              <a:gd name="connsiteX63" fmla="*/ 1959 w 10000"/>
              <a:gd name="connsiteY63" fmla="*/ 4016 h 10000"/>
              <a:gd name="connsiteX64" fmla="*/ 2168 w 10000"/>
              <a:gd name="connsiteY64" fmla="*/ 3851 h 10000"/>
              <a:gd name="connsiteX65" fmla="*/ 2095 w 10000"/>
              <a:gd name="connsiteY65" fmla="*/ 3607 h 10000"/>
              <a:gd name="connsiteX66" fmla="*/ 1818 w 10000"/>
              <a:gd name="connsiteY66" fmla="*/ 3525 h 10000"/>
              <a:gd name="connsiteX67" fmla="*/ 1889 w 10000"/>
              <a:gd name="connsiteY67" fmla="*/ 3688 h 10000"/>
              <a:gd name="connsiteX68" fmla="*/ 1889 w 10000"/>
              <a:gd name="connsiteY68" fmla="*/ 4097 h 10000"/>
              <a:gd name="connsiteX69" fmla="*/ 1959 w 10000"/>
              <a:gd name="connsiteY69" fmla="*/ 4263 h 10000"/>
              <a:gd name="connsiteX70" fmla="*/ 1889 w 10000"/>
              <a:gd name="connsiteY70" fmla="*/ 4427 h 10000"/>
              <a:gd name="connsiteX71" fmla="*/ 1674 w 10000"/>
              <a:gd name="connsiteY71" fmla="*/ 4345 h 10000"/>
              <a:gd name="connsiteX72" fmla="*/ 1400 w 10000"/>
              <a:gd name="connsiteY72" fmla="*/ 4589 h 10000"/>
              <a:gd name="connsiteX73" fmla="*/ 1535 w 10000"/>
              <a:gd name="connsiteY73" fmla="*/ 4918 h 10000"/>
              <a:gd name="connsiteX74" fmla="*/ 1116 w 10000"/>
              <a:gd name="connsiteY74" fmla="*/ 4754 h 10000"/>
              <a:gd name="connsiteX75" fmla="*/ 1049 w 10000"/>
              <a:gd name="connsiteY75" fmla="*/ 4835 h 10000"/>
              <a:gd name="connsiteX76" fmla="*/ 1191 w 10000"/>
              <a:gd name="connsiteY76" fmla="*/ 5082 h 10000"/>
              <a:gd name="connsiteX77" fmla="*/ 1049 w 10000"/>
              <a:gd name="connsiteY77" fmla="*/ 5082 h 10000"/>
              <a:gd name="connsiteX78" fmla="*/ 842 w 10000"/>
              <a:gd name="connsiteY78" fmla="*/ 4918 h 10000"/>
              <a:gd name="connsiteX79" fmla="*/ 842 w 10000"/>
              <a:gd name="connsiteY79" fmla="*/ 4427 h 10000"/>
              <a:gd name="connsiteX80" fmla="*/ 632 w 10000"/>
              <a:gd name="connsiteY80" fmla="*/ 4263 h 10000"/>
              <a:gd name="connsiteX81" fmla="*/ 558 w 10000"/>
              <a:gd name="connsiteY81" fmla="*/ 4097 h 10000"/>
              <a:gd name="connsiteX82" fmla="*/ 697 w 10000"/>
              <a:gd name="connsiteY82" fmla="*/ 4180 h 10000"/>
              <a:gd name="connsiteX83" fmla="*/ 1255 w 10000"/>
              <a:gd name="connsiteY83" fmla="*/ 4427 h 10000"/>
              <a:gd name="connsiteX84" fmla="*/ 1601 w 10000"/>
              <a:gd name="connsiteY84" fmla="*/ 4180 h 10000"/>
              <a:gd name="connsiteX85" fmla="*/ 1535 w 10000"/>
              <a:gd name="connsiteY85" fmla="*/ 3934 h 10000"/>
              <a:gd name="connsiteX86" fmla="*/ 1116 w 10000"/>
              <a:gd name="connsiteY86" fmla="*/ 3443 h 10000"/>
              <a:gd name="connsiteX87" fmla="*/ 697 w 10000"/>
              <a:gd name="connsiteY87" fmla="*/ 3279 h 10000"/>
              <a:gd name="connsiteX88" fmla="*/ 697 w 10000"/>
              <a:gd name="connsiteY88" fmla="*/ 3197 h 10000"/>
              <a:gd name="connsiteX89" fmla="*/ 558 w 10000"/>
              <a:gd name="connsiteY89" fmla="*/ 3113 h 10000"/>
              <a:gd name="connsiteX90" fmla="*/ 417 w 10000"/>
              <a:gd name="connsiteY90" fmla="*/ 3197 h 10000"/>
              <a:gd name="connsiteX91" fmla="*/ 417 w 10000"/>
              <a:gd name="connsiteY91" fmla="*/ 3279 h 10000"/>
              <a:gd name="connsiteX92" fmla="*/ 348 w 10000"/>
              <a:gd name="connsiteY92" fmla="*/ 3279 h 10000"/>
              <a:gd name="connsiteX93" fmla="*/ 210 w 10000"/>
              <a:gd name="connsiteY93" fmla="*/ 3443 h 10000"/>
              <a:gd name="connsiteX94" fmla="*/ 210 w 10000"/>
              <a:gd name="connsiteY94" fmla="*/ 3688 h 10000"/>
              <a:gd name="connsiteX95" fmla="*/ 348 w 10000"/>
              <a:gd name="connsiteY95" fmla="*/ 3851 h 10000"/>
              <a:gd name="connsiteX96" fmla="*/ 282 w 10000"/>
              <a:gd name="connsiteY96" fmla="*/ 4097 h 10000"/>
              <a:gd name="connsiteX97" fmla="*/ 348 w 10000"/>
              <a:gd name="connsiteY97" fmla="*/ 4509 h 10000"/>
              <a:gd name="connsiteX98" fmla="*/ 282 w 10000"/>
              <a:gd name="connsiteY98" fmla="*/ 4754 h 10000"/>
              <a:gd name="connsiteX99" fmla="*/ 417 w 10000"/>
              <a:gd name="connsiteY99" fmla="*/ 5000 h 10000"/>
              <a:gd name="connsiteX100" fmla="*/ 348 w 10000"/>
              <a:gd name="connsiteY100" fmla="*/ 5164 h 10000"/>
              <a:gd name="connsiteX101" fmla="*/ 487 w 10000"/>
              <a:gd name="connsiteY101" fmla="*/ 5328 h 10000"/>
              <a:gd name="connsiteX102" fmla="*/ 487 w 10000"/>
              <a:gd name="connsiteY102" fmla="*/ 5410 h 10000"/>
              <a:gd name="connsiteX103" fmla="*/ 282 w 10000"/>
              <a:gd name="connsiteY103" fmla="*/ 5820 h 10000"/>
              <a:gd name="connsiteX104" fmla="*/ 64 w 10000"/>
              <a:gd name="connsiteY104" fmla="*/ 5984 h 10000"/>
              <a:gd name="connsiteX105" fmla="*/ 138 w 10000"/>
              <a:gd name="connsiteY105" fmla="*/ 5984 h 10000"/>
              <a:gd name="connsiteX106" fmla="*/ 282 w 10000"/>
              <a:gd name="connsiteY106" fmla="*/ 6148 h 10000"/>
              <a:gd name="connsiteX107" fmla="*/ 138 w 10000"/>
              <a:gd name="connsiteY107" fmla="*/ 6311 h 10000"/>
              <a:gd name="connsiteX108" fmla="*/ 64 w 10000"/>
              <a:gd name="connsiteY108" fmla="*/ 6394 h 10000"/>
              <a:gd name="connsiteX109" fmla="*/ 0 w 10000"/>
              <a:gd name="connsiteY109" fmla="*/ 6394 h 10000"/>
              <a:gd name="connsiteX110" fmla="*/ 64 w 10000"/>
              <a:gd name="connsiteY110" fmla="*/ 6640 h 10000"/>
              <a:gd name="connsiteX111" fmla="*/ 64 w 10000"/>
              <a:gd name="connsiteY111" fmla="*/ 6722 h 10000"/>
              <a:gd name="connsiteX112" fmla="*/ 64 w 10000"/>
              <a:gd name="connsiteY112" fmla="*/ 6803 h 10000"/>
              <a:gd name="connsiteX113" fmla="*/ 64 w 10000"/>
              <a:gd name="connsiteY113" fmla="*/ 6886 h 10000"/>
              <a:gd name="connsiteX114" fmla="*/ 138 w 10000"/>
              <a:gd name="connsiteY114" fmla="*/ 7048 h 10000"/>
              <a:gd name="connsiteX115" fmla="*/ 348 w 10000"/>
              <a:gd name="connsiteY115" fmla="*/ 7131 h 10000"/>
              <a:gd name="connsiteX116" fmla="*/ 417 w 10000"/>
              <a:gd name="connsiteY116" fmla="*/ 7212 h 10000"/>
              <a:gd name="connsiteX117" fmla="*/ 417 w 10000"/>
              <a:gd name="connsiteY117" fmla="*/ 7378 h 10000"/>
              <a:gd name="connsiteX118" fmla="*/ 558 w 10000"/>
              <a:gd name="connsiteY118" fmla="*/ 7624 h 10000"/>
              <a:gd name="connsiteX119" fmla="*/ 632 w 10000"/>
              <a:gd name="connsiteY119" fmla="*/ 7624 h 10000"/>
              <a:gd name="connsiteX120" fmla="*/ 558 w 10000"/>
              <a:gd name="connsiteY120" fmla="*/ 7787 h 10000"/>
              <a:gd name="connsiteX121" fmla="*/ 487 w 10000"/>
              <a:gd name="connsiteY121" fmla="*/ 7706 h 10000"/>
              <a:gd name="connsiteX122" fmla="*/ 487 w 10000"/>
              <a:gd name="connsiteY122" fmla="*/ 7787 h 10000"/>
              <a:gd name="connsiteX123" fmla="*/ 558 w 10000"/>
              <a:gd name="connsiteY123" fmla="*/ 7950 h 10000"/>
              <a:gd name="connsiteX124" fmla="*/ 773 w 10000"/>
              <a:gd name="connsiteY124" fmla="*/ 7950 h 10000"/>
              <a:gd name="connsiteX125" fmla="*/ 842 w 10000"/>
              <a:gd name="connsiteY125" fmla="*/ 8033 h 10000"/>
              <a:gd name="connsiteX126" fmla="*/ 773 w 10000"/>
              <a:gd name="connsiteY126" fmla="*/ 8033 h 10000"/>
              <a:gd name="connsiteX127" fmla="*/ 842 w 10000"/>
              <a:gd name="connsiteY127" fmla="*/ 8114 h 10000"/>
              <a:gd name="connsiteX128" fmla="*/ 908 w 10000"/>
              <a:gd name="connsiteY128" fmla="*/ 8114 h 10000"/>
              <a:gd name="connsiteX129" fmla="*/ 976 w 10000"/>
              <a:gd name="connsiteY129" fmla="*/ 8278 h 10000"/>
              <a:gd name="connsiteX130" fmla="*/ 1049 w 10000"/>
              <a:gd name="connsiteY130" fmla="*/ 8360 h 10000"/>
              <a:gd name="connsiteX131" fmla="*/ 1116 w 10000"/>
              <a:gd name="connsiteY131" fmla="*/ 8278 h 10000"/>
              <a:gd name="connsiteX132" fmla="*/ 1469 w 10000"/>
              <a:gd name="connsiteY132" fmla="*/ 8525 h 10000"/>
              <a:gd name="connsiteX133" fmla="*/ 1400 w 10000"/>
              <a:gd name="connsiteY133" fmla="*/ 8852 h 10000"/>
              <a:gd name="connsiteX134" fmla="*/ 1329 w 10000"/>
              <a:gd name="connsiteY134" fmla="*/ 8771 h 10000"/>
              <a:gd name="connsiteX135" fmla="*/ 1255 w 10000"/>
              <a:gd name="connsiteY135" fmla="*/ 8852 h 10000"/>
              <a:gd name="connsiteX136" fmla="*/ 1255 w 10000"/>
              <a:gd name="connsiteY136" fmla="*/ 9016 h 10000"/>
              <a:gd name="connsiteX137" fmla="*/ 1329 w 10000"/>
              <a:gd name="connsiteY137" fmla="*/ 8935 h 10000"/>
              <a:gd name="connsiteX138" fmla="*/ 1400 w 10000"/>
              <a:gd name="connsiteY138" fmla="*/ 9016 h 10000"/>
              <a:gd name="connsiteX139" fmla="*/ 1191 w 10000"/>
              <a:gd name="connsiteY139" fmla="*/ 9098 h 10000"/>
              <a:gd name="connsiteX140" fmla="*/ 1255 w 10000"/>
              <a:gd name="connsiteY140" fmla="*/ 9181 h 10000"/>
              <a:gd name="connsiteX141" fmla="*/ 1116 w 10000"/>
              <a:gd name="connsiteY141" fmla="*/ 9344 h 10000"/>
              <a:gd name="connsiteX142" fmla="*/ 1049 w 10000"/>
              <a:gd name="connsiteY142" fmla="*/ 9344 h 10000"/>
              <a:gd name="connsiteX143" fmla="*/ 1116 w 10000"/>
              <a:gd name="connsiteY143" fmla="*/ 9344 h 10000"/>
              <a:gd name="connsiteX144" fmla="*/ 1400 w 10000"/>
              <a:gd name="connsiteY144" fmla="*/ 9673 h 10000"/>
              <a:gd name="connsiteX145" fmla="*/ 1749 w 10000"/>
              <a:gd name="connsiteY145" fmla="*/ 9673 h 10000"/>
              <a:gd name="connsiteX146" fmla="*/ 1889 w 10000"/>
              <a:gd name="connsiteY146" fmla="*/ 9754 h 10000"/>
              <a:gd name="connsiteX147" fmla="*/ 2028 w 10000"/>
              <a:gd name="connsiteY147" fmla="*/ 9754 h 10000"/>
              <a:gd name="connsiteX148" fmla="*/ 2168 w 10000"/>
              <a:gd name="connsiteY148" fmla="*/ 9919 h 10000"/>
              <a:gd name="connsiteX149" fmla="*/ 2238 w 10000"/>
              <a:gd name="connsiteY149" fmla="*/ 10000 h 10000"/>
              <a:gd name="connsiteX150" fmla="*/ 2304 w 10000"/>
              <a:gd name="connsiteY150" fmla="*/ 10000 h 10000"/>
              <a:gd name="connsiteX151" fmla="*/ 2378 w 10000"/>
              <a:gd name="connsiteY151" fmla="*/ 9919 h 10000"/>
              <a:gd name="connsiteX152" fmla="*/ 2238 w 10000"/>
              <a:gd name="connsiteY152" fmla="*/ 9754 h 10000"/>
              <a:gd name="connsiteX153" fmla="*/ 2238 w 10000"/>
              <a:gd name="connsiteY153" fmla="*/ 9591 h 10000"/>
              <a:gd name="connsiteX154" fmla="*/ 2168 w 10000"/>
              <a:gd name="connsiteY154" fmla="*/ 9426 h 10000"/>
              <a:gd name="connsiteX155" fmla="*/ 2304 w 10000"/>
              <a:gd name="connsiteY155" fmla="*/ 9181 h 10000"/>
              <a:gd name="connsiteX156" fmla="*/ 2378 w 10000"/>
              <a:gd name="connsiteY156" fmla="*/ 9262 h 10000"/>
              <a:gd name="connsiteX157" fmla="*/ 2447 w 10000"/>
              <a:gd name="connsiteY157" fmla="*/ 9181 h 10000"/>
              <a:gd name="connsiteX158" fmla="*/ 2447 w 10000"/>
              <a:gd name="connsiteY158" fmla="*/ 9098 h 10000"/>
              <a:gd name="connsiteX159" fmla="*/ 2378 w 10000"/>
              <a:gd name="connsiteY159" fmla="*/ 9098 h 10000"/>
              <a:gd name="connsiteX160" fmla="*/ 2447 w 10000"/>
              <a:gd name="connsiteY160" fmla="*/ 9016 h 10000"/>
              <a:gd name="connsiteX161" fmla="*/ 2378 w 10000"/>
              <a:gd name="connsiteY161" fmla="*/ 8852 h 10000"/>
              <a:gd name="connsiteX162" fmla="*/ 2238 w 10000"/>
              <a:gd name="connsiteY162" fmla="*/ 8852 h 10000"/>
              <a:gd name="connsiteX163" fmla="*/ 2168 w 10000"/>
              <a:gd name="connsiteY163" fmla="*/ 8689 h 10000"/>
              <a:gd name="connsiteX164" fmla="*/ 2238 w 10000"/>
              <a:gd name="connsiteY164" fmla="*/ 8278 h 10000"/>
              <a:gd name="connsiteX165" fmla="*/ 2378 w 10000"/>
              <a:gd name="connsiteY165" fmla="*/ 8444 h 10000"/>
              <a:gd name="connsiteX166" fmla="*/ 2447 w 10000"/>
              <a:gd name="connsiteY166" fmla="*/ 8444 h 10000"/>
              <a:gd name="connsiteX167" fmla="*/ 2378 w 10000"/>
              <a:gd name="connsiteY167" fmla="*/ 8278 h 10000"/>
              <a:gd name="connsiteX168" fmla="*/ 2589 w 10000"/>
              <a:gd name="connsiteY168" fmla="*/ 8033 h 10000"/>
              <a:gd name="connsiteX169" fmla="*/ 2730 w 10000"/>
              <a:gd name="connsiteY169" fmla="*/ 8114 h 10000"/>
              <a:gd name="connsiteX170" fmla="*/ 2798 w 10000"/>
              <a:gd name="connsiteY170" fmla="*/ 8033 h 10000"/>
              <a:gd name="connsiteX171" fmla="*/ 2933 w 10000"/>
              <a:gd name="connsiteY171" fmla="*/ 8114 h 10000"/>
              <a:gd name="connsiteX172" fmla="*/ 3150 w 10000"/>
              <a:gd name="connsiteY172" fmla="*/ 8278 h 10000"/>
              <a:gd name="connsiteX173" fmla="*/ 3285 w 10000"/>
              <a:gd name="connsiteY173" fmla="*/ 8197 h 10000"/>
              <a:gd name="connsiteX174" fmla="*/ 3427 w 10000"/>
              <a:gd name="connsiteY174" fmla="*/ 8197 h 10000"/>
              <a:gd name="connsiteX175" fmla="*/ 3499 w 10000"/>
              <a:gd name="connsiteY175" fmla="*/ 8278 h 10000"/>
              <a:gd name="connsiteX176" fmla="*/ 3778 w 10000"/>
              <a:gd name="connsiteY176" fmla="*/ 8278 h 10000"/>
              <a:gd name="connsiteX177" fmla="*/ 3844 w 10000"/>
              <a:gd name="connsiteY177" fmla="*/ 8114 h 10000"/>
              <a:gd name="connsiteX178" fmla="*/ 3633 w 10000"/>
              <a:gd name="connsiteY178" fmla="*/ 8033 h 10000"/>
              <a:gd name="connsiteX179" fmla="*/ 3778 w 10000"/>
              <a:gd name="connsiteY179" fmla="*/ 7950 h 10000"/>
              <a:gd name="connsiteX180" fmla="*/ 3703 w 10000"/>
              <a:gd name="connsiteY180" fmla="*/ 7869 h 10000"/>
              <a:gd name="connsiteX181" fmla="*/ 3778 w 10000"/>
              <a:gd name="connsiteY181" fmla="*/ 7787 h 10000"/>
              <a:gd name="connsiteX182" fmla="*/ 3778 w 10000"/>
              <a:gd name="connsiteY182" fmla="*/ 7541 h 10000"/>
              <a:gd name="connsiteX183" fmla="*/ 3913 w 10000"/>
              <a:gd name="connsiteY183" fmla="*/ 7624 h 10000"/>
              <a:gd name="connsiteX184" fmla="*/ 4545 w 10000"/>
              <a:gd name="connsiteY184" fmla="*/ 7378 h 10000"/>
              <a:gd name="connsiteX185" fmla="*/ 4545 w 10000"/>
              <a:gd name="connsiteY185" fmla="*/ 7295 h 10000"/>
              <a:gd name="connsiteX186" fmla="*/ 4617 w 10000"/>
              <a:gd name="connsiteY186" fmla="*/ 7295 h 10000"/>
              <a:gd name="connsiteX187" fmla="*/ 4820 w 10000"/>
              <a:gd name="connsiteY187" fmla="*/ 7295 h 10000"/>
              <a:gd name="connsiteX188" fmla="*/ 4898 w 10000"/>
              <a:gd name="connsiteY188" fmla="*/ 7460 h 10000"/>
              <a:gd name="connsiteX189" fmla="*/ 4898 w 10000"/>
              <a:gd name="connsiteY189" fmla="*/ 7541 h 10000"/>
              <a:gd name="connsiteX190" fmla="*/ 4963 w 10000"/>
              <a:gd name="connsiteY190" fmla="*/ 7541 h 10000"/>
              <a:gd name="connsiteX191" fmla="*/ 5103 w 10000"/>
              <a:gd name="connsiteY191" fmla="*/ 7624 h 10000"/>
              <a:gd name="connsiteX192" fmla="*/ 5103 w 10000"/>
              <a:gd name="connsiteY192" fmla="*/ 7706 h 10000"/>
              <a:gd name="connsiteX193" fmla="*/ 5243 w 10000"/>
              <a:gd name="connsiteY193" fmla="*/ 7706 h 10000"/>
              <a:gd name="connsiteX194" fmla="*/ 5383 w 10000"/>
              <a:gd name="connsiteY194" fmla="*/ 7541 h 10000"/>
              <a:gd name="connsiteX195" fmla="*/ 5523 w 10000"/>
              <a:gd name="connsiteY195" fmla="*/ 7460 h 10000"/>
              <a:gd name="connsiteX196" fmla="*/ 5603 w 10000"/>
              <a:gd name="connsiteY196" fmla="*/ 7706 h 10000"/>
              <a:gd name="connsiteX197" fmla="*/ 5875 w 10000"/>
              <a:gd name="connsiteY197" fmla="*/ 8278 h 10000"/>
              <a:gd name="connsiteX198" fmla="*/ 5947 w 10000"/>
              <a:gd name="connsiteY198" fmla="*/ 8114 h 10000"/>
              <a:gd name="connsiteX199" fmla="*/ 6016 w 10000"/>
              <a:gd name="connsiteY199" fmla="*/ 8278 h 10000"/>
              <a:gd name="connsiteX200" fmla="*/ 6226 w 10000"/>
              <a:gd name="connsiteY200" fmla="*/ 8197 h 10000"/>
              <a:gd name="connsiteX201" fmla="*/ 6437 w 10000"/>
              <a:gd name="connsiteY201" fmla="*/ 8444 h 10000"/>
              <a:gd name="connsiteX202" fmla="*/ 6572 w 10000"/>
              <a:gd name="connsiteY202" fmla="*/ 8525 h 10000"/>
              <a:gd name="connsiteX203" fmla="*/ 6572 w 10000"/>
              <a:gd name="connsiteY203" fmla="*/ 8444 h 10000"/>
              <a:gd name="connsiteX204" fmla="*/ 6647 w 10000"/>
              <a:gd name="connsiteY204" fmla="*/ 8607 h 10000"/>
              <a:gd name="connsiteX205" fmla="*/ 6572 w 10000"/>
              <a:gd name="connsiteY205" fmla="*/ 8689 h 10000"/>
              <a:gd name="connsiteX206" fmla="*/ 6716 w 10000"/>
              <a:gd name="connsiteY206" fmla="*/ 8607 h 10000"/>
              <a:gd name="connsiteX207" fmla="*/ 6783 w 10000"/>
              <a:gd name="connsiteY207" fmla="*/ 8525 h 10000"/>
              <a:gd name="connsiteX208" fmla="*/ 7130 w 10000"/>
              <a:gd name="connsiteY208" fmla="*/ 8278 h 10000"/>
              <a:gd name="connsiteX209" fmla="*/ 7413 w 10000"/>
              <a:gd name="connsiteY209" fmla="*/ 8360 h 10000"/>
              <a:gd name="connsiteX210" fmla="*/ 7550 w 10000"/>
              <a:gd name="connsiteY210" fmla="*/ 8444 h 10000"/>
              <a:gd name="connsiteX211" fmla="*/ 7830 w 10000"/>
              <a:gd name="connsiteY211" fmla="*/ 8444 h 10000"/>
              <a:gd name="connsiteX212" fmla="*/ 7830 w 10000"/>
              <a:gd name="connsiteY212" fmla="*/ 8278 h 10000"/>
              <a:gd name="connsiteX213" fmla="*/ 7830 w 10000"/>
              <a:gd name="connsiteY213" fmla="*/ 8114 h 10000"/>
              <a:gd name="connsiteX214" fmla="*/ 7971 w 10000"/>
              <a:gd name="connsiteY214" fmla="*/ 8033 h 10000"/>
              <a:gd name="connsiteX215" fmla="*/ 8247 w 10000"/>
              <a:gd name="connsiteY215" fmla="*/ 8114 h 10000"/>
              <a:gd name="connsiteX216" fmla="*/ 8392 w 10000"/>
              <a:gd name="connsiteY216" fmla="*/ 8360 h 10000"/>
              <a:gd name="connsiteX217" fmla="*/ 8462 w 10000"/>
              <a:gd name="connsiteY217" fmla="*/ 8360 h 10000"/>
              <a:gd name="connsiteX218" fmla="*/ 8602 w 10000"/>
              <a:gd name="connsiteY218" fmla="*/ 8278 h 10000"/>
              <a:gd name="connsiteX219" fmla="*/ 9026 w 10000"/>
              <a:gd name="connsiteY219" fmla="*/ 8525 h 10000"/>
              <a:gd name="connsiteX220" fmla="*/ 9231 w 10000"/>
              <a:gd name="connsiteY220" fmla="*/ 8607 h 10000"/>
              <a:gd name="connsiteX221" fmla="*/ 9510 w 10000"/>
              <a:gd name="connsiteY221" fmla="*/ 8525 h 10000"/>
              <a:gd name="connsiteX222" fmla="*/ 9652 w 10000"/>
              <a:gd name="connsiteY222" fmla="*/ 8360 h 10000"/>
              <a:gd name="connsiteX223" fmla="*/ 9860 w 10000"/>
              <a:gd name="connsiteY223" fmla="*/ 8444 h 10000"/>
              <a:gd name="connsiteX224" fmla="*/ 10000 w 10000"/>
              <a:gd name="connsiteY224" fmla="*/ 8525 h 10000"/>
              <a:gd name="connsiteX225" fmla="*/ 9580 w 10000"/>
              <a:gd name="connsiteY225" fmla="*/ 1640 h 10000"/>
              <a:gd name="connsiteX226" fmla="*/ 9173 w 10000"/>
              <a:gd name="connsiteY226" fmla="*/ 1394 h 10000"/>
              <a:gd name="connsiteX0" fmla="*/ 9173 w 10000"/>
              <a:gd name="connsiteY0" fmla="*/ 1229 h 9835"/>
              <a:gd name="connsiteX1" fmla="*/ 9173 w 10000"/>
              <a:gd name="connsiteY1" fmla="*/ 1229 h 9835"/>
              <a:gd name="connsiteX2" fmla="*/ 9092 w 10000"/>
              <a:gd name="connsiteY2" fmla="*/ 1310 h 9835"/>
              <a:gd name="connsiteX3" fmla="*/ 9173 w 10000"/>
              <a:gd name="connsiteY3" fmla="*/ 1475 h 9835"/>
              <a:gd name="connsiteX4" fmla="*/ 8881 w 10000"/>
              <a:gd name="connsiteY4" fmla="*/ 1638 h 9835"/>
              <a:gd name="connsiteX5" fmla="*/ 8809 w 10000"/>
              <a:gd name="connsiteY5" fmla="*/ 1638 h 9835"/>
              <a:gd name="connsiteX6" fmla="*/ 8881 w 10000"/>
              <a:gd name="connsiteY6" fmla="*/ 1392 h 9835"/>
              <a:gd name="connsiteX7" fmla="*/ 9580 w 10000"/>
              <a:gd name="connsiteY7" fmla="*/ 654 h 9835"/>
              <a:gd name="connsiteX8" fmla="*/ 9580 w 10000"/>
              <a:gd name="connsiteY8" fmla="*/ 162 h 9835"/>
              <a:gd name="connsiteX9" fmla="*/ 8184 w 10000"/>
              <a:gd name="connsiteY9" fmla="*/ 0 h 9835"/>
              <a:gd name="connsiteX10" fmla="*/ 7971 w 10000"/>
              <a:gd name="connsiteY10" fmla="*/ 0 h 9835"/>
              <a:gd name="connsiteX11" fmla="*/ 7344 w 10000"/>
              <a:gd name="connsiteY11" fmla="*/ 162 h 9835"/>
              <a:gd name="connsiteX12" fmla="*/ 6783 w 10000"/>
              <a:gd name="connsiteY12" fmla="*/ 572 h 9835"/>
              <a:gd name="connsiteX13" fmla="*/ 6572 w 10000"/>
              <a:gd name="connsiteY13" fmla="*/ 901 h 9835"/>
              <a:gd name="connsiteX14" fmla="*/ 6647 w 10000"/>
              <a:gd name="connsiteY14" fmla="*/ 1310 h 9835"/>
              <a:gd name="connsiteX15" fmla="*/ 5875 w 10000"/>
              <a:gd name="connsiteY15" fmla="*/ 1475 h 9835"/>
              <a:gd name="connsiteX16" fmla="*/ 5947 w 10000"/>
              <a:gd name="connsiteY16" fmla="*/ 1967 h 9835"/>
              <a:gd name="connsiteX17" fmla="*/ 6155 w 10000"/>
              <a:gd name="connsiteY17" fmla="*/ 2213 h 9835"/>
              <a:gd name="connsiteX18" fmla="*/ 6016 w 10000"/>
              <a:gd name="connsiteY18" fmla="*/ 2294 h 9835"/>
              <a:gd name="connsiteX19" fmla="*/ 5808 w 10000"/>
              <a:gd name="connsiteY19" fmla="*/ 1967 h 9835"/>
              <a:gd name="connsiteX20" fmla="*/ 5603 w 10000"/>
              <a:gd name="connsiteY20" fmla="*/ 1883 h 9835"/>
              <a:gd name="connsiteX21" fmla="*/ 5523 w 10000"/>
              <a:gd name="connsiteY21" fmla="*/ 1967 h 9835"/>
              <a:gd name="connsiteX22" fmla="*/ 5383 w 10000"/>
              <a:gd name="connsiteY22" fmla="*/ 1801 h 9835"/>
              <a:gd name="connsiteX23" fmla="*/ 5243 w 10000"/>
              <a:gd name="connsiteY23" fmla="*/ 1638 h 9835"/>
              <a:gd name="connsiteX24" fmla="*/ 5243 w 10000"/>
              <a:gd name="connsiteY24" fmla="*/ 1720 h 9835"/>
              <a:gd name="connsiteX25" fmla="*/ 5321 w 10000"/>
              <a:gd name="connsiteY25" fmla="*/ 1967 h 9835"/>
              <a:gd name="connsiteX26" fmla="*/ 5103 w 10000"/>
              <a:gd name="connsiteY26" fmla="*/ 2376 h 9835"/>
              <a:gd name="connsiteX27" fmla="*/ 5243 w 10000"/>
              <a:gd name="connsiteY27" fmla="*/ 2703 h 9835"/>
              <a:gd name="connsiteX28" fmla="*/ 5173 w 10000"/>
              <a:gd name="connsiteY28" fmla="*/ 3032 h 9835"/>
              <a:gd name="connsiteX29" fmla="*/ 5173 w 10000"/>
              <a:gd name="connsiteY29" fmla="*/ 3278 h 9835"/>
              <a:gd name="connsiteX30" fmla="*/ 5383 w 10000"/>
              <a:gd name="connsiteY30" fmla="*/ 3278 h 9835"/>
              <a:gd name="connsiteX31" fmla="*/ 5243 w 10000"/>
              <a:gd name="connsiteY31" fmla="*/ 3360 h 9835"/>
              <a:gd name="connsiteX32" fmla="*/ 5321 w 10000"/>
              <a:gd name="connsiteY32" fmla="*/ 3769 h 9835"/>
              <a:gd name="connsiteX33" fmla="*/ 4898 w 10000"/>
              <a:gd name="connsiteY33" fmla="*/ 4180 h 9835"/>
              <a:gd name="connsiteX34" fmla="*/ 4820 w 10000"/>
              <a:gd name="connsiteY34" fmla="*/ 4098 h 9835"/>
              <a:gd name="connsiteX35" fmla="*/ 5103 w 10000"/>
              <a:gd name="connsiteY35" fmla="*/ 3686 h 9835"/>
              <a:gd name="connsiteX36" fmla="*/ 5173 w 10000"/>
              <a:gd name="connsiteY36" fmla="*/ 3442 h 9835"/>
              <a:gd name="connsiteX37" fmla="*/ 5026 w 10000"/>
              <a:gd name="connsiteY37" fmla="*/ 3278 h 9835"/>
              <a:gd name="connsiteX38" fmla="*/ 5026 w 10000"/>
              <a:gd name="connsiteY38" fmla="*/ 2457 h 9835"/>
              <a:gd name="connsiteX39" fmla="*/ 4963 w 10000"/>
              <a:gd name="connsiteY39" fmla="*/ 2294 h 9835"/>
              <a:gd name="connsiteX40" fmla="*/ 5026 w 10000"/>
              <a:gd name="connsiteY40" fmla="*/ 1801 h 9835"/>
              <a:gd name="connsiteX41" fmla="*/ 4898 w 10000"/>
              <a:gd name="connsiteY41" fmla="*/ 1720 h 9835"/>
              <a:gd name="connsiteX42" fmla="*/ 4963 w 10000"/>
              <a:gd name="connsiteY42" fmla="*/ 1638 h 9835"/>
              <a:gd name="connsiteX43" fmla="*/ 4898 w 10000"/>
              <a:gd name="connsiteY43" fmla="*/ 1475 h 9835"/>
              <a:gd name="connsiteX44" fmla="*/ 4752 w 10000"/>
              <a:gd name="connsiteY44" fmla="*/ 1556 h 9835"/>
              <a:gd name="connsiteX45" fmla="*/ 4407 w 10000"/>
              <a:gd name="connsiteY45" fmla="*/ 2622 h 9835"/>
              <a:gd name="connsiteX46" fmla="*/ 4407 w 10000"/>
              <a:gd name="connsiteY46" fmla="*/ 3032 h 9835"/>
              <a:gd name="connsiteX47" fmla="*/ 4617 w 10000"/>
              <a:gd name="connsiteY47" fmla="*/ 3360 h 9835"/>
              <a:gd name="connsiteX48" fmla="*/ 4617 w 10000"/>
              <a:gd name="connsiteY48" fmla="*/ 3523 h 9835"/>
              <a:gd name="connsiteX49" fmla="*/ 4407 w 10000"/>
              <a:gd name="connsiteY49" fmla="*/ 3360 h 9835"/>
              <a:gd name="connsiteX50" fmla="*/ 3571 w 10000"/>
              <a:gd name="connsiteY50" fmla="*/ 2703 h 9835"/>
              <a:gd name="connsiteX51" fmla="*/ 3499 w 10000"/>
              <a:gd name="connsiteY51" fmla="*/ 2867 h 9835"/>
              <a:gd name="connsiteX52" fmla="*/ 3778 w 10000"/>
              <a:gd name="connsiteY52" fmla="*/ 3278 h 9835"/>
              <a:gd name="connsiteX53" fmla="*/ 3633 w 10000"/>
              <a:gd name="connsiteY53" fmla="*/ 3360 h 9835"/>
              <a:gd name="connsiteX54" fmla="*/ 3571 w 10000"/>
              <a:gd name="connsiteY54" fmla="*/ 3278 h 9835"/>
              <a:gd name="connsiteX55" fmla="*/ 3150 w 10000"/>
              <a:gd name="connsiteY55" fmla="*/ 3442 h 9835"/>
              <a:gd name="connsiteX56" fmla="*/ 3081 w 10000"/>
              <a:gd name="connsiteY56" fmla="*/ 3605 h 9835"/>
              <a:gd name="connsiteX57" fmla="*/ 3010 w 10000"/>
              <a:gd name="connsiteY57" fmla="*/ 3442 h 9835"/>
              <a:gd name="connsiteX58" fmla="*/ 3010 w 10000"/>
              <a:gd name="connsiteY58" fmla="*/ 3278 h 9835"/>
              <a:gd name="connsiteX59" fmla="*/ 2304 w 10000"/>
              <a:gd name="connsiteY59" fmla="*/ 3769 h 9835"/>
              <a:gd name="connsiteX60" fmla="*/ 2304 w 10000"/>
              <a:gd name="connsiteY60" fmla="*/ 3932 h 9835"/>
              <a:gd name="connsiteX61" fmla="*/ 2168 w 10000"/>
              <a:gd name="connsiteY61" fmla="*/ 4015 h 9835"/>
              <a:gd name="connsiteX62" fmla="*/ 1959 w 10000"/>
              <a:gd name="connsiteY62" fmla="*/ 3851 h 9835"/>
              <a:gd name="connsiteX63" fmla="*/ 2168 w 10000"/>
              <a:gd name="connsiteY63" fmla="*/ 3686 h 9835"/>
              <a:gd name="connsiteX64" fmla="*/ 2095 w 10000"/>
              <a:gd name="connsiteY64" fmla="*/ 3442 h 9835"/>
              <a:gd name="connsiteX65" fmla="*/ 1818 w 10000"/>
              <a:gd name="connsiteY65" fmla="*/ 3360 h 9835"/>
              <a:gd name="connsiteX66" fmla="*/ 1889 w 10000"/>
              <a:gd name="connsiteY66" fmla="*/ 3523 h 9835"/>
              <a:gd name="connsiteX67" fmla="*/ 1889 w 10000"/>
              <a:gd name="connsiteY67" fmla="*/ 3932 h 9835"/>
              <a:gd name="connsiteX68" fmla="*/ 1959 w 10000"/>
              <a:gd name="connsiteY68" fmla="*/ 4098 h 9835"/>
              <a:gd name="connsiteX69" fmla="*/ 1889 w 10000"/>
              <a:gd name="connsiteY69" fmla="*/ 4262 h 9835"/>
              <a:gd name="connsiteX70" fmla="*/ 1674 w 10000"/>
              <a:gd name="connsiteY70" fmla="*/ 4180 h 9835"/>
              <a:gd name="connsiteX71" fmla="*/ 1400 w 10000"/>
              <a:gd name="connsiteY71" fmla="*/ 4424 h 9835"/>
              <a:gd name="connsiteX72" fmla="*/ 1535 w 10000"/>
              <a:gd name="connsiteY72" fmla="*/ 4753 h 9835"/>
              <a:gd name="connsiteX73" fmla="*/ 1116 w 10000"/>
              <a:gd name="connsiteY73" fmla="*/ 4589 h 9835"/>
              <a:gd name="connsiteX74" fmla="*/ 1049 w 10000"/>
              <a:gd name="connsiteY74" fmla="*/ 4670 h 9835"/>
              <a:gd name="connsiteX75" fmla="*/ 1191 w 10000"/>
              <a:gd name="connsiteY75" fmla="*/ 4917 h 9835"/>
              <a:gd name="connsiteX76" fmla="*/ 1049 w 10000"/>
              <a:gd name="connsiteY76" fmla="*/ 4917 h 9835"/>
              <a:gd name="connsiteX77" fmla="*/ 842 w 10000"/>
              <a:gd name="connsiteY77" fmla="*/ 4753 h 9835"/>
              <a:gd name="connsiteX78" fmla="*/ 842 w 10000"/>
              <a:gd name="connsiteY78" fmla="*/ 4262 h 9835"/>
              <a:gd name="connsiteX79" fmla="*/ 632 w 10000"/>
              <a:gd name="connsiteY79" fmla="*/ 4098 h 9835"/>
              <a:gd name="connsiteX80" fmla="*/ 558 w 10000"/>
              <a:gd name="connsiteY80" fmla="*/ 3932 h 9835"/>
              <a:gd name="connsiteX81" fmla="*/ 697 w 10000"/>
              <a:gd name="connsiteY81" fmla="*/ 4015 h 9835"/>
              <a:gd name="connsiteX82" fmla="*/ 1255 w 10000"/>
              <a:gd name="connsiteY82" fmla="*/ 4262 h 9835"/>
              <a:gd name="connsiteX83" fmla="*/ 1601 w 10000"/>
              <a:gd name="connsiteY83" fmla="*/ 4015 h 9835"/>
              <a:gd name="connsiteX84" fmla="*/ 1535 w 10000"/>
              <a:gd name="connsiteY84" fmla="*/ 3769 h 9835"/>
              <a:gd name="connsiteX85" fmla="*/ 1116 w 10000"/>
              <a:gd name="connsiteY85" fmla="*/ 3278 h 9835"/>
              <a:gd name="connsiteX86" fmla="*/ 697 w 10000"/>
              <a:gd name="connsiteY86" fmla="*/ 3114 h 9835"/>
              <a:gd name="connsiteX87" fmla="*/ 697 w 10000"/>
              <a:gd name="connsiteY87" fmla="*/ 3032 h 9835"/>
              <a:gd name="connsiteX88" fmla="*/ 558 w 10000"/>
              <a:gd name="connsiteY88" fmla="*/ 2948 h 9835"/>
              <a:gd name="connsiteX89" fmla="*/ 417 w 10000"/>
              <a:gd name="connsiteY89" fmla="*/ 3032 h 9835"/>
              <a:gd name="connsiteX90" fmla="*/ 417 w 10000"/>
              <a:gd name="connsiteY90" fmla="*/ 3114 h 9835"/>
              <a:gd name="connsiteX91" fmla="*/ 348 w 10000"/>
              <a:gd name="connsiteY91" fmla="*/ 3114 h 9835"/>
              <a:gd name="connsiteX92" fmla="*/ 210 w 10000"/>
              <a:gd name="connsiteY92" fmla="*/ 3278 h 9835"/>
              <a:gd name="connsiteX93" fmla="*/ 210 w 10000"/>
              <a:gd name="connsiteY93" fmla="*/ 3523 h 9835"/>
              <a:gd name="connsiteX94" fmla="*/ 348 w 10000"/>
              <a:gd name="connsiteY94" fmla="*/ 3686 h 9835"/>
              <a:gd name="connsiteX95" fmla="*/ 282 w 10000"/>
              <a:gd name="connsiteY95" fmla="*/ 3932 h 9835"/>
              <a:gd name="connsiteX96" fmla="*/ 348 w 10000"/>
              <a:gd name="connsiteY96" fmla="*/ 4344 h 9835"/>
              <a:gd name="connsiteX97" fmla="*/ 282 w 10000"/>
              <a:gd name="connsiteY97" fmla="*/ 4589 h 9835"/>
              <a:gd name="connsiteX98" fmla="*/ 417 w 10000"/>
              <a:gd name="connsiteY98" fmla="*/ 4835 h 9835"/>
              <a:gd name="connsiteX99" fmla="*/ 348 w 10000"/>
              <a:gd name="connsiteY99" fmla="*/ 4999 h 9835"/>
              <a:gd name="connsiteX100" fmla="*/ 487 w 10000"/>
              <a:gd name="connsiteY100" fmla="*/ 5163 h 9835"/>
              <a:gd name="connsiteX101" fmla="*/ 487 w 10000"/>
              <a:gd name="connsiteY101" fmla="*/ 5245 h 9835"/>
              <a:gd name="connsiteX102" fmla="*/ 282 w 10000"/>
              <a:gd name="connsiteY102" fmla="*/ 5655 h 9835"/>
              <a:gd name="connsiteX103" fmla="*/ 64 w 10000"/>
              <a:gd name="connsiteY103" fmla="*/ 5819 h 9835"/>
              <a:gd name="connsiteX104" fmla="*/ 138 w 10000"/>
              <a:gd name="connsiteY104" fmla="*/ 5819 h 9835"/>
              <a:gd name="connsiteX105" fmla="*/ 282 w 10000"/>
              <a:gd name="connsiteY105" fmla="*/ 5983 h 9835"/>
              <a:gd name="connsiteX106" fmla="*/ 138 w 10000"/>
              <a:gd name="connsiteY106" fmla="*/ 6146 h 9835"/>
              <a:gd name="connsiteX107" fmla="*/ 64 w 10000"/>
              <a:gd name="connsiteY107" fmla="*/ 6229 h 9835"/>
              <a:gd name="connsiteX108" fmla="*/ 0 w 10000"/>
              <a:gd name="connsiteY108" fmla="*/ 6229 h 9835"/>
              <a:gd name="connsiteX109" fmla="*/ 64 w 10000"/>
              <a:gd name="connsiteY109" fmla="*/ 6475 h 9835"/>
              <a:gd name="connsiteX110" fmla="*/ 64 w 10000"/>
              <a:gd name="connsiteY110" fmla="*/ 6557 h 9835"/>
              <a:gd name="connsiteX111" fmla="*/ 64 w 10000"/>
              <a:gd name="connsiteY111" fmla="*/ 6638 h 9835"/>
              <a:gd name="connsiteX112" fmla="*/ 64 w 10000"/>
              <a:gd name="connsiteY112" fmla="*/ 6721 h 9835"/>
              <a:gd name="connsiteX113" fmla="*/ 138 w 10000"/>
              <a:gd name="connsiteY113" fmla="*/ 6883 h 9835"/>
              <a:gd name="connsiteX114" fmla="*/ 348 w 10000"/>
              <a:gd name="connsiteY114" fmla="*/ 6966 h 9835"/>
              <a:gd name="connsiteX115" fmla="*/ 417 w 10000"/>
              <a:gd name="connsiteY115" fmla="*/ 7047 h 9835"/>
              <a:gd name="connsiteX116" fmla="*/ 417 w 10000"/>
              <a:gd name="connsiteY116" fmla="*/ 7213 h 9835"/>
              <a:gd name="connsiteX117" fmla="*/ 558 w 10000"/>
              <a:gd name="connsiteY117" fmla="*/ 7459 h 9835"/>
              <a:gd name="connsiteX118" fmla="*/ 632 w 10000"/>
              <a:gd name="connsiteY118" fmla="*/ 7459 h 9835"/>
              <a:gd name="connsiteX119" fmla="*/ 558 w 10000"/>
              <a:gd name="connsiteY119" fmla="*/ 7622 h 9835"/>
              <a:gd name="connsiteX120" fmla="*/ 487 w 10000"/>
              <a:gd name="connsiteY120" fmla="*/ 7541 h 9835"/>
              <a:gd name="connsiteX121" fmla="*/ 487 w 10000"/>
              <a:gd name="connsiteY121" fmla="*/ 7622 h 9835"/>
              <a:gd name="connsiteX122" fmla="*/ 558 w 10000"/>
              <a:gd name="connsiteY122" fmla="*/ 7785 h 9835"/>
              <a:gd name="connsiteX123" fmla="*/ 773 w 10000"/>
              <a:gd name="connsiteY123" fmla="*/ 7785 h 9835"/>
              <a:gd name="connsiteX124" fmla="*/ 842 w 10000"/>
              <a:gd name="connsiteY124" fmla="*/ 7868 h 9835"/>
              <a:gd name="connsiteX125" fmla="*/ 773 w 10000"/>
              <a:gd name="connsiteY125" fmla="*/ 7868 h 9835"/>
              <a:gd name="connsiteX126" fmla="*/ 842 w 10000"/>
              <a:gd name="connsiteY126" fmla="*/ 7949 h 9835"/>
              <a:gd name="connsiteX127" fmla="*/ 908 w 10000"/>
              <a:gd name="connsiteY127" fmla="*/ 7949 h 9835"/>
              <a:gd name="connsiteX128" fmla="*/ 976 w 10000"/>
              <a:gd name="connsiteY128" fmla="*/ 8113 h 9835"/>
              <a:gd name="connsiteX129" fmla="*/ 1049 w 10000"/>
              <a:gd name="connsiteY129" fmla="*/ 8195 h 9835"/>
              <a:gd name="connsiteX130" fmla="*/ 1116 w 10000"/>
              <a:gd name="connsiteY130" fmla="*/ 8113 h 9835"/>
              <a:gd name="connsiteX131" fmla="*/ 1469 w 10000"/>
              <a:gd name="connsiteY131" fmla="*/ 8360 h 9835"/>
              <a:gd name="connsiteX132" fmla="*/ 1400 w 10000"/>
              <a:gd name="connsiteY132" fmla="*/ 8687 h 9835"/>
              <a:gd name="connsiteX133" fmla="*/ 1329 w 10000"/>
              <a:gd name="connsiteY133" fmla="*/ 8606 h 9835"/>
              <a:gd name="connsiteX134" fmla="*/ 1255 w 10000"/>
              <a:gd name="connsiteY134" fmla="*/ 8687 h 9835"/>
              <a:gd name="connsiteX135" fmla="*/ 1255 w 10000"/>
              <a:gd name="connsiteY135" fmla="*/ 8851 h 9835"/>
              <a:gd name="connsiteX136" fmla="*/ 1329 w 10000"/>
              <a:gd name="connsiteY136" fmla="*/ 8770 h 9835"/>
              <a:gd name="connsiteX137" fmla="*/ 1400 w 10000"/>
              <a:gd name="connsiteY137" fmla="*/ 8851 h 9835"/>
              <a:gd name="connsiteX138" fmla="*/ 1191 w 10000"/>
              <a:gd name="connsiteY138" fmla="*/ 8933 h 9835"/>
              <a:gd name="connsiteX139" fmla="*/ 1255 w 10000"/>
              <a:gd name="connsiteY139" fmla="*/ 9016 h 9835"/>
              <a:gd name="connsiteX140" fmla="*/ 1116 w 10000"/>
              <a:gd name="connsiteY140" fmla="*/ 9179 h 9835"/>
              <a:gd name="connsiteX141" fmla="*/ 1049 w 10000"/>
              <a:gd name="connsiteY141" fmla="*/ 9179 h 9835"/>
              <a:gd name="connsiteX142" fmla="*/ 1116 w 10000"/>
              <a:gd name="connsiteY142" fmla="*/ 9179 h 9835"/>
              <a:gd name="connsiteX143" fmla="*/ 1400 w 10000"/>
              <a:gd name="connsiteY143" fmla="*/ 9508 h 9835"/>
              <a:gd name="connsiteX144" fmla="*/ 1749 w 10000"/>
              <a:gd name="connsiteY144" fmla="*/ 9508 h 9835"/>
              <a:gd name="connsiteX145" fmla="*/ 1889 w 10000"/>
              <a:gd name="connsiteY145" fmla="*/ 9589 h 9835"/>
              <a:gd name="connsiteX146" fmla="*/ 2028 w 10000"/>
              <a:gd name="connsiteY146" fmla="*/ 9589 h 9835"/>
              <a:gd name="connsiteX147" fmla="*/ 2168 w 10000"/>
              <a:gd name="connsiteY147" fmla="*/ 9754 h 9835"/>
              <a:gd name="connsiteX148" fmla="*/ 2238 w 10000"/>
              <a:gd name="connsiteY148" fmla="*/ 9835 h 9835"/>
              <a:gd name="connsiteX149" fmla="*/ 2304 w 10000"/>
              <a:gd name="connsiteY149" fmla="*/ 9835 h 9835"/>
              <a:gd name="connsiteX150" fmla="*/ 2378 w 10000"/>
              <a:gd name="connsiteY150" fmla="*/ 9754 h 9835"/>
              <a:gd name="connsiteX151" fmla="*/ 2238 w 10000"/>
              <a:gd name="connsiteY151" fmla="*/ 9589 h 9835"/>
              <a:gd name="connsiteX152" fmla="*/ 2238 w 10000"/>
              <a:gd name="connsiteY152" fmla="*/ 9426 h 9835"/>
              <a:gd name="connsiteX153" fmla="*/ 2168 w 10000"/>
              <a:gd name="connsiteY153" fmla="*/ 9261 h 9835"/>
              <a:gd name="connsiteX154" fmla="*/ 2304 w 10000"/>
              <a:gd name="connsiteY154" fmla="*/ 9016 h 9835"/>
              <a:gd name="connsiteX155" fmla="*/ 2378 w 10000"/>
              <a:gd name="connsiteY155" fmla="*/ 9097 h 9835"/>
              <a:gd name="connsiteX156" fmla="*/ 2447 w 10000"/>
              <a:gd name="connsiteY156" fmla="*/ 9016 h 9835"/>
              <a:gd name="connsiteX157" fmla="*/ 2447 w 10000"/>
              <a:gd name="connsiteY157" fmla="*/ 8933 h 9835"/>
              <a:gd name="connsiteX158" fmla="*/ 2378 w 10000"/>
              <a:gd name="connsiteY158" fmla="*/ 8933 h 9835"/>
              <a:gd name="connsiteX159" fmla="*/ 2447 w 10000"/>
              <a:gd name="connsiteY159" fmla="*/ 8851 h 9835"/>
              <a:gd name="connsiteX160" fmla="*/ 2378 w 10000"/>
              <a:gd name="connsiteY160" fmla="*/ 8687 h 9835"/>
              <a:gd name="connsiteX161" fmla="*/ 2238 w 10000"/>
              <a:gd name="connsiteY161" fmla="*/ 8687 h 9835"/>
              <a:gd name="connsiteX162" fmla="*/ 2168 w 10000"/>
              <a:gd name="connsiteY162" fmla="*/ 8524 h 9835"/>
              <a:gd name="connsiteX163" fmla="*/ 2238 w 10000"/>
              <a:gd name="connsiteY163" fmla="*/ 8113 h 9835"/>
              <a:gd name="connsiteX164" fmla="*/ 2378 w 10000"/>
              <a:gd name="connsiteY164" fmla="*/ 8279 h 9835"/>
              <a:gd name="connsiteX165" fmla="*/ 2447 w 10000"/>
              <a:gd name="connsiteY165" fmla="*/ 8279 h 9835"/>
              <a:gd name="connsiteX166" fmla="*/ 2378 w 10000"/>
              <a:gd name="connsiteY166" fmla="*/ 8113 h 9835"/>
              <a:gd name="connsiteX167" fmla="*/ 2589 w 10000"/>
              <a:gd name="connsiteY167" fmla="*/ 7868 h 9835"/>
              <a:gd name="connsiteX168" fmla="*/ 2730 w 10000"/>
              <a:gd name="connsiteY168" fmla="*/ 7949 h 9835"/>
              <a:gd name="connsiteX169" fmla="*/ 2798 w 10000"/>
              <a:gd name="connsiteY169" fmla="*/ 7868 h 9835"/>
              <a:gd name="connsiteX170" fmla="*/ 2933 w 10000"/>
              <a:gd name="connsiteY170" fmla="*/ 7949 h 9835"/>
              <a:gd name="connsiteX171" fmla="*/ 3150 w 10000"/>
              <a:gd name="connsiteY171" fmla="*/ 8113 h 9835"/>
              <a:gd name="connsiteX172" fmla="*/ 3285 w 10000"/>
              <a:gd name="connsiteY172" fmla="*/ 8032 h 9835"/>
              <a:gd name="connsiteX173" fmla="*/ 3427 w 10000"/>
              <a:gd name="connsiteY173" fmla="*/ 8032 h 9835"/>
              <a:gd name="connsiteX174" fmla="*/ 3499 w 10000"/>
              <a:gd name="connsiteY174" fmla="*/ 8113 h 9835"/>
              <a:gd name="connsiteX175" fmla="*/ 3778 w 10000"/>
              <a:gd name="connsiteY175" fmla="*/ 8113 h 9835"/>
              <a:gd name="connsiteX176" fmla="*/ 3844 w 10000"/>
              <a:gd name="connsiteY176" fmla="*/ 7949 h 9835"/>
              <a:gd name="connsiteX177" fmla="*/ 3633 w 10000"/>
              <a:gd name="connsiteY177" fmla="*/ 7868 h 9835"/>
              <a:gd name="connsiteX178" fmla="*/ 3778 w 10000"/>
              <a:gd name="connsiteY178" fmla="*/ 7785 h 9835"/>
              <a:gd name="connsiteX179" fmla="*/ 3703 w 10000"/>
              <a:gd name="connsiteY179" fmla="*/ 7704 h 9835"/>
              <a:gd name="connsiteX180" fmla="*/ 3778 w 10000"/>
              <a:gd name="connsiteY180" fmla="*/ 7622 h 9835"/>
              <a:gd name="connsiteX181" fmla="*/ 3778 w 10000"/>
              <a:gd name="connsiteY181" fmla="*/ 7376 h 9835"/>
              <a:gd name="connsiteX182" fmla="*/ 3913 w 10000"/>
              <a:gd name="connsiteY182" fmla="*/ 7459 h 9835"/>
              <a:gd name="connsiteX183" fmla="*/ 4545 w 10000"/>
              <a:gd name="connsiteY183" fmla="*/ 7213 h 9835"/>
              <a:gd name="connsiteX184" fmla="*/ 4545 w 10000"/>
              <a:gd name="connsiteY184" fmla="*/ 7130 h 9835"/>
              <a:gd name="connsiteX185" fmla="*/ 4617 w 10000"/>
              <a:gd name="connsiteY185" fmla="*/ 7130 h 9835"/>
              <a:gd name="connsiteX186" fmla="*/ 4820 w 10000"/>
              <a:gd name="connsiteY186" fmla="*/ 7130 h 9835"/>
              <a:gd name="connsiteX187" fmla="*/ 4898 w 10000"/>
              <a:gd name="connsiteY187" fmla="*/ 7295 h 9835"/>
              <a:gd name="connsiteX188" fmla="*/ 4898 w 10000"/>
              <a:gd name="connsiteY188" fmla="*/ 7376 h 9835"/>
              <a:gd name="connsiteX189" fmla="*/ 4963 w 10000"/>
              <a:gd name="connsiteY189" fmla="*/ 7376 h 9835"/>
              <a:gd name="connsiteX190" fmla="*/ 5103 w 10000"/>
              <a:gd name="connsiteY190" fmla="*/ 7459 h 9835"/>
              <a:gd name="connsiteX191" fmla="*/ 5103 w 10000"/>
              <a:gd name="connsiteY191" fmla="*/ 7541 h 9835"/>
              <a:gd name="connsiteX192" fmla="*/ 5243 w 10000"/>
              <a:gd name="connsiteY192" fmla="*/ 7541 h 9835"/>
              <a:gd name="connsiteX193" fmla="*/ 5383 w 10000"/>
              <a:gd name="connsiteY193" fmla="*/ 7376 h 9835"/>
              <a:gd name="connsiteX194" fmla="*/ 5523 w 10000"/>
              <a:gd name="connsiteY194" fmla="*/ 7295 h 9835"/>
              <a:gd name="connsiteX195" fmla="*/ 5603 w 10000"/>
              <a:gd name="connsiteY195" fmla="*/ 7541 h 9835"/>
              <a:gd name="connsiteX196" fmla="*/ 5875 w 10000"/>
              <a:gd name="connsiteY196" fmla="*/ 8113 h 9835"/>
              <a:gd name="connsiteX197" fmla="*/ 5947 w 10000"/>
              <a:gd name="connsiteY197" fmla="*/ 7949 h 9835"/>
              <a:gd name="connsiteX198" fmla="*/ 6016 w 10000"/>
              <a:gd name="connsiteY198" fmla="*/ 8113 h 9835"/>
              <a:gd name="connsiteX199" fmla="*/ 6226 w 10000"/>
              <a:gd name="connsiteY199" fmla="*/ 8032 h 9835"/>
              <a:gd name="connsiteX200" fmla="*/ 6437 w 10000"/>
              <a:gd name="connsiteY200" fmla="*/ 8279 h 9835"/>
              <a:gd name="connsiteX201" fmla="*/ 6572 w 10000"/>
              <a:gd name="connsiteY201" fmla="*/ 8360 h 9835"/>
              <a:gd name="connsiteX202" fmla="*/ 6572 w 10000"/>
              <a:gd name="connsiteY202" fmla="*/ 8279 h 9835"/>
              <a:gd name="connsiteX203" fmla="*/ 6647 w 10000"/>
              <a:gd name="connsiteY203" fmla="*/ 8442 h 9835"/>
              <a:gd name="connsiteX204" fmla="*/ 6572 w 10000"/>
              <a:gd name="connsiteY204" fmla="*/ 8524 h 9835"/>
              <a:gd name="connsiteX205" fmla="*/ 6716 w 10000"/>
              <a:gd name="connsiteY205" fmla="*/ 8442 h 9835"/>
              <a:gd name="connsiteX206" fmla="*/ 6783 w 10000"/>
              <a:gd name="connsiteY206" fmla="*/ 8360 h 9835"/>
              <a:gd name="connsiteX207" fmla="*/ 7130 w 10000"/>
              <a:gd name="connsiteY207" fmla="*/ 8113 h 9835"/>
              <a:gd name="connsiteX208" fmla="*/ 7413 w 10000"/>
              <a:gd name="connsiteY208" fmla="*/ 8195 h 9835"/>
              <a:gd name="connsiteX209" fmla="*/ 7550 w 10000"/>
              <a:gd name="connsiteY209" fmla="*/ 8279 h 9835"/>
              <a:gd name="connsiteX210" fmla="*/ 7830 w 10000"/>
              <a:gd name="connsiteY210" fmla="*/ 8279 h 9835"/>
              <a:gd name="connsiteX211" fmla="*/ 7830 w 10000"/>
              <a:gd name="connsiteY211" fmla="*/ 8113 h 9835"/>
              <a:gd name="connsiteX212" fmla="*/ 7830 w 10000"/>
              <a:gd name="connsiteY212" fmla="*/ 7949 h 9835"/>
              <a:gd name="connsiteX213" fmla="*/ 7971 w 10000"/>
              <a:gd name="connsiteY213" fmla="*/ 7868 h 9835"/>
              <a:gd name="connsiteX214" fmla="*/ 8247 w 10000"/>
              <a:gd name="connsiteY214" fmla="*/ 7949 h 9835"/>
              <a:gd name="connsiteX215" fmla="*/ 8392 w 10000"/>
              <a:gd name="connsiteY215" fmla="*/ 8195 h 9835"/>
              <a:gd name="connsiteX216" fmla="*/ 8462 w 10000"/>
              <a:gd name="connsiteY216" fmla="*/ 8195 h 9835"/>
              <a:gd name="connsiteX217" fmla="*/ 8602 w 10000"/>
              <a:gd name="connsiteY217" fmla="*/ 8113 h 9835"/>
              <a:gd name="connsiteX218" fmla="*/ 9026 w 10000"/>
              <a:gd name="connsiteY218" fmla="*/ 8360 h 9835"/>
              <a:gd name="connsiteX219" fmla="*/ 9231 w 10000"/>
              <a:gd name="connsiteY219" fmla="*/ 8442 h 9835"/>
              <a:gd name="connsiteX220" fmla="*/ 9510 w 10000"/>
              <a:gd name="connsiteY220" fmla="*/ 8360 h 9835"/>
              <a:gd name="connsiteX221" fmla="*/ 9652 w 10000"/>
              <a:gd name="connsiteY221" fmla="*/ 8195 h 9835"/>
              <a:gd name="connsiteX222" fmla="*/ 9860 w 10000"/>
              <a:gd name="connsiteY222" fmla="*/ 8279 h 9835"/>
              <a:gd name="connsiteX223" fmla="*/ 10000 w 10000"/>
              <a:gd name="connsiteY223" fmla="*/ 8360 h 9835"/>
              <a:gd name="connsiteX224" fmla="*/ 9580 w 10000"/>
              <a:gd name="connsiteY224" fmla="*/ 1475 h 9835"/>
              <a:gd name="connsiteX225" fmla="*/ 9173 w 10000"/>
              <a:gd name="connsiteY225" fmla="*/ 1229 h 9835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9092 w 10000"/>
              <a:gd name="connsiteY2" fmla="*/ 1332 h 10000"/>
              <a:gd name="connsiteX3" fmla="*/ 9173 w 10000"/>
              <a:gd name="connsiteY3" fmla="*/ 1500 h 10000"/>
              <a:gd name="connsiteX4" fmla="*/ 8881 w 10000"/>
              <a:gd name="connsiteY4" fmla="*/ 1665 h 10000"/>
              <a:gd name="connsiteX5" fmla="*/ 8809 w 10000"/>
              <a:gd name="connsiteY5" fmla="*/ 1665 h 10000"/>
              <a:gd name="connsiteX6" fmla="*/ 8881 w 10000"/>
              <a:gd name="connsiteY6" fmla="*/ 1415 h 10000"/>
              <a:gd name="connsiteX7" fmla="*/ 9580 w 10000"/>
              <a:gd name="connsiteY7" fmla="*/ 665 h 10000"/>
              <a:gd name="connsiteX8" fmla="*/ 8184 w 10000"/>
              <a:gd name="connsiteY8" fmla="*/ 0 h 10000"/>
              <a:gd name="connsiteX9" fmla="*/ 7971 w 10000"/>
              <a:gd name="connsiteY9" fmla="*/ 0 h 10000"/>
              <a:gd name="connsiteX10" fmla="*/ 7344 w 10000"/>
              <a:gd name="connsiteY10" fmla="*/ 165 h 10000"/>
              <a:gd name="connsiteX11" fmla="*/ 6783 w 10000"/>
              <a:gd name="connsiteY11" fmla="*/ 582 h 10000"/>
              <a:gd name="connsiteX12" fmla="*/ 6572 w 10000"/>
              <a:gd name="connsiteY12" fmla="*/ 916 h 10000"/>
              <a:gd name="connsiteX13" fmla="*/ 6647 w 10000"/>
              <a:gd name="connsiteY13" fmla="*/ 1332 h 10000"/>
              <a:gd name="connsiteX14" fmla="*/ 5875 w 10000"/>
              <a:gd name="connsiteY14" fmla="*/ 1500 h 10000"/>
              <a:gd name="connsiteX15" fmla="*/ 5947 w 10000"/>
              <a:gd name="connsiteY15" fmla="*/ 2000 h 10000"/>
              <a:gd name="connsiteX16" fmla="*/ 6155 w 10000"/>
              <a:gd name="connsiteY16" fmla="*/ 2250 h 10000"/>
              <a:gd name="connsiteX17" fmla="*/ 6016 w 10000"/>
              <a:gd name="connsiteY17" fmla="*/ 2332 h 10000"/>
              <a:gd name="connsiteX18" fmla="*/ 5808 w 10000"/>
              <a:gd name="connsiteY18" fmla="*/ 2000 h 10000"/>
              <a:gd name="connsiteX19" fmla="*/ 5603 w 10000"/>
              <a:gd name="connsiteY19" fmla="*/ 1915 h 10000"/>
              <a:gd name="connsiteX20" fmla="*/ 5523 w 10000"/>
              <a:gd name="connsiteY20" fmla="*/ 2000 h 10000"/>
              <a:gd name="connsiteX21" fmla="*/ 5383 w 10000"/>
              <a:gd name="connsiteY21" fmla="*/ 1831 h 10000"/>
              <a:gd name="connsiteX22" fmla="*/ 5243 w 10000"/>
              <a:gd name="connsiteY22" fmla="*/ 1665 h 10000"/>
              <a:gd name="connsiteX23" fmla="*/ 5243 w 10000"/>
              <a:gd name="connsiteY23" fmla="*/ 1749 h 10000"/>
              <a:gd name="connsiteX24" fmla="*/ 5321 w 10000"/>
              <a:gd name="connsiteY24" fmla="*/ 2000 h 10000"/>
              <a:gd name="connsiteX25" fmla="*/ 5103 w 10000"/>
              <a:gd name="connsiteY25" fmla="*/ 2416 h 10000"/>
              <a:gd name="connsiteX26" fmla="*/ 5243 w 10000"/>
              <a:gd name="connsiteY26" fmla="*/ 2748 h 10000"/>
              <a:gd name="connsiteX27" fmla="*/ 5173 w 10000"/>
              <a:gd name="connsiteY27" fmla="*/ 3083 h 10000"/>
              <a:gd name="connsiteX28" fmla="*/ 5173 w 10000"/>
              <a:gd name="connsiteY28" fmla="*/ 3333 h 10000"/>
              <a:gd name="connsiteX29" fmla="*/ 5383 w 10000"/>
              <a:gd name="connsiteY29" fmla="*/ 3333 h 10000"/>
              <a:gd name="connsiteX30" fmla="*/ 5243 w 10000"/>
              <a:gd name="connsiteY30" fmla="*/ 3416 h 10000"/>
              <a:gd name="connsiteX31" fmla="*/ 5321 w 10000"/>
              <a:gd name="connsiteY31" fmla="*/ 3832 h 10000"/>
              <a:gd name="connsiteX32" fmla="*/ 4898 w 10000"/>
              <a:gd name="connsiteY32" fmla="*/ 4250 h 10000"/>
              <a:gd name="connsiteX33" fmla="*/ 4820 w 10000"/>
              <a:gd name="connsiteY33" fmla="*/ 4167 h 10000"/>
              <a:gd name="connsiteX34" fmla="*/ 5103 w 10000"/>
              <a:gd name="connsiteY34" fmla="*/ 3748 h 10000"/>
              <a:gd name="connsiteX35" fmla="*/ 5173 w 10000"/>
              <a:gd name="connsiteY35" fmla="*/ 3500 h 10000"/>
              <a:gd name="connsiteX36" fmla="*/ 5026 w 10000"/>
              <a:gd name="connsiteY36" fmla="*/ 3333 h 10000"/>
              <a:gd name="connsiteX37" fmla="*/ 5026 w 10000"/>
              <a:gd name="connsiteY37" fmla="*/ 2498 h 10000"/>
              <a:gd name="connsiteX38" fmla="*/ 4963 w 10000"/>
              <a:gd name="connsiteY38" fmla="*/ 2332 h 10000"/>
              <a:gd name="connsiteX39" fmla="*/ 5026 w 10000"/>
              <a:gd name="connsiteY39" fmla="*/ 1831 h 10000"/>
              <a:gd name="connsiteX40" fmla="*/ 4898 w 10000"/>
              <a:gd name="connsiteY40" fmla="*/ 1749 h 10000"/>
              <a:gd name="connsiteX41" fmla="*/ 4963 w 10000"/>
              <a:gd name="connsiteY41" fmla="*/ 1665 h 10000"/>
              <a:gd name="connsiteX42" fmla="*/ 4898 w 10000"/>
              <a:gd name="connsiteY42" fmla="*/ 1500 h 10000"/>
              <a:gd name="connsiteX43" fmla="*/ 4752 w 10000"/>
              <a:gd name="connsiteY43" fmla="*/ 1582 h 10000"/>
              <a:gd name="connsiteX44" fmla="*/ 4407 w 10000"/>
              <a:gd name="connsiteY44" fmla="*/ 2666 h 10000"/>
              <a:gd name="connsiteX45" fmla="*/ 4407 w 10000"/>
              <a:gd name="connsiteY45" fmla="*/ 3083 h 10000"/>
              <a:gd name="connsiteX46" fmla="*/ 4617 w 10000"/>
              <a:gd name="connsiteY46" fmla="*/ 3416 h 10000"/>
              <a:gd name="connsiteX47" fmla="*/ 4617 w 10000"/>
              <a:gd name="connsiteY47" fmla="*/ 3582 h 10000"/>
              <a:gd name="connsiteX48" fmla="*/ 4407 w 10000"/>
              <a:gd name="connsiteY48" fmla="*/ 3416 h 10000"/>
              <a:gd name="connsiteX49" fmla="*/ 3571 w 10000"/>
              <a:gd name="connsiteY49" fmla="*/ 2748 h 10000"/>
              <a:gd name="connsiteX50" fmla="*/ 3499 w 10000"/>
              <a:gd name="connsiteY50" fmla="*/ 2915 h 10000"/>
              <a:gd name="connsiteX51" fmla="*/ 3778 w 10000"/>
              <a:gd name="connsiteY51" fmla="*/ 3333 h 10000"/>
              <a:gd name="connsiteX52" fmla="*/ 3633 w 10000"/>
              <a:gd name="connsiteY52" fmla="*/ 3416 h 10000"/>
              <a:gd name="connsiteX53" fmla="*/ 3571 w 10000"/>
              <a:gd name="connsiteY53" fmla="*/ 3333 h 10000"/>
              <a:gd name="connsiteX54" fmla="*/ 3150 w 10000"/>
              <a:gd name="connsiteY54" fmla="*/ 3500 h 10000"/>
              <a:gd name="connsiteX55" fmla="*/ 3081 w 10000"/>
              <a:gd name="connsiteY55" fmla="*/ 3665 h 10000"/>
              <a:gd name="connsiteX56" fmla="*/ 3010 w 10000"/>
              <a:gd name="connsiteY56" fmla="*/ 3500 h 10000"/>
              <a:gd name="connsiteX57" fmla="*/ 3010 w 10000"/>
              <a:gd name="connsiteY57" fmla="*/ 3333 h 10000"/>
              <a:gd name="connsiteX58" fmla="*/ 2304 w 10000"/>
              <a:gd name="connsiteY58" fmla="*/ 3832 h 10000"/>
              <a:gd name="connsiteX59" fmla="*/ 2304 w 10000"/>
              <a:gd name="connsiteY59" fmla="*/ 3998 h 10000"/>
              <a:gd name="connsiteX60" fmla="*/ 2168 w 10000"/>
              <a:gd name="connsiteY60" fmla="*/ 4082 h 10000"/>
              <a:gd name="connsiteX61" fmla="*/ 1959 w 10000"/>
              <a:gd name="connsiteY61" fmla="*/ 3916 h 10000"/>
              <a:gd name="connsiteX62" fmla="*/ 2168 w 10000"/>
              <a:gd name="connsiteY62" fmla="*/ 3748 h 10000"/>
              <a:gd name="connsiteX63" fmla="*/ 2095 w 10000"/>
              <a:gd name="connsiteY63" fmla="*/ 3500 h 10000"/>
              <a:gd name="connsiteX64" fmla="*/ 1818 w 10000"/>
              <a:gd name="connsiteY64" fmla="*/ 3416 h 10000"/>
              <a:gd name="connsiteX65" fmla="*/ 1889 w 10000"/>
              <a:gd name="connsiteY65" fmla="*/ 3582 h 10000"/>
              <a:gd name="connsiteX66" fmla="*/ 1889 w 10000"/>
              <a:gd name="connsiteY66" fmla="*/ 3998 h 10000"/>
              <a:gd name="connsiteX67" fmla="*/ 1959 w 10000"/>
              <a:gd name="connsiteY67" fmla="*/ 4167 h 10000"/>
              <a:gd name="connsiteX68" fmla="*/ 1889 w 10000"/>
              <a:gd name="connsiteY68" fmla="*/ 4334 h 10000"/>
              <a:gd name="connsiteX69" fmla="*/ 1674 w 10000"/>
              <a:gd name="connsiteY69" fmla="*/ 4250 h 10000"/>
              <a:gd name="connsiteX70" fmla="*/ 1400 w 10000"/>
              <a:gd name="connsiteY70" fmla="*/ 4498 h 10000"/>
              <a:gd name="connsiteX71" fmla="*/ 1535 w 10000"/>
              <a:gd name="connsiteY71" fmla="*/ 4833 h 10000"/>
              <a:gd name="connsiteX72" fmla="*/ 1116 w 10000"/>
              <a:gd name="connsiteY72" fmla="*/ 4666 h 10000"/>
              <a:gd name="connsiteX73" fmla="*/ 1049 w 10000"/>
              <a:gd name="connsiteY73" fmla="*/ 4748 h 10000"/>
              <a:gd name="connsiteX74" fmla="*/ 1191 w 10000"/>
              <a:gd name="connsiteY74" fmla="*/ 4999 h 10000"/>
              <a:gd name="connsiteX75" fmla="*/ 1049 w 10000"/>
              <a:gd name="connsiteY75" fmla="*/ 4999 h 10000"/>
              <a:gd name="connsiteX76" fmla="*/ 842 w 10000"/>
              <a:gd name="connsiteY76" fmla="*/ 4833 h 10000"/>
              <a:gd name="connsiteX77" fmla="*/ 842 w 10000"/>
              <a:gd name="connsiteY77" fmla="*/ 4334 h 10000"/>
              <a:gd name="connsiteX78" fmla="*/ 632 w 10000"/>
              <a:gd name="connsiteY78" fmla="*/ 4167 h 10000"/>
              <a:gd name="connsiteX79" fmla="*/ 558 w 10000"/>
              <a:gd name="connsiteY79" fmla="*/ 3998 h 10000"/>
              <a:gd name="connsiteX80" fmla="*/ 697 w 10000"/>
              <a:gd name="connsiteY80" fmla="*/ 4082 h 10000"/>
              <a:gd name="connsiteX81" fmla="*/ 1255 w 10000"/>
              <a:gd name="connsiteY81" fmla="*/ 4334 h 10000"/>
              <a:gd name="connsiteX82" fmla="*/ 1601 w 10000"/>
              <a:gd name="connsiteY82" fmla="*/ 4082 h 10000"/>
              <a:gd name="connsiteX83" fmla="*/ 1535 w 10000"/>
              <a:gd name="connsiteY83" fmla="*/ 3832 h 10000"/>
              <a:gd name="connsiteX84" fmla="*/ 1116 w 10000"/>
              <a:gd name="connsiteY84" fmla="*/ 3333 h 10000"/>
              <a:gd name="connsiteX85" fmla="*/ 697 w 10000"/>
              <a:gd name="connsiteY85" fmla="*/ 3166 h 10000"/>
              <a:gd name="connsiteX86" fmla="*/ 697 w 10000"/>
              <a:gd name="connsiteY86" fmla="*/ 3083 h 10000"/>
              <a:gd name="connsiteX87" fmla="*/ 558 w 10000"/>
              <a:gd name="connsiteY87" fmla="*/ 2997 h 10000"/>
              <a:gd name="connsiteX88" fmla="*/ 417 w 10000"/>
              <a:gd name="connsiteY88" fmla="*/ 3083 h 10000"/>
              <a:gd name="connsiteX89" fmla="*/ 417 w 10000"/>
              <a:gd name="connsiteY89" fmla="*/ 3166 h 10000"/>
              <a:gd name="connsiteX90" fmla="*/ 348 w 10000"/>
              <a:gd name="connsiteY90" fmla="*/ 3166 h 10000"/>
              <a:gd name="connsiteX91" fmla="*/ 210 w 10000"/>
              <a:gd name="connsiteY91" fmla="*/ 3333 h 10000"/>
              <a:gd name="connsiteX92" fmla="*/ 210 w 10000"/>
              <a:gd name="connsiteY92" fmla="*/ 3582 h 10000"/>
              <a:gd name="connsiteX93" fmla="*/ 348 w 10000"/>
              <a:gd name="connsiteY93" fmla="*/ 3748 h 10000"/>
              <a:gd name="connsiteX94" fmla="*/ 282 w 10000"/>
              <a:gd name="connsiteY94" fmla="*/ 3998 h 10000"/>
              <a:gd name="connsiteX95" fmla="*/ 348 w 10000"/>
              <a:gd name="connsiteY95" fmla="*/ 4417 h 10000"/>
              <a:gd name="connsiteX96" fmla="*/ 282 w 10000"/>
              <a:gd name="connsiteY96" fmla="*/ 4666 h 10000"/>
              <a:gd name="connsiteX97" fmla="*/ 417 w 10000"/>
              <a:gd name="connsiteY97" fmla="*/ 4916 h 10000"/>
              <a:gd name="connsiteX98" fmla="*/ 348 w 10000"/>
              <a:gd name="connsiteY98" fmla="*/ 5083 h 10000"/>
              <a:gd name="connsiteX99" fmla="*/ 487 w 10000"/>
              <a:gd name="connsiteY99" fmla="*/ 5250 h 10000"/>
              <a:gd name="connsiteX100" fmla="*/ 487 w 10000"/>
              <a:gd name="connsiteY100" fmla="*/ 5333 h 10000"/>
              <a:gd name="connsiteX101" fmla="*/ 282 w 10000"/>
              <a:gd name="connsiteY101" fmla="*/ 5750 h 10000"/>
              <a:gd name="connsiteX102" fmla="*/ 64 w 10000"/>
              <a:gd name="connsiteY102" fmla="*/ 5917 h 10000"/>
              <a:gd name="connsiteX103" fmla="*/ 138 w 10000"/>
              <a:gd name="connsiteY103" fmla="*/ 5917 h 10000"/>
              <a:gd name="connsiteX104" fmla="*/ 282 w 10000"/>
              <a:gd name="connsiteY104" fmla="*/ 6083 h 10000"/>
              <a:gd name="connsiteX105" fmla="*/ 138 w 10000"/>
              <a:gd name="connsiteY105" fmla="*/ 6249 h 10000"/>
              <a:gd name="connsiteX106" fmla="*/ 64 w 10000"/>
              <a:gd name="connsiteY106" fmla="*/ 6334 h 10000"/>
              <a:gd name="connsiteX107" fmla="*/ 0 w 10000"/>
              <a:gd name="connsiteY107" fmla="*/ 6334 h 10000"/>
              <a:gd name="connsiteX108" fmla="*/ 64 w 10000"/>
              <a:gd name="connsiteY108" fmla="*/ 6584 h 10000"/>
              <a:gd name="connsiteX109" fmla="*/ 64 w 10000"/>
              <a:gd name="connsiteY109" fmla="*/ 6667 h 10000"/>
              <a:gd name="connsiteX110" fmla="*/ 64 w 10000"/>
              <a:gd name="connsiteY110" fmla="*/ 6749 h 10000"/>
              <a:gd name="connsiteX111" fmla="*/ 64 w 10000"/>
              <a:gd name="connsiteY111" fmla="*/ 6834 h 10000"/>
              <a:gd name="connsiteX112" fmla="*/ 138 w 10000"/>
              <a:gd name="connsiteY112" fmla="*/ 6998 h 10000"/>
              <a:gd name="connsiteX113" fmla="*/ 348 w 10000"/>
              <a:gd name="connsiteY113" fmla="*/ 7083 h 10000"/>
              <a:gd name="connsiteX114" fmla="*/ 417 w 10000"/>
              <a:gd name="connsiteY114" fmla="*/ 7165 h 10000"/>
              <a:gd name="connsiteX115" fmla="*/ 417 w 10000"/>
              <a:gd name="connsiteY115" fmla="*/ 7334 h 10000"/>
              <a:gd name="connsiteX116" fmla="*/ 558 w 10000"/>
              <a:gd name="connsiteY116" fmla="*/ 7584 h 10000"/>
              <a:gd name="connsiteX117" fmla="*/ 632 w 10000"/>
              <a:gd name="connsiteY117" fmla="*/ 7584 h 10000"/>
              <a:gd name="connsiteX118" fmla="*/ 558 w 10000"/>
              <a:gd name="connsiteY118" fmla="*/ 7750 h 10000"/>
              <a:gd name="connsiteX119" fmla="*/ 487 w 10000"/>
              <a:gd name="connsiteY119" fmla="*/ 7668 h 10000"/>
              <a:gd name="connsiteX120" fmla="*/ 487 w 10000"/>
              <a:gd name="connsiteY120" fmla="*/ 7750 h 10000"/>
              <a:gd name="connsiteX121" fmla="*/ 558 w 10000"/>
              <a:gd name="connsiteY121" fmla="*/ 7916 h 10000"/>
              <a:gd name="connsiteX122" fmla="*/ 773 w 10000"/>
              <a:gd name="connsiteY122" fmla="*/ 7916 h 10000"/>
              <a:gd name="connsiteX123" fmla="*/ 842 w 10000"/>
              <a:gd name="connsiteY123" fmla="*/ 8000 h 10000"/>
              <a:gd name="connsiteX124" fmla="*/ 773 w 10000"/>
              <a:gd name="connsiteY124" fmla="*/ 8000 h 10000"/>
              <a:gd name="connsiteX125" fmla="*/ 842 w 10000"/>
              <a:gd name="connsiteY125" fmla="*/ 8082 h 10000"/>
              <a:gd name="connsiteX126" fmla="*/ 908 w 10000"/>
              <a:gd name="connsiteY126" fmla="*/ 8082 h 10000"/>
              <a:gd name="connsiteX127" fmla="*/ 976 w 10000"/>
              <a:gd name="connsiteY127" fmla="*/ 8249 h 10000"/>
              <a:gd name="connsiteX128" fmla="*/ 1049 w 10000"/>
              <a:gd name="connsiteY128" fmla="*/ 8332 h 10000"/>
              <a:gd name="connsiteX129" fmla="*/ 1116 w 10000"/>
              <a:gd name="connsiteY129" fmla="*/ 8249 h 10000"/>
              <a:gd name="connsiteX130" fmla="*/ 1469 w 10000"/>
              <a:gd name="connsiteY130" fmla="*/ 8500 h 10000"/>
              <a:gd name="connsiteX131" fmla="*/ 1400 w 10000"/>
              <a:gd name="connsiteY131" fmla="*/ 8833 h 10000"/>
              <a:gd name="connsiteX132" fmla="*/ 1329 w 10000"/>
              <a:gd name="connsiteY132" fmla="*/ 8750 h 10000"/>
              <a:gd name="connsiteX133" fmla="*/ 1255 w 10000"/>
              <a:gd name="connsiteY133" fmla="*/ 8833 h 10000"/>
              <a:gd name="connsiteX134" fmla="*/ 1255 w 10000"/>
              <a:gd name="connsiteY134" fmla="*/ 8999 h 10000"/>
              <a:gd name="connsiteX135" fmla="*/ 1329 w 10000"/>
              <a:gd name="connsiteY135" fmla="*/ 8917 h 10000"/>
              <a:gd name="connsiteX136" fmla="*/ 1400 w 10000"/>
              <a:gd name="connsiteY136" fmla="*/ 8999 h 10000"/>
              <a:gd name="connsiteX137" fmla="*/ 1191 w 10000"/>
              <a:gd name="connsiteY137" fmla="*/ 9083 h 10000"/>
              <a:gd name="connsiteX138" fmla="*/ 1255 w 10000"/>
              <a:gd name="connsiteY138" fmla="*/ 9167 h 10000"/>
              <a:gd name="connsiteX139" fmla="*/ 1116 w 10000"/>
              <a:gd name="connsiteY139" fmla="*/ 9333 h 10000"/>
              <a:gd name="connsiteX140" fmla="*/ 1049 w 10000"/>
              <a:gd name="connsiteY140" fmla="*/ 9333 h 10000"/>
              <a:gd name="connsiteX141" fmla="*/ 1116 w 10000"/>
              <a:gd name="connsiteY141" fmla="*/ 9333 h 10000"/>
              <a:gd name="connsiteX142" fmla="*/ 1400 w 10000"/>
              <a:gd name="connsiteY142" fmla="*/ 9668 h 10000"/>
              <a:gd name="connsiteX143" fmla="*/ 1749 w 10000"/>
              <a:gd name="connsiteY143" fmla="*/ 9668 h 10000"/>
              <a:gd name="connsiteX144" fmla="*/ 1889 w 10000"/>
              <a:gd name="connsiteY144" fmla="*/ 9750 h 10000"/>
              <a:gd name="connsiteX145" fmla="*/ 2028 w 10000"/>
              <a:gd name="connsiteY145" fmla="*/ 9750 h 10000"/>
              <a:gd name="connsiteX146" fmla="*/ 2168 w 10000"/>
              <a:gd name="connsiteY146" fmla="*/ 9918 h 10000"/>
              <a:gd name="connsiteX147" fmla="*/ 2238 w 10000"/>
              <a:gd name="connsiteY147" fmla="*/ 10000 h 10000"/>
              <a:gd name="connsiteX148" fmla="*/ 2304 w 10000"/>
              <a:gd name="connsiteY148" fmla="*/ 10000 h 10000"/>
              <a:gd name="connsiteX149" fmla="*/ 2378 w 10000"/>
              <a:gd name="connsiteY149" fmla="*/ 9918 h 10000"/>
              <a:gd name="connsiteX150" fmla="*/ 2238 w 10000"/>
              <a:gd name="connsiteY150" fmla="*/ 9750 h 10000"/>
              <a:gd name="connsiteX151" fmla="*/ 2238 w 10000"/>
              <a:gd name="connsiteY151" fmla="*/ 9584 h 10000"/>
              <a:gd name="connsiteX152" fmla="*/ 2168 w 10000"/>
              <a:gd name="connsiteY152" fmla="*/ 9416 h 10000"/>
              <a:gd name="connsiteX153" fmla="*/ 2304 w 10000"/>
              <a:gd name="connsiteY153" fmla="*/ 9167 h 10000"/>
              <a:gd name="connsiteX154" fmla="*/ 2378 w 10000"/>
              <a:gd name="connsiteY154" fmla="*/ 9250 h 10000"/>
              <a:gd name="connsiteX155" fmla="*/ 2447 w 10000"/>
              <a:gd name="connsiteY155" fmla="*/ 9167 h 10000"/>
              <a:gd name="connsiteX156" fmla="*/ 2447 w 10000"/>
              <a:gd name="connsiteY156" fmla="*/ 9083 h 10000"/>
              <a:gd name="connsiteX157" fmla="*/ 2378 w 10000"/>
              <a:gd name="connsiteY157" fmla="*/ 9083 h 10000"/>
              <a:gd name="connsiteX158" fmla="*/ 2447 w 10000"/>
              <a:gd name="connsiteY158" fmla="*/ 8999 h 10000"/>
              <a:gd name="connsiteX159" fmla="*/ 2378 w 10000"/>
              <a:gd name="connsiteY159" fmla="*/ 8833 h 10000"/>
              <a:gd name="connsiteX160" fmla="*/ 2238 w 10000"/>
              <a:gd name="connsiteY160" fmla="*/ 8833 h 10000"/>
              <a:gd name="connsiteX161" fmla="*/ 2168 w 10000"/>
              <a:gd name="connsiteY161" fmla="*/ 8667 h 10000"/>
              <a:gd name="connsiteX162" fmla="*/ 2238 w 10000"/>
              <a:gd name="connsiteY162" fmla="*/ 8249 h 10000"/>
              <a:gd name="connsiteX163" fmla="*/ 2378 w 10000"/>
              <a:gd name="connsiteY163" fmla="*/ 8418 h 10000"/>
              <a:gd name="connsiteX164" fmla="*/ 2447 w 10000"/>
              <a:gd name="connsiteY164" fmla="*/ 8418 h 10000"/>
              <a:gd name="connsiteX165" fmla="*/ 2378 w 10000"/>
              <a:gd name="connsiteY165" fmla="*/ 8249 h 10000"/>
              <a:gd name="connsiteX166" fmla="*/ 2589 w 10000"/>
              <a:gd name="connsiteY166" fmla="*/ 8000 h 10000"/>
              <a:gd name="connsiteX167" fmla="*/ 2730 w 10000"/>
              <a:gd name="connsiteY167" fmla="*/ 8082 h 10000"/>
              <a:gd name="connsiteX168" fmla="*/ 2798 w 10000"/>
              <a:gd name="connsiteY168" fmla="*/ 8000 h 10000"/>
              <a:gd name="connsiteX169" fmla="*/ 2933 w 10000"/>
              <a:gd name="connsiteY169" fmla="*/ 8082 h 10000"/>
              <a:gd name="connsiteX170" fmla="*/ 3150 w 10000"/>
              <a:gd name="connsiteY170" fmla="*/ 8249 h 10000"/>
              <a:gd name="connsiteX171" fmla="*/ 3285 w 10000"/>
              <a:gd name="connsiteY171" fmla="*/ 8167 h 10000"/>
              <a:gd name="connsiteX172" fmla="*/ 3427 w 10000"/>
              <a:gd name="connsiteY172" fmla="*/ 8167 h 10000"/>
              <a:gd name="connsiteX173" fmla="*/ 3499 w 10000"/>
              <a:gd name="connsiteY173" fmla="*/ 8249 h 10000"/>
              <a:gd name="connsiteX174" fmla="*/ 3778 w 10000"/>
              <a:gd name="connsiteY174" fmla="*/ 8249 h 10000"/>
              <a:gd name="connsiteX175" fmla="*/ 3844 w 10000"/>
              <a:gd name="connsiteY175" fmla="*/ 8082 h 10000"/>
              <a:gd name="connsiteX176" fmla="*/ 3633 w 10000"/>
              <a:gd name="connsiteY176" fmla="*/ 8000 h 10000"/>
              <a:gd name="connsiteX177" fmla="*/ 3778 w 10000"/>
              <a:gd name="connsiteY177" fmla="*/ 7916 h 10000"/>
              <a:gd name="connsiteX178" fmla="*/ 3703 w 10000"/>
              <a:gd name="connsiteY178" fmla="*/ 7833 h 10000"/>
              <a:gd name="connsiteX179" fmla="*/ 3778 w 10000"/>
              <a:gd name="connsiteY179" fmla="*/ 7750 h 10000"/>
              <a:gd name="connsiteX180" fmla="*/ 3778 w 10000"/>
              <a:gd name="connsiteY180" fmla="*/ 7500 h 10000"/>
              <a:gd name="connsiteX181" fmla="*/ 3913 w 10000"/>
              <a:gd name="connsiteY181" fmla="*/ 7584 h 10000"/>
              <a:gd name="connsiteX182" fmla="*/ 4545 w 10000"/>
              <a:gd name="connsiteY182" fmla="*/ 7334 h 10000"/>
              <a:gd name="connsiteX183" fmla="*/ 4545 w 10000"/>
              <a:gd name="connsiteY183" fmla="*/ 7250 h 10000"/>
              <a:gd name="connsiteX184" fmla="*/ 4617 w 10000"/>
              <a:gd name="connsiteY184" fmla="*/ 7250 h 10000"/>
              <a:gd name="connsiteX185" fmla="*/ 4820 w 10000"/>
              <a:gd name="connsiteY185" fmla="*/ 7250 h 10000"/>
              <a:gd name="connsiteX186" fmla="*/ 4898 w 10000"/>
              <a:gd name="connsiteY186" fmla="*/ 7417 h 10000"/>
              <a:gd name="connsiteX187" fmla="*/ 4898 w 10000"/>
              <a:gd name="connsiteY187" fmla="*/ 7500 h 10000"/>
              <a:gd name="connsiteX188" fmla="*/ 4963 w 10000"/>
              <a:gd name="connsiteY188" fmla="*/ 7500 h 10000"/>
              <a:gd name="connsiteX189" fmla="*/ 5103 w 10000"/>
              <a:gd name="connsiteY189" fmla="*/ 7584 h 10000"/>
              <a:gd name="connsiteX190" fmla="*/ 5103 w 10000"/>
              <a:gd name="connsiteY190" fmla="*/ 7668 h 10000"/>
              <a:gd name="connsiteX191" fmla="*/ 5243 w 10000"/>
              <a:gd name="connsiteY191" fmla="*/ 7668 h 10000"/>
              <a:gd name="connsiteX192" fmla="*/ 5383 w 10000"/>
              <a:gd name="connsiteY192" fmla="*/ 7500 h 10000"/>
              <a:gd name="connsiteX193" fmla="*/ 5523 w 10000"/>
              <a:gd name="connsiteY193" fmla="*/ 7417 h 10000"/>
              <a:gd name="connsiteX194" fmla="*/ 5603 w 10000"/>
              <a:gd name="connsiteY194" fmla="*/ 7668 h 10000"/>
              <a:gd name="connsiteX195" fmla="*/ 5875 w 10000"/>
              <a:gd name="connsiteY195" fmla="*/ 8249 h 10000"/>
              <a:gd name="connsiteX196" fmla="*/ 5947 w 10000"/>
              <a:gd name="connsiteY196" fmla="*/ 8082 h 10000"/>
              <a:gd name="connsiteX197" fmla="*/ 6016 w 10000"/>
              <a:gd name="connsiteY197" fmla="*/ 8249 h 10000"/>
              <a:gd name="connsiteX198" fmla="*/ 6226 w 10000"/>
              <a:gd name="connsiteY198" fmla="*/ 8167 h 10000"/>
              <a:gd name="connsiteX199" fmla="*/ 6437 w 10000"/>
              <a:gd name="connsiteY199" fmla="*/ 8418 h 10000"/>
              <a:gd name="connsiteX200" fmla="*/ 6572 w 10000"/>
              <a:gd name="connsiteY200" fmla="*/ 8500 h 10000"/>
              <a:gd name="connsiteX201" fmla="*/ 6572 w 10000"/>
              <a:gd name="connsiteY201" fmla="*/ 8418 h 10000"/>
              <a:gd name="connsiteX202" fmla="*/ 6647 w 10000"/>
              <a:gd name="connsiteY202" fmla="*/ 8584 h 10000"/>
              <a:gd name="connsiteX203" fmla="*/ 6572 w 10000"/>
              <a:gd name="connsiteY203" fmla="*/ 8667 h 10000"/>
              <a:gd name="connsiteX204" fmla="*/ 6716 w 10000"/>
              <a:gd name="connsiteY204" fmla="*/ 8584 h 10000"/>
              <a:gd name="connsiteX205" fmla="*/ 6783 w 10000"/>
              <a:gd name="connsiteY205" fmla="*/ 8500 h 10000"/>
              <a:gd name="connsiteX206" fmla="*/ 7130 w 10000"/>
              <a:gd name="connsiteY206" fmla="*/ 8249 h 10000"/>
              <a:gd name="connsiteX207" fmla="*/ 7413 w 10000"/>
              <a:gd name="connsiteY207" fmla="*/ 8332 h 10000"/>
              <a:gd name="connsiteX208" fmla="*/ 7550 w 10000"/>
              <a:gd name="connsiteY208" fmla="*/ 8418 h 10000"/>
              <a:gd name="connsiteX209" fmla="*/ 7830 w 10000"/>
              <a:gd name="connsiteY209" fmla="*/ 8418 h 10000"/>
              <a:gd name="connsiteX210" fmla="*/ 7830 w 10000"/>
              <a:gd name="connsiteY210" fmla="*/ 8249 h 10000"/>
              <a:gd name="connsiteX211" fmla="*/ 7830 w 10000"/>
              <a:gd name="connsiteY211" fmla="*/ 8082 h 10000"/>
              <a:gd name="connsiteX212" fmla="*/ 7971 w 10000"/>
              <a:gd name="connsiteY212" fmla="*/ 8000 h 10000"/>
              <a:gd name="connsiteX213" fmla="*/ 8247 w 10000"/>
              <a:gd name="connsiteY213" fmla="*/ 8082 h 10000"/>
              <a:gd name="connsiteX214" fmla="*/ 8392 w 10000"/>
              <a:gd name="connsiteY214" fmla="*/ 8332 h 10000"/>
              <a:gd name="connsiteX215" fmla="*/ 8462 w 10000"/>
              <a:gd name="connsiteY215" fmla="*/ 8332 h 10000"/>
              <a:gd name="connsiteX216" fmla="*/ 8602 w 10000"/>
              <a:gd name="connsiteY216" fmla="*/ 8249 h 10000"/>
              <a:gd name="connsiteX217" fmla="*/ 9026 w 10000"/>
              <a:gd name="connsiteY217" fmla="*/ 8500 h 10000"/>
              <a:gd name="connsiteX218" fmla="*/ 9231 w 10000"/>
              <a:gd name="connsiteY218" fmla="*/ 8584 h 10000"/>
              <a:gd name="connsiteX219" fmla="*/ 9510 w 10000"/>
              <a:gd name="connsiteY219" fmla="*/ 8500 h 10000"/>
              <a:gd name="connsiteX220" fmla="*/ 9652 w 10000"/>
              <a:gd name="connsiteY220" fmla="*/ 8332 h 10000"/>
              <a:gd name="connsiteX221" fmla="*/ 9860 w 10000"/>
              <a:gd name="connsiteY221" fmla="*/ 8418 h 10000"/>
              <a:gd name="connsiteX222" fmla="*/ 10000 w 10000"/>
              <a:gd name="connsiteY222" fmla="*/ 8500 h 10000"/>
              <a:gd name="connsiteX223" fmla="*/ 9580 w 10000"/>
              <a:gd name="connsiteY223" fmla="*/ 1500 h 10000"/>
              <a:gd name="connsiteX224" fmla="*/ 9173 w 10000"/>
              <a:gd name="connsiteY224" fmla="*/ 125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9092 w 10000"/>
              <a:gd name="connsiteY2" fmla="*/ 1332 h 10000"/>
              <a:gd name="connsiteX3" fmla="*/ 9173 w 10000"/>
              <a:gd name="connsiteY3" fmla="*/ 1500 h 10000"/>
              <a:gd name="connsiteX4" fmla="*/ 8881 w 10000"/>
              <a:gd name="connsiteY4" fmla="*/ 1665 h 10000"/>
              <a:gd name="connsiteX5" fmla="*/ 8809 w 10000"/>
              <a:gd name="connsiteY5" fmla="*/ 1665 h 10000"/>
              <a:gd name="connsiteX6" fmla="*/ 8881 w 10000"/>
              <a:gd name="connsiteY6" fmla="*/ 1415 h 10000"/>
              <a:gd name="connsiteX7" fmla="*/ 8184 w 10000"/>
              <a:gd name="connsiteY7" fmla="*/ 0 h 10000"/>
              <a:gd name="connsiteX8" fmla="*/ 7971 w 10000"/>
              <a:gd name="connsiteY8" fmla="*/ 0 h 10000"/>
              <a:gd name="connsiteX9" fmla="*/ 7344 w 10000"/>
              <a:gd name="connsiteY9" fmla="*/ 165 h 10000"/>
              <a:gd name="connsiteX10" fmla="*/ 6783 w 10000"/>
              <a:gd name="connsiteY10" fmla="*/ 582 h 10000"/>
              <a:gd name="connsiteX11" fmla="*/ 6572 w 10000"/>
              <a:gd name="connsiteY11" fmla="*/ 916 h 10000"/>
              <a:gd name="connsiteX12" fmla="*/ 6647 w 10000"/>
              <a:gd name="connsiteY12" fmla="*/ 1332 h 10000"/>
              <a:gd name="connsiteX13" fmla="*/ 5875 w 10000"/>
              <a:gd name="connsiteY13" fmla="*/ 1500 h 10000"/>
              <a:gd name="connsiteX14" fmla="*/ 5947 w 10000"/>
              <a:gd name="connsiteY14" fmla="*/ 2000 h 10000"/>
              <a:gd name="connsiteX15" fmla="*/ 6155 w 10000"/>
              <a:gd name="connsiteY15" fmla="*/ 2250 h 10000"/>
              <a:gd name="connsiteX16" fmla="*/ 6016 w 10000"/>
              <a:gd name="connsiteY16" fmla="*/ 2332 h 10000"/>
              <a:gd name="connsiteX17" fmla="*/ 5808 w 10000"/>
              <a:gd name="connsiteY17" fmla="*/ 2000 h 10000"/>
              <a:gd name="connsiteX18" fmla="*/ 5603 w 10000"/>
              <a:gd name="connsiteY18" fmla="*/ 1915 h 10000"/>
              <a:gd name="connsiteX19" fmla="*/ 5523 w 10000"/>
              <a:gd name="connsiteY19" fmla="*/ 2000 h 10000"/>
              <a:gd name="connsiteX20" fmla="*/ 5383 w 10000"/>
              <a:gd name="connsiteY20" fmla="*/ 1831 h 10000"/>
              <a:gd name="connsiteX21" fmla="*/ 5243 w 10000"/>
              <a:gd name="connsiteY21" fmla="*/ 1665 h 10000"/>
              <a:gd name="connsiteX22" fmla="*/ 5243 w 10000"/>
              <a:gd name="connsiteY22" fmla="*/ 1749 h 10000"/>
              <a:gd name="connsiteX23" fmla="*/ 5321 w 10000"/>
              <a:gd name="connsiteY23" fmla="*/ 2000 h 10000"/>
              <a:gd name="connsiteX24" fmla="*/ 5103 w 10000"/>
              <a:gd name="connsiteY24" fmla="*/ 2416 h 10000"/>
              <a:gd name="connsiteX25" fmla="*/ 5243 w 10000"/>
              <a:gd name="connsiteY25" fmla="*/ 2748 h 10000"/>
              <a:gd name="connsiteX26" fmla="*/ 5173 w 10000"/>
              <a:gd name="connsiteY26" fmla="*/ 3083 h 10000"/>
              <a:gd name="connsiteX27" fmla="*/ 5173 w 10000"/>
              <a:gd name="connsiteY27" fmla="*/ 3333 h 10000"/>
              <a:gd name="connsiteX28" fmla="*/ 5383 w 10000"/>
              <a:gd name="connsiteY28" fmla="*/ 3333 h 10000"/>
              <a:gd name="connsiteX29" fmla="*/ 5243 w 10000"/>
              <a:gd name="connsiteY29" fmla="*/ 3416 h 10000"/>
              <a:gd name="connsiteX30" fmla="*/ 5321 w 10000"/>
              <a:gd name="connsiteY30" fmla="*/ 3832 h 10000"/>
              <a:gd name="connsiteX31" fmla="*/ 4898 w 10000"/>
              <a:gd name="connsiteY31" fmla="*/ 4250 h 10000"/>
              <a:gd name="connsiteX32" fmla="*/ 4820 w 10000"/>
              <a:gd name="connsiteY32" fmla="*/ 4167 h 10000"/>
              <a:gd name="connsiteX33" fmla="*/ 5103 w 10000"/>
              <a:gd name="connsiteY33" fmla="*/ 3748 h 10000"/>
              <a:gd name="connsiteX34" fmla="*/ 5173 w 10000"/>
              <a:gd name="connsiteY34" fmla="*/ 3500 h 10000"/>
              <a:gd name="connsiteX35" fmla="*/ 5026 w 10000"/>
              <a:gd name="connsiteY35" fmla="*/ 3333 h 10000"/>
              <a:gd name="connsiteX36" fmla="*/ 5026 w 10000"/>
              <a:gd name="connsiteY36" fmla="*/ 2498 h 10000"/>
              <a:gd name="connsiteX37" fmla="*/ 4963 w 10000"/>
              <a:gd name="connsiteY37" fmla="*/ 2332 h 10000"/>
              <a:gd name="connsiteX38" fmla="*/ 5026 w 10000"/>
              <a:gd name="connsiteY38" fmla="*/ 1831 h 10000"/>
              <a:gd name="connsiteX39" fmla="*/ 4898 w 10000"/>
              <a:gd name="connsiteY39" fmla="*/ 1749 h 10000"/>
              <a:gd name="connsiteX40" fmla="*/ 4963 w 10000"/>
              <a:gd name="connsiteY40" fmla="*/ 1665 h 10000"/>
              <a:gd name="connsiteX41" fmla="*/ 4898 w 10000"/>
              <a:gd name="connsiteY41" fmla="*/ 1500 h 10000"/>
              <a:gd name="connsiteX42" fmla="*/ 4752 w 10000"/>
              <a:gd name="connsiteY42" fmla="*/ 1582 h 10000"/>
              <a:gd name="connsiteX43" fmla="*/ 4407 w 10000"/>
              <a:gd name="connsiteY43" fmla="*/ 2666 h 10000"/>
              <a:gd name="connsiteX44" fmla="*/ 4407 w 10000"/>
              <a:gd name="connsiteY44" fmla="*/ 3083 h 10000"/>
              <a:gd name="connsiteX45" fmla="*/ 4617 w 10000"/>
              <a:gd name="connsiteY45" fmla="*/ 3416 h 10000"/>
              <a:gd name="connsiteX46" fmla="*/ 4617 w 10000"/>
              <a:gd name="connsiteY46" fmla="*/ 3582 h 10000"/>
              <a:gd name="connsiteX47" fmla="*/ 4407 w 10000"/>
              <a:gd name="connsiteY47" fmla="*/ 3416 h 10000"/>
              <a:gd name="connsiteX48" fmla="*/ 3571 w 10000"/>
              <a:gd name="connsiteY48" fmla="*/ 2748 h 10000"/>
              <a:gd name="connsiteX49" fmla="*/ 3499 w 10000"/>
              <a:gd name="connsiteY49" fmla="*/ 2915 h 10000"/>
              <a:gd name="connsiteX50" fmla="*/ 3778 w 10000"/>
              <a:gd name="connsiteY50" fmla="*/ 3333 h 10000"/>
              <a:gd name="connsiteX51" fmla="*/ 3633 w 10000"/>
              <a:gd name="connsiteY51" fmla="*/ 3416 h 10000"/>
              <a:gd name="connsiteX52" fmla="*/ 3571 w 10000"/>
              <a:gd name="connsiteY52" fmla="*/ 3333 h 10000"/>
              <a:gd name="connsiteX53" fmla="*/ 3150 w 10000"/>
              <a:gd name="connsiteY53" fmla="*/ 3500 h 10000"/>
              <a:gd name="connsiteX54" fmla="*/ 3081 w 10000"/>
              <a:gd name="connsiteY54" fmla="*/ 3665 h 10000"/>
              <a:gd name="connsiteX55" fmla="*/ 3010 w 10000"/>
              <a:gd name="connsiteY55" fmla="*/ 3500 h 10000"/>
              <a:gd name="connsiteX56" fmla="*/ 3010 w 10000"/>
              <a:gd name="connsiteY56" fmla="*/ 3333 h 10000"/>
              <a:gd name="connsiteX57" fmla="*/ 2304 w 10000"/>
              <a:gd name="connsiteY57" fmla="*/ 3832 h 10000"/>
              <a:gd name="connsiteX58" fmla="*/ 2304 w 10000"/>
              <a:gd name="connsiteY58" fmla="*/ 3998 h 10000"/>
              <a:gd name="connsiteX59" fmla="*/ 2168 w 10000"/>
              <a:gd name="connsiteY59" fmla="*/ 4082 h 10000"/>
              <a:gd name="connsiteX60" fmla="*/ 1959 w 10000"/>
              <a:gd name="connsiteY60" fmla="*/ 3916 h 10000"/>
              <a:gd name="connsiteX61" fmla="*/ 2168 w 10000"/>
              <a:gd name="connsiteY61" fmla="*/ 3748 h 10000"/>
              <a:gd name="connsiteX62" fmla="*/ 2095 w 10000"/>
              <a:gd name="connsiteY62" fmla="*/ 3500 h 10000"/>
              <a:gd name="connsiteX63" fmla="*/ 1818 w 10000"/>
              <a:gd name="connsiteY63" fmla="*/ 3416 h 10000"/>
              <a:gd name="connsiteX64" fmla="*/ 1889 w 10000"/>
              <a:gd name="connsiteY64" fmla="*/ 3582 h 10000"/>
              <a:gd name="connsiteX65" fmla="*/ 1889 w 10000"/>
              <a:gd name="connsiteY65" fmla="*/ 3998 h 10000"/>
              <a:gd name="connsiteX66" fmla="*/ 1959 w 10000"/>
              <a:gd name="connsiteY66" fmla="*/ 4167 h 10000"/>
              <a:gd name="connsiteX67" fmla="*/ 1889 w 10000"/>
              <a:gd name="connsiteY67" fmla="*/ 4334 h 10000"/>
              <a:gd name="connsiteX68" fmla="*/ 1674 w 10000"/>
              <a:gd name="connsiteY68" fmla="*/ 4250 h 10000"/>
              <a:gd name="connsiteX69" fmla="*/ 1400 w 10000"/>
              <a:gd name="connsiteY69" fmla="*/ 4498 h 10000"/>
              <a:gd name="connsiteX70" fmla="*/ 1535 w 10000"/>
              <a:gd name="connsiteY70" fmla="*/ 4833 h 10000"/>
              <a:gd name="connsiteX71" fmla="*/ 1116 w 10000"/>
              <a:gd name="connsiteY71" fmla="*/ 4666 h 10000"/>
              <a:gd name="connsiteX72" fmla="*/ 1049 w 10000"/>
              <a:gd name="connsiteY72" fmla="*/ 4748 h 10000"/>
              <a:gd name="connsiteX73" fmla="*/ 1191 w 10000"/>
              <a:gd name="connsiteY73" fmla="*/ 4999 h 10000"/>
              <a:gd name="connsiteX74" fmla="*/ 1049 w 10000"/>
              <a:gd name="connsiteY74" fmla="*/ 4999 h 10000"/>
              <a:gd name="connsiteX75" fmla="*/ 842 w 10000"/>
              <a:gd name="connsiteY75" fmla="*/ 4833 h 10000"/>
              <a:gd name="connsiteX76" fmla="*/ 842 w 10000"/>
              <a:gd name="connsiteY76" fmla="*/ 4334 h 10000"/>
              <a:gd name="connsiteX77" fmla="*/ 632 w 10000"/>
              <a:gd name="connsiteY77" fmla="*/ 4167 h 10000"/>
              <a:gd name="connsiteX78" fmla="*/ 558 w 10000"/>
              <a:gd name="connsiteY78" fmla="*/ 3998 h 10000"/>
              <a:gd name="connsiteX79" fmla="*/ 697 w 10000"/>
              <a:gd name="connsiteY79" fmla="*/ 4082 h 10000"/>
              <a:gd name="connsiteX80" fmla="*/ 1255 w 10000"/>
              <a:gd name="connsiteY80" fmla="*/ 4334 h 10000"/>
              <a:gd name="connsiteX81" fmla="*/ 1601 w 10000"/>
              <a:gd name="connsiteY81" fmla="*/ 4082 h 10000"/>
              <a:gd name="connsiteX82" fmla="*/ 1535 w 10000"/>
              <a:gd name="connsiteY82" fmla="*/ 3832 h 10000"/>
              <a:gd name="connsiteX83" fmla="*/ 1116 w 10000"/>
              <a:gd name="connsiteY83" fmla="*/ 3333 h 10000"/>
              <a:gd name="connsiteX84" fmla="*/ 697 w 10000"/>
              <a:gd name="connsiteY84" fmla="*/ 3166 h 10000"/>
              <a:gd name="connsiteX85" fmla="*/ 697 w 10000"/>
              <a:gd name="connsiteY85" fmla="*/ 3083 h 10000"/>
              <a:gd name="connsiteX86" fmla="*/ 558 w 10000"/>
              <a:gd name="connsiteY86" fmla="*/ 2997 h 10000"/>
              <a:gd name="connsiteX87" fmla="*/ 417 w 10000"/>
              <a:gd name="connsiteY87" fmla="*/ 3083 h 10000"/>
              <a:gd name="connsiteX88" fmla="*/ 417 w 10000"/>
              <a:gd name="connsiteY88" fmla="*/ 3166 h 10000"/>
              <a:gd name="connsiteX89" fmla="*/ 348 w 10000"/>
              <a:gd name="connsiteY89" fmla="*/ 3166 h 10000"/>
              <a:gd name="connsiteX90" fmla="*/ 210 w 10000"/>
              <a:gd name="connsiteY90" fmla="*/ 3333 h 10000"/>
              <a:gd name="connsiteX91" fmla="*/ 210 w 10000"/>
              <a:gd name="connsiteY91" fmla="*/ 3582 h 10000"/>
              <a:gd name="connsiteX92" fmla="*/ 348 w 10000"/>
              <a:gd name="connsiteY92" fmla="*/ 3748 h 10000"/>
              <a:gd name="connsiteX93" fmla="*/ 282 w 10000"/>
              <a:gd name="connsiteY93" fmla="*/ 3998 h 10000"/>
              <a:gd name="connsiteX94" fmla="*/ 348 w 10000"/>
              <a:gd name="connsiteY94" fmla="*/ 4417 h 10000"/>
              <a:gd name="connsiteX95" fmla="*/ 282 w 10000"/>
              <a:gd name="connsiteY95" fmla="*/ 4666 h 10000"/>
              <a:gd name="connsiteX96" fmla="*/ 417 w 10000"/>
              <a:gd name="connsiteY96" fmla="*/ 4916 h 10000"/>
              <a:gd name="connsiteX97" fmla="*/ 348 w 10000"/>
              <a:gd name="connsiteY97" fmla="*/ 5083 h 10000"/>
              <a:gd name="connsiteX98" fmla="*/ 487 w 10000"/>
              <a:gd name="connsiteY98" fmla="*/ 5250 h 10000"/>
              <a:gd name="connsiteX99" fmla="*/ 487 w 10000"/>
              <a:gd name="connsiteY99" fmla="*/ 5333 h 10000"/>
              <a:gd name="connsiteX100" fmla="*/ 282 w 10000"/>
              <a:gd name="connsiteY100" fmla="*/ 5750 h 10000"/>
              <a:gd name="connsiteX101" fmla="*/ 64 w 10000"/>
              <a:gd name="connsiteY101" fmla="*/ 5917 h 10000"/>
              <a:gd name="connsiteX102" fmla="*/ 138 w 10000"/>
              <a:gd name="connsiteY102" fmla="*/ 5917 h 10000"/>
              <a:gd name="connsiteX103" fmla="*/ 282 w 10000"/>
              <a:gd name="connsiteY103" fmla="*/ 6083 h 10000"/>
              <a:gd name="connsiteX104" fmla="*/ 138 w 10000"/>
              <a:gd name="connsiteY104" fmla="*/ 6249 h 10000"/>
              <a:gd name="connsiteX105" fmla="*/ 64 w 10000"/>
              <a:gd name="connsiteY105" fmla="*/ 6334 h 10000"/>
              <a:gd name="connsiteX106" fmla="*/ 0 w 10000"/>
              <a:gd name="connsiteY106" fmla="*/ 6334 h 10000"/>
              <a:gd name="connsiteX107" fmla="*/ 64 w 10000"/>
              <a:gd name="connsiteY107" fmla="*/ 6584 h 10000"/>
              <a:gd name="connsiteX108" fmla="*/ 64 w 10000"/>
              <a:gd name="connsiteY108" fmla="*/ 6667 h 10000"/>
              <a:gd name="connsiteX109" fmla="*/ 64 w 10000"/>
              <a:gd name="connsiteY109" fmla="*/ 6749 h 10000"/>
              <a:gd name="connsiteX110" fmla="*/ 64 w 10000"/>
              <a:gd name="connsiteY110" fmla="*/ 6834 h 10000"/>
              <a:gd name="connsiteX111" fmla="*/ 138 w 10000"/>
              <a:gd name="connsiteY111" fmla="*/ 6998 h 10000"/>
              <a:gd name="connsiteX112" fmla="*/ 348 w 10000"/>
              <a:gd name="connsiteY112" fmla="*/ 7083 h 10000"/>
              <a:gd name="connsiteX113" fmla="*/ 417 w 10000"/>
              <a:gd name="connsiteY113" fmla="*/ 7165 h 10000"/>
              <a:gd name="connsiteX114" fmla="*/ 417 w 10000"/>
              <a:gd name="connsiteY114" fmla="*/ 7334 h 10000"/>
              <a:gd name="connsiteX115" fmla="*/ 558 w 10000"/>
              <a:gd name="connsiteY115" fmla="*/ 7584 h 10000"/>
              <a:gd name="connsiteX116" fmla="*/ 632 w 10000"/>
              <a:gd name="connsiteY116" fmla="*/ 7584 h 10000"/>
              <a:gd name="connsiteX117" fmla="*/ 558 w 10000"/>
              <a:gd name="connsiteY117" fmla="*/ 7750 h 10000"/>
              <a:gd name="connsiteX118" fmla="*/ 487 w 10000"/>
              <a:gd name="connsiteY118" fmla="*/ 7668 h 10000"/>
              <a:gd name="connsiteX119" fmla="*/ 487 w 10000"/>
              <a:gd name="connsiteY119" fmla="*/ 7750 h 10000"/>
              <a:gd name="connsiteX120" fmla="*/ 558 w 10000"/>
              <a:gd name="connsiteY120" fmla="*/ 7916 h 10000"/>
              <a:gd name="connsiteX121" fmla="*/ 773 w 10000"/>
              <a:gd name="connsiteY121" fmla="*/ 7916 h 10000"/>
              <a:gd name="connsiteX122" fmla="*/ 842 w 10000"/>
              <a:gd name="connsiteY122" fmla="*/ 8000 h 10000"/>
              <a:gd name="connsiteX123" fmla="*/ 773 w 10000"/>
              <a:gd name="connsiteY123" fmla="*/ 8000 h 10000"/>
              <a:gd name="connsiteX124" fmla="*/ 842 w 10000"/>
              <a:gd name="connsiteY124" fmla="*/ 8082 h 10000"/>
              <a:gd name="connsiteX125" fmla="*/ 908 w 10000"/>
              <a:gd name="connsiteY125" fmla="*/ 8082 h 10000"/>
              <a:gd name="connsiteX126" fmla="*/ 976 w 10000"/>
              <a:gd name="connsiteY126" fmla="*/ 8249 h 10000"/>
              <a:gd name="connsiteX127" fmla="*/ 1049 w 10000"/>
              <a:gd name="connsiteY127" fmla="*/ 8332 h 10000"/>
              <a:gd name="connsiteX128" fmla="*/ 1116 w 10000"/>
              <a:gd name="connsiteY128" fmla="*/ 8249 h 10000"/>
              <a:gd name="connsiteX129" fmla="*/ 1469 w 10000"/>
              <a:gd name="connsiteY129" fmla="*/ 8500 h 10000"/>
              <a:gd name="connsiteX130" fmla="*/ 1400 w 10000"/>
              <a:gd name="connsiteY130" fmla="*/ 8833 h 10000"/>
              <a:gd name="connsiteX131" fmla="*/ 1329 w 10000"/>
              <a:gd name="connsiteY131" fmla="*/ 8750 h 10000"/>
              <a:gd name="connsiteX132" fmla="*/ 1255 w 10000"/>
              <a:gd name="connsiteY132" fmla="*/ 8833 h 10000"/>
              <a:gd name="connsiteX133" fmla="*/ 1255 w 10000"/>
              <a:gd name="connsiteY133" fmla="*/ 8999 h 10000"/>
              <a:gd name="connsiteX134" fmla="*/ 1329 w 10000"/>
              <a:gd name="connsiteY134" fmla="*/ 8917 h 10000"/>
              <a:gd name="connsiteX135" fmla="*/ 1400 w 10000"/>
              <a:gd name="connsiteY135" fmla="*/ 8999 h 10000"/>
              <a:gd name="connsiteX136" fmla="*/ 1191 w 10000"/>
              <a:gd name="connsiteY136" fmla="*/ 9083 h 10000"/>
              <a:gd name="connsiteX137" fmla="*/ 1255 w 10000"/>
              <a:gd name="connsiteY137" fmla="*/ 9167 h 10000"/>
              <a:gd name="connsiteX138" fmla="*/ 1116 w 10000"/>
              <a:gd name="connsiteY138" fmla="*/ 9333 h 10000"/>
              <a:gd name="connsiteX139" fmla="*/ 1049 w 10000"/>
              <a:gd name="connsiteY139" fmla="*/ 9333 h 10000"/>
              <a:gd name="connsiteX140" fmla="*/ 1116 w 10000"/>
              <a:gd name="connsiteY140" fmla="*/ 9333 h 10000"/>
              <a:gd name="connsiteX141" fmla="*/ 1400 w 10000"/>
              <a:gd name="connsiteY141" fmla="*/ 9668 h 10000"/>
              <a:gd name="connsiteX142" fmla="*/ 1749 w 10000"/>
              <a:gd name="connsiteY142" fmla="*/ 9668 h 10000"/>
              <a:gd name="connsiteX143" fmla="*/ 1889 w 10000"/>
              <a:gd name="connsiteY143" fmla="*/ 9750 h 10000"/>
              <a:gd name="connsiteX144" fmla="*/ 2028 w 10000"/>
              <a:gd name="connsiteY144" fmla="*/ 9750 h 10000"/>
              <a:gd name="connsiteX145" fmla="*/ 2168 w 10000"/>
              <a:gd name="connsiteY145" fmla="*/ 9918 h 10000"/>
              <a:gd name="connsiteX146" fmla="*/ 2238 w 10000"/>
              <a:gd name="connsiteY146" fmla="*/ 10000 h 10000"/>
              <a:gd name="connsiteX147" fmla="*/ 2304 w 10000"/>
              <a:gd name="connsiteY147" fmla="*/ 10000 h 10000"/>
              <a:gd name="connsiteX148" fmla="*/ 2378 w 10000"/>
              <a:gd name="connsiteY148" fmla="*/ 9918 h 10000"/>
              <a:gd name="connsiteX149" fmla="*/ 2238 w 10000"/>
              <a:gd name="connsiteY149" fmla="*/ 9750 h 10000"/>
              <a:gd name="connsiteX150" fmla="*/ 2238 w 10000"/>
              <a:gd name="connsiteY150" fmla="*/ 9584 h 10000"/>
              <a:gd name="connsiteX151" fmla="*/ 2168 w 10000"/>
              <a:gd name="connsiteY151" fmla="*/ 9416 h 10000"/>
              <a:gd name="connsiteX152" fmla="*/ 2304 w 10000"/>
              <a:gd name="connsiteY152" fmla="*/ 9167 h 10000"/>
              <a:gd name="connsiteX153" fmla="*/ 2378 w 10000"/>
              <a:gd name="connsiteY153" fmla="*/ 9250 h 10000"/>
              <a:gd name="connsiteX154" fmla="*/ 2447 w 10000"/>
              <a:gd name="connsiteY154" fmla="*/ 9167 h 10000"/>
              <a:gd name="connsiteX155" fmla="*/ 2447 w 10000"/>
              <a:gd name="connsiteY155" fmla="*/ 9083 h 10000"/>
              <a:gd name="connsiteX156" fmla="*/ 2378 w 10000"/>
              <a:gd name="connsiteY156" fmla="*/ 9083 h 10000"/>
              <a:gd name="connsiteX157" fmla="*/ 2447 w 10000"/>
              <a:gd name="connsiteY157" fmla="*/ 8999 h 10000"/>
              <a:gd name="connsiteX158" fmla="*/ 2378 w 10000"/>
              <a:gd name="connsiteY158" fmla="*/ 8833 h 10000"/>
              <a:gd name="connsiteX159" fmla="*/ 2238 w 10000"/>
              <a:gd name="connsiteY159" fmla="*/ 8833 h 10000"/>
              <a:gd name="connsiteX160" fmla="*/ 2168 w 10000"/>
              <a:gd name="connsiteY160" fmla="*/ 8667 h 10000"/>
              <a:gd name="connsiteX161" fmla="*/ 2238 w 10000"/>
              <a:gd name="connsiteY161" fmla="*/ 8249 h 10000"/>
              <a:gd name="connsiteX162" fmla="*/ 2378 w 10000"/>
              <a:gd name="connsiteY162" fmla="*/ 8418 h 10000"/>
              <a:gd name="connsiteX163" fmla="*/ 2447 w 10000"/>
              <a:gd name="connsiteY163" fmla="*/ 8418 h 10000"/>
              <a:gd name="connsiteX164" fmla="*/ 2378 w 10000"/>
              <a:gd name="connsiteY164" fmla="*/ 8249 h 10000"/>
              <a:gd name="connsiteX165" fmla="*/ 2589 w 10000"/>
              <a:gd name="connsiteY165" fmla="*/ 8000 h 10000"/>
              <a:gd name="connsiteX166" fmla="*/ 2730 w 10000"/>
              <a:gd name="connsiteY166" fmla="*/ 8082 h 10000"/>
              <a:gd name="connsiteX167" fmla="*/ 2798 w 10000"/>
              <a:gd name="connsiteY167" fmla="*/ 8000 h 10000"/>
              <a:gd name="connsiteX168" fmla="*/ 2933 w 10000"/>
              <a:gd name="connsiteY168" fmla="*/ 8082 h 10000"/>
              <a:gd name="connsiteX169" fmla="*/ 3150 w 10000"/>
              <a:gd name="connsiteY169" fmla="*/ 8249 h 10000"/>
              <a:gd name="connsiteX170" fmla="*/ 3285 w 10000"/>
              <a:gd name="connsiteY170" fmla="*/ 8167 h 10000"/>
              <a:gd name="connsiteX171" fmla="*/ 3427 w 10000"/>
              <a:gd name="connsiteY171" fmla="*/ 8167 h 10000"/>
              <a:gd name="connsiteX172" fmla="*/ 3499 w 10000"/>
              <a:gd name="connsiteY172" fmla="*/ 8249 h 10000"/>
              <a:gd name="connsiteX173" fmla="*/ 3778 w 10000"/>
              <a:gd name="connsiteY173" fmla="*/ 8249 h 10000"/>
              <a:gd name="connsiteX174" fmla="*/ 3844 w 10000"/>
              <a:gd name="connsiteY174" fmla="*/ 8082 h 10000"/>
              <a:gd name="connsiteX175" fmla="*/ 3633 w 10000"/>
              <a:gd name="connsiteY175" fmla="*/ 8000 h 10000"/>
              <a:gd name="connsiteX176" fmla="*/ 3778 w 10000"/>
              <a:gd name="connsiteY176" fmla="*/ 7916 h 10000"/>
              <a:gd name="connsiteX177" fmla="*/ 3703 w 10000"/>
              <a:gd name="connsiteY177" fmla="*/ 7833 h 10000"/>
              <a:gd name="connsiteX178" fmla="*/ 3778 w 10000"/>
              <a:gd name="connsiteY178" fmla="*/ 7750 h 10000"/>
              <a:gd name="connsiteX179" fmla="*/ 3778 w 10000"/>
              <a:gd name="connsiteY179" fmla="*/ 7500 h 10000"/>
              <a:gd name="connsiteX180" fmla="*/ 3913 w 10000"/>
              <a:gd name="connsiteY180" fmla="*/ 7584 h 10000"/>
              <a:gd name="connsiteX181" fmla="*/ 4545 w 10000"/>
              <a:gd name="connsiteY181" fmla="*/ 7334 h 10000"/>
              <a:gd name="connsiteX182" fmla="*/ 4545 w 10000"/>
              <a:gd name="connsiteY182" fmla="*/ 7250 h 10000"/>
              <a:gd name="connsiteX183" fmla="*/ 4617 w 10000"/>
              <a:gd name="connsiteY183" fmla="*/ 7250 h 10000"/>
              <a:gd name="connsiteX184" fmla="*/ 4820 w 10000"/>
              <a:gd name="connsiteY184" fmla="*/ 7250 h 10000"/>
              <a:gd name="connsiteX185" fmla="*/ 4898 w 10000"/>
              <a:gd name="connsiteY185" fmla="*/ 7417 h 10000"/>
              <a:gd name="connsiteX186" fmla="*/ 4898 w 10000"/>
              <a:gd name="connsiteY186" fmla="*/ 7500 h 10000"/>
              <a:gd name="connsiteX187" fmla="*/ 4963 w 10000"/>
              <a:gd name="connsiteY187" fmla="*/ 7500 h 10000"/>
              <a:gd name="connsiteX188" fmla="*/ 5103 w 10000"/>
              <a:gd name="connsiteY188" fmla="*/ 7584 h 10000"/>
              <a:gd name="connsiteX189" fmla="*/ 5103 w 10000"/>
              <a:gd name="connsiteY189" fmla="*/ 7668 h 10000"/>
              <a:gd name="connsiteX190" fmla="*/ 5243 w 10000"/>
              <a:gd name="connsiteY190" fmla="*/ 7668 h 10000"/>
              <a:gd name="connsiteX191" fmla="*/ 5383 w 10000"/>
              <a:gd name="connsiteY191" fmla="*/ 7500 h 10000"/>
              <a:gd name="connsiteX192" fmla="*/ 5523 w 10000"/>
              <a:gd name="connsiteY192" fmla="*/ 7417 h 10000"/>
              <a:gd name="connsiteX193" fmla="*/ 5603 w 10000"/>
              <a:gd name="connsiteY193" fmla="*/ 7668 h 10000"/>
              <a:gd name="connsiteX194" fmla="*/ 5875 w 10000"/>
              <a:gd name="connsiteY194" fmla="*/ 8249 h 10000"/>
              <a:gd name="connsiteX195" fmla="*/ 5947 w 10000"/>
              <a:gd name="connsiteY195" fmla="*/ 8082 h 10000"/>
              <a:gd name="connsiteX196" fmla="*/ 6016 w 10000"/>
              <a:gd name="connsiteY196" fmla="*/ 8249 h 10000"/>
              <a:gd name="connsiteX197" fmla="*/ 6226 w 10000"/>
              <a:gd name="connsiteY197" fmla="*/ 8167 h 10000"/>
              <a:gd name="connsiteX198" fmla="*/ 6437 w 10000"/>
              <a:gd name="connsiteY198" fmla="*/ 8418 h 10000"/>
              <a:gd name="connsiteX199" fmla="*/ 6572 w 10000"/>
              <a:gd name="connsiteY199" fmla="*/ 8500 h 10000"/>
              <a:gd name="connsiteX200" fmla="*/ 6572 w 10000"/>
              <a:gd name="connsiteY200" fmla="*/ 8418 h 10000"/>
              <a:gd name="connsiteX201" fmla="*/ 6647 w 10000"/>
              <a:gd name="connsiteY201" fmla="*/ 8584 h 10000"/>
              <a:gd name="connsiteX202" fmla="*/ 6572 w 10000"/>
              <a:gd name="connsiteY202" fmla="*/ 8667 h 10000"/>
              <a:gd name="connsiteX203" fmla="*/ 6716 w 10000"/>
              <a:gd name="connsiteY203" fmla="*/ 8584 h 10000"/>
              <a:gd name="connsiteX204" fmla="*/ 6783 w 10000"/>
              <a:gd name="connsiteY204" fmla="*/ 8500 h 10000"/>
              <a:gd name="connsiteX205" fmla="*/ 7130 w 10000"/>
              <a:gd name="connsiteY205" fmla="*/ 8249 h 10000"/>
              <a:gd name="connsiteX206" fmla="*/ 7413 w 10000"/>
              <a:gd name="connsiteY206" fmla="*/ 8332 h 10000"/>
              <a:gd name="connsiteX207" fmla="*/ 7550 w 10000"/>
              <a:gd name="connsiteY207" fmla="*/ 8418 h 10000"/>
              <a:gd name="connsiteX208" fmla="*/ 7830 w 10000"/>
              <a:gd name="connsiteY208" fmla="*/ 8418 h 10000"/>
              <a:gd name="connsiteX209" fmla="*/ 7830 w 10000"/>
              <a:gd name="connsiteY209" fmla="*/ 8249 h 10000"/>
              <a:gd name="connsiteX210" fmla="*/ 7830 w 10000"/>
              <a:gd name="connsiteY210" fmla="*/ 8082 h 10000"/>
              <a:gd name="connsiteX211" fmla="*/ 7971 w 10000"/>
              <a:gd name="connsiteY211" fmla="*/ 8000 h 10000"/>
              <a:gd name="connsiteX212" fmla="*/ 8247 w 10000"/>
              <a:gd name="connsiteY212" fmla="*/ 8082 h 10000"/>
              <a:gd name="connsiteX213" fmla="*/ 8392 w 10000"/>
              <a:gd name="connsiteY213" fmla="*/ 8332 h 10000"/>
              <a:gd name="connsiteX214" fmla="*/ 8462 w 10000"/>
              <a:gd name="connsiteY214" fmla="*/ 8332 h 10000"/>
              <a:gd name="connsiteX215" fmla="*/ 8602 w 10000"/>
              <a:gd name="connsiteY215" fmla="*/ 8249 h 10000"/>
              <a:gd name="connsiteX216" fmla="*/ 9026 w 10000"/>
              <a:gd name="connsiteY216" fmla="*/ 8500 h 10000"/>
              <a:gd name="connsiteX217" fmla="*/ 9231 w 10000"/>
              <a:gd name="connsiteY217" fmla="*/ 8584 h 10000"/>
              <a:gd name="connsiteX218" fmla="*/ 9510 w 10000"/>
              <a:gd name="connsiteY218" fmla="*/ 8500 h 10000"/>
              <a:gd name="connsiteX219" fmla="*/ 9652 w 10000"/>
              <a:gd name="connsiteY219" fmla="*/ 8332 h 10000"/>
              <a:gd name="connsiteX220" fmla="*/ 9860 w 10000"/>
              <a:gd name="connsiteY220" fmla="*/ 8418 h 10000"/>
              <a:gd name="connsiteX221" fmla="*/ 10000 w 10000"/>
              <a:gd name="connsiteY221" fmla="*/ 8500 h 10000"/>
              <a:gd name="connsiteX222" fmla="*/ 9580 w 10000"/>
              <a:gd name="connsiteY222" fmla="*/ 1500 h 10000"/>
              <a:gd name="connsiteX223" fmla="*/ 9173 w 10000"/>
              <a:gd name="connsiteY223" fmla="*/ 125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9092 w 10000"/>
              <a:gd name="connsiteY2" fmla="*/ 1332 h 10000"/>
              <a:gd name="connsiteX3" fmla="*/ 9173 w 10000"/>
              <a:gd name="connsiteY3" fmla="*/ 1500 h 10000"/>
              <a:gd name="connsiteX4" fmla="*/ 8881 w 10000"/>
              <a:gd name="connsiteY4" fmla="*/ 1665 h 10000"/>
              <a:gd name="connsiteX5" fmla="*/ 8809 w 10000"/>
              <a:gd name="connsiteY5" fmla="*/ 1665 h 10000"/>
              <a:gd name="connsiteX6" fmla="*/ 8184 w 10000"/>
              <a:gd name="connsiteY6" fmla="*/ 0 h 10000"/>
              <a:gd name="connsiteX7" fmla="*/ 7971 w 10000"/>
              <a:gd name="connsiteY7" fmla="*/ 0 h 10000"/>
              <a:gd name="connsiteX8" fmla="*/ 7344 w 10000"/>
              <a:gd name="connsiteY8" fmla="*/ 165 h 10000"/>
              <a:gd name="connsiteX9" fmla="*/ 6783 w 10000"/>
              <a:gd name="connsiteY9" fmla="*/ 582 h 10000"/>
              <a:gd name="connsiteX10" fmla="*/ 6572 w 10000"/>
              <a:gd name="connsiteY10" fmla="*/ 916 h 10000"/>
              <a:gd name="connsiteX11" fmla="*/ 6647 w 10000"/>
              <a:gd name="connsiteY11" fmla="*/ 1332 h 10000"/>
              <a:gd name="connsiteX12" fmla="*/ 5875 w 10000"/>
              <a:gd name="connsiteY12" fmla="*/ 1500 h 10000"/>
              <a:gd name="connsiteX13" fmla="*/ 5947 w 10000"/>
              <a:gd name="connsiteY13" fmla="*/ 2000 h 10000"/>
              <a:gd name="connsiteX14" fmla="*/ 6155 w 10000"/>
              <a:gd name="connsiteY14" fmla="*/ 2250 h 10000"/>
              <a:gd name="connsiteX15" fmla="*/ 6016 w 10000"/>
              <a:gd name="connsiteY15" fmla="*/ 2332 h 10000"/>
              <a:gd name="connsiteX16" fmla="*/ 5808 w 10000"/>
              <a:gd name="connsiteY16" fmla="*/ 2000 h 10000"/>
              <a:gd name="connsiteX17" fmla="*/ 5603 w 10000"/>
              <a:gd name="connsiteY17" fmla="*/ 1915 h 10000"/>
              <a:gd name="connsiteX18" fmla="*/ 5523 w 10000"/>
              <a:gd name="connsiteY18" fmla="*/ 2000 h 10000"/>
              <a:gd name="connsiteX19" fmla="*/ 5383 w 10000"/>
              <a:gd name="connsiteY19" fmla="*/ 1831 h 10000"/>
              <a:gd name="connsiteX20" fmla="*/ 5243 w 10000"/>
              <a:gd name="connsiteY20" fmla="*/ 1665 h 10000"/>
              <a:gd name="connsiteX21" fmla="*/ 5243 w 10000"/>
              <a:gd name="connsiteY21" fmla="*/ 1749 h 10000"/>
              <a:gd name="connsiteX22" fmla="*/ 5321 w 10000"/>
              <a:gd name="connsiteY22" fmla="*/ 2000 h 10000"/>
              <a:gd name="connsiteX23" fmla="*/ 5103 w 10000"/>
              <a:gd name="connsiteY23" fmla="*/ 2416 h 10000"/>
              <a:gd name="connsiteX24" fmla="*/ 5243 w 10000"/>
              <a:gd name="connsiteY24" fmla="*/ 2748 h 10000"/>
              <a:gd name="connsiteX25" fmla="*/ 5173 w 10000"/>
              <a:gd name="connsiteY25" fmla="*/ 3083 h 10000"/>
              <a:gd name="connsiteX26" fmla="*/ 5173 w 10000"/>
              <a:gd name="connsiteY26" fmla="*/ 3333 h 10000"/>
              <a:gd name="connsiteX27" fmla="*/ 5383 w 10000"/>
              <a:gd name="connsiteY27" fmla="*/ 3333 h 10000"/>
              <a:gd name="connsiteX28" fmla="*/ 5243 w 10000"/>
              <a:gd name="connsiteY28" fmla="*/ 3416 h 10000"/>
              <a:gd name="connsiteX29" fmla="*/ 5321 w 10000"/>
              <a:gd name="connsiteY29" fmla="*/ 3832 h 10000"/>
              <a:gd name="connsiteX30" fmla="*/ 4898 w 10000"/>
              <a:gd name="connsiteY30" fmla="*/ 4250 h 10000"/>
              <a:gd name="connsiteX31" fmla="*/ 4820 w 10000"/>
              <a:gd name="connsiteY31" fmla="*/ 4167 h 10000"/>
              <a:gd name="connsiteX32" fmla="*/ 5103 w 10000"/>
              <a:gd name="connsiteY32" fmla="*/ 3748 h 10000"/>
              <a:gd name="connsiteX33" fmla="*/ 5173 w 10000"/>
              <a:gd name="connsiteY33" fmla="*/ 3500 h 10000"/>
              <a:gd name="connsiteX34" fmla="*/ 5026 w 10000"/>
              <a:gd name="connsiteY34" fmla="*/ 3333 h 10000"/>
              <a:gd name="connsiteX35" fmla="*/ 5026 w 10000"/>
              <a:gd name="connsiteY35" fmla="*/ 2498 h 10000"/>
              <a:gd name="connsiteX36" fmla="*/ 4963 w 10000"/>
              <a:gd name="connsiteY36" fmla="*/ 2332 h 10000"/>
              <a:gd name="connsiteX37" fmla="*/ 5026 w 10000"/>
              <a:gd name="connsiteY37" fmla="*/ 1831 h 10000"/>
              <a:gd name="connsiteX38" fmla="*/ 4898 w 10000"/>
              <a:gd name="connsiteY38" fmla="*/ 1749 h 10000"/>
              <a:gd name="connsiteX39" fmla="*/ 4963 w 10000"/>
              <a:gd name="connsiteY39" fmla="*/ 1665 h 10000"/>
              <a:gd name="connsiteX40" fmla="*/ 4898 w 10000"/>
              <a:gd name="connsiteY40" fmla="*/ 1500 h 10000"/>
              <a:gd name="connsiteX41" fmla="*/ 4752 w 10000"/>
              <a:gd name="connsiteY41" fmla="*/ 1582 h 10000"/>
              <a:gd name="connsiteX42" fmla="*/ 4407 w 10000"/>
              <a:gd name="connsiteY42" fmla="*/ 2666 h 10000"/>
              <a:gd name="connsiteX43" fmla="*/ 4407 w 10000"/>
              <a:gd name="connsiteY43" fmla="*/ 3083 h 10000"/>
              <a:gd name="connsiteX44" fmla="*/ 4617 w 10000"/>
              <a:gd name="connsiteY44" fmla="*/ 3416 h 10000"/>
              <a:gd name="connsiteX45" fmla="*/ 4617 w 10000"/>
              <a:gd name="connsiteY45" fmla="*/ 3582 h 10000"/>
              <a:gd name="connsiteX46" fmla="*/ 4407 w 10000"/>
              <a:gd name="connsiteY46" fmla="*/ 3416 h 10000"/>
              <a:gd name="connsiteX47" fmla="*/ 3571 w 10000"/>
              <a:gd name="connsiteY47" fmla="*/ 2748 h 10000"/>
              <a:gd name="connsiteX48" fmla="*/ 3499 w 10000"/>
              <a:gd name="connsiteY48" fmla="*/ 2915 h 10000"/>
              <a:gd name="connsiteX49" fmla="*/ 3778 w 10000"/>
              <a:gd name="connsiteY49" fmla="*/ 3333 h 10000"/>
              <a:gd name="connsiteX50" fmla="*/ 3633 w 10000"/>
              <a:gd name="connsiteY50" fmla="*/ 3416 h 10000"/>
              <a:gd name="connsiteX51" fmla="*/ 3571 w 10000"/>
              <a:gd name="connsiteY51" fmla="*/ 3333 h 10000"/>
              <a:gd name="connsiteX52" fmla="*/ 3150 w 10000"/>
              <a:gd name="connsiteY52" fmla="*/ 3500 h 10000"/>
              <a:gd name="connsiteX53" fmla="*/ 3081 w 10000"/>
              <a:gd name="connsiteY53" fmla="*/ 3665 h 10000"/>
              <a:gd name="connsiteX54" fmla="*/ 3010 w 10000"/>
              <a:gd name="connsiteY54" fmla="*/ 3500 h 10000"/>
              <a:gd name="connsiteX55" fmla="*/ 3010 w 10000"/>
              <a:gd name="connsiteY55" fmla="*/ 3333 h 10000"/>
              <a:gd name="connsiteX56" fmla="*/ 2304 w 10000"/>
              <a:gd name="connsiteY56" fmla="*/ 3832 h 10000"/>
              <a:gd name="connsiteX57" fmla="*/ 2304 w 10000"/>
              <a:gd name="connsiteY57" fmla="*/ 3998 h 10000"/>
              <a:gd name="connsiteX58" fmla="*/ 2168 w 10000"/>
              <a:gd name="connsiteY58" fmla="*/ 4082 h 10000"/>
              <a:gd name="connsiteX59" fmla="*/ 1959 w 10000"/>
              <a:gd name="connsiteY59" fmla="*/ 3916 h 10000"/>
              <a:gd name="connsiteX60" fmla="*/ 2168 w 10000"/>
              <a:gd name="connsiteY60" fmla="*/ 3748 h 10000"/>
              <a:gd name="connsiteX61" fmla="*/ 2095 w 10000"/>
              <a:gd name="connsiteY61" fmla="*/ 3500 h 10000"/>
              <a:gd name="connsiteX62" fmla="*/ 1818 w 10000"/>
              <a:gd name="connsiteY62" fmla="*/ 3416 h 10000"/>
              <a:gd name="connsiteX63" fmla="*/ 1889 w 10000"/>
              <a:gd name="connsiteY63" fmla="*/ 3582 h 10000"/>
              <a:gd name="connsiteX64" fmla="*/ 1889 w 10000"/>
              <a:gd name="connsiteY64" fmla="*/ 3998 h 10000"/>
              <a:gd name="connsiteX65" fmla="*/ 1959 w 10000"/>
              <a:gd name="connsiteY65" fmla="*/ 4167 h 10000"/>
              <a:gd name="connsiteX66" fmla="*/ 1889 w 10000"/>
              <a:gd name="connsiteY66" fmla="*/ 4334 h 10000"/>
              <a:gd name="connsiteX67" fmla="*/ 1674 w 10000"/>
              <a:gd name="connsiteY67" fmla="*/ 4250 h 10000"/>
              <a:gd name="connsiteX68" fmla="*/ 1400 w 10000"/>
              <a:gd name="connsiteY68" fmla="*/ 4498 h 10000"/>
              <a:gd name="connsiteX69" fmla="*/ 1535 w 10000"/>
              <a:gd name="connsiteY69" fmla="*/ 4833 h 10000"/>
              <a:gd name="connsiteX70" fmla="*/ 1116 w 10000"/>
              <a:gd name="connsiteY70" fmla="*/ 4666 h 10000"/>
              <a:gd name="connsiteX71" fmla="*/ 1049 w 10000"/>
              <a:gd name="connsiteY71" fmla="*/ 4748 h 10000"/>
              <a:gd name="connsiteX72" fmla="*/ 1191 w 10000"/>
              <a:gd name="connsiteY72" fmla="*/ 4999 h 10000"/>
              <a:gd name="connsiteX73" fmla="*/ 1049 w 10000"/>
              <a:gd name="connsiteY73" fmla="*/ 4999 h 10000"/>
              <a:gd name="connsiteX74" fmla="*/ 842 w 10000"/>
              <a:gd name="connsiteY74" fmla="*/ 4833 h 10000"/>
              <a:gd name="connsiteX75" fmla="*/ 842 w 10000"/>
              <a:gd name="connsiteY75" fmla="*/ 4334 h 10000"/>
              <a:gd name="connsiteX76" fmla="*/ 632 w 10000"/>
              <a:gd name="connsiteY76" fmla="*/ 4167 h 10000"/>
              <a:gd name="connsiteX77" fmla="*/ 558 w 10000"/>
              <a:gd name="connsiteY77" fmla="*/ 3998 h 10000"/>
              <a:gd name="connsiteX78" fmla="*/ 697 w 10000"/>
              <a:gd name="connsiteY78" fmla="*/ 4082 h 10000"/>
              <a:gd name="connsiteX79" fmla="*/ 1255 w 10000"/>
              <a:gd name="connsiteY79" fmla="*/ 4334 h 10000"/>
              <a:gd name="connsiteX80" fmla="*/ 1601 w 10000"/>
              <a:gd name="connsiteY80" fmla="*/ 4082 h 10000"/>
              <a:gd name="connsiteX81" fmla="*/ 1535 w 10000"/>
              <a:gd name="connsiteY81" fmla="*/ 3832 h 10000"/>
              <a:gd name="connsiteX82" fmla="*/ 1116 w 10000"/>
              <a:gd name="connsiteY82" fmla="*/ 3333 h 10000"/>
              <a:gd name="connsiteX83" fmla="*/ 697 w 10000"/>
              <a:gd name="connsiteY83" fmla="*/ 3166 h 10000"/>
              <a:gd name="connsiteX84" fmla="*/ 697 w 10000"/>
              <a:gd name="connsiteY84" fmla="*/ 3083 h 10000"/>
              <a:gd name="connsiteX85" fmla="*/ 558 w 10000"/>
              <a:gd name="connsiteY85" fmla="*/ 2997 h 10000"/>
              <a:gd name="connsiteX86" fmla="*/ 417 w 10000"/>
              <a:gd name="connsiteY86" fmla="*/ 3083 h 10000"/>
              <a:gd name="connsiteX87" fmla="*/ 417 w 10000"/>
              <a:gd name="connsiteY87" fmla="*/ 3166 h 10000"/>
              <a:gd name="connsiteX88" fmla="*/ 348 w 10000"/>
              <a:gd name="connsiteY88" fmla="*/ 3166 h 10000"/>
              <a:gd name="connsiteX89" fmla="*/ 210 w 10000"/>
              <a:gd name="connsiteY89" fmla="*/ 3333 h 10000"/>
              <a:gd name="connsiteX90" fmla="*/ 210 w 10000"/>
              <a:gd name="connsiteY90" fmla="*/ 3582 h 10000"/>
              <a:gd name="connsiteX91" fmla="*/ 348 w 10000"/>
              <a:gd name="connsiteY91" fmla="*/ 3748 h 10000"/>
              <a:gd name="connsiteX92" fmla="*/ 282 w 10000"/>
              <a:gd name="connsiteY92" fmla="*/ 3998 h 10000"/>
              <a:gd name="connsiteX93" fmla="*/ 348 w 10000"/>
              <a:gd name="connsiteY93" fmla="*/ 4417 h 10000"/>
              <a:gd name="connsiteX94" fmla="*/ 282 w 10000"/>
              <a:gd name="connsiteY94" fmla="*/ 4666 h 10000"/>
              <a:gd name="connsiteX95" fmla="*/ 417 w 10000"/>
              <a:gd name="connsiteY95" fmla="*/ 4916 h 10000"/>
              <a:gd name="connsiteX96" fmla="*/ 348 w 10000"/>
              <a:gd name="connsiteY96" fmla="*/ 5083 h 10000"/>
              <a:gd name="connsiteX97" fmla="*/ 487 w 10000"/>
              <a:gd name="connsiteY97" fmla="*/ 5250 h 10000"/>
              <a:gd name="connsiteX98" fmla="*/ 487 w 10000"/>
              <a:gd name="connsiteY98" fmla="*/ 5333 h 10000"/>
              <a:gd name="connsiteX99" fmla="*/ 282 w 10000"/>
              <a:gd name="connsiteY99" fmla="*/ 5750 h 10000"/>
              <a:gd name="connsiteX100" fmla="*/ 64 w 10000"/>
              <a:gd name="connsiteY100" fmla="*/ 5917 h 10000"/>
              <a:gd name="connsiteX101" fmla="*/ 138 w 10000"/>
              <a:gd name="connsiteY101" fmla="*/ 5917 h 10000"/>
              <a:gd name="connsiteX102" fmla="*/ 282 w 10000"/>
              <a:gd name="connsiteY102" fmla="*/ 6083 h 10000"/>
              <a:gd name="connsiteX103" fmla="*/ 138 w 10000"/>
              <a:gd name="connsiteY103" fmla="*/ 6249 h 10000"/>
              <a:gd name="connsiteX104" fmla="*/ 64 w 10000"/>
              <a:gd name="connsiteY104" fmla="*/ 6334 h 10000"/>
              <a:gd name="connsiteX105" fmla="*/ 0 w 10000"/>
              <a:gd name="connsiteY105" fmla="*/ 6334 h 10000"/>
              <a:gd name="connsiteX106" fmla="*/ 64 w 10000"/>
              <a:gd name="connsiteY106" fmla="*/ 6584 h 10000"/>
              <a:gd name="connsiteX107" fmla="*/ 64 w 10000"/>
              <a:gd name="connsiteY107" fmla="*/ 6667 h 10000"/>
              <a:gd name="connsiteX108" fmla="*/ 64 w 10000"/>
              <a:gd name="connsiteY108" fmla="*/ 6749 h 10000"/>
              <a:gd name="connsiteX109" fmla="*/ 64 w 10000"/>
              <a:gd name="connsiteY109" fmla="*/ 6834 h 10000"/>
              <a:gd name="connsiteX110" fmla="*/ 138 w 10000"/>
              <a:gd name="connsiteY110" fmla="*/ 6998 h 10000"/>
              <a:gd name="connsiteX111" fmla="*/ 348 w 10000"/>
              <a:gd name="connsiteY111" fmla="*/ 7083 h 10000"/>
              <a:gd name="connsiteX112" fmla="*/ 417 w 10000"/>
              <a:gd name="connsiteY112" fmla="*/ 7165 h 10000"/>
              <a:gd name="connsiteX113" fmla="*/ 417 w 10000"/>
              <a:gd name="connsiteY113" fmla="*/ 7334 h 10000"/>
              <a:gd name="connsiteX114" fmla="*/ 558 w 10000"/>
              <a:gd name="connsiteY114" fmla="*/ 7584 h 10000"/>
              <a:gd name="connsiteX115" fmla="*/ 632 w 10000"/>
              <a:gd name="connsiteY115" fmla="*/ 7584 h 10000"/>
              <a:gd name="connsiteX116" fmla="*/ 558 w 10000"/>
              <a:gd name="connsiteY116" fmla="*/ 7750 h 10000"/>
              <a:gd name="connsiteX117" fmla="*/ 487 w 10000"/>
              <a:gd name="connsiteY117" fmla="*/ 7668 h 10000"/>
              <a:gd name="connsiteX118" fmla="*/ 487 w 10000"/>
              <a:gd name="connsiteY118" fmla="*/ 7750 h 10000"/>
              <a:gd name="connsiteX119" fmla="*/ 558 w 10000"/>
              <a:gd name="connsiteY119" fmla="*/ 7916 h 10000"/>
              <a:gd name="connsiteX120" fmla="*/ 773 w 10000"/>
              <a:gd name="connsiteY120" fmla="*/ 7916 h 10000"/>
              <a:gd name="connsiteX121" fmla="*/ 842 w 10000"/>
              <a:gd name="connsiteY121" fmla="*/ 8000 h 10000"/>
              <a:gd name="connsiteX122" fmla="*/ 773 w 10000"/>
              <a:gd name="connsiteY122" fmla="*/ 8000 h 10000"/>
              <a:gd name="connsiteX123" fmla="*/ 842 w 10000"/>
              <a:gd name="connsiteY123" fmla="*/ 8082 h 10000"/>
              <a:gd name="connsiteX124" fmla="*/ 908 w 10000"/>
              <a:gd name="connsiteY124" fmla="*/ 8082 h 10000"/>
              <a:gd name="connsiteX125" fmla="*/ 976 w 10000"/>
              <a:gd name="connsiteY125" fmla="*/ 8249 h 10000"/>
              <a:gd name="connsiteX126" fmla="*/ 1049 w 10000"/>
              <a:gd name="connsiteY126" fmla="*/ 8332 h 10000"/>
              <a:gd name="connsiteX127" fmla="*/ 1116 w 10000"/>
              <a:gd name="connsiteY127" fmla="*/ 8249 h 10000"/>
              <a:gd name="connsiteX128" fmla="*/ 1469 w 10000"/>
              <a:gd name="connsiteY128" fmla="*/ 8500 h 10000"/>
              <a:gd name="connsiteX129" fmla="*/ 1400 w 10000"/>
              <a:gd name="connsiteY129" fmla="*/ 8833 h 10000"/>
              <a:gd name="connsiteX130" fmla="*/ 1329 w 10000"/>
              <a:gd name="connsiteY130" fmla="*/ 8750 h 10000"/>
              <a:gd name="connsiteX131" fmla="*/ 1255 w 10000"/>
              <a:gd name="connsiteY131" fmla="*/ 8833 h 10000"/>
              <a:gd name="connsiteX132" fmla="*/ 1255 w 10000"/>
              <a:gd name="connsiteY132" fmla="*/ 8999 h 10000"/>
              <a:gd name="connsiteX133" fmla="*/ 1329 w 10000"/>
              <a:gd name="connsiteY133" fmla="*/ 8917 h 10000"/>
              <a:gd name="connsiteX134" fmla="*/ 1400 w 10000"/>
              <a:gd name="connsiteY134" fmla="*/ 8999 h 10000"/>
              <a:gd name="connsiteX135" fmla="*/ 1191 w 10000"/>
              <a:gd name="connsiteY135" fmla="*/ 9083 h 10000"/>
              <a:gd name="connsiteX136" fmla="*/ 1255 w 10000"/>
              <a:gd name="connsiteY136" fmla="*/ 9167 h 10000"/>
              <a:gd name="connsiteX137" fmla="*/ 1116 w 10000"/>
              <a:gd name="connsiteY137" fmla="*/ 9333 h 10000"/>
              <a:gd name="connsiteX138" fmla="*/ 1049 w 10000"/>
              <a:gd name="connsiteY138" fmla="*/ 9333 h 10000"/>
              <a:gd name="connsiteX139" fmla="*/ 1116 w 10000"/>
              <a:gd name="connsiteY139" fmla="*/ 9333 h 10000"/>
              <a:gd name="connsiteX140" fmla="*/ 1400 w 10000"/>
              <a:gd name="connsiteY140" fmla="*/ 9668 h 10000"/>
              <a:gd name="connsiteX141" fmla="*/ 1749 w 10000"/>
              <a:gd name="connsiteY141" fmla="*/ 9668 h 10000"/>
              <a:gd name="connsiteX142" fmla="*/ 1889 w 10000"/>
              <a:gd name="connsiteY142" fmla="*/ 9750 h 10000"/>
              <a:gd name="connsiteX143" fmla="*/ 2028 w 10000"/>
              <a:gd name="connsiteY143" fmla="*/ 9750 h 10000"/>
              <a:gd name="connsiteX144" fmla="*/ 2168 w 10000"/>
              <a:gd name="connsiteY144" fmla="*/ 9918 h 10000"/>
              <a:gd name="connsiteX145" fmla="*/ 2238 w 10000"/>
              <a:gd name="connsiteY145" fmla="*/ 10000 h 10000"/>
              <a:gd name="connsiteX146" fmla="*/ 2304 w 10000"/>
              <a:gd name="connsiteY146" fmla="*/ 10000 h 10000"/>
              <a:gd name="connsiteX147" fmla="*/ 2378 w 10000"/>
              <a:gd name="connsiteY147" fmla="*/ 9918 h 10000"/>
              <a:gd name="connsiteX148" fmla="*/ 2238 w 10000"/>
              <a:gd name="connsiteY148" fmla="*/ 9750 h 10000"/>
              <a:gd name="connsiteX149" fmla="*/ 2238 w 10000"/>
              <a:gd name="connsiteY149" fmla="*/ 9584 h 10000"/>
              <a:gd name="connsiteX150" fmla="*/ 2168 w 10000"/>
              <a:gd name="connsiteY150" fmla="*/ 9416 h 10000"/>
              <a:gd name="connsiteX151" fmla="*/ 2304 w 10000"/>
              <a:gd name="connsiteY151" fmla="*/ 9167 h 10000"/>
              <a:gd name="connsiteX152" fmla="*/ 2378 w 10000"/>
              <a:gd name="connsiteY152" fmla="*/ 9250 h 10000"/>
              <a:gd name="connsiteX153" fmla="*/ 2447 w 10000"/>
              <a:gd name="connsiteY153" fmla="*/ 9167 h 10000"/>
              <a:gd name="connsiteX154" fmla="*/ 2447 w 10000"/>
              <a:gd name="connsiteY154" fmla="*/ 9083 h 10000"/>
              <a:gd name="connsiteX155" fmla="*/ 2378 w 10000"/>
              <a:gd name="connsiteY155" fmla="*/ 9083 h 10000"/>
              <a:gd name="connsiteX156" fmla="*/ 2447 w 10000"/>
              <a:gd name="connsiteY156" fmla="*/ 8999 h 10000"/>
              <a:gd name="connsiteX157" fmla="*/ 2378 w 10000"/>
              <a:gd name="connsiteY157" fmla="*/ 8833 h 10000"/>
              <a:gd name="connsiteX158" fmla="*/ 2238 w 10000"/>
              <a:gd name="connsiteY158" fmla="*/ 8833 h 10000"/>
              <a:gd name="connsiteX159" fmla="*/ 2168 w 10000"/>
              <a:gd name="connsiteY159" fmla="*/ 8667 h 10000"/>
              <a:gd name="connsiteX160" fmla="*/ 2238 w 10000"/>
              <a:gd name="connsiteY160" fmla="*/ 8249 h 10000"/>
              <a:gd name="connsiteX161" fmla="*/ 2378 w 10000"/>
              <a:gd name="connsiteY161" fmla="*/ 8418 h 10000"/>
              <a:gd name="connsiteX162" fmla="*/ 2447 w 10000"/>
              <a:gd name="connsiteY162" fmla="*/ 8418 h 10000"/>
              <a:gd name="connsiteX163" fmla="*/ 2378 w 10000"/>
              <a:gd name="connsiteY163" fmla="*/ 8249 h 10000"/>
              <a:gd name="connsiteX164" fmla="*/ 2589 w 10000"/>
              <a:gd name="connsiteY164" fmla="*/ 8000 h 10000"/>
              <a:gd name="connsiteX165" fmla="*/ 2730 w 10000"/>
              <a:gd name="connsiteY165" fmla="*/ 8082 h 10000"/>
              <a:gd name="connsiteX166" fmla="*/ 2798 w 10000"/>
              <a:gd name="connsiteY166" fmla="*/ 8000 h 10000"/>
              <a:gd name="connsiteX167" fmla="*/ 2933 w 10000"/>
              <a:gd name="connsiteY167" fmla="*/ 8082 h 10000"/>
              <a:gd name="connsiteX168" fmla="*/ 3150 w 10000"/>
              <a:gd name="connsiteY168" fmla="*/ 8249 h 10000"/>
              <a:gd name="connsiteX169" fmla="*/ 3285 w 10000"/>
              <a:gd name="connsiteY169" fmla="*/ 8167 h 10000"/>
              <a:gd name="connsiteX170" fmla="*/ 3427 w 10000"/>
              <a:gd name="connsiteY170" fmla="*/ 8167 h 10000"/>
              <a:gd name="connsiteX171" fmla="*/ 3499 w 10000"/>
              <a:gd name="connsiteY171" fmla="*/ 8249 h 10000"/>
              <a:gd name="connsiteX172" fmla="*/ 3778 w 10000"/>
              <a:gd name="connsiteY172" fmla="*/ 8249 h 10000"/>
              <a:gd name="connsiteX173" fmla="*/ 3844 w 10000"/>
              <a:gd name="connsiteY173" fmla="*/ 8082 h 10000"/>
              <a:gd name="connsiteX174" fmla="*/ 3633 w 10000"/>
              <a:gd name="connsiteY174" fmla="*/ 8000 h 10000"/>
              <a:gd name="connsiteX175" fmla="*/ 3778 w 10000"/>
              <a:gd name="connsiteY175" fmla="*/ 7916 h 10000"/>
              <a:gd name="connsiteX176" fmla="*/ 3703 w 10000"/>
              <a:gd name="connsiteY176" fmla="*/ 7833 h 10000"/>
              <a:gd name="connsiteX177" fmla="*/ 3778 w 10000"/>
              <a:gd name="connsiteY177" fmla="*/ 7750 h 10000"/>
              <a:gd name="connsiteX178" fmla="*/ 3778 w 10000"/>
              <a:gd name="connsiteY178" fmla="*/ 7500 h 10000"/>
              <a:gd name="connsiteX179" fmla="*/ 3913 w 10000"/>
              <a:gd name="connsiteY179" fmla="*/ 7584 h 10000"/>
              <a:gd name="connsiteX180" fmla="*/ 4545 w 10000"/>
              <a:gd name="connsiteY180" fmla="*/ 7334 h 10000"/>
              <a:gd name="connsiteX181" fmla="*/ 4545 w 10000"/>
              <a:gd name="connsiteY181" fmla="*/ 7250 h 10000"/>
              <a:gd name="connsiteX182" fmla="*/ 4617 w 10000"/>
              <a:gd name="connsiteY182" fmla="*/ 7250 h 10000"/>
              <a:gd name="connsiteX183" fmla="*/ 4820 w 10000"/>
              <a:gd name="connsiteY183" fmla="*/ 7250 h 10000"/>
              <a:gd name="connsiteX184" fmla="*/ 4898 w 10000"/>
              <a:gd name="connsiteY184" fmla="*/ 7417 h 10000"/>
              <a:gd name="connsiteX185" fmla="*/ 4898 w 10000"/>
              <a:gd name="connsiteY185" fmla="*/ 7500 h 10000"/>
              <a:gd name="connsiteX186" fmla="*/ 4963 w 10000"/>
              <a:gd name="connsiteY186" fmla="*/ 7500 h 10000"/>
              <a:gd name="connsiteX187" fmla="*/ 5103 w 10000"/>
              <a:gd name="connsiteY187" fmla="*/ 7584 h 10000"/>
              <a:gd name="connsiteX188" fmla="*/ 5103 w 10000"/>
              <a:gd name="connsiteY188" fmla="*/ 7668 h 10000"/>
              <a:gd name="connsiteX189" fmla="*/ 5243 w 10000"/>
              <a:gd name="connsiteY189" fmla="*/ 7668 h 10000"/>
              <a:gd name="connsiteX190" fmla="*/ 5383 w 10000"/>
              <a:gd name="connsiteY190" fmla="*/ 7500 h 10000"/>
              <a:gd name="connsiteX191" fmla="*/ 5523 w 10000"/>
              <a:gd name="connsiteY191" fmla="*/ 7417 h 10000"/>
              <a:gd name="connsiteX192" fmla="*/ 5603 w 10000"/>
              <a:gd name="connsiteY192" fmla="*/ 7668 h 10000"/>
              <a:gd name="connsiteX193" fmla="*/ 5875 w 10000"/>
              <a:gd name="connsiteY193" fmla="*/ 8249 h 10000"/>
              <a:gd name="connsiteX194" fmla="*/ 5947 w 10000"/>
              <a:gd name="connsiteY194" fmla="*/ 8082 h 10000"/>
              <a:gd name="connsiteX195" fmla="*/ 6016 w 10000"/>
              <a:gd name="connsiteY195" fmla="*/ 8249 h 10000"/>
              <a:gd name="connsiteX196" fmla="*/ 6226 w 10000"/>
              <a:gd name="connsiteY196" fmla="*/ 8167 h 10000"/>
              <a:gd name="connsiteX197" fmla="*/ 6437 w 10000"/>
              <a:gd name="connsiteY197" fmla="*/ 8418 h 10000"/>
              <a:gd name="connsiteX198" fmla="*/ 6572 w 10000"/>
              <a:gd name="connsiteY198" fmla="*/ 8500 h 10000"/>
              <a:gd name="connsiteX199" fmla="*/ 6572 w 10000"/>
              <a:gd name="connsiteY199" fmla="*/ 8418 h 10000"/>
              <a:gd name="connsiteX200" fmla="*/ 6647 w 10000"/>
              <a:gd name="connsiteY200" fmla="*/ 8584 h 10000"/>
              <a:gd name="connsiteX201" fmla="*/ 6572 w 10000"/>
              <a:gd name="connsiteY201" fmla="*/ 8667 h 10000"/>
              <a:gd name="connsiteX202" fmla="*/ 6716 w 10000"/>
              <a:gd name="connsiteY202" fmla="*/ 8584 h 10000"/>
              <a:gd name="connsiteX203" fmla="*/ 6783 w 10000"/>
              <a:gd name="connsiteY203" fmla="*/ 8500 h 10000"/>
              <a:gd name="connsiteX204" fmla="*/ 7130 w 10000"/>
              <a:gd name="connsiteY204" fmla="*/ 8249 h 10000"/>
              <a:gd name="connsiteX205" fmla="*/ 7413 w 10000"/>
              <a:gd name="connsiteY205" fmla="*/ 8332 h 10000"/>
              <a:gd name="connsiteX206" fmla="*/ 7550 w 10000"/>
              <a:gd name="connsiteY206" fmla="*/ 8418 h 10000"/>
              <a:gd name="connsiteX207" fmla="*/ 7830 w 10000"/>
              <a:gd name="connsiteY207" fmla="*/ 8418 h 10000"/>
              <a:gd name="connsiteX208" fmla="*/ 7830 w 10000"/>
              <a:gd name="connsiteY208" fmla="*/ 8249 h 10000"/>
              <a:gd name="connsiteX209" fmla="*/ 7830 w 10000"/>
              <a:gd name="connsiteY209" fmla="*/ 8082 h 10000"/>
              <a:gd name="connsiteX210" fmla="*/ 7971 w 10000"/>
              <a:gd name="connsiteY210" fmla="*/ 8000 h 10000"/>
              <a:gd name="connsiteX211" fmla="*/ 8247 w 10000"/>
              <a:gd name="connsiteY211" fmla="*/ 8082 h 10000"/>
              <a:gd name="connsiteX212" fmla="*/ 8392 w 10000"/>
              <a:gd name="connsiteY212" fmla="*/ 8332 h 10000"/>
              <a:gd name="connsiteX213" fmla="*/ 8462 w 10000"/>
              <a:gd name="connsiteY213" fmla="*/ 8332 h 10000"/>
              <a:gd name="connsiteX214" fmla="*/ 8602 w 10000"/>
              <a:gd name="connsiteY214" fmla="*/ 8249 h 10000"/>
              <a:gd name="connsiteX215" fmla="*/ 9026 w 10000"/>
              <a:gd name="connsiteY215" fmla="*/ 8500 h 10000"/>
              <a:gd name="connsiteX216" fmla="*/ 9231 w 10000"/>
              <a:gd name="connsiteY216" fmla="*/ 8584 h 10000"/>
              <a:gd name="connsiteX217" fmla="*/ 9510 w 10000"/>
              <a:gd name="connsiteY217" fmla="*/ 8500 h 10000"/>
              <a:gd name="connsiteX218" fmla="*/ 9652 w 10000"/>
              <a:gd name="connsiteY218" fmla="*/ 8332 h 10000"/>
              <a:gd name="connsiteX219" fmla="*/ 9860 w 10000"/>
              <a:gd name="connsiteY219" fmla="*/ 8418 h 10000"/>
              <a:gd name="connsiteX220" fmla="*/ 10000 w 10000"/>
              <a:gd name="connsiteY220" fmla="*/ 8500 h 10000"/>
              <a:gd name="connsiteX221" fmla="*/ 9580 w 10000"/>
              <a:gd name="connsiteY221" fmla="*/ 1500 h 10000"/>
              <a:gd name="connsiteX222" fmla="*/ 9173 w 10000"/>
              <a:gd name="connsiteY222" fmla="*/ 125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9092 w 10000"/>
              <a:gd name="connsiteY2" fmla="*/ 1332 h 10000"/>
              <a:gd name="connsiteX3" fmla="*/ 9173 w 10000"/>
              <a:gd name="connsiteY3" fmla="*/ 1500 h 10000"/>
              <a:gd name="connsiteX4" fmla="*/ 8881 w 10000"/>
              <a:gd name="connsiteY4" fmla="*/ 1665 h 10000"/>
              <a:gd name="connsiteX5" fmla="*/ 8184 w 10000"/>
              <a:gd name="connsiteY5" fmla="*/ 0 h 10000"/>
              <a:gd name="connsiteX6" fmla="*/ 7971 w 10000"/>
              <a:gd name="connsiteY6" fmla="*/ 0 h 10000"/>
              <a:gd name="connsiteX7" fmla="*/ 7344 w 10000"/>
              <a:gd name="connsiteY7" fmla="*/ 165 h 10000"/>
              <a:gd name="connsiteX8" fmla="*/ 6783 w 10000"/>
              <a:gd name="connsiteY8" fmla="*/ 582 h 10000"/>
              <a:gd name="connsiteX9" fmla="*/ 6572 w 10000"/>
              <a:gd name="connsiteY9" fmla="*/ 916 h 10000"/>
              <a:gd name="connsiteX10" fmla="*/ 6647 w 10000"/>
              <a:gd name="connsiteY10" fmla="*/ 1332 h 10000"/>
              <a:gd name="connsiteX11" fmla="*/ 5875 w 10000"/>
              <a:gd name="connsiteY11" fmla="*/ 1500 h 10000"/>
              <a:gd name="connsiteX12" fmla="*/ 5947 w 10000"/>
              <a:gd name="connsiteY12" fmla="*/ 2000 h 10000"/>
              <a:gd name="connsiteX13" fmla="*/ 6155 w 10000"/>
              <a:gd name="connsiteY13" fmla="*/ 2250 h 10000"/>
              <a:gd name="connsiteX14" fmla="*/ 6016 w 10000"/>
              <a:gd name="connsiteY14" fmla="*/ 2332 h 10000"/>
              <a:gd name="connsiteX15" fmla="*/ 5808 w 10000"/>
              <a:gd name="connsiteY15" fmla="*/ 2000 h 10000"/>
              <a:gd name="connsiteX16" fmla="*/ 5603 w 10000"/>
              <a:gd name="connsiteY16" fmla="*/ 1915 h 10000"/>
              <a:gd name="connsiteX17" fmla="*/ 5523 w 10000"/>
              <a:gd name="connsiteY17" fmla="*/ 2000 h 10000"/>
              <a:gd name="connsiteX18" fmla="*/ 5383 w 10000"/>
              <a:gd name="connsiteY18" fmla="*/ 1831 h 10000"/>
              <a:gd name="connsiteX19" fmla="*/ 5243 w 10000"/>
              <a:gd name="connsiteY19" fmla="*/ 1665 h 10000"/>
              <a:gd name="connsiteX20" fmla="*/ 5243 w 10000"/>
              <a:gd name="connsiteY20" fmla="*/ 1749 h 10000"/>
              <a:gd name="connsiteX21" fmla="*/ 5321 w 10000"/>
              <a:gd name="connsiteY21" fmla="*/ 2000 h 10000"/>
              <a:gd name="connsiteX22" fmla="*/ 5103 w 10000"/>
              <a:gd name="connsiteY22" fmla="*/ 2416 h 10000"/>
              <a:gd name="connsiteX23" fmla="*/ 5243 w 10000"/>
              <a:gd name="connsiteY23" fmla="*/ 2748 h 10000"/>
              <a:gd name="connsiteX24" fmla="*/ 5173 w 10000"/>
              <a:gd name="connsiteY24" fmla="*/ 3083 h 10000"/>
              <a:gd name="connsiteX25" fmla="*/ 5173 w 10000"/>
              <a:gd name="connsiteY25" fmla="*/ 3333 h 10000"/>
              <a:gd name="connsiteX26" fmla="*/ 5383 w 10000"/>
              <a:gd name="connsiteY26" fmla="*/ 3333 h 10000"/>
              <a:gd name="connsiteX27" fmla="*/ 5243 w 10000"/>
              <a:gd name="connsiteY27" fmla="*/ 3416 h 10000"/>
              <a:gd name="connsiteX28" fmla="*/ 5321 w 10000"/>
              <a:gd name="connsiteY28" fmla="*/ 3832 h 10000"/>
              <a:gd name="connsiteX29" fmla="*/ 4898 w 10000"/>
              <a:gd name="connsiteY29" fmla="*/ 4250 h 10000"/>
              <a:gd name="connsiteX30" fmla="*/ 4820 w 10000"/>
              <a:gd name="connsiteY30" fmla="*/ 4167 h 10000"/>
              <a:gd name="connsiteX31" fmla="*/ 5103 w 10000"/>
              <a:gd name="connsiteY31" fmla="*/ 3748 h 10000"/>
              <a:gd name="connsiteX32" fmla="*/ 5173 w 10000"/>
              <a:gd name="connsiteY32" fmla="*/ 3500 h 10000"/>
              <a:gd name="connsiteX33" fmla="*/ 5026 w 10000"/>
              <a:gd name="connsiteY33" fmla="*/ 3333 h 10000"/>
              <a:gd name="connsiteX34" fmla="*/ 5026 w 10000"/>
              <a:gd name="connsiteY34" fmla="*/ 2498 h 10000"/>
              <a:gd name="connsiteX35" fmla="*/ 4963 w 10000"/>
              <a:gd name="connsiteY35" fmla="*/ 2332 h 10000"/>
              <a:gd name="connsiteX36" fmla="*/ 5026 w 10000"/>
              <a:gd name="connsiteY36" fmla="*/ 1831 h 10000"/>
              <a:gd name="connsiteX37" fmla="*/ 4898 w 10000"/>
              <a:gd name="connsiteY37" fmla="*/ 1749 h 10000"/>
              <a:gd name="connsiteX38" fmla="*/ 4963 w 10000"/>
              <a:gd name="connsiteY38" fmla="*/ 1665 h 10000"/>
              <a:gd name="connsiteX39" fmla="*/ 4898 w 10000"/>
              <a:gd name="connsiteY39" fmla="*/ 1500 h 10000"/>
              <a:gd name="connsiteX40" fmla="*/ 4752 w 10000"/>
              <a:gd name="connsiteY40" fmla="*/ 1582 h 10000"/>
              <a:gd name="connsiteX41" fmla="*/ 4407 w 10000"/>
              <a:gd name="connsiteY41" fmla="*/ 2666 h 10000"/>
              <a:gd name="connsiteX42" fmla="*/ 4407 w 10000"/>
              <a:gd name="connsiteY42" fmla="*/ 3083 h 10000"/>
              <a:gd name="connsiteX43" fmla="*/ 4617 w 10000"/>
              <a:gd name="connsiteY43" fmla="*/ 3416 h 10000"/>
              <a:gd name="connsiteX44" fmla="*/ 4617 w 10000"/>
              <a:gd name="connsiteY44" fmla="*/ 3582 h 10000"/>
              <a:gd name="connsiteX45" fmla="*/ 4407 w 10000"/>
              <a:gd name="connsiteY45" fmla="*/ 3416 h 10000"/>
              <a:gd name="connsiteX46" fmla="*/ 3571 w 10000"/>
              <a:gd name="connsiteY46" fmla="*/ 2748 h 10000"/>
              <a:gd name="connsiteX47" fmla="*/ 3499 w 10000"/>
              <a:gd name="connsiteY47" fmla="*/ 2915 h 10000"/>
              <a:gd name="connsiteX48" fmla="*/ 3778 w 10000"/>
              <a:gd name="connsiteY48" fmla="*/ 3333 h 10000"/>
              <a:gd name="connsiteX49" fmla="*/ 3633 w 10000"/>
              <a:gd name="connsiteY49" fmla="*/ 3416 h 10000"/>
              <a:gd name="connsiteX50" fmla="*/ 3571 w 10000"/>
              <a:gd name="connsiteY50" fmla="*/ 3333 h 10000"/>
              <a:gd name="connsiteX51" fmla="*/ 3150 w 10000"/>
              <a:gd name="connsiteY51" fmla="*/ 3500 h 10000"/>
              <a:gd name="connsiteX52" fmla="*/ 3081 w 10000"/>
              <a:gd name="connsiteY52" fmla="*/ 3665 h 10000"/>
              <a:gd name="connsiteX53" fmla="*/ 3010 w 10000"/>
              <a:gd name="connsiteY53" fmla="*/ 3500 h 10000"/>
              <a:gd name="connsiteX54" fmla="*/ 3010 w 10000"/>
              <a:gd name="connsiteY54" fmla="*/ 3333 h 10000"/>
              <a:gd name="connsiteX55" fmla="*/ 2304 w 10000"/>
              <a:gd name="connsiteY55" fmla="*/ 3832 h 10000"/>
              <a:gd name="connsiteX56" fmla="*/ 2304 w 10000"/>
              <a:gd name="connsiteY56" fmla="*/ 3998 h 10000"/>
              <a:gd name="connsiteX57" fmla="*/ 2168 w 10000"/>
              <a:gd name="connsiteY57" fmla="*/ 4082 h 10000"/>
              <a:gd name="connsiteX58" fmla="*/ 1959 w 10000"/>
              <a:gd name="connsiteY58" fmla="*/ 3916 h 10000"/>
              <a:gd name="connsiteX59" fmla="*/ 2168 w 10000"/>
              <a:gd name="connsiteY59" fmla="*/ 3748 h 10000"/>
              <a:gd name="connsiteX60" fmla="*/ 2095 w 10000"/>
              <a:gd name="connsiteY60" fmla="*/ 3500 h 10000"/>
              <a:gd name="connsiteX61" fmla="*/ 1818 w 10000"/>
              <a:gd name="connsiteY61" fmla="*/ 3416 h 10000"/>
              <a:gd name="connsiteX62" fmla="*/ 1889 w 10000"/>
              <a:gd name="connsiteY62" fmla="*/ 3582 h 10000"/>
              <a:gd name="connsiteX63" fmla="*/ 1889 w 10000"/>
              <a:gd name="connsiteY63" fmla="*/ 3998 h 10000"/>
              <a:gd name="connsiteX64" fmla="*/ 1959 w 10000"/>
              <a:gd name="connsiteY64" fmla="*/ 4167 h 10000"/>
              <a:gd name="connsiteX65" fmla="*/ 1889 w 10000"/>
              <a:gd name="connsiteY65" fmla="*/ 4334 h 10000"/>
              <a:gd name="connsiteX66" fmla="*/ 1674 w 10000"/>
              <a:gd name="connsiteY66" fmla="*/ 4250 h 10000"/>
              <a:gd name="connsiteX67" fmla="*/ 1400 w 10000"/>
              <a:gd name="connsiteY67" fmla="*/ 4498 h 10000"/>
              <a:gd name="connsiteX68" fmla="*/ 1535 w 10000"/>
              <a:gd name="connsiteY68" fmla="*/ 4833 h 10000"/>
              <a:gd name="connsiteX69" fmla="*/ 1116 w 10000"/>
              <a:gd name="connsiteY69" fmla="*/ 4666 h 10000"/>
              <a:gd name="connsiteX70" fmla="*/ 1049 w 10000"/>
              <a:gd name="connsiteY70" fmla="*/ 4748 h 10000"/>
              <a:gd name="connsiteX71" fmla="*/ 1191 w 10000"/>
              <a:gd name="connsiteY71" fmla="*/ 4999 h 10000"/>
              <a:gd name="connsiteX72" fmla="*/ 1049 w 10000"/>
              <a:gd name="connsiteY72" fmla="*/ 4999 h 10000"/>
              <a:gd name="connsiteX73" fmla="*/ 842 w 10000"/>
              <a:gd name="connsiteY73" fmla="*/ 4833 h 10000"/>
              <a:gd name="connsiteX74" fmla="*/ 842 w 10000"/>
              <a:gd name="connsiteY74" fmla="*/ 4334 h 10000"/>
              <a:gd name="connsiteX75" fmla="*/ 632 w 10000"/>
              <a:gd name="connsiteY75" fmla="*/ 4167 h 10000"/>
              <a:gd name="connsiteX76" fmla="*/ 558 w 10000"/>
              <a:gd name="connsiteY76" fmla="*/ 3998 h 10000"/>
              <a:gd name="connsiteX77" fmla="*/ 697 w 10000"/>
              <a:gd name="connsiteY77" fmla="*/ 4082 h 10000"/>
              <a:gd name="connsiteX78" fmla="*/ 1255 w 10000"/>
              <a:gd name="connsiteY78" fmla="*/ 4334 h 10000"/>
              <a:gd name="connsiteX79" fmla="*/ 1601 w 10000"/>
              <a:gd name="connsiteY79" fmla="*/ 4082 h 10000"/>
              <a:gd name="connsiteX80" fmla="*/ 1535 w 10000"/>
              <a:gd name="connsiteY80" fmla="*/ 3832 h 10000"/>
              <a:gd name="connsiteX81" fmla="*/ 1116 w 10000"/>
              <a:gd name="connsiteY81" fmla="*/ 3333 h 10000"/>
              <a:gd name="connsiteX82" fmla="*/ 697 w 10000"/>
              <a:gd name="connsiteY82" fmla="*/ 3166 h 10000"/>
              <a:gd name="connsiteX83" fmla="*/ 697 w 10000"/>
              <a:gd name="connsiteY83" fmla="*/ 3083 h 10000"/>
              <a:gd name="connsiteX84" fmla="*/ 558 w 10000"/>
              <a:gd name="connsiteY84" fmla="*/ 2997 h 10000"/>
              <a:gd name="connsiteX85" fmla="*/ 417 w 10000"/>
              <a:gd name="connsiteY85" fmla="*/ 3083 h 10000"/>
              <a:gd name="connsiteX86" fmla="*/ 417 w 10000"/>
              <a:gd name="connsiteY86" fmla="*/ 3166 h 10000"/>
              <a:gd name="connsiteX87" fmla="*/ 348 w 10000"/>
              <a:gd name="connsiteY87" fmla="*/ 3166 h 10000"/>
              <a:gd name="connsiteX88" fmla="*/ 210 w 10000"/>
              <a:gd name="connsiteY88" fmla="*/ 3333 h 10000"/>
              <a:gd name="connsiteX89" fmla="*/ 210 w 10000"/>
              <a:gd name="connsiteY89" fmla="*/ 3582 h 10000"/>
              <a:gd name="connsiteX90" fmla="*/ 348 w 10000"/>
              <a:gd name="connsiteY90" fmla="*/ 3748 h 10000"/>
              <a:gd name="connsiteX91" fmla="*/ 282 w 10000"/>
              <a:gd name="connsiteY91" fmla="*/ 3998 h 10000"/>
              <a:gd name="connsiteX92" fmla="*/ 348 w 10000"/>
              <a:gd name="connsiteY92" fmla="*/ 4417 h 10000"/>
              <a:gd name="connsiteX93" fmla="*/ 282 w 10000"/>
              <a:gd name="connsiteY93" fmla="*/ 4666 h 10000"/>
              <a:gd name="connsiteX94" fmla="*/ 417 w 10000"/>
              <a:gd name="connsiteY94" fmla="*/ 4916 h 10000"/>
              <a:gd name="connsiteX95" fmla="*/ 348 w 10000"/>
              <a:gd name="connsiteY95" fmla="*/ 5083 h 10000"/>
              <a:gd name="connsiteX96" fmla="*/ 487 w 10000"/>
              <a:gd name="connsiteY96" fmla="*/ 5250 h 10000"/>
              <a:gd name="connsiteX97" fmla="*/ 487 w 10000"/>
              <a:gd name="connsiteY97" fmla="*/ 5333 h 10000"/>
              <a:gd name="connsiteX98" fmla="*/ 282 w 10000"/>
              <a:gd name="connsiteY98" fmla="*/ 5750 h 10000"/>
              <a:gd name="connsiteX99" fmla="*/ 64 w 10000"/>
              <a:gd name="connsiteY99" fmla="*/ 5917 h 10000"/>
              <a:gd name="connsiteX100" fmla="*/ 138 w 10000"/>
              <a:gd name="connsiteY100" fmla="*/ 5917 h 10000"/>
              <a:gd name="connsiteX101" fmla="*/ 282 w 10000"/>
              <a:gd name="connsiteY101" fmla="*/ 6083 h 10000"/>
              <a:gd name="connsiteX102" fmla="*/ 138 w 10000"/>
              <a:gd name="connsiteY102" fmla="*/ 6249 h 10000"/>
              <a:gd name="connsiteX103" fmla="*/ 64 w 10000"/>
              <a:gd name="connsiteY103" fmla="*/ 6334 h 10000"/>
              <a:gd name="connsiteX104" fmla="*/ 0 w 10000"/>
              <a:gd name="connsiteY104" fmla="*/ 6334 h 10000"/>
              <a:gd name="connsiteX105" fmla="*/ 64 w 10000"/>
              <a:gd name="connsiteY105" fmla="*/ 6584 h 10000"/>
              <a:gd name="connsiteX106" fmla="*/ 64 w 10000"/>
              <a:gd name="connsiteY106" fmla="*/ 6667 h 10000"/>
              <a:gd name="connsiteX107" fmla="*/ 64 w 10000"/>
              <a:gd name="connsiteY107" fmla="*/ 6749 h 10000"/>
              <a:gd name="connsiteX108" fmla="*/ 64 w 10000"/>
              <a:gd name="connsiteY108" fmla="*/ 6834 h 10000"/>
              <a:gd name="connsiteX109" fmla="*/ 138 w 10000"/>
              <a:gd name="connsiteY109" fmla="*/ 6998 h 10000"/>
              <a:gd name="connsiteX110" fmla="*/ 348 w 10000"/>
              <a:gd name="connsiteY110" fmla="*/ 7083 h 10000"/>
              <a:gd name="connsiteX111" fmla="*/ 417 w 10000"/>
              <a:gd name="connsiteY111" fmla="*/ 7165 h 10000"/>
              <a:gd name="connsiteX112" fmla="*/ 417 w 10000"/>
              <a:gd name="connsiteY112" fmla="*/ 7334 h 10000"/>
              <a:gd name="connsiteX113" fmla="*/ 558 w 10000"/>
              <a:gd name="connsiteY113" fmla="*/ 7584 h 10000"/>
              <a:gd name="connsiteX114" fmla="*/ 632 w 10000"/>
              <a:gd name="connsiteY114" fmla="*/ 7584 h 10000"/>
              <a:gd name="connsiteX115" fmla="*/ 558 w 10000"/>
              <a:gd name="connsiteY115" fmla="*/ 7750 h 10000"/>
              <a:gd name="connsiteX116" fmla="*/ 487 w 10000"/>
              <a:gd name="connsiteY116" fmla="*/ 7668 h 10000"/>
              <a:gd name="connsiteX117" fmla="*/ 487 w 10000"/>
              <a:gd name="connsiteY117" fmla="*/ 7750 h 10000"/>
              <a:gd name="connsiteX118" fmla="*/ 558 w 10000"/>
              <a:gd name="connsiteY118" fmla="*/ 7916 h 10000"/>
              <a:gd name="connsiteX119" fmla="*/ 773 w 10000"/>
              <a:gd name="connsiteY119" fmla="*/ 7916 h 10000"/>
              <a:gd name="connsiteX120" fmla="*/ 842 w 10000"/>
              <a:gd name="connsiteY120" fmla="*/ 8000 h 10000"/>
              <a:gd name="connsiteX121" fmla="*/ 773 w 10000"/>
              <a:gd name="connsiteY121" fmla="*/ 8000 h 10000"/>
              <a:gd name="connsiteX122" fmla="*/ 842 w 10000"/>
              <a:gd name="connsiteY122" fmla="*/ 8082 h 10000"/>
              <a:gd name="connsiteX123" fmla="*/ 908 w 10000"/>
              <a:gd name="connsiteY123" fmla="*/ 8082 h 10000"/>
              <a:gd name="connsiteX124" fmla="*/ 976 w 10000"/>
              <a:gd name="connsiteY124" fmla="*/ 8249 h 10000"/>
              <a:gd name="connsiteX125" fmla="*/ 1049 w 10000"/>
              <a:gd name="connsiteY125" fmla="*/ 8332 h 10000"/>
              <a:gd name="connsiteX126" fmla="*/ 1116 w 10000"/>
              <a:gd name="connsiteY126" fmla="*/ 8249 h 10000"/>
              <a:gd name="connsiteX127" fmla="*/ 1469 w 10000"/>
              <a:gd name="connsiteY127" fmla="*/ 8500 h 10000"/>
              <a:gd name="connsiteX128" fmla="*/ 1400 w 10000"/>
              <a:gd name="connsiteY128" fmla="*/ 8833 h 10000"/>
              <a:gd name="connsiteX129" fmla="*/ 1329 w 10000"/>
              <a:gd name="connsiteY129" fmla="*/ 8750 h 10000"/>
              <a:gd name="connsiteX130" fmla="*/ 1255 w 10000"/>
              <a:gd name="connsiteY130" fmla="*/ 8833 h 10000"/>
              <a:gd name="connsiteX131" fmla="*/ 1255 w 10000"/>
              <a:gd name="connsiteY131" fmla="*/ 8999 h 10000"/>
              <a:gd name="connsiteX132" fmla="*/ 1329 w 10000"/>
              <a:gd name="connsiteY132" fmla="*/ 8917 h 10000"/>
              <a:gd name="connsiteX133" fmla="*/ 1400 w 10000"/>
              <a:gd name="connsiteY133" fmla="*/ 8999 h 10000"/>
              <a:gd name="connsiteX134" fmla="*/ 1191 w 10000"/>
              <a:gd name="connsiteY134" fmla="*/ 9083 h 10000"/>
              <a:gd name="connsiteX135" fmla="*/ 1255 w 10000"/>
              <a:gd name="connsiteY135" fmla="*/ 9167 h 10000"/>
              <a:gd name="connsiteX136" fmla="*/ 1116 w 10000"/>
              <a:gd name="connsiteY136" fmla="*/ 9333 h 10000"/>
              <a:gd name="connsiteX137" fmla="*/ 1049 w 10000"/>
              <a:gd name="connsiteY137" fmla="*/ 9333 h 10000"/>
              <a:gd name="connsiteX138" fmla="*/ 1116 w 10000"/>
              <a:gd name="connsiteY138" fmla="*/ 9333 h 10000"/>
              <a:gd name="connsiteX139" fmla="*/ 1400 w 10000"/>
              <a:gd name="connsiteY139" fmla="*/ 9668 h 10000"/>
              <a:gd name="connsiteX140" fmla="*/ 1749 w 10000"/>
              <a:gd name="connsiteY140" fmla="*/ 9668 h 10000"/>
              <a:gd name="connsiteX141" fmla="*/ 1889 w 10000"/>
              <a:gd name="connsiteY141" fmla="*/ 9750 h 10000"/>
              <a:gd name="connsiteX142" fmla="*/ 2028 w 10000"/>
              <a:gd name="connsiteY142" fmla="*/ 9750 h 10000"/>
              <a:gd name="connsiteX143" fmla="*/ 2168 w 10000"/>
              <a:gd name="connsiteY143" fmla="*/ 9918 h 10000"/>
              <a:gd name="connsiteX144" fmla="*/ 2238 w 10000"/>
              <a:gd name="connsiteY144" fmla="*/ 10000 h 10000"/>
              <a:gd name="connsiteX145" fmla="*/ 2304 w 10000"/>
              <a:gd name="connsiteY145" fmla="*/ 10000 h 10000"/>
              <a:gd name="connsiteX146" fmla="*/ 2378 w 10000"/>
              <a:gd name="connsiteY146" fmla="*/ 9918 h 10000"/>
              <a:gd name="connsiteX147" fmla="*/ 2238 w 10000"/>
              <a:gd name="connsiteY147" fmla="*/ 9750 h 10000"/>
              <a:gd name="connsiteX148" fmla="*/ 2238 w 10000"/>
              <a:gd name="connsiteY148" fmla="*/ 9584 h 10000"/>
              <a:gd name="connsiteX149" fmla="*/ 2168 w 10000"/>
              <a:gd name="connsiteY149" fmla="*/ 9416 h 10000"/>
              <a:gd name="connsiteX150" fmla="*/ 2304 w 10000"/>
              <a:gd name="connsiteY150" fmla="*/ 9167 h 10000"/>
              <a:gd name="connsiteX151" fmla="*/ 2378 w 10000"/>
              <a:gd name="connsiteY151" fmla="*/ 9250 h 10000"/>
              <a:gd name="connsiteX152" fmla="*/ 2447 w 10000"/>
              <a:gd name="connsiteY152" fmla="*/ 9167 h 10000"/>
              <a:gd name="connsiteX153" fmla="*/ 2447 w 10000"/>
              <a:gd name="connsiteY153" fmla="*/ 9083 h 10000"/>
              <a:gd name="connsiteX154" fmla="*/ 2378 w 10000"/>
              <a:gd name="connsiteY154" fmla="*/ 9083 h 10000"/>
              <a:gd name="connsiteX155" fmla="*/ 2447 w 10000"/>
              <a:gd name="connsiteY155" fmla="*/ 8999 h 10000"/>
              <a:gd name="connsiteX156" fmla="*/ 2378 w 10000"/>
              <a:gd name="connsiteY156" fmla="*/ 8833 h 10000"/>
              <a:gd name="connsiteX157" fmla="*/ 2238 w 10000"/>
              <a:gd name="connsiteY157" fmla="*/ 8833 h 10000"/>
              <a:gd name="connsiteX158" fmla="*/ 2168 w 10000"/>
              <a:gd name="connsiteY158" fmla="*/ 8667 h 10000"/>
              <a:gd name="connsiteX159" fmla="*/ 2238 w 10000"/>
              <a:gd name="connsiteY159" fmla="*/ 8249 h 10000"/>
              <a:gd name="connsiteX160" fmla="*/ 2378 w 10000"/>
              <a:gd name="connsiteY160" fmla="*/ 8418 h 10000"/>
              <a:gd name="connsiteX161" fmla="*/ 2447 w 10000"/>
              <a:gd name="connsiteY161" fmla="*/ 8418 h 10000"/>
              <a:gd name="connsiteX162" fmla="*/ 2378 w 10000"/>
              <a:gd name="connsiteY162" fmla="*/ 8249 h 10000"/>
              <a:gd name="connsiteX163" fmla="*/ 2589 w 10000"/>
              <a:gd name="connsiteY163" fmla="*/ 8000 h 10000"/>
              <a:gd name="connsiteX164" fmla="*/ 2730 w 10000"/>
              <a:gd name="connsiteY164" fmla="*/ 8082 h 10000"/>
              <a:gd name="connsiteX165" fmla="*/ 2798 w 10000"/>
              <a:gd name="connsiteY165" fmla="*/ 8000 h 10000"/>
              <a:gd name="connsiteX166" fmla="*/ 2933 w 10000"/>
              <a:gd name="connsiteY166" fmla="*/ 8082 h 10000"/>
              <a:gd name="connsiteX167" fmla="*/ 3150 w 10000"/>
              <a:gd name="connsiteY167" fmla="*/ 8249 h 10000"/>
              <a:gd name="connsiteX168" fmla="*/ 3285 w 10000"/>
              <a:gd name="connsiteY168" fmla="*/ 8167 h 10000"/>
              <a:gd name="connsiteX169" fmla="*/ 3427 w 10000"/>
              <a:gd name="connsiteY169" fmla="*/ 8167 h 10000"/>
              <a:gd name="connsiteX170" fmla="*/ 3499 w 10000"/>
              <a:gd name="connsiteY170" fmla="*/ 8249 h 10000"/>
              <a:gd name="connsiteX171" fmla="*/ 3778 w 10000"/>
              <a:gd name="connsiteY171" fmla="*/ 8249 h 10000"/>
              <a:gd name="connsiteX172" fmla="*/ 3844 w 10000"/>
              <a:gd name="connsiteY172" fmla="*/ 8082 h 10000"/>
              <a:gd name="connsiteX173" fmla="*/ 3633 w 10000"/>
              <a:gd name="connsiteY173" fmla="*/ 8000 h 10000"/>
              <a:gd name="connsiteX174" fmla="*/ 3778 w 10000"/>
              <a:gd name="connsiteY174" fmla="*/ 7916 h 10000"/>
              <a:gd name="connsiteX175" fmla="*/ 3703 w 10000"/>
              <a:gd name="connsiteY175" fmla="*/ 7833 h 10000"/>
              <a:gd name="connsiteX176" fmla="*/ 3778 w 10000"/>
              <a:gd name="connsiteY176" fmla="*/ 7750 h 10000"/>
              <a:gd name="connsiteX177" fmla="*/ 3778 w 10000"/>
              <a:gd name="connsiteY177" fmla="*/ 7500 h 10000"/>
              <a:gd name="connsiteX178" fmla="*/ 3913 w 10000"/>
              <a:gd name="connsiteY178" fmla="*/ 7584 h 10000"/>
              <a:gd name="connsiteX179" fmla="*/ 4545 w 10000"/>
              <a:gd name="connsiteY179" fmla="*/ 7334 h 10000"/>
              <a:gd name="connsiteX180" fmla="*/ 4545 w 10000"/>
              <a:gd name="connsiteY180" fmla="*/ 7250 h 10000"/>
              <a:gd name="connsiteX181" fmla="*/ 4617 w 10000"/>
              <a:gd name="connsiteY181" fmla="*/ 7250 h 10000"/>
              <a:gd name="connsiteX182" fmla="*/ 4820 w 10000"/>
              <a:gd name="connsiteY182" fmla="*/ 7250 h 10000"/>
              <a:gd name="connsiteX183" fmla="*/ 4898 w 10000"/>
              <a:gd name="connsiteY183" fmla="*/ 7417 h 10000"/>
              <a:gd name="connsiteX184" fmla="*/ 4898 w 10000"/>
              <a:gd name="connsiteY184" fmla="*/ 7500 h 10000"/>
              <a:gd name="connsiteX185" fmla="*/ 4963 w 10000"/>
              <a:gd name="connsiteY185" fmla="*/ 7500 h 10000"/>
              <a:gd name="connsiteX186" fmla="*/ 5103 w 10000"/>
              <a:gd name="connsiteY186" fmla="*/ 7584 h 10000"/>
              <a:gd name="connsiteX187" fmla="*/ 5103 w 10000"/>
              <a:gd name="connsiteY187" fmla="*/ 7668 h 10000"/>
              <a:gd name="connsiteX188" fmla="*/ 5243 w 10000"/>
              <a:gd name="connsiteY188" fmla="*/ 7668 h 10000"/>
              <a:gd name="connsiteX189" fmla="*/ 5383 w 10000"/>
              <a:gd name="connsiteY189" fmla="*/ 7500 h 10000"/>
              <a:gd name="connsiteX190" fmla="*/ 5523 w 10000"/>
              <a:gd name="connsiteY190" fmla="*/ 7417 h 10000"/>
              <a:gd name="connsiteX191" fmla="*/ 5603 w 10000"/>
              <a:gd name="connsiteY191" fmla="*/ 7668 h 10000"/>
              <a:gd name="connsiteX192" fmla="*/ 5875 w 10000"/>
              <a:gd name="connsiteY192" fmla="*/ 8249 h 10000"/>
              <a:gd name="connsiteX193" fmla="*/ 5947 w 10000"/>
              <a:gd name="connsiteY193" fmla="*/ 8082 h 10000"/>
              <a:gd name="connsiteX194" fmla="*/ 6016 w 10000"/>
              <a:gd name="connsiteY194" fmla="*/ 8249 h 10000"/>
              <a:gd name="connsiteX195" fmla="*/ 6226 w 10000"/>
              <a:gd name="connsiteY195" fmla="*/ 8167 h 10000"/>
              <a:gd name="connsiteX196" fmla="*/ 6437 w 10000"/>
              <a:gd name="connsiteY196" fmla="*/ 8418 h 10000"/>
              <a:gd name="connsiteX197" fmla="*/ 6572 w 10000"/>
              <a:gd name="connsiteY197" fmla="*/ 8500 h 10000"/>
              <a:gd name="connsiteX198" fmla="*/ 6572 w 10000"/>
              <a:gd name="connsiteY198" fmla="*/ 8418 h 10000"/>
              <a:gd name="connsiteX199" fmla="*/ 6647 w 10000"/>
              <a:gd name="connsiteY199" fmla="*/ 8584 h 10000"/>
              <a:gd name="connsiteX200" fmla="*/ 6572 w 10000"/>
              <a:gd name="connsiteY200" fmla="*/ 8667 h 10000"/>
              <a:gd name="connsiteX201" fmla="*/ 6716 w 10000"/>
              <a:gd name="connsiteY201" fmla="*/ 8584 h 10000"/>
              <a:gd name="connsiteX202" fmla="*/ 6783 w 10000"/>
              <a:gd name="connsiteY202" fmla="*/ 8500 h 10000"/>
              <a:gd name="connsiteX203" fmla="*/ 7130 w 10000"/>
              <a:gd name="connsiteY203" fmla="*/ 8249 h 10000"/>
              <a:gd name="connsiteX204" fmla="*/ 7413 w 10000"/>
              <a:gd name="connsiteY204" fmla="*/ 8332 h 10000"/>
              <a:gd name="connsiteX205" fmla="*/ 7550 w 10000"/>
              <a:gd name="connsiteY205" fmla="*/ 8418 h 10000"/>
              <a:gd name="connsiteX206" fmla="*/ 7830 w 10000"/>
              <a:gd name="connsiteY206" fmla="*/ 8418 h 10000"/>
              <a:gd name="connsiteX207" fmla="*/ 7830 w 10000"/>
              <a:gd name="connsiteY207" fmla="*/ 8249 h 10000"/>
              <a:gd name="connsiteX208" fmla="*/ 7830 w 10000"/>
              <a:gd name="connsiteY208" fmla="*/ 8082 h 10000"/>
              <a:gd name="connsiteX209" fmla="*/ 7971 w 10000"/>
              <a:gd name="connsiteY209" fmla="*/ 8000 h 10000"/>
              <a:gd name="connsiteX210" fmla="*/ 8247 w 10000"/>
              <a:gd name="connsiteY210" fmla="*/ 8082 h 10000"/>
              <a:gd name="connsiteX211" fmla="*/ 8392 w 10000"/>
              <a:gd name="connsiteY211" fmla="*/ 8332 h 10000"/>
              <a:gd name="connsiteX212" fmla="*/ 8462 w 10000"/>
              <a:gd name="connsiteY212" fmla="*/ 8332 h 10000"/>
              <a:gd name="connsiteX213" fmla="*/ 8602 w 10000"/>
              <a:gd name="connsiteY213" fmla="*/ 8249 h 10000"/>
              <a:gd name="connsiteX214" fmla="*/ 9026 w 10000"/>
              <a:gd name="connsiteY214" fmla="*/ 8500 h 10000"/>
              <a:gd name="connsiteX215" fmla="*/ 9231 w 10000"/>
              <a:gd name="connsiteY215" fmla="*/ 8584 h 10000"/>
              <a:gd name="connsiteX216" fmla="*/ 9510 w 10000"/>
              <a:gd name="connsiteY216" fmla="*/ 8500 h 10000"/>
              <a:gd name="connsiteX217" fmla="*/ 9652 w 10000"/>
              <a:gd name="connsiteY217" fmla="*/ 8332 h 10000"/>
              <a:gd name="connsiteX218" fmla="*/ 9860 w 10000"/>
              <a:gd name="connsiteY218" fmla="*/ 8418 h 10000"/>
              <a:gd name="connsiteX219" fmla="*/ 10000 w 10000"/>
              <a:gd name="connsiteY219" fmla="*/ 8500 h 10000"/>
              <a:gd name="connsiteX220" fmla="*/ 9580 w 10000"/>
              <a:gd name="connsiteY220" fmla="*/ 1500 h 10000"/>
              <a:gd name="connsiteX221" fmla="*/ 9173 w 10000"/>
              <a:gd name="connsiteY221" fmla="*/ 125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9092 w 10000"/>
              <a:gd name="connsiteY2" fmla="*/ 1332 h 10000"/>
              <a:gd name="connsiteX3" fmla="*/ 9173 w 10000"/>
              <a:gd name="connsiteY3" fmla="*/ 1500 h 10000"/>
              <a:gd name="connsiteX4" fmla="*/ 8184 w 10000"/>
              <a:gd name="connsiteY4" fmla="*/ 0 h 10000"/>
              <a:gd name="connsiteX5" fmla="*/ 7971 w 10000"/>
              <a:gd name="connsiteY5" fmla="*/ 0 h 10000"/>
              <a:gd name="connsiteX6" fmla="*/ 7344 w 10000"/>
              <a:gd name="connsiteY6" fmla="*/ 165 h 10000"/>
              <a:gd name="connsiteX7" fmla="*/ 6783 w 10000"/>
              <a:gd name="connsiteY7" fmla="*/ 582 h 10000"/>
              <a:gd name="connsiteX8" fmla="*/ 6572 w 10000"/>
              <a:gd name="connsiteY8" fmla="*/ 916 h 10000"/>
              <a:gd name="connsiteX9" fmla="*/ 6647 w 10000"/>
              <a:gd name="connsiteY9" fmla="*/ 1332 h 10000"/>
              <a:gd name="connsiteX10" fmla="*/ 5875 w 10000"/>
              <a:gd name="connsiteY10" fmla="*/ 1500 h 10000"/>
              <a:gd name="connsiteX11" fmla="*/ 5947 w 10000"/>
              <a:gd name="connsiteY11" fmla="*/ 2000 h 10000"/>
              <a:gd name="connsiteX12" fmla="*/ 6155 w 10000"/>
              <a:gd name="connsiteY12" fmla="*/ 2250 h 10000"/>
              <a:gd name="connsiteX13" fmla="*/ 6016 w 10000"/>
              <a:gd name="connsiteY13" fmla="*/ 2332 h 10000"/>
              <a:gd name="connsiteX14" fmla="*/ 5808 w 10000"/>
              <a:gd name="connsiteY14" fmla="*/ 2000 h 10000"/>
              <a:gd name="connsiteX15" fmla="*/ 5603 w 10000"/>
              <a:gd name="connsiteY15" fmla="*/ 1915 h 10000"/>
              <a:gd name="connsiteX16" fmla="*/ 5523 w 10000"/>
              <a:gd name="connsiteY16" fmla="*/ 2000 h 10000"/>
              <a:gd name="connsiteX17" fmla="*/ 5383 w 10000"/>
              <a:gd name="connsiteY17" fmla="*/ 1831 h 10000"/>
              <a:gd name="connsiteX18" fmla="*/ 5243 w 10000"/>
              <a:gd name="connsiteY18" fmla="*/ 1665 h 10000"/>
              <a:gd name="connsiteX19" fmla="*/ 5243 w 10000"/>
              <a:gd name="connsiteY19" fmla="*/ 1749 h 10000"/>
              <a:gd name="connsiteX20" fmla="*/ 5321 w 10000"/>
              <a:gd name="connsiteY20" fmla="*/ 2000 h 10000"/>
              <a:gd name="connsiteX21" fmla="*/ 5103 w 10000"/>
              <a:gd name="connsiteY21" fmla="*/ 2416 h 10000"/>
              <a:gd name="connsiteX22" fmla="*/ 5243 w 10000"/>
              <a:gd name="connsiteY22" fmla="*/ 2748 h 10000"/>
              <a:gd name="connsiteX23" fmla="*/ 5173 w 10000"/>
              <a:gd name="connsiteY23" fmla="*/ 3083 h 10000"/>
              <a:gd name="connsiteX24" fmla="*/ 5173 w 10000"/>
              <a:gd name="connsiteY24" fmla="*/ 3333 h 10000"/>
              <a:gd name="connsiteX25" fmla="*/ 5383 w 10000"/>
              <a:gd name="connsiteY25" fmla="*/ 3333 h 10000"/>
              <a:gd name="connsiteX26" fmla="*/ 5243 w 10000"/>
              <a:gd name="connsiteY26" fmla="*/ 3416 h 10000"/>
              <a:gd name="connsiteX27" fmla="*/ 5321 w 10000"/>
              <a:gd name="connsiteY27" fmla="*/ 3832 h 10000"/>
              <a:gd name="connsiteX28" fmla="*/ 4898 w 10000"/>
              <a:gd name="connsiteY28" fmla="*/ 4250 h 10000"/>
              <a:gd name="connsiteX29" fmla="*/ 4820 w 10000"/>
              <a:gd name="connsiteY29" fmla="*/ 4167 h 10000"/>
              <a:gd name="connsiteX30" fmla="*/ 5103 w 10000"/>
              <a:gd name="connsiteY30" fmla="*/ 3748 h 10000"/>
              <a:gd name="connsiteX31" fmla="*/ 5173 w 10000"/>
              <a:gd name="connsiteY31" fmla="*/ 3500 h 10000"/>
              <a:gd name="connsiteX32" fmla="*/ 5026 w 10000"/>
              <a:gd name="connsiteY32" fmla="*/ 3333 h 10000"/>
              <a:gd name="connsiteX33" fmla="*/ 5026 w 10000"/>
              <a:gd name="connsiteY33" fmla="*/ 2498 h 10000"/>
              <a:gd name="connsiteX34" fmla="*/ 4963 w 10000"/>
              <a:gd name="connsiteY34" fmla="*/ 2332 h 10000"/>
              <a:gd name="connsiteX35" fmla="*/ 5026 w 10000"/>
              <a:gd name="connsiteY35" fmla="*/ 1831 h 10000"/>
              <a:gd name="connsiteX36" fmla="*/ 4898 w 10000"/>
              <a:gd name="connsiteY36" fmla="*/ 1749 h 10000"/>
              <a:gd name="connsiteX37" fmla="*/ 4963 w 10000"/>
              <a:gd name="connsiteY37" fmla="*/ 1665 h 10000"/>
              <a:gd name="connsiteX38" fmla="*/ 4898 w 10000"/>
              <a:gd name="connsiteY38" fmla="*/ 1500 h 10000"/>
              <a:gd name="connsiteX39" fmla="*/ 4752 w 10000"/>
              <a:gd name="connsiteY39" fmla="*/ 1582 h 10000"/>
              <a:gd name="connsiteX40" fmla="*/ 4407 w 10000"/>
              <a:gd name="connsiteY40" fmla="*/ 2666 h 10000"/>
              <a:gd name="connsiteX41" fmla="*/ 4407 w 10000"/>
              <a:gd name="connsiteY41" fmla="*/ 3083 h 10000"/>
              <a:gd name="connsiteX42" fmla="*/ 4617 w 10000"/>
              <a:gd name="connsiteY42" fmla="*/ 3416 h 10000"/>
              <a:gd name="connsiteX43" fmla="*/ 4617 w 10000"/>
              <a:gd name="connsiteY43" fmla="*/ 3582 h 10000"/>
              <a:gd name="connsiteX44" fmla="*/ 4407 w 10000"/>
              <a:gd name="connsiteY44" fmla="*/ 3416 h 10000"/>
              <a:gd name="connsiteX45" fmla="*/ 3571 w 10000"/>
              <a:gd name="connsiteY45" fmla="*/ 2748 h 10000"/>
              <a:gd name="connsiteX46" fmla="*/ 3499 w 10000"/>
              <a:gd name="connsiteY46" fmla="*/ 2915 h 10000"/>
              <a:gd name="connsiteX47" fmla="*/ 3778 w 10000"/>
              <a:gd name="connsiteY47" fmla="*/ 3333 h 10000"/>
              <a:gd name="connsiteX48" fmla="*/ 3633 w 10000"/>
              <a:gd name="connsiteY48" fmla="*/ 3416 h 10000"/>
              <a:gd name="connsiteX49" fmla="*/ 3571 w 10000"/>
              <a:gd name="connsiteY49" fmla="*/ 3333 h 10000"/>
              <a:gd name="connsiteX50" fmla="*/ 3150 w 10000"/>
              <a:gd name="connsiteY50" fmla="*/ 3500 h 10000"/>
              <a:gd name="connsiteX51" fmla="*/ 3081 w 10000"/>
              <a:gd name="connsiteY51" fmla="*/ 3665 h 10000"/>
              <a:gd name="connsiteX52" fmla="*/ 3010 w 10000"/>
              <a:gd name="connsiteY52" fmla="*/ 3500 h 10000"/>
              <a:gd name="connsiteX53" fmla="*/ 3010 w 10000"/>
              <a:gd name="connsiteY53" fmla="*/ 3333 h 10000"/>
              <a:gd name="connsiteX54" fmla="*/ 2304 w 10000"/>
              <a:gd name="connsiteY54" fmla="*/ 3832 h 10000"/>
              <a:gd name="connsiteX55" fmla="*/ 2304 w 10000"/>
              <a:gd name="connsiteY55" fmla="*/ 3998 h 10000"/>
              <a:gd name="connsiteX56" fmla="*/ 2168 w 10000"/>
              <a:gd name="connsiteY56" fmla="*/ 4082 h 10000"/>
              <a:gd name="connsiteX57" fmla="*/ 1959 w 10000"/>
              <a:gd name="connsiteY57" fmla="*/ 3916 h 10000"/>
              <a:gd name="connsiteX58" fmla="*/ 2168 w 10000"/>
              <a:gd name="connsiteY58" fmla="*/ 3748 h 10000"/>
              <a:gd name="connsiteX59" fmla="*/ 2095 w 10000"/>
              <a:gd name="connsiteY59" fmla="*/ 3500 h 10000"/>
              <a:gd name="connsiteX60" fmla="*/ 1818 w 10000"/>
              <a:gd name="connsiteY60" fmla="*/ 3416 h 10000"/>
              <a:gd name="connsiteX61" fmla="*/ 1889 w 10000"/>
              <a:gd name="connsiteY61" fmla="*/ 3582 h 10000"/>
              <a:gd name="connsiteX62" fmla="*/ 1889 w 10000"/>
              <a:gd name="connsiteY62" fmla="*/ 3998 h 10000"/>
              <a:gd name="connsiteX63" fmla="*/ 1959 w 10000"/>
              <a:gd name="connsiteY63" fmla="*/ 4167 h 10000"/>
              <a:gd name="connsiteX64" fmla="*/ 1889 w 10000"/>
              <a:gd name="connsiteY64" fmla="*/ 4334 h 10000"/>
              <a:gd name="connsiteX65" fmla="*/ 1674 w 10000"/>
              <a:gd name="connsiteY65" fmla="*/ 4250 h 10000"/>
              <a:gd name="connsiteX66" fmla="*/ 1400 w 10000"/>
              <a:gd name="connsiteY66" fmla="*/ 4498 h 10000"/>
              <a:gd name="connsiteX67" fmla="*/ 1535 w 10000"/>
              <a:gd name="connsiteY67" fmla="*/ 4833 h 10000"/>
              <a:gd name="connsiteX68" fmla="*/ 1116 w 10000"/>
              <a:gd name="connsiteY68" fmla="*/ 4666 h 10000"/>
              <a:gd name="connsiteX69" fmla="*/ 1049 w 10000"/>
              <a:gd name="connsiteY69" fmla="*/ 4748 h 10000"/>
              <a:gd name="connsiteX70" fmla="*/ 1191 w 10000"/>
              <a:gd name="connsiteY70" fmla="*/ 4999 h 10000"/>
              <a:gd name="connsiteX71" fmla="*/ 1049 w 10000"/>
              <a:gd name="connsiteY71" fmla="*/ 4999 h 10000"/>
              <a:gd name="connsiteX72" fmla="*/ 842 w 10000"/>
              <a:gd name="connsiteY72" fmla="*/ 4833 h 10000"/>
              <a:gd name="connsiteX73" fmla="*/ 842 w 10000"/>
              <a:gd name="connsiteY73" fmla="*/ 4334 h 10000"/>
              <a:gd name="connsiteX74" fmla="*/ 632 w 10000"/>
              <a:gd name="connsiteY74" fmla="*/ 4167 h 10000"/>
              <a:gd name="connsiteX75" fmla="*/ 558 w 10000"/>
              <a:gd name="connsiteY75" fmla="*/ 3998 h 10000"/>
              <a:gd name="connsiteX76" fmla="*/ 697 w 10000"/>
              <a:gd name="connsiteY76" fmla="*/ 4082 h 10000"/>
              <a:gd name="connsiteX77" fmla="*/ 1255 w 10000"/>
              <a:gd name="connsiteY77" fmla="*/ 4334 h 10000"/>
              <a:gd name="connsiteX78" fmla="*/ 1601 w 10000"/>
              <a:gd name="connsiteY78" fmla="*/ 4082 h 10000"/>
              <a:gd name="connsiteX79" fmla="*/ 1535 w 10000"/>
              <a:gd name="connsiteY79" fmla="*/ 3832 h 10000"/>
              <a:gd name="connsiteX80" fmla="*/ 1116 w 10000"/>
              <a:gd name="connsiteY80" fmla="*/ 3333 h 10000"/>
              <a:gd name="connsiteX81" fmla="*/ 697 w 10000"/>
              <a:gd name="connsiteY81" fmla="*/ 3166 h 10000"/>
              <a:gd name="connsiteX82" fmla="*/ 697 w 10000"/>
              <a:gd name="connsiteY82" fmla="*/ 3083 h 10000"/>
              <a:gd name="connsiteX83" fmla="*/ 558 w 10000"/>
              <a:gd name="connsiteY83" fmla="*/ 2997 h 10000"/>
              <a:gd name="connsiteX84" fmla="*/ 417 w 10000"/>
              <a:gd name="connsiteY84" fmla="*/ 3083 h 10000"/>
              <a:gd name="connsiteX85" fmla="*/ 417 w 10000"/>
              <a:gd name="connsiteY85" fmla="*/ 3166 h 10000"/>
              <a:gd name="connsiteX86" fmla="*/ 348 w 10000"/>
              <a:gd name="connsiteY86" fmla="*/ 3166 h 10000"/>
              <a:gd name="connsiteX87" fmla="*/ 210 w 10000"/>
              <a:gd name="connsiteY87" fmla="*/ 3333 h 10000"/>
              <a:gd name="connsiteX88" fmla="*/ 210 w 10000"/>
              <a:gd name="connsiteY88" fmla="*/ 3582 h 10000"/>
              <a:gd name="connsiteX89" fmla="*/ 348 w 10000"/>
              <a:gd name="connsiteY89" fmla="*/ 3748 h 10000"/>
              <a:gd name="connsiteX90" fmla="*/ 282 w 10000"/>
              <a:gd name="connsiteY90" fmla="*/ 3998 h 10000"/>
              <a:gd name="connsiteX91" fmla="*/ 348 w 10000"/>
              <a:gd name="connsiteY91" fmla="*/ 4417 h 10000"/>
              <a:gd name="connsiteX92" fmla="*/ 282 w 10000"/>
              <a:gd name="connsiteY92" fmla="*/ 4666 h 10000"/>
              <a:gd name="connsiteX93" fmla="*/ 417 w 10000"/>
              <a:gd name="connsiteY93" fmla="*/ 4916 h 10000"/>
              <a:gd name="connsiteX94" fmla="*/ 348 w 10000"/>
              <a:gd name="connsiteY94" fmla="*/ 5083 h 10000"/>
              <a:gd name="connsiteX95" fmla="*/ 487 w 10000"/>
              <a:gd name="connsiteY95" fmla="*/ 5250 h 10000"/>
              <a:gd name="connsiteX96" fmla="*/ 487 w 10000"/>
              <a:gd name="connsiteY96" fmla="*/ 5333 h 10000"/>
              <a:gd name="connsiteX97" fmla="*/ 282 w 10000"/>
              <a:gd name="connsiteY97" fmla="*/ 5750 h 10000"/>
              <a:gd name="connsiteX98" fmla="*/ 64 w 10000"/>
              <a:gd name="connsiteY98" fmla="*/ 5917 h 10000"/>
              <a:gd name="connsiteX99" fmla="*/ 138 w 10000"/>
              <a:gd name="connsiteY99" fmla="*/ 5917 h 10000"/>
              <a:gd name="connsiteX100" fmla="*/ 282 w 10000"/>
              <a:gd name="connsiteY100" fmla="*/ 6083 h 10000"/>
              <a:gd name="connsiteX101" fmla="*/ 138 w 10000"/>
              <a:gd name="connsiteY101" fmla="*/ 6249 h 10000"/>
              <a:gd name="connsiteX102" fmla="*/ 64 w 10000"/>
              <a:gd name="connsiteY102" fmla="*/ 6334 h 10000"/>
              <a:gd name="connsiteX103" fmla="*/ 0 w 10000"/>
              <a:gd name="connsiteY103" fmla="*/ 6334 h 10000"/>
              <a:gd name="connsiteX104" fmla="*/ 64 w 10000"/>
              <a:gd name="connsiteY104" fmla="*/ 6584 h 10000"/>
              <a:gd name="connsiteX105" fmla="*/ 64 w 10000"/>
              <a:gd name="connsiteY105" fmla="*/ 6667 h 10000"/>
              <a:gd name="connsiteX106" fmla="*/ 64 w 10000"/>
              <a:gd name="connsiteY106" fmla="*/ 6749 h 10000"/>
              <a:gd name="connsiteX107" fmla="*/ 64 w 10000"/>
              <a:gd name="connsiteY107" fmla="*/ 6834 h 10000"/>
              <a:gd name="connsiteX108" fmla="*/ 138 w 10000"/>
              <a:gd name="connsiteY108" fmla="*/ 6998 h 10000"/>
              <a:gd name="connsiteX109" fmla="*/ 348 w 10000"/>
              <a:gd name="connsiteY109" fmla="*/ 7083 h 10000"/>
              <a:gd name="connsiteX110" fmla="*/ 417 w 10000"/>
              <a:gd name="connsiteY110" fmla="*/ 7165 h 10000"/>
              <a:gd name="connsiteX111" fmla="*/ 417 w 10000"/>
              <a:gd name="connsiteY111" fmla="*/ 7334 h 10000"/>
              <a:gd name="connsiteX112" fmla="*/ 558 w 10000"/>
              <a:gd name="connsiteY112" fmla="*/ 7584 h 10000"/>
              <a:gd name="connsiteX113" fmla="*/ 632 w 10000"/>
              <a:gd name="connsiteY113" fmla="*/ 7584 h 10000"/>
              <a:gd name="connsiteX114" fmla="*/ 558 w 10000"/>
              <a:gd name="connsiteY114" fmla="*/ 7750 h 10000"/>
              <a:gd name="connsiteX115" fmla="*/ 487 w 10000"/>
              <a:gd name="connsiteY115" fmla="*/ 7668 h 10000"/>
              <a:gd name="connsiteX116" fmla="*/ 487 w 10000"/>
              <a:gd name="connsiteY116" fmla="*/ 7750 h 10000"/>
              <a:gd name="connsiteX117" fmla="*/ 558 w 10000"/>
              <a:gd name="connsiteY117" fmla="*/ 7916 h 10000"/>
              <a:gd name="connsiteX118" fmla="*/ 773 w 10000"/>
              <a:gd name="connsiteY118" fmla="*/ 7916 h 10000"/>
              <a:gd name="connsiteX119" fmla="*/ 842 w 10000"/>
              <a:gd name="connsiteY119" fmla="*/ 8000 h 10000"/>
              <a:gd name="connsiteX120" fmla="*/ 773 w 10000"/>
              <a:gd name="connsiteY120" fmla="*/ 8000 h 10000"/>
              <a:gd name="connsiteX121" fmla="*/ 842 w 10000"/>
              <a:gd name="connsiteY121" fmla="*/ 8082 h 10000"/>
              <a:gd name="connsiteX122" fmla="*/ 908 w 10000"/>
              <a:gd name="connsiteY122" fmla="*/ 8082 h 10000"/>
              <a:gd name="connsiteX123" fmla="*/ 976 w 10000"/>
              <a:gd name="connsiteY123" fmla="*/ 8249 h 10000"/>
              <a:gd name="connsiteX124" fmla="*/ 1049 w 10000"/>
              <a:gd name="connsiteY124" fmla="*/ 8332 h 10000"/>
              <a:gd name="connsiteX125" fmla="*/ 1116 w 10000"/>
              <a:gd name="connsiteY125" fmla="*/ 8249 h 10000"/>
              <a:gd name="connsiteX126" fmla="*/ 1469 w 10000"/>
              <a:gd name="connsiteY126" fmla="*/ 8500 h 10000"/>
              <a:gd name="connsiteX127" fmla="*/ 1400 w 10000"/>
              <a:gd name="connsiteY127" fmla="*/ 8833 h 10000"/>
              <a:gd name="connsiteX128" fmla="*/ 1329 w 10000"/>
              <a:gd name="connsiteY128" fmla="*/ 8750 h 10000"/>
              <a:gd name="connsiteX129" fmla="*/ 1255 w 10000"/>
              <a:gd name="connsiteY129" fmla="*/ 8833 h 10000"/>
              <a:gd name="connsiteX130" fmla="*/ 1255 w 10000"/>
              <a:gd name="connsiteY130" fmla="*/ 8999 h 10000"/>
              <a:gd name="connsiteX131" fmla="*/ 1329 w 10000"/>
              <a:gd name="connsiteY131" fmla="*/ 8917 h 10000"/>
              <a:gd name="connsiteX132" fmla="*/ 1400 w 10000"/>
              <a:gd name="connsiteY132" fmla="*/ 8999 h 10000"/>
              <a:gd name="connsiteX133" fmla="*/ 1191 w 10000"/>
              <a:gd name="connsiteY133" fmla="*/ 9083 h 10000"/>
              <a:gd name="connsiteX134" fmla="*/ 1255 w 10000"/>
              <a:gd name="connsiteY134" fmla="*/ 9167 h 10000"/>
              <a:gd name="connsiteX135" fmla="*/ 1116 w 10000"/>
              <a:gd name="connsiteY135" fmla="*/ 9333 h 10000"/>
              <a:gd name="connsiteX136" fmla="*/ 1049 w 10000"/>
              <a:gd name="connsiteY136" fmla="*/ 9333 h 10000"/>
              <a:gd name="connsiteX137" fmla="*/ 1116 w 10000"/>
              <a:gd name="connsiteY137" fmla="*/ 9333 h 10000"/>
              <a:gd name="connsiteX138" fmla="*/ 1400 w 10000"/>
              <a:gd name="connsiteY138" fmla="*/ 9668 h 10000"/>
              <a:gd name="connsiteX139" fmla="*/ 1749 w 10000"/>
              <a:gd name="connsiteY139" fmla="*/ 9668 h 10000"/>
              <a:gd name="connsiteX140" fmla="*/ 1889 w 10000"/>
              <a:gd name="connsiteY140" fmla="*/ 9750 h 10000"/>
              <a:gd name="connsiteX141" fmla="*/ 2028 w 10000"/>
              <a:gd name="connsiteY141" fmla="*/ 9750 h 10000"/>
              <a:gd name="connsiteX142" fmla="*/ 2168 w 10000"/>
              <a:gd name="connsiteY142" fmla="*/ 9918 h 10000"/>
              <a:gd name="connsiteX143" fmla="*/ 2238 w 10000"/>
              <a:gd name="connsiteY143" fmla="*/ 10000 h 10000"/>
              <a:gd name="connsiteX144" fmla="*/ 2304 w 10000"/>
              <a:gd name="connsiteY144" fmla="*/ 10000 h 10000"/>
              <a:gd name="connsiteX145" fmla="*/ 2378 w 10000"/>
              <a:gd name="connsiteY145" fmla="*/ 9918 h 10000"/>
              <a:gd name="connsiteX146" fmla="*/ 2238 w 10000"/>
              <a:gd name="connsiteY146" fmla="*/ 9750 h 10000"/>
              <a:gd name="connsiteX147" fmla="*/ 2238 w 10000"/>
              <a:gd name="connsiteY147" fmla="*/ 9584 h 10000"/>
              <a:gd name="connsiteX148" fmla="*/ 2168 w 10000"/>
              <a:gd name="connsiteY148" fmla="*/ 9416 h 10000"/>
              <a:gd name="connsiteX149" fmla="*/ 2304 w 10000"/>
              <a:gd name="connsiteY149" fmla="*/ 9167 h 10000"/>
              <a:gd name="connsiteX150" fmla="*/ 2378 w 10000"/>
              <a:gd name="connsiteY150" fmla="*/ 9250 h 10000"/>
              <a:gd name="connsiteX151" fmla="*/ 2447 w 10000"/>
              <a:gd name="connsiteY151" fmla="*/ 9167 h 10000"/>
              <a:gd name="connsiteX152" fmla="*/ 2447 w 10000"/>
              <a:gd name="connsiteY152" fmla="*/ 9083 h 10000"/>
              <a:gd name="connsiteX153" fmla="*/ 2378 w 10000"/>
              <a:gd name="connsiteY153" fmla="*/ 9083 h 10000"/>
              <a:gd name="connsiteX154" fmla="*/ 2447 w 10000"/>
              <a:gd name="connsiteY154" fmla="*/ 8999 h 10000"/>
              <a:gd name="connsiteX155" fmla="*/ 2378 w 10000"/>
              <a:gd name="connsiteY155" fmla="*/ 8833 h 10000"/>
              <a:gd name="connsiteX156" fmla="*/ 2238 w 10000"/>
              <a:gd name="connsiteY156" fmla="*/ 8833 h 10000"/>
              <a:gd name="connsiteX157" fmla="*/ 2168 w 10000"/>
              <a:gd name="connsiteY157" fmla="*/ 8667 h 10000"/>
              <a:gd name="connsiteX158" fmla="*/ 2238 w 10000"/>
              <a:gd name="connsiteY158" fmla="*/ 8249 h 10000"/>
              <a:gd name="connsiteX159" fmla="*/ 2378 w 10000"/>
              <a:gd name="connsiteY159" fmla="*/ 8418 h 10000"/>
              <a:gd name="connsiteX160" fmla="*/ 2447 w 10000"/>
              <a:gd name="connsiteY160" fmla="*/ 8418 h 10000"/>
              <a:gd name="connsiteX161" fmla="*/ 2378 w 10000"/>
              <a:gd name="connsiteY161" fmla="*/ 8249 h 10000"/>
              <a:gd name="connsiteX162" fmla="*/ 2589 w 10000"/>
              <a:gd name="connsiteY162" fmla="*/ 8000 h 10000"/>
              <a:gd name="connsiteX163" fmla="*/ 2730 w 10000"/>
              <a:gd name="connsiteY163" fmla="*/ 8082 h 10000"/>
              <a:gd name="connsiteX164" fmla="*/ 2798 w 10000"/>
              <a:gd name="connsiteY164" fmla="*/ 8000 h 10000"/>
              <a:gd name="connsiteX165" fmla="*/ 2933 w 10000"/>
              <a:gd name="connsiteY165" fmla="*/ 8082 h 10000"/>
              <a:gd name="connsiteX166" fmla="*/ 3150 w 10000"/>
              <a:gd name="connsiteY166" fmla="*/ 8249 h 10000"/>
              <a:gd name="connsiteX167" fmla="*/ 3285 w 10000"/>
              <a:gd name="connsiteY167" fmla="*/ 8167 h 10000"/>
              <a:gd name="connsiteX168" fmla="*/ 3427 w 10000"/>
              <a:gd name="connsiteY168" fmla="*/ 8167 h 10000"/>
              <a:gd name="connsiteX169" fmla="*/ 3499 w 10000"/>
              <a:gd name="connsiteY169" fmla="*/ 8249 h 10000"/>
              <a:gd name="connsiteX170" fmla="*/ 3778 w 10000"/>
              <a:gd name="connsiteY170" fmla="*/ 8249 h 10000"/>
              <a:gd name="connsiteX171" fmla="*/ 3844 w 10000"/>
              <a:gd name="connsiteY171" fmla="*/ 8082 h 10000"/>
              <a:gd name="connsiteX172" fmla="*/ 3633 w 10000"/>
              <a:gd name="connsiteY172" fmla="*/ 8000 h 10000"/>
              <a:gd name="connsiteX173" fmla="*/ 3778 w 10000"/>
              <a:gd name="connsiteY173" fmla="*/ 7916 h 10000"/>
              <a:gd name="connsiteX174" fmla="*/ 3703 w 10000"/>
              <a:gd name="connsiteY174" fmla="*/ 7833 h 10000"/>
              <a:gd name="connsiteX175" fmla="*/ 3778 w 10000"/>
              <a:gd name="connsiteY175" fmla="*/ 7750 h 10000"/>
              <a:gd name="connsiteX176" fmla="*/ 3778 w 10000"/>
              <a:gd name="connsiteY176" fmla="*/ 7500 h 10000"/>
              <a:gd name="connsiteX177" fmla="*/ 3913 w 10000"/>
              <a:gd name="connsiteY177" fmla="*/ 7584 h 10000"/>
              <a:gd name="connsiteX178" fmla="*/ 4545 w 10000"/>
              <a:gd name="connsiteY178" fmla="*/ 7334 h 10000"/>
              <a:gd name="connsiteX179" fmla="*/ 4545 w 10000"/>
              <a:gd name="connsiteY179" fmla="*/ 7250 h 10000"/>
              <a:gd name="connsiteX180" fmla="*/ 4617 w 10000"/>
              <a:gd name="connsiteY180" fmla="*/ 7250 h 10000"/>
              <a:gd name="connsiteX181" fmla="*/ 4820 w 10000"/>
              <a:gd name="connsiteY181" fmla="*/ 7250 h 10000"/>
              <a:gd name="connsiteX182" fmla="*/ 4898 w 10000"/>
              <a:gd name="connsiteY182" fmla="*/ 7417 h 10000"/>
              <a:gd name="connsiteX183" fmla="*/ 4898 w 10000"/>
              <a:gd name="connsiteY183" fmla="*/ 7500 h 10000"/>
              <a:gd name="connsiteX184" fmla="*/ 4963 w 10000"/>
              <a:gd name="connsiteY184" fmla="*/ 7500 h 10000"/>
              <a:gd name="connsiteX185" fmla="*/ 5103 w 10000"/>
              <a:gd name="connsiteY185" fmla="*/ 7584 h 10000"/>
              <a:gd name="connsiteX186" fmla="*/ 5103 w 10000"/>
              <a:gd name="connsiteY186" fmla="*/ 7668 h 10000"/>
              <a:gd name="connsiteX187" fmla="*/ 5243 w 10000"/>
              <a:gd name="connsiteY187" fmla="*/ 7668 h 10000"/>
              <a:gd name="connsiteX188" fmla="*/ 5383 w 10000"/>
              <a:gd name="connsiteY188" fmla="*/ 7500 h 10000"/>
              <a:gd name="connsiteX189" fmla="*/ 5523 w 10000"/>
              <a:gd name="connsiteY189" fmla="*/ 7417 h 10000"/>
              <a:gd name="connsiteX190" fmla="*/ 5603 w 10000"/>
              <a:gd name="connsiteY190" fmla="*/ 7668 h 10000"/>
              <a:gd name="connsiteX191" fmla="*/ 5875 w 10000"/>
              <a:gd name="connsiteY191" fmla="*/ 8249 h 10000"/>
              <a:gd name="connsiteX192" fmla="*/ 5947 w 10000"/>
              <a:gd name="connsiteY192" fmla="*/ 8082 h 10000"/>
              <a:gd name="connsiteX193" fmla="*/ 6016 w 10000"/>
              <a:gd name="connsiteY193" fmla="*/ 8249 h 10000"/>
              <a:gd name="connsiteX194" fmla="*/ 6226 w 10000"/>
              <a:gd name="connsiteY194" fmla="*/ 8167 h 10000"/>
              <a:gd name="connsiteX195" fmla="*/ 6437 w 10000"/>
              <a:gd name="connsiteY195" fmla="*/ 8418 h 10000"/>
              <a:gd name="connsiteX196" fmla="*/ 6572 w 10000"/>
              <a:gd name="connsiteY196" fmla="*/ 8500 h 10000"/>
              <a:gd name="connsiteX197" fmla="*/ 6572 w 10000"/>
              <a:gd name="connsiteY197" fmla="*/ 8418 h 10000"/>
              <a:gd name="connsiteX198" fmla="*/ 6647 w 10000"/>
              <a:gd name="connsiteY198" fmla="*/ 8584 h 10000"/>
              <a:gd name="connsiteX199" fmla="*/ 6572 w 10000"/>
              <a:gd name="connsiteY199" fmla="*/ 8667 h 10000"/>
              <a:gd name="connsiteX200" fmla="*/ 6716 w 10000"/>
              <a:gd name="connsiteY200" fmla="*/ 8584 h 10000"/>
              <a:gd name="connsiteX201" fmla="*/ 6783 w 10000"/>
              <a:gd name="connsiteY201" fmla="*/ 8500 h 10000"/>
              <a:gd name="connsiteX202" fmla="*/ 7130 w 10000"/>
              <a:gd name="connsiteY202" fmla="*/ 8249 h 10000"/>
              <a:gd name="connsiteX203" fmla="*/ 7413 w 10000"/>
              <a:gd name="connsiteY203" fmla="*/ 8332 h 10000"/>
              <a:gd name="connsiteX204" fmla="*/ 7550 w 10000"/>
              <a:gd name="connsiteY204" fmla="*/ 8418 h 10000"/>
              <a:gd name="connsiteX205" fmla="*/ 7830 w 10000"/>
              <a:gd name="connsiteY205" fmla="*/ 8418 h 10000"/>
              <a:gd name="connsiteX206" fmla="*/ 7830 w 10000"/>
              <a:gd name="connsiteY206" fmla="*/ 8249 h 10000"/>
              <a:gd name="connsiteX207" fmla="*/ 7830 w 10000"/>
              <a:gd name="connsiteY207" fmla="*/ 8082 h 10000"/>
              <a:gd name="connsiteX208" fmla="*/ 7971 w 10000"/>
              <a:gd name="connsiteY208" fmla="*/ 8000 h 10000"/>
              <a:gd name="connsiteX209" fmla="*/ 8247 w 10000"/>
              <a:gd name="connsiteY209" fmla="*/ 8082 h 10000"/>
              <a:gd name="connsiteX210" fmla="*/ 8392 w 10000"/>
              <a:gd name="connsiteY210" fmla="*/ 8332 h 10000"/>
              <a:gd name="connsiteX211" fmla="*/ 8462 w 10000"/>
              <a:gd name="connsiteY211" fmla="*/ 8332 h 10000"/>
              <a:gd name="connsiteX212" fmla="*/ 8602 w 10000"/>
              <a:gd name="connsiteY212" fmla="*/ 8249 h 10000"/>
              <a:gd name="connsiteX213" fmla="*/ 9026 w 10000"/>
              <a:gd name="connsiteY213" fmla="*/ 8500 h 10000"/>
              <a:gd name="connsiteX214" fmla="*/ 9231 w 10000"/>
              <a:gd name="connsiteY214" fmla="*/ 8584 h 10000"/>
              <a:gd name="connsiteX215" fmla="*/ 9510 w 10000"/>
              <a:gd name="connsiteY215" fmla="*/ 8500 h 10000"/>
              <a:gd name="connsiteX216" fmla="*/ 9652 w 10000"/>
              <a:gd name="connsiteY216" fmla="*/ 8332 h 10000"/>
              <a:gd name="connsiteX217" fmla="*/ 9860 w 10000"/>
              <a:gd name="connsiteY217" fmla="*/ 8418 h 10000"/>
              <a:gd name="connsiteX218" fmla="*/ 10000 w 10000"/>
              <a:gd name="connsiteY218" fmla="*/ 8500 h 10000"/>
              <a:gd name="connsiteX219" fmla="*/ 9580 w 10000"/>
              <a:gd name="connsiteY219" fmla="*/ 1500 h 10000"/>
              <a:gd name="connsiteX220" fmla="*/ 9173 w 10000"/>
              <a:gd name="connsiteY220" fmla="*/ 125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9092 w 10000"/>
              <a:gd name="connsiteY2" fmla="*/ 1332 h 10000"/>
              <a:gd name="connsiteX3" fmla="*/ 8184 w 10000"/>
              <a:gd name="connsiteY3" fmla="*/ 0 h 10000"/>
              <a:gd name="connsiteX4" fmla="*/ 7971 w 10000"/>
              <a:gd name="connsiteY4" fmla="*/ 0 h 10000"/>
              <a:gd name="connsiteX5" fmla="*/ 7344 w 10000"/>
              <a:gd name="connsiteY5" fmla="*/ 165 h 10000"/>
              <a:gd name="connsiteX6" fmla="*/ 6783 w 10000"/>
              <a:gd name="connsiteY6" fmla="*/ 582 h 10000"/>
              <a:gd name="connsiteX7" fmla="*/ 6572 w 10000"/>
              <a:gd name="connsiteY7" fmla="*/ 916 h 10000"/>
              <a:gd name="connsiteX8" fmla="*/ 6647 w 10000"/>
              <a:gd name="connsiteY8" fmla="*/ 1332 h 10000"/>
              <a:gd name="connsiteX9" fmla="*/ 5875 w 10000"/>
              <a:gd name="connsiteY9" fmla="*/ 1500 h 10000"/>
              <a:gd name="connsiteX10" fmla="*/ 5947 w 10000"/>
              <a:gd name="connsiteY10" fmla="*/ 2000 h 10000"/>
              <a:gd name="connsiteX11" fmla="*/ 6155 w 10000"/>
              <a:gd name="connsiteY11" fmla="*/ 2250 h 10000"/>
              <a:gd name="connsiteX12" fmla="*/ 6016 w 10000"/>
              <a:gd name="connsiteY12" fmla="*/ 2332 h 10000"/>
              <a:gd name="connsiteX13" fmla="*/ 5808 w 10000"/>
              <a:gd name="connsiteY13" fmla="*/ 2000 h 10000"/>
              <a:gd name="connsiteX14" fmla="*/ 5603 w 10000"/>
              <a:gd name="connsiteY14" fmla="*/ 1915 h 10000"/>
              <a:gd name="connsiteX15" fmla="*/ 5523 w 10000"/>
              <a:gd name="connsiteY15" fmla="*/ 2000 h 10000"/>
              <a:gd name="connsiteX16" fmla="*/ 5383 w 10000"/>
              <a:gd name="connsiteY16" fmla="*/ 1831 h 10000"/>
              <a:gd name="connsiteX17" fmla="*/ 5243 w 10000"/>
              <a:gd name="connsiteY17" fmla="*/ 1665 h 10000"/>
              <a:gd name="connsiteX18" fmla="*/ 5243 w 10000"/>
              <a:gd name="connsiteY18" fmla="*/ 1749 h 10000"/>
              <a:gd name="connsiteX19" fmla="*/ 5321 w 10000"/>
              <a:gd name="connsiteY19" fmla="*/ 2000 h 10000"/>
              <a:gd name="connsiteX20" fmla="*/ 5103 w 10000"/>
              <a:gd name="connsiteY20" fmla="*/ 2416 h 10000"/>
              <a:gd name="connsiteX21" fmla="*/ 5243 w 10000"/>
              <a:gd name="connsiteY21" fmla="*/ 2748 h 10000"/>
              <a:gd name="connsiteX22" fmla="*/ 5173 w 10000"/>
              <a:gd name="connsiteY22" fmla="*/ 3083 h 10000"/>
              <a:gd name="connsiteX23" fmla="*/ 5173 w 10000"/>
              <a:gd name="connsiteY23" fmla="*/ 3333 h 10000"/>
              <a:gd name="connsiteX24" fmla="*/ 5383 w 10000"/>
              <a:gd name="connsiteY24" fmla="*/ 3333 h 10000"/>
              <a:gd name="connsiteX25" fmla="*/ 5243 w 10000"/>
              <a:gd name="connsiteY25" fmla="*/ 3416 h 10000"/>
              <a:gd name="connsiteX26" fmla="*/ 5321 w 10000"/>
              <a:gd name="connsiteY26" fmla="*/ 3832 h 10000"/>
              <a:gd name="connsiteX27" fmla="*/ 4898 w 10000"/>
              <a:gd name="connsiteY27" fmla="*/ 4250 h 10000"/>
              <a:gd name="connsiteX28" fmla="*/ 4820 w 10000"/>
              <a:gd name="connsiteY28" fmla="*/ 4167 h 10000"/>
              <a:gd name="connsiteX29" fmla="*/ 5103 w 10000"/>
              <a:gd name="connsiteY29" fmla="*/ 3748 h 10000"/>
              <a:gd name="connsiteX30" fmla="*/ 5173 w 10000"/>
              <a:gd name="connsiteY30" fmla="*/ 3500 h 10000"/>
              <a:gd name="connsiteX31" fmla="*/ 5026 w 10000"/>
              <a:gd name="connsiteY31" fmla="*/ 3333 h 10000"/>
              <a:gd name="connsiteX32" fmla="*/ 5026 w 10000"/>
              <a:gd name="connsiteY32" fmla="*/ 2498 h 10000"/>
              <a:gd name="connsiteX33" fmla="*/ 4963 w 10000"/>
              <a:gd name="connsiteY33" fmla="*/ 2332 h 10000"/>
              <a:gd name="connsiteX34" fmla="*/ 5026 w 10000"/>
              <a:gd name="connsiteY34" fmla="*/ 1831 h 10000"/>
              <a:gd name="connsiteX35" fmla="*/ 4898 w 10000"/>
              <a:gd name="connsiteY35" fmla="*/ 1749 h 10000"/>
              <a:gd name="connsiteX36" fmla="*/ 4963 w 10000"/>
              <a:gd name="connsiteY36" fmla="*/ 1665 h 10000"/>
              <a:gd name="connsiteX37" fmla="*/ 4898 w 10000"/>
              <a:gd name="connsiteY37" fmla="*/ 1500 h 10000"/>
              <a:gd name="connsiteX38" fmla="*/ 4752 w 10000"/>
              <a:gd name="connsiteY38" fmla="*/ 1582 h 10000"/>
              <a:gd name="connsiteX39" fmla="*/ 4407 w 10000"/>
              <a:gd name="connsiteY39" fmla="*/ 2666 h 10000"/>
              <a:gd name="connsiteX40" fmla="*/ 4407 w 10000"/>
              <a:gd name="connsiteY40" fmla="*/ 3083 h 10000"/>
              <a:gd name="connsiteX41" fmla="*/ 4617 w 10000"/>
              <a:gd name="connsiteY41" fmla="*/ 3416 h 10000"/>
              <a:gd name="connsiteX42" fmla="*/ 4617 w 10000"/>
              <a:gd name="connsiteY42" fmla="*/ 3582 h 10000"/>
              <a:gd name="connsiteX43" fmla="*/ 4407 w 10000"/>
              <a:gd name="connsiteY43" fmla="*/ 3416 h 10000"/>
              <a:gd name="connsiteX44" fmla="*/ 3571 w 10000"/>
              <a:gd name="connsiteY44" fmla="*/ 2748 h 10000"/>
              <a:gd name="connsiteX45" fmla="*/ 3499 w 10000"/>
              <a:gd name="connsiteY45" fmla="*/ 2915 h 10000"/>
              <a:gd name="connsiteX46" fmla="*/ 3778 w 10000"/>
              <a:gd name="connsiteY46" fmla="*/ 3333 h 10000"/>
              <a:gd name="connsiteX47" fmla="*/ 3633 w 10000"/>
              <a:gd name="connsiteY47" fmla="*/ 3416 h 10000"/>
              <a:gd name="connsiteX48" fmla="*/ 3571 w 10000"/>
              <a:gd name="connsiteY48" fmla="*/ 3333 h 10000"/>
              <a:gd name="connsiteX49" fmla="*/ 3150 w 10000"/>
              <a:gd name="connsiteY49" fmla="*/ 3500 h 10000"/>
              <a:gd name="connsiteX50" fmla="*/ 3081 w 10000"/>
              <a:gd name="connsiteY50" fmla="*/ 3665 h 10000"/>
              <a:gd name="connsiteX51" fmla="*/ 3010 w 10000"/>
              <a:gd name="connsiteY51" fmla="*/ 3500 h 10000"/>
              <a:gd name="connsiteX52" fmla="*/ 3010 w 10000"/>
              <a:gd name="connsiteY52" fmla="*/ 3333 h 10000"/>
              <a:gd name="connsiteX53" fmla="*/ 2304 w 10000"/>
              <a:gd name="connsiteY53" fmla="*/ 3832 h 10000"/>
              <a:gd name="connsiteX54" fmla="*/ 2304 w 10000"/>
              <a:gd name="connsiteY54" fmla="*/ 3998 h 10000"/>
              <a:gd name="connsiteX55" fmla="*/ 2168 w 10000"/>
              <a:gd name="connsiteY55" fmla="*/ 4082 h 10000"/>
              <a:gd name="connsiteX56" fmla="*/ 1959 w 10000"/>
              <a:gd name="connsiteY56" fmla="*/ 3916 h 10000"/>
              <a:gd name="connsiteX57" fmla="*/ 2168 w 10000"/>
              <a:gd name="connsiteY57" fmla="*/ 3748 h 10000"/>
              <a:gd name="connsiteX58" fmla="*/ 2095 w 10000"/>
              <a:gd name="connsiteY58" fmla="*/ 3500 h 10000"/>
              <a:gd name="connsiteX59" fmla="*/ 1818 w 10000"/>
              <a:gd name="connsiteY59" fmla="*/ 3416 h 10000"/>
              <a:gd name="connsiteX60" fmla="*/ 1889 w 10000"/>
              <a:gd name="connsiteY60" fmla="*/ 3582 h 10000"/>
              <a:gd name="connsiteX61" fmla="*/ 1889 w 10000"/>
              <a:gd name="connsiteY61" fmla="*/ 3998 h 10000"/>
              <a:gd name="connsiteX62" fmla="*/ 1959 w 10000"/>
              <a:gd name="connsiteY62" fmla="*/ 4167 h 10000"/>
              <a:gd name="connsiteX63" fmla="*/ 1889 w 10000"/>
              <a:gd name="connsiteY63" fmla="*/ 4334 h 10000"/>
              <a:gd name="connsiteX64" fmla="*/ 1674 w 10000"/>
              <a:gd name="connsiteY64" fmla="*/ 4250 h 10000"/>
              <a:gd name="connsiteX65" fmla="*/ 1400 w 10000"/>
              <a:gd name="connsiteY65" fmla="*/ 4498 h 10000"/>
              <a:gd name="connsiteX66" fmla="*/ 1535 w 10000"/>
              <a:gd name="connsiteY66" fmla="*/ 4833 h 10000"/>
              <a:gd name="connsiteX67" fmla="*/ 1116 w 10000"/>
              <a:gd name="connsiteY67" fmla="*/ 4666 h 10000"/>
              <a:gd name="connsiteX68" fmla="*/ 1049 w 10000"/>
              <a:gd name="connsiteY68" fmla="*/ 4748 h 10000"/>
              <a:gd name="connsiteX69" fmla="*/ 1191 w 10000"/>
              <a:gd name="connsiteY69" fmla="*/ 4999 h 10000"/>
              <a:gd name="connsiteX70" fmla="*/ 1049 w 10000"/>
              <a:gd name="connsiteY70" fmla="*/ 4999 h 10000"/>
              <a:gd name="connsiteX71" fmla="*/ 842 w 10000"/>
              <a:gd name="connsiteY71" fmla="*/ 4833 h 10000"/>
              <a:gd name="connsiteX72" fmla="*/ 842 w 10000"/>
              <a:gd name="connsiteY72" fmla="*/ 4334 h 10000"/>
              <a:gd name="connsiteX73" fmla="*/ 632 w 10000"/>
              <a:gd name="connsiteY73" fmla="*/ 4167 h 10000"/>
              <a:gd name="connsiteX74" fmla="*/ 558 w 10000"/>
              <a:gd name="connsiteY74" fmla="*/ 3998 h 10000"/>
              <a:gd name="connsiteX75" fmla="*/ 697 w 10000"/>
              <a:gd name="connsiteY75" fmla="*/ 4082 h 10000"/>
              <a:gd name="connsiteX76" fmla="*/ 1255 w 10000"/>
              <a:gd name="connsiteY76" fmla="*/ 4334 h 10000"/>
              <a:gd name="connsiteX77" fmla="*/ 1601 w 10000"/>
              <a:gd name="connsiteY77" fmla="*/ 4082 h 10000"/>
              <a:gd name="connsiteX78" fmla="*/ 1535 w 10000"/>
              <a:gd name="connsiteY78" fmla="*/ 3832 h 10000"/>
              <a:gd name="connsiteX79" fmla="*/ 1116 w 10000"/>
              <a:gd name="connsiteY79" fmla="*/ 3333 h 10000"/>
              <a:gd name="connsiteX80" fmla="*/ 697 w 10000"/>
              <a:gd name="connsiteY80" fmla="*/ 3166 h 10000"/>
              <a:gd name="connsiteX81" fmla="*/ 697 w 10000"/>
              <a:gd name="connsiteY81" fmla="*/ 3083 h 10000"/>
              <a:gd name="connsiteX82" fmla="*/ 558 w 10000"/>
              <a:gd name="connsiteY82" fmla="*/ 2997 h 10000"/>
              <a:gd name="connsiteX83" fmla="*/ 417 w 10000"/>
              <a:gd name="connsiteY83" fmla="*/ 3083 h 10000"/>
              <a:gd name="connsiteX84" fmla="*/ 417 w 10000"/>
              <a:gd name="connsiteY84" fmla="*/ 3166 h 10000"/>
              <a:gd name="connsiteX85" fmla="*/ 348 w 10000"/>
              <a:gd name="connsiteY85" fmla="*/ 3166 h 10000"/>
              <a:gd name="connsiteX86" fmla="*/ 210 w 10000"/>
              <a:gd name="connsiteY86" fmla="*/ 3333 h 10000"/>
              <a:gd name="connsiteX87" fmla="*/ 210 w 10000"/>
              <a:gd name="connsiteY87" fmla="*/ 3582 h 10000"/>
              <a:gd name="connsiteX88" fmla="*/ 348 w 10000"/>
              <a:gd name="connsiteY88" fmla="*/ 3748 h 10000"/>
              <a:gd name="connsiteX89" fmla="*/ 282 w 10000"/>
              <a:gd name="connsiteY89" fmla="*/ 3998 h 10000"/>
              <a:gd name="connsiteX90" fmla="*/ 348 w 10000"/>
              <a:gd name="connsiteY90" fmla="*/ 4417 h 10000"/>
              <a:gd name="connsiteX91" fmla="*/ 282 w 10000"/>
              <a:gd name="connsiteY91" fmla="*/ 4666 h 10000"/>
              <a:gd name="connsiteX92" fmla="*/ 417 w 10000"/>
              <a:gd name="connsiteY92" fmla="*/ 4916 h 10000"/>
              <a:gd name="connsiteX93" fmla="*/ 348 w 10000"/>
              <a:gd name="connsiteY93" fmla="*/ 5083 h 10000"/>
              <a:gd name="connsiteX94" fmla="*/ 487 w 10000"/>
              <a:gd name="connsiteY94" fmla="*/ 5250 h 10000"/>
              <a:gd name="connsiteX95" fmla="*/ 487 w 10000"/>
              <a:gd name="connsiteY95" fmla="*/ 5333 h 10000"/>
              <a:gd name="connsiteX96" fmla="*/ 282 w 10000"/>
              <a:gd name="connsiteY96" fmla="*/ 5750 h 10000"/>
              <a:gd name="connsiteX97" fmla="*/ 64 w 10000"/>
              <a:gd name="connsiteY97" fmla="*/ 5917 h 10000"/>
              <a:gd name="connsiteX98" fmla="*/ 138 w 10000"/>
              <a:gd name="connsiteY98" fmla="*/ 5917 h 10000"/>
              <a:gd name="connsiteX99" fmla="*/ 282 w 10000"/>
              <a:gd name="connsiteY99" fmla="*/ 6083 h 10000"/>
              <a:gd name="connsiteX100" fmla="*/ 138 w 10000"/>
              <a:gd name="connsiteY100" fmla="*/ 6249 h 10000"/>
              <a:gd name="connsiteX101" fmla="*/ 64 w 10000"/>
              <a:gd name="connsiteY101" fmla="*/ 6334 h 10000"/>
              <a:gd name="connsiteX102" fmla="*/ 0 w 10000"/>
              <a:gd name="connsiteY102" fmla="*/ 6334 h 10000"/>
              <a:gd name="connsiteX103" fmla="*/ 64 w 10000"/>
              <a:gd name="connsiteY103" fmla="*/ 6584 h 10000"/>
              <a:gd name="connsiteX104" fmla="*/ 64 w 10000"/>
              <a:gd name="connsiteY104" fmla="*/ 6667 h 10000"/>
              <a:gd name="connsiteX105" fmla="*/ 64 w 10000"/>
              <a:gd name="connsiteY105" fmla="*/ 6749 h 10000"/>
              <a:gd name="connsiteX106" fmla="*/ 64 w 10000"/>
              <a:gd name="connsiteY106" fmla="*/ 6834 h 10000"/>
              <a:gd name="connsiteX107" fmla="*/ 138 w 10000"/>
              <a:gd name="connsiteY107" fmla="*/ 6998 h 10000"/>
              <a:gd name="connsiteX108" fmla="*/ 348 w 10000"/>
              <a:gd name="connsiteY108" fmla="*/ 7083 h 10000"/>
              <a:gd name="connsiteX109" fmla="*/ 417 w 10000"/>
              <a:gd name="connsiteY109" fmla="*/ 7165 h 10000"/>
              <a:gd name="connsiteX110" fmla="*/ 417 w 10000"/>
              <a:gd name="connsiteY110" fmla="*/ 7334 h 10000"/>
              <a:gd name="connsiteX111" fmla="*/ 558 w 10000"/>
              <a:gd name="connsiteY111" fmla="*/ 7584 h 10000"/>
              <a:gd name="connsiteX112" fmla="*/ 632 w 10000"/>
              <a:gd name="connsiteY112" fmla="*/ 7584 h 10000"/>
              <a:gd name="connsiteX113" fmla="*/ 558 w 10000"/>
              <a:gd name="connsiteY113" fmla="*/ 7750 h 10000"/>
              <a:gd name="connsiteX114" fmla="*/ 487 w 10000"/>
              <a:gd name="connsiteY114" fmla="*/ 7668 h 10000"/>
              <a:gd name="connsiteX115" fmla="*/ 487 w 10000"/>
              <a:gd name="connsiteY115" fmla="*/ 7750 h 10000"/>
              <a:gd name="connsiteX116" fmla="*/ 558 w 10000"/>
              <a:gd name="connsiteY116" fmla="*/ 7916 h 10000"/>
              <a:gd name="connsiteX117" fmla="*/ 773 w 10000"/>
              <a:gd name="connsiteY117" fmla="*/ 7916 h 10000"/>
              <a:gd name="connsiteX118" fmla="*/ 842 w 10000"/>
              <a:gd name="connsiteY118" fmla="*/ 8000 h 10000"/>
              <a:gd name="connsiteX119" fmla="*/ 773 w 10000"/>
              <a:gd name="connsiteY119" fmla="*/ 8000 h 10000"/>
              <a:gd name="connsiteX120" fmla="*/ 842 w 10000"/>
              <a:gd name="connsiteY120" fmla="*/ 8082 h 10000"/>
              <a:gd name="connsiteX121" fmla="*/ 908 w 10000"/>
              <a:gd name="connsiteY121" fmla="*/ 8082 h 10000"/>
              <a:gd name="connsiteX122" fmla="*/ 976 w 10000"/>
              <a:gd name="connsiteY122" fmla="*/ 8249 h 10000"/>
              <a:gd name="connsiteX123" fmla="*/ 1049 w 10000"/>
              <a:gd name="connsiteY123" fmla="*/ 8332 h 10000"/>
              <a:gd name="connsiteX124" fmla="*/ 1116 w 10000"/>
              <a:gd name="connsiteY124" fmla="*/ 8249 h 10000"/>
              <a:gd name="connsiteX125" fmla="*/ 1469 w 10000"/>
              <a:gd name="connsiteY125" fmla="*/ 8500 h 10000"/>
              <a:gd name="connsiteX126" fmla="*/ 1400 w 10000"/>
              <a:gd name="connsiteY126" fmla="*/ 8833 h 10000"/>
              <a:gd name="connsiteX127" fmla="*/ 1329 w 10000"/>
              <a:gd name="connsiteY127" fmla="*/ 8750 h 10000"/>
              <a:gd name="connsiteX128" fmla="*/ 1255 w 10000"/>
              <a:gd name="connsiteY128" fmla="*/ 8833 h 10000"/>
              <a:gd name="connsiteX129" fmla="*/ 1255 w 10000"/>
              <a:gd name="connsiteY129" fmla="*/ 8999 h 10000"/>
              <a:gd name="connsiteX130" fmla="*/ 1329 w 10000"/>
              <a:gd name="connsiteY130" fmla="*/ 8917 h 10000"/>
              <a:gd name="connsiteX131" fmla="*/ 1400 w 10000"/>
              <a:gd name="connsiteY131" fmla="*/ 8999 h 10000"/>
              <a:gd name="connsiteX132" fmla="*/ 1191 w 10000"/>
              <a:gd name="connsiteY132" fmla="*/ 9083 h 10000"/>
              <a:gd name="connsiteX133" fmla="*/ 1255 w 10000"/>
              <a:gd name="connsiteY133" fmla="*/ 9167 h 10000"/>
              <a:gd name="connsiteX134" fmla="*/ 1116 w 10000"/>
              <a:gd name="connsiteY134" fmla="*/ 9333 h 10000"/>
              <a:gd name="connsiteX135" fmla="*/ 1049 w 10000"/>
              <a:gd name="connsiteY135" fmla="*/ 9333 h 10000"/>
              <a:gd name="connsiteX136" fmla="*/ 1116 w 10000"/>
              <a:gd name="connsiteY136" fmla="*/ 9333 h 10000"/>
              <a:gd name="connsiteX137" fmla="*/ 1400 w 10000"/>
              <a:gd name="connsiteY137" fmla="*/ 9668 h 10000"/>
              <a:gd name="connsiteX138" fmla="*/ 1749 w 10000"/>
              <a:gd name="connsiteY138" fmla="*/ 9668 h 10000"/>
              <a:gd name="connsiteX139" fmla="*/ 1889 w 10000"/>
              <a:gd name="connsiteY139" fmla="*/ 9750 h 10000"/>
              <a:gd name="connsiteX140" fmla="*/ 2028 w 10000"/>
              <a:gd name="connsiteY140" fmla="*/ 9750 h 10000"/>
              <a:gd name="connsiteX141" fmla="*/ 2168 w 10000"/>
              <a:gd name="connsiteY141" fmla="*/ 9918 h 10000"/>
              <a:gd name="connsiteX142" fmla="*/ 2238 w 10000"/>
              <a:gd name="connsiteY142" fmla="*/ 10000 h 10000"/>
              <a:gd name="connsiteX143" fmla="*/ 2304 w 10000"/>
              <a:gd name="connsiteY143" fmla="*/ 10000 h 10000"/>
              <a:gd name="connsiteX144" fmla="*/ 2378 w 10000"/>
              <a:gd name="connsiteY144" fmla="*/ 9918 h 10000"/>
              <a:gd name="connsiteX145" fmla="*/ 2238 w 10000"/>
              <a:gd name="connsiteY145" fmla="*/ 9750 h 10000"/>
              <a:gd name="connsiteX146" fmla="*/ 2238 w 10000"/>
              <a:gd name="connsiteY146" fmla="*/ 9584 h 10000"/>
              <a:gd name="connsiteX147" fmla="*/ 2168 w 10000"/>
              <a:gd name="connsiteY147" fmla="*/ 9416 h 10000"/>
              <a:gd name="connsiteX148" fmla="*/ 2304 w 10000"/>
              <a:gd name="connsiteY148" fmla="*/ 9167 h 10000"/>
              <a:gd name="connsiteX149" fmla="*/ 2378 w 10000"/>
              <a:gd name="connsiteY149" fmla="*/ 9250 h 10000"/>
              <a:gd name="connsiteX150" fmla="*/ 2447 w 10000"/>
              <a:gd name="connsiteY150" fmla="*/ 9167 h 10000"/>
              <a:gd name="connsiteX151" fmla="*/ 2447 w 10000"/>
              <a:gd name="connsiteY151" fmla="*/ 9083 h 10000"/>
              <a:gd name="connsiteX152" fmla="*/ 2378 w 10000"/>
              <a:gd name="connsiteY152" fmla="*/ 9083 h 10000"/>
              <a:gd name="connsiteX153" fmla="*/ 2447 w 10000"/>
              <a:gd name="connsiteY153" fmla="*/ 8999 h 10000"/>
              <a:gd name="connsiteX154" fmla="*/ 2378 w 10000"/>
              <a:gd name="connsiteY154" fmla="*/ 8833 h 10000"/>
              <a:gd name="connsiteX155" fmla="*/ 2238 w 10000"/>
              <a:gd name="connsiteY155" fmla="*/ 8833 h 10000"/>
              <a:gd name="connsiteX156" fmla="*/ 2168 w 10000"/>
              <a:gd name="connsiteY156" fmla="*/ 8667 h 10000"/>
              <a:gd name="connsiteX157" fmla="*/ 2238 w 10000"/>
              <a:gd name="connsiteY157" fmla="*/ 8249 h 10000"/>
              <a:gd name="connsiteX158" fmla="*/ 2378 w 10000"/>
              <a:gd name="connsiteY158" fmla="*/ 8418 h 10000"/>
              <a:gd name="connsiteX159" fmla="*/ 2447 w 10000"/>
              <a:gd name="connsiteY159" fmla="*/ 8418 h 10000"/>
              <a:gd name="connsiteX160" fmla="*/ 2378 w 10000"/>
              <a:gd name="connsiteY160" fmla="*/ 8249 h 10000"/>
              <a:gd name="connsiteX161" fmla="*/ 2589 w 10000"/>
              <a:gd name="connsiteY161" fmla="*/ 8000 h 10000"/>
              <a:gd name="connsiteX162" fmla="*/ 2730 w 10000"/>
              <a:gd name="connsiteY162" fmla="*/ 8082 h 10000"/>
              <a:gd name="connsiteX163" fmla="*/ 2798 w 10000"/>
              <a:gd name="connsiteY163" fmla="*/ 8000 h 10000"/>
              <a:gd name="connsiteX164" fmla="*/ 2933 w 10000"/>
              <a:gd name="connsiteY164" fmla="*/ 8082 h 10000"/>
              <a:gd name="connsiteX165" fmla="*/ 3150 w 10000"/>
              <a:gd name="connsiteY165" fmla="*/ 8249 h 10000"/>
              <a:gd name="connsiteX166" fmla="*/ 3285 w 10000"/>
              <a:gd name="connsiteY166" fmla="*/ 8167 h 10000"/>
              <a:gd name="connsiteX167" fmla="*/ 3427 w 10000"/>
              <a:gd name="connsiteY167" fmla="*/ 8167 h 10000"/>
              <a:gd name="connsiteX168" fmla="*/ 3499 w 10000"/>
              <a:gd name="connsiteY168" fmla="*/ 8249 h 10000"/>
              <a:gd name="connsiteX169" fmla="*/ 3778 w 10000"/>
              <a:gd name="connsiteY169" fmla="*/ 8249 h 10000"/>
              <a:gd name="connsiteX170" fmla="*/ 3844 w 10000"/>
              <a:gd name="connsiteY170" fmla="*/ 8082 h 10000"/>
              <a:gd name="connsiteX171" fmla="*/ 3633 w 10000"/>
              <a:gd name="connsiteY171" fmla="*/ 8000 h 10000"/>
              <a:gd name="connsiteX172" fmla="*/ 3778 w 10000"/>
              <a:gd name="connsiteY172" fmla="*/ 7916 h 10000"/>
              <a:gd name="connsiteX173" fmla="*/ 3703 w 10000"/>
              <a:gd name="connsiteY173" fmla="*/ 7833 h 10000"/>
              <a:gd name="connsiteX174" fmla="*/ 3778 w 10000"/>
              <a:gd name="connsiteY174" fmla="*/ 7750 h 10000"/>
              <a:gd name="connsiteX175" fmla="*/ 3778 w 10000"/>
              <a:gd name="connsiteY175" fmla="*/ 7500 h 10000"/>
              <a:gd name="connsiteX176" fmla="*/ 3913 w 10000"/>
              <a:gd name="connsiteY176" fmla="*/ 7584 h 10000"/>
              <a:gd name="connsiteX177" fmla="*/ 4545 w 10000"/>
              <a:gd name="connsiteY177" fmla="*/ 7334 h 10000"/>
              <a:gd name="connsiteX178" fmla="*/ 4545 w 10000"/>
              <a:gd name="connsiteY178" fmla="*/ 7250 h 10000"/>
              <a:gd name="connsiteX179" fmla="*/ 4617 w 10000"/>
              <a:gd name="connsiteY179" fmla="*/ 7250 h 10000"/>
              <a:gd name="connsiteX180" fmla="*/ 4820 w 10000"/>
              <a:gd name="connsiteY180" fmla="*/ 7250 h 10000"/>
              <a:gd name="connsiteX181" fmla="*/ 4898 w 10000"/>
              <a:gd name="connsiteY181" fmla="*/ 7417 h 10000"/>
              <a:gd name="connsiteX182" fmla="*/ 4898 w 10000"/>
              <a:gd name="connsiteY182" fmla="*/ 7500 h 10000"/>
              <a:gd name="connsiteX183" fmla="*/ 4963 w 10000"/>
              <a:gd name="connsiteY183" fmla="*/ 7500 h 10000"/>
              <a:gd name="connsiteX184" fmla="*/ 5103 w 10000"/>
              <a:gd name="connsiteY184" fmla="*/ 7584 h 10000"/>
              <a:gd name="connsiteX185" fmla="*/ 5103 w 10000"/>
              <a:gd name="connsiteY185" fmla="*/ 7668 h 10000"/>
              <a:gd name="connsiteX186" fmla="*/ 5243 w 10000"/>
              <a:gd name="connsiteY186" fmla="*/ 7668 h 10000"/>
              <a:gd name="connsiteX187" fmla="*/ 5383 w 10000"/>
              <a:gd name="connsiteY187" fmla="*/ 7500 h 10000"/>
              <a:gd name="connsiteX188" fmla="*/ 5523 w 10000"/>
              <a:gd name="connsiteY188" fmla="*/ 7417 h 10000"/>
              <a:gd name="connsiteX189" fmla="*/ 5603 w 10000"/>
              <a:gd name="connsiteY189" fmla="*/ 7668 h 10000"/>
              <a:gd name="connsiteX190" fmla="*/ 5875 w 10000"/>
              <a:gd name="connsiteY190" fmla="*/ 8249 h 10000"/>
              <a:gd name="connsiteX191" fmla="*/ 5947 w 10000"/>
              <a:gd name="connsiteY191" fmla="*/ 8082 h 10000"/>
              <a:gd name="connsiteX192" fmla="*/ 6016 w 10000"/>
              <a:gd name="connsiteY192" fmla="*/ 8249 h 10000"/>
              <a:gd name="connsiteX193" fmla="*/ 6226 w 10000"/>
              <a:gd name="connsiteY193" fmla="*/ 8167 h 10000"/>
              <a:gd name="connsiteX194" fmla="*/ 6437 w 10000"/>
              <a:gd name="connsiteY194" fmla="*/ 8418 h 10000"/>
              <a:gd name="connsiteX195" fmla="*/ 6572 w 10000"/>
              <a:gd name="connsiteY195" fmla="*/ 8500 h 10000"/>
              <a:gd name="connsiteX196" fmla="*/ 6572 w 10000"/>
              <a:gd name="connsiteY196" fmla="*/ 8418 h 10000"/>
              <a:gd name="connsiteX197" fmla="*/ 6647 w 10000"/>
              <a:gd name="connsiteY197" fmla="*/ 8584 h 10000"/>
              <a:gd name="connsiteX198" fmla="*/ 6572 w 10000"/>
              <a:gd name="connsiteY198" fmla="*/ 8667 h 10000"/>
              <a:gd name="connsiteX199" fmla="*/ 6716 w 10000"/>
              <a:gd name="connsiteY199" fmla="*/ 8584 h 10000"/>
              <a:gd name="connsiteX200" fmla="*/ 6783 w 10000"/>
              <a:gd name="connsiteY200" fmla="*/ 8500 h 10000"/>
              <a:gd name="connsiteX201" fmla="*/ 7130 w 10000"/>
              <a:gd name="connsiteY201" fmla="*/ 8249 h 10000"/>
              <a:gd name="connsiteX202" fmla="*/ 7413 w 10000"/>
              <a:gd name="connsiteY202" fmla="*/ 8332 h 10000"/>
              <a:gd name="connsiteX203" fmla="*/ 7550 w 10000"/>
              <a:gd name="connsiteY203" fmla="*/ 8418 h 10000"/>
              <a:gd name="connsiteX204" fmla="*/ 7830 w 10000"/>
              <a:gd name="connsiteY204" fmla="*/ 8418 h 10000"/>
              <a:gd name="connsiteX205" fmla="*/ 7830 w 10000"/>
              <a:gd name="connsiteY205" fmla="*/ 8249 h 10000"/>
              <a:gd name="connsiteX206" fmla="*/ 7830 w 10000"/>
              <a:gd name="connsiteY206" fmla="*/ 8082 h 10000"/>
              <a:gd name="connsiteX207" fmla="*/ 7971 w 10000"/>
              <a:gd name="connsiteY207" fmla="*/ 8000 h 10000"/>
              <a:gd name="connsiteX208" fmla="*/ 8247 w 10000"/>
              <a:gd name="connsiteY208" fmla="*/ 8082 h 10000"/>
              <a:gd name="connsiteX209" fmla="*/ 8392 w 10000"/>
              <a:gd name="connsiteY209" fmla="*/ 8332 h 10000"/>
              <a:gd name="connsiteX210" fmla="*/ 8462 w 10000"/>
              <a:gd name="connsiteY210" fmla="*/ 8332 h 10000"/>
              <a:gd name="connsiteX211" fmla="*/ 8602 w 10000"/>
              <a:gd name="connsiteY211" fmla="*/ 8249 h 10000"/>
              <a:gd name="connsiteX212" fmla="*/ 9026 w 10000"/>
              <a:gd name="connsiteY212" fmla="*/ 8500 h 10000"/>
              <a:gd name="connsiteX213" fmla="*/ 9231 w 10000"/>
              <a:gd name="connsiteY213" fmla="*/ 8584 h 10000"/>
              <a:gd name="connsiteX214" fmla="*/ 9510 w 10000"/>
              <a:gd name="connsiteY214" fmla="*/ 8500 h 10000"/>
              <a:gd name="connsiteX215" fmla="*/ 9652 w 10000"/>
              <a:gd name="connsiteY215" fmla="*/ 8332 h 10000"/>
              <a:gd name="connsiteX216" fmla="*/ 9860 w 10000"/>
              <a:gd name="connsiteY216" fmla="*/ 8418 h 10000"/>
              <a:gd name="connsiteX217" fmla="*/ 10000 w 10000"/>
              <a:gd name="connsiteY217" fmla="*/ 8500 h 10000"/>
              <a:gd name="connsiteX218" fmla="*/ 9580 w 10000"/>
              <a:gd name="connsiteY218" fmla="*/ 1500 h 10000"/>
              <a:gd name="connsiteX219" fmla="*/ 9173 w 10000"/>
              <a:gd name="connsiteY219" fmla="*/ 125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8184 w 10000"/>
              <a:gd name="connsiteY2" fmla="*/ 0 h 10000"/>
              <a:gd name="connsiteX3" fmla="*/ 7971 w 10000"/>
              <a:gd name="connsiteY3" fmla="*/ 0 h 10000"/>
              <a:gd name="connsiteX4" fmla="*/ 7344 w 10000"/>
              <a:gd name="connsiteY4" fmla="*/ 165 h 10000"/>
              <a:gd name="connsiteX5" fmla="*/ 6783 w 10000"/>
              <a:gd name="connsiteY5" fmla="*/ 582 h 10000"/>
              <a:gd name="connsiteX6" fmla="*/ 6572 w 10000"/>
              <a:gd name="connsiteY6" fmla="*/ 916 h 10000"/>
              <a:gd name="connsiteX7" fmla="*/ 6647 w 10000"/>
              <a:gd name="connsiteY7" fmla="*/ 1332 h 10000"/>
              <a:gd name="connsiteX8" fmla="*/ 5875 w 10000"/>
              <a:gd name="connsiteY8" fmla="*/ 1500 h 10000"/>
              <a:gd name="connsiteX9" fmla="*/ 5947 w 10000"/>
              <a:gd name="connsiteY9" fmla="*/ 2000 h 10000"/>
              <a:gd name="connsiteX10" fmla="*/ 6155 w 10000"/>
              <a:gd name="connsiteY10" fmla="*/ 2250 h 10000"/>
              <a:gd name="connsiteX11" fmla="*/ 6016 w 10000"/>
              <a:gd name="connsiteY11" fmla="*/ 2332 h 10000"/>
              <a:gd name="connsiteX12" fmla="*/ 5808 w 10000"/>
              <a:gd name="connsiteY12" fmla="*/ 2000 h 10000"/>
              <a:gd name="connsiteX13" fmla="*/ 5603 w 10000"/>
              <a:gd name="connsiteY13" fmla="*/ 1915 h 10000"/>
              <a:gd name="connsiteX14" fmla="*/ 5523 w 10000"/>
              <a:gd name="connsiteY14" fmla="*/ 2000 h 10000"/>
              <a:gd name="connsiteX15" fmla="*/ 5383 w 10000"/>
              <a:gd name="connsiteY15" fmla="*/ 1831 h 10000"/>
              <a:gd name="connsiteX16" fmla="*/ 5243 w 10000"/>
              <a:gd name="connsiteY16" fmla="*/ 1665 h 10000"/>
              <a:gd name="connsiteX17" fmla="*/ 5243 w 10000"/>
              <a:gd name="connsiteY17" fmla="*/ 1749 h 10000"/>
              <a:gd name="connsiteX18" fmla="*/ 5321 w 10000"/>
              <a:gd name="connsiteY18" fmla="*/ 2000 h 10000"/>
              <a:gd name="connsiteX19" fmla="*/ 5103 w 10000"/>
              <a:gd name="connsiteY19" fmla="*/ 2416 h 10000"/>
              <a:gd name="connsiteX20" fmla="*/ 5243 w 10000"/>
              <a:gd name="connsiteY20" fmla="*/ 2748 h 10000"/>
              <a:gd name="connsiteX21" fmla="*/ 5173 w 10000"/>
              <a:gd name="connsiteY21" fmla="*/ 3083 h 10000"/>
              <a:gd name="connsiteX22" fmla="*/ 5173 w 10000"/>
              <a:gd name="connsiteY22" fmla="*/ 3333 h 10000"/>
              <a:gd name="connsiteX23" fmla="*/ 5383 w 10000"/>
              <a:gd name="connsiteY23" fmla="*/ 3333 h 10000"/>
              <a:gd name="connsiteX24" fmla="*/ 5243 w 10000"/>
              <a:gd name="connsiteY24" fmla="*/ 3416 h 10000"/>
              <a:gd name="connsiteX25" fmla="*/ 5321 w 10000"/>
              <a:gd name="connsiteY25" fmla="*/ 3832 h 10000"/>
              <a:gd name="connsiteX26" fmla="*/ 4898 w 10000"/>
              <a:gd name="connsiteY26" fmla="*/ 4250 h 10000"/>
              <a:gd name="connsiteX27" fmla="*/ 4820 w 10000"/>
              <a:gd name="connsiteY27" fmla="*/ 4167 h 10000"/>
              <a:gd name="connsiteX28" fmla="*/ 5103 w 10000"/>
              <a:gd name="connsiteY28" fmla="*/ 3748 h 10000"/>
              <a:gd name="connsiteX29" fmla="*/ 5173 w 10000"/>
              <a:gd name="connsiteY29" fmla="*/ 3500 h 10000"/>
              <a:gd name="connsiteX30" fmla="*/ 5026 w 10000"/>
              <a:gd name="connsiteY30" fmla="*/ 3333 h 10000"/>
              <a:gd name="connsiteX31" fmla="*/ 5026 w 10000"/>
              <a:gd name="connsiteY31" fmla="*/ 2498 h 10000"/>
              <a:gd name="connsiteX32" fmla="*/ 4963 w 10000"/>
              <a:gd name="connsiteY32" fmla="*/ 2332 h 10000"/>
              <a:gd name="connsiteX33" fmla="*/ 5026 w 10000"/>
              <a:gd name="connsiteY33" fmla="*/ 1831 h 10000"/>
              <a:gd name="connsiteX34" fmla="*/ 4898 w 10000"/>
              <a:gd name="connsiteY34" fmla="*/ 1749 h 10000"/>
              <a:gd name="connsiteX35" fmla="*/ 4963 w 10000"/>
              <a:gd name="connsiteY35" fmla="*/ 1665 h 10000"/>
              <a:gd name="connsiteX36" fmla="*/ 4898 w 10000"/>
              <a:gd name="connsiteY36" fmla="*/ 1500 h 10000"/>
              <a:gd name="connsiteX37" fmla="*/ 4752 w 10000"/>
              <a:gd name="connsiteY37" fmla="*/ 1582 h 10000"/>
              <a:gd name="connsiteX38" fmla="*/ 4407 w 10000"/>
              <a:gd name="connsiteY38" fmla="*/ 2666 h 10000"/>
              <a:gd name="connsiteX39" fmla="*/ 4407 w 10000"/>
              <a:gd name="connsiteY39" fmla="*/ 3083 h 10000"/>
              <a:gd name="connsiteX40" fmla="*/ 4617 w 10000"/>
              <a:gd name="connsiteY40" fmla="*/ 3416 h 10000"/>
              <a:gd name="connsiteX41" fmla="*/ 4617 w 10000"/>
              <a:gd name="connsiteY41" fmla="*/ 3582 h 10000"/>
              <a:gd name="connsiteX42" fmla="*/ 4407 w 10000"/>
              <a:gd name="connsiteY42" fmla="*/ 3416 h 10000"/>
              <a:gd name="connsiteX43" fmla="*/ 3571 w 10000"/>
              <a:gd name="connsiteY43" fmla="*/ 2748 h 10000"/>
              <a:gd name="connsiteX44" fmla="*/ 3499 w 10000"/>
              <a:gd name="connsiteY44" fmla="*/ 2915 h 10000"/>
              <a:gd name="connsiteX45" fmla="*/ 3778 w 10000"/>
              <a:gd name="connsiteY45" fmla="*/ 3333 h 10000"/>
              <a:gd name="connsiteX46" fmla="*/ 3633 w 10000"/>
              <a:gd name="connsiteY46" fmla="*/ 3416 h 10000"/>
              <a:gd name="connsiteX47" fmla="*/ 3571 w 10000"/>
              <a:gd name="connsiteY47" fmla="*/ 3333 h 10000"/>
              <a:gd name="connsiteX48" fmla="*/ 3150 w 10000"/>
              <a:gd name="connsiteY48" fmla="*/ 3500 h 10000"/>
              <a:gd name="connsiteX49" fmla="*/ 3081 w 10000"/>
              <a:gd name="connsiteY49" fmla="*/ 3665 h 10000"/>
              <a:gd name="connsiteX50" fmla="*/ 3010 w 10000"/>
              <a:gd name="connsiteY50" fmla="*/ 3500 h 10000"/>
              <a:gd name="connsiteX51" fmla="*/ 3010 w 10000"/>
              <a:gd name="connsiteY51" fmla="*/ 3333 h 10000"/>
              <a:gd name="connsiteX52" fmla="*/ 2304 w 10000"/>
              <a:gd name="connsiteY52" fmla="*/ 3832 h 10000"/>
              <a:gd name="connsiteX53" fmla="*/ 2304 w 10000"/>
              <a:gd name="connsiteY53" fmla="*/ 3998 h 10000"/>
              <a:gd name="connsiteX54" fmla="*/ 2168 w 10000"/>
              <a:gd name="connsiteY54" fmla="*/ 4082 h 10000"/>
              <a:gd name="connsiteX55" fmla="*/ 1959 w 10000"/>
              <a:gd name="connsiteY55" fmla="*/ 3916 h 10000"/>
              <a:gd name="connsiteX56" fmla="*/ 2168 w 10000"/>
              <a:gd name="connsiteY56" fmla="*/ 3748 h 10000"/>
              <a:gd name="connsiteX57" fmla="*/ 2095 w 10000"/>
              <a:gd name="connsiteY57" fmla="*/ 3500 h 10000"/>
              <a:gd name="connsiteX58" fmla="*/ 1818 w 10000"/>
              <a:gd name="connsiteY58" fmla="*/ 3416 h 10000"/>
              <a:gd name="connsiteX59" fmla="*/ 1889 w 10000"/>
              <a:gd name="connsiteY59" fmla="*/ 3582 h 10000"/>
              <a:gd name="connsiteX60" fmla="*/ 1889 w 10000"/>
              <a:gd name="connsiteY60" fmla="*/ 3998 h 10000"/>
              <a:gd name="connsiteX61" fmla="*/ 1959 w 10000"/>
              <a:gd name="connsiteY61" fmla="*/ 4167 h 10000"/>
              <a:gd name="connsiteX62" fmla="*/ 1889 w 10000"/>
              <a:gd name="connsiteY62" fmla="*/ 4334 h 10000"/>
              <a:gd name="connsiteX63" fmla="*/ 1674 w 10000"/>
              <a:gd name="connsiteY63" fmla="*/ 4250 h 10000"/>
              <a:gd name="connsiteX64" fmla="*/ 1400 w 10000"/>
              <a:gd name="connsiteY64" fmla="*/ 4498 h 10000"/>
              <a:gd name="connsiteX65" fmla="*/ 1535 w 10000"/>
              <a:gd name="connsiteY65" fmla="*/ 4833 h 10000"/>
              <a:gd name="connsiteX66" fmla="*/ 1116 w 10000"/>
              <a:gd name="connsiteY66" fmla="*/ 4666 h 10000"/>
              <a:gd name="connsiteX67" fmla="*/ 1049 w 10000"/>
              <a:gd name="connsiteY67" fmla="*/ 4748 h 10000"/>
              <a:gd name="connsiteX68" fmla="*/ 1191 w 10000"/>
              <a:gd name="connsiteY68" fmla="*/ 4999 h 10000"/>
              <a:gd name="connsiteX69" fmla="*/ 1049 w 10000"/>
              <a:gd name="connsiteY69" fmla="*/ 4999 h 10000"/>
              <a:gd name="connsiteX70" fmla="*/ 842 w 10000"/>
              <a:gd name="connsiteY70" fmla="*/ 4833 h 10000"/>
              <a:gd name="connsiteX71" fmla="*/ 842 w 10000"/>
              <a:gd name="connsiteY71" fmla="*/ 4334 h 10000"/>
              <a:gd name="connsiteX72" fmla="*/ 632 w 10000"/>
              <a:gd name="connsiteY72" fmla="*/ 4167 h 10000"/>
              <a:gd name="connsiteX73" fmla="*/ 558 w 10000"/>
              <a:gd name="connsiteY73" fmla="*/ 3998 h 10000"/>
              <a:gd name="connsiteX74" fmla="*/ 697 w 10000"/>
              <a:gd name="connsiteY74" fmla="*/ 4082 h 10000"/>
              <a:gd name="connsiteX75" fmla="*/ 1255 w 10000"/>
              <a:gd name="connsiteY75" fmla="*/ 4334 h 10000"/>
              <a:gd name="connsiteX76" fmla="*/ 1601 w 10000"/>
              <a:gd name="connsiteY76" fmla="*/ 4082 h 10000"/>
              <a:gd name="connsiteX77" fmla="*/ 1535 w 10000"/>
              <a:gd name="connsiteY77" fmla="*/ 3832 h 10000"/>
              <a:gd name="connsiteX78" fmla="*/ 1116 w 10000"/>
              <a:gd name="connsiteY78" fmla="*/ 3333 h 10000"/>
              <a:gd name="connsiteX79" fmla="*/ 697 w 10000"/>
              <a:gd name="connsiteY79" fmla="*/ 3166 h 10000"/>
              <a:gd name="connsiteX80" fmla="*/ 697 w 10000"/>
              <a:gd name="connsiteY80" fmla="*/ 3083 h 10000"/>
              <a:gd name="connsiteX81" fmla="*/ 558 w 10000"/>
              <a:gd name="connsiteY81" fmla="*/ 2997 h 10000"/>
              <a:gd name="connsiteX82" fmla="*/ 417 w 10000"/>
              <a:gd name="connsiteY82" fmla="*/ 3083 h 10000"/>
              <a:gd name="connsiteX83" fmla="*/ 417 w 10000"/>
              <a:gd name="connsiteY83" fmla="*/ 3166 h 10000"/>
              <a:gd name="connsiteX84" fmla="*/ 348 w 10000"/>
              <a:gd name="connsiteY84" fmla="*/ 3166 h 10000"/>
              <a:gd name="connsiteX85" fmla="*/ 210 w 10000"/>
              <a:gd name="connsiteY85" fmla="*/ 3333 h 10000"/>
              <a:gd name="connsiteX86" fmla="*/ 210 w 10000"/>
              <a:gd name="connsiteY86" fmla="*/ 3582 h 10000"/>
              <a:gd name="connsiteX87" fmla="*/ 348 w 10000"/>
              <a:gd name="connsiteY87" fmla="*/ 3748 h 10000"/>
              <a:gd name="connsiteX88" fmla="*/ 282 w 10000"/>
              <a:gd name="connsiteY88" fmla="*/ 3998 h 10000"/>
              <a:gd name="connsiteX89" fmla="*/ 348 w 10000"/>
              <a:gd name="connsiteY89" fmla="*/ 4417 h 10000"/>
              <a:gd name="connsiteX90" fmla="*/ 282 w 10000"/>
              <a:gd name="connsiteY90" fmla="*/ 4666 h 10000"/>
              <a:gd name="connsiteX91" fmla="*/ 417 w 10000"/>
              <a:gd name="connsiteY91" fmla="*/ 4916 h 10000"/>
              <a:gd name="connsiteX92" fmla="*/ 348 w 10000"/>
              <a:gd name="connsiteY92" fmla="*/ 5083 h 10000"/>
              <a:gd name="connsiteX93" fmla="*/ 487 w 10000"/>
              <a:gd name="connsiteY93" fmla="*/ 5250 h 10000"/>
              <a:gd name="connsiteX94" fmla="*/ 487 w 10000"/>
              <a:gd name="connsiteY94" fmla="*/ 5333 h 10000"/>
              <a:gd name="connsiteX95" fmla="*/ 282 w 10000"/>
              <a:gd name="connsiteY95" fmla="*/ 5750 h 10000"/>
              <a:gd name="connsiteX96" fmla="*/ 64 w 10000"/>
              <a:gd name="connsiteY96" fmla="*/ 5917 h 10000"/>
              <a:gd name="connsiteX97" fmla="*/ 138 w 10000"/>
              <a:gd name="connsiteY97" fmla="*/ 5917 h 10000"/>
              <a:gd name="connsiteX98" fmla="*/ 282 w 10000"/>
              <a:gd name="connsiteY98" fmla="*/ 6083 h 10000"/>
              <a:gd name="connsiteX99" fmla="*/ 138 w 10000"/>
              <a:gd name="connsiteY99" fmla="*/ 6249 h 10000"/>
              <a:gd name="connsiteX100" fmla="*/ 64 w 10000"/>
              <a:gd name="connsiteY100" fmla="*/ 6334 h 10000"/>
              <a:gd name="connsiteX101" fmla="*/ 0 w 10000"/>
              <a:gd name="connsiteY101" fmla="*/ 6334 h 10000"/>
              <a:gd name="connsiteX102" fmla="*/ 64 w 10000"/>
              <a:gd name="connsiteY102" fmla="*/ 6584 h 10000"/>
              <a:gd name="connsiteX103" fmla="*/ 64 w 10000"/>
              <a:gd name="connsiteY103" fmla="*/ 6667 h 10000"/>
              <a:gd name="connsiteX104" fmla="*/ 64 w 10000"/>
              <a:gd name="connsiteY104" fmla="*/ 6749 h 10000"/>
              <a:gd name="connsiteX105" fmla="*/ 64 w 10000"/>
              <a:gd name="connsiteY105" fmla="*/ 6834 h 10000"/>
              <a:gd name="connsiteX106" fmla="*/ 138 w 10000"/>
              <a:gd name="connsiteY106" fmla="*/ 6998 h 10000"/>
              <a:gd name="connsiteX107" fmla="*/ 348 w 10000"/>
              <a:gd name="connsiteY107" fmla="*/ 7083 h 10000"/>
              <a:gd name="connsiteX108" fmla="*/ 417 w 10000"/>
              <a:gd name="connsiteY108" fmla="*/ 7165 h 10000"/>
              <a:gd name="connsiteX109" fmla="*/ 417 w 10000"/>
              <a:gd name="connsiteY109" fmla="*/ 7334 h 10000"/>
              <a:gd name="connsiteX110" fmla="*/ 558 w 10000"/>
              <a:gd name="connsiteY110" fmla="*/ 7584 h 10000"/>
              <a:gd name="connsiteX111" fmla="*/ 632 w 10000"/>
              <a:gd name="connsiteY111" fmla="*/ 7584 h 10000"/>
              <a:gd name="connsiteX112" fmla="*/ 558 w 10000"/>
              <a:gd name="connsiteY112" fmla="*/ 7750 h 10000"/>
              <a:gd name="connsiteX113" fmla="*/ 487 w 10000"/>
              <a:gd name="connsiteY113" fmla="*/ 7668 h 10000"/>
              <a:gd name="connsiteX114" fmla="*/ 487 w 10000"/>
              <a:gd name="connsiteY114" fmla="*/ 7750 h 10000"/>
              <a:gd name="connsiteX115" fmla="*/ 558 w 10000"/>
              <a:gd name="connsiteY115" fmla="*/ 7916 h 10000"/>
              <a:gd name="connsiteX116" fmla="*/ 773 w 10000"/>
              <a:gd name="connsiteY116" fmla="*/ 7916 h 10000"/>
              <a:gd name="connsiteX117" fmla="*/ 842 w 10000"/>
              <a:gd name="connsiteY117" fmla="*/ 8000 h 10000"/>
              <a:gd name="connsiteX118" fmla="*/ 773 w 10000"/>
              <a:gd name="connsiteY118" fmla="*/ 8000 h 10000"/>
              <a:gd name="connsiteX119" fmla="*/ 842 w 10000"/>
              <a:gd name="connsiteY119" fmla="*/ 8082 h 10000"/>
              <a:gd name="connsiteX120" fmla="*/ 908 w 10000"/>
              <a:gd name="connsiteY120" fmla="*/ 8082 h 10000"/>
              <a:gd name="connsiteX121" fmla="*/ 976 w 10000"/>
              <a:gd name="connsiteY121" fmla="*/ 8249 h 10000"/>
              <a:gd name="connsiteX122" fmla="*/ 1049 w 10000"/>
              <a:gd name="connsiteY122" fmla="*/ 8332 h 10000"/>
              <a:gd name="connsiteX123" fmla="*/ 1116 w 10000"/>
              <a:gd name="connsiteY123" fmla="*/ 8249 h 10000"/>
              <a:gd name="connsiteX124" fmla="*/ 1469 w 10000"/>
              <a:gd name="connsiteY124" fmla="*/ 8500 h 10000"/>
              <a:gd name="connsiteX125" fmla="*/ 1400 w 10000"/>
              <a:gd name="connsiteY125" fmla="*/ 8833 h 10000"/>
              <a:gd name="connsiteX126" fmla="*/ 1329 w 10000"/>
              <a:gd name="connsiteY126" fmla="*/ 8750 h 10000"/>
              <a:gd name="connsiteX127" fmla="*/ 1255 w 10000"/>
              <a:gd name="connsiteY127" fmla="*/ 8833 h 10000"/>
              <a:gd name="connsiteX128" fmla="*/ 1255 w 10000"/>
              <a:gd name="connsiteY128" fmla="*/ 8999 h 10000"/>
              <a:gd name="connsiteX129" fmla="*/ 1329 w 10000"/>
              <a:gd name="connsiteY129" fmla="*/ 8917 h 10000"/>
              <a:gd name="connsiteX130" fmla="*/ 1400 w 10000"/>
              <a:gd name="connsiteY130" fmla="*/ 8999 h 10000"/>
              <a:gd name="connsiteX131" fmla="*/ 1191 w 10000"/>
              <a:gd name="connsiteY131" fmla="*/ 9083 h 10000"/>
              <a:gd name="connsiteX132" fmla="*/ 1255 w 10000"/>
              <a:gd name="connsiteY132" fmla="*/ 9167 h 10000"/>
              <a:gd name="connsiteX133" fmla="*/ 1116 w 10000"/>
              <a:gd name="connsiteY133" fmla="*/ 9333 h 10000"/>
              <a:gd name="connsiteX134" fmla="*/ 1049 w 10000"/>
              <a:gd name="connsiteY134" fmla="*/ 9333 h 10000"/>
              <a:gd name="connsiteX135" fmla="*/ 1116 w 10000"/>
              <a:gd name="connsiteY135" fmla="*/ 9333 h 10000"/>
              <a:gd name="connsiteX136" fmla="*/ 1400 w 10000"/>
              <a:gd name="connsiteY136" fmla="*/ 9668 h 10000"/>
              <a:gd name="connsiteX137" fmla="*/ 1749 w 10000"/>
              <a:gd name="connsiteY137" fmla="*/ 9668 h 10000"/>
              <a:gd name="connsiteX138" fmla="*/ 1889 w 10000"/>
              <a:gd name="connsiteY138" fmla="*/ 9750 h 10000"/>
              <a:gd name="connsiteX139" fmla="*/ 2028 w 10000"/>
              <a:gd name="connsiteY139" fmla="*/ 9750 h 10000"/>
              <a:gd name="connsiteX140" fmla="*/ 2168 w 10000"/>
              <a:gd name="connsiteY140" fmla="*/ 9918 h 10000"/>
              <a:gd name="connsiteX141" fmla="*/ 2238 w 10000"/>
              <a:gd name="connsiteY141" fmla="*/ 10000 h 10000"/>
              <a:gd name="connsiteX142" fmla="*/ 2304 w 10000"/>
              <a:gd name="connsiteY142" fmla="*/ 10000 h 10000"/>
              <a:gd name="connsiteX143" fmla="*/ 2378 w 10000"/>
              <a:gd name="connsiteY143" fmla="*/ 9918 h 10000"/>
              <a:gd name="connsiteX144" fmla="*/ 2238 w 10000"/>
              <a:gd name="connsiteY144" fmla="*/ 9750 h 10000"/>
              <a:gd name="connsiteX145" fmla="*/ 2238 w 10000"/>
              <a:gd name="connsiteY145" fmla="*/ 9584 h 10000"/>
              <a:gd name="connsiteX146" fmla="*/ 2168 w 10000"/>
              <a:gd name="connsiteY146" fmla="*/ 9416 h 10000"/>
              <a:gd name="connsiteX147" fmla="*/ 2304 w 10000"/>
              <a:gd name="connsiteY147" fmla="*/ 9167 h 10000"/>
              <a:gd name="connsiteX148" fmla="*/ 2378 w 10000"/>
              <a:gd name="connsiteY148" fmla="*/ 9250 h 10000"/>
              <a:gd name="connsiteX149" fmla="*/ 2447 w 10000"/>
              <a:gd name="connsiteY149" fmla="*/ 9167 h 10000"/>
              <a:gd name="connsiteX150" fmla="*/ 2447 w 10000"/>
              <a:gd name="connsiteY150" fmla="*/ 9083 h 10000"/>
              <a:gd name="connsiteX151" fmla="*/ 2378 w 10000"/>
              <a:gd name="connsiteY151" fmla="*/ 9083 h 10000"/>
              <a:gd name="connsiteX152" fmla="*/ 2447 w 10000"/>
              <a:gd name="connsiteY152" fmla="*/ 8999 h 10000"/>
              <a:gd name="connsiteX153" fmla="*/ 2378 w 10000"/>
              <a:gd name="connsiteY153" fmla="*/ 8833 h 10000"/>
              <a:gd name="connsiteX154" fmla="*/ 2238 w 10000"/>
              <a:gd name="connsiteY154" fmla="*/ 8833 h 10000"/>
              <a:gd name="connsiteX155" fmla="*/ 2168 w 10000"/>
              <a:gd name="connsiteY155" fmla="*/ 8667 h 10000"/>
              <a:gd name="connsiteX156" fmla="*/ 2238 w 10000"/>
              <a:gd name="connsiteY156" fmla="*/ 8249 h 10000"/>
              <a:gd name="connsiteX157" fmla="*/ 2378 w 10000"/>
              <a:gd name="connsiteY157" fmla="*/ 8418 h 10000"/>
              <a:gd name="connsiteX158" fmla="*/ 2447 w 10000"/>
              <a:gd name="connsiteY158" fmla="*/ 8418 h 10000"/>
              <a:gd name="connsiteX159" fmla="*/ 2378 w 10000"/>
              <a:gd name="connsiteY159" fmla="*/ 8249 h 10000"/>
              <a:gd name="connsiteX160" fmla="*/ 2589 w 10000"/>
              <a:gd name="connsiteY160" fmla="*/ 8000 h 10000"/>
              <a:gd name="connsiteX161" fmla="*/ 2730 w 10000"/>
              <a:gd name="connsiteY161" fmla="*/ 8082 h 10000"/>
              <a:gd name="connsiteX162" fmla="*/ 2798 w 10000"/>
              <a:gd name="connsiteY162" fmla="*/ 8000 h 10000"/>
              <a:gd name="connsiteX163" fmla="*/ 2933 w 10000"/>
              <a:gd name="connsiteY163" fmla="*/ 8082 h 10000"/>
              <a:gd name="connsiteX164" fmla="*/ 3150 w 10000"/>
              <a:gd name="connsiteY164" fmla="*/ 8249 h 10000"/>
              <a:gd name="connsiteX165" fmla="*/ 3285 w 10000"/>
              <a:gd name="connsiteY165" fmla="*/ 8167 h 10000"/>
              <a:gd name="connsiteX166" fmla="*/ 3427 w 10000"/>
              <a:gd name="connsiteY166" fmla="*/ 8167 h 10000"/>
              <a:gd name="connsiteX167" fmla="*/ 3499 w 10000"/>
              <a:gd name="connsiteY167" fmla="*/ 8249 h 10000"/>
              <a:gd name="connsiteX168" fmla="*/ 3778 w 10000"/>
              <a:gd name="connsiteY168" fmla="*/ 8249 h 10000"/>
              <a:gd name="connsiteX169" fmla="*/ 3844 w 10000"/>
              <a:gd name="connsiteY169" fmla="*/ 8082 h 10000"/>
              <a:gd name="connsiteX170" fmla="*/ 3633 w 10000"/>
              <a:gd name="connsiteY170" fmla="*/ 8000 h 10000"/>
              <a:gd name="connsiteX171" fmla="*/ 3778 w 10000"/>
              <a:gd name="connsiteY171" fmla="*/ 7916 h 10000"/>
              <a:gd name="connsiteX172" fmla="*/ 3703 w 10000"/>
              <a:gd name="connsiteY172" fmla="*/ 7833 h 10000"/>
              <a:gd name="connsiteX173" fmla="*/ 3778 w 10000"/>
              <a:gd name="connsiteY173" fmla="*/ 7750 h 10000"/>
              <a:gd name="connsiteX174" fmla="*/ 3778 w 10000"/>
              <a:gd name="connsiteY174" fmla="*/ 7500 h 10000"/>
              <a:gd name="connsiteX175" fmla="*/ 3913 w 10000"/>
              <a:gd name="connsiteY175" fmla="*/ 7584 h 10000"/>
              <a:gd name="connsiteX176" fmla="*/ 4545 w 10000"/>
              <a:gd name="connsiteY176" fmla="*/ 7334 h 10000"/>
              <a:gd name="connsiteX177" fmla="*/ 4545 w 10000"/>
              <a:gd name="connsiteY177" fmla="*/ 7250 h 10000"/>
              <a:gd name="connsiteX178" fmla="*/ 4617 w 10000"/>
              <a:gd name="connsiteY178" fmla="*/ 7250 h 10000"/>
              <a:gd name="connsiteX179" fmla="*/ 4820 w 10000"/>
              <a:gd name="connsiteY179" fmla="*/ 7250 h 10000"/>
              <a:gd name="connsiteX180" fmla="*/ 4898 w 10000"/>
              <a:gd name="connsiteY180" fmla="*/ 7417 h 10000"/>
              <a:gd name="connsiteX181" fmla="*/ 4898 w 10000"/>
              <a:gd name="connsiteY181" fmla="*/ 7500 h 10000"/>
              <a:gd name="connsiteX182" fmla="*/ 4963 w 10000"/>
              <a:gd name="connsiteY182" fmla="*/ 7500 h 10000"/>
              <a:gd name="connsiteX183" fmla="*/ 5103 w 10000"/>
              <a:gd name="connsiteY183" fmla="*/ 7584 h 10000"/>
              <a:gd name="connsiteX184" fmla="*/ 5103 w 10000"/>
              <a:gd name="connsiteY184" fmla="*/ 7668 h 10000"/>
              <a:gd name="connsiteX185" fmla="*/ 5243 w 10000"/>
              <a:gd name="connsiteY185" fmla="*/ 7668 h 10000"/>
              <a:gd name="connsiteX186" fmla="*/ 5383 w 10000"/>
              <a:gd name="connsiteY186" fmla="*/ 7500 h 10000"/>
              <a:gd name="connsiteX187" fmla="*/ 5523 w 10000"/>
              <a:gd name="connsiteY187" fmla="*/ 7417 h 10000"/>
              <a:gd name="connsiteX188" fmla="*/ 5603 w 10000"/>
              <a:gd name="connsiteY188" fmla="*/ 7668 h 10000"/>
              <a:gd name="connsiteX189" fmla="*/ 5875 w 10000"/>
              <a:gd name="connsiteY189" fmla="*/ 8249 h 10000"/>
              <a:gd name="connsiteX190" fmla="*/ 5947 w 10000"/>
              <a:gd name="connsiteY190" fmla="*/ 8082 h 10000"/>
              <a:gd name="connsiteX191" fmla="*/ 6016 w 10000"/>
              <a:gd name="connsiteY191" fmla="*/ 8249 h 10000"/>
              <a:gd name="connsiteX192" fmla="*/ 6226 w 10000"/>
              <a:gd name="connsiteY192" fmla="*/ 8167 h 10000"/>
              <a:gd name="connsiteX193" fmla="*/ 6437 w 10000"/>
              <a:gd name="connsiteY193" fmla="*/ 8418 h 10000"/>
              <a:gd name="connsiteX194" fmla="*/ 6572 w 10000"/>
              <a:gd name="connsiteY194" fmla="*/ 8500 h 10000"/>
              <a:gd name="connsiteX195" fmla="*/ 6572 w 10000"/>
              <a:gd name="connsiteY195" fmla="*/ 8418 h 10000"/>
              <a:gd name="connsiteX196" fmla="*/ 6647 w 10000"/>
              <a:gd name="connsiteY196" fmla="*/ 8584 h 10000"/>
              <a:gd name="connsiteX197" fmla="*/ 6572 w 10000"/>
              <a:gd name="connsiteY197" fmla="*/ 8667 h 10000"/>
              <a:gd name="connsiteX198" fmla="*/ 6716 w 10000"/>
              <a:gd name="connsiteY198" fmla="*/ 8584 h 10000"/>
              <a:gd name="connsiteX199" fmla="*/ 6783 w 10000"/>
              <a:gd name="connsiteY199" fmla="*/ 8500 h 10000"/>
              <a:gd name="connsiteX200" fmla="*/ 7130 w 10000"/>
              <a:gd name="connsiteY200" fmla="*/ 8249 h 10000"/>
              <a:gd name="connsiteX201" fmla="*/ 7413 w 10000"/>
              <a:gd name="connsiteY201" fmla="*/ 8332 h 10000"/>
              <a:gd name="connsiteX202" fmla="*/ 7550 w 10000"/>
              <a:gd name="connsiteY202" fmla="*/ 8418 h 10000"/>
              <a:gd name="connsiteX203" fmla="*/ 7830 w 10000"/>
              <a:gd name="connsiteY203" fmla="*/ 8418 h 10000"/>
              <a:gd name="connsiteX204" fmla="*/ 7830 w 10000"/>
              <a:gd name="connsiteY204" fmla="*/ 8249 h 10000"/>
              <a:gd name="connsiteX205" fmla="*/ 7830 w 10000"/>
              <a:gd name="connsiteY205" fmla="*/ 8082 h 10000"/>
              <a:gd name="connsiteX206" fmla="*/ 7971 w 10000"/>
              <a:gd name="connsiteY206" fmla="*/ 8000 h 10000"/>
              <a:gd name="connsiteX207" fmla="*/ 8247 w 10000"/>
              <a:gd name="connsiteY207" fmla="*/ 8082 h 10000"/>
              <a:gd name="connsiteX208" fmla="*/ 8392 w 10000"/>
              <a:gd name="connsiteY208" fmla="*/ 8332 h 10000"/>
              <a:gd name="connsiteX209" fmla="*/ 8462 w 10000"/>
              <a:gd name="connsiteY209" fmla="*/ 8332 h 10000"/>
              <a:gd name="connsiteX210" fmla="*/ 8602 w 10000"/>
              <a:gd name="connsiteY210" fmla="*/ 8249 h 10000"/>
              <a:gd name="connsiteX211" fmla="*/ 9026 w 10000"/>
              <a:gd name="connsiteY211" fmla="*/ 8500 h 10000"/>
              <a:gd name="connsiteX212" fmla="*/ 9231 w 10000"/>
              <a:gd name="connsiteY212" fmla="*/ 8584 h 10000"/>
              <a:gd name="connsiteX213" fmla="*/ 9510 w 10000"/>
              <a:gd name="connsiteY213" fmla="*/ 8500 h 10000"/>
              <a:gd name="connsiteX214" fmla="*/ 9652 w 10000"/>
              <a:gd name="connsiteY214" fmla="*/ 8332 h 10000"/>
              <a:gd name="connsiteX215" fmla="*/ 9860 w 10000"/>
              <a:gd name="connsiteY215" fmla="*/ 8418 h 10000"/>
              <a:gd name="connsiteX216" fmla="*/ 10000 w 10000"/>
              <a:gd name="connsiteY216" fmla="*/ 8500 h 10000"/>
              <a:gd name="connsiteX217" fmla="*/ 9580 w 10000"/>
              <a:gd name="connsiteY217" fmla="*/ 1500 h 10000"/>
              <a:gd name="connsiteX218" fmla="*/ 9173 w 10000"/>
              <a:gd name="connsiteY218" fmla="*/ 125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8184 w 10000"/>
              <a:gd name="connsiteY2" fmla="*/ 0 h 10000"/>
              <a:gd name="connsiteX3" fmla="*/ 7971 w 10000"/>
              <a:gd name="connsiteY3" fmla="*/ 0 h 10000"/>
              <a:gd name="connsiteX4" fmla="*/ 7344 w 10000"/>
              <a:gd name="connsiteY4" fmla="*/ 165 h 10000"/>
              <a:gd name="connsiteX5" fmla="*/ 6783 w 10000"/>
              <a:gd name="connsiteY5" fmla="*/ 582 h 10000"/>
              <a:gd name="connsiteX6" fmla="*/ 6572 w 10000"/>
              <a:gd name="connsiteY6" fmla="*/ 916 h 10000"/>
              <a:gd name="connsiteX7" fmla="*/ 6647 w 10000"/>
              <a:gd name="connsiteY7" fmla="*/ 1332 h 10000"/>
              <a:gd name="connsiteX8" fmla="*/ 5875 w 10000"/>
              <a:gd name="connsiteY8" fmla="*/ 1500 h 10000"/>
              <a:gd name="connsiteX9" fmla="*/ 5947 w 10000"/>
              <a:gd name="connsiteY9" fmla="*/ 2000 h 10000"/>
              <a:gd name="connsiteX10" fmla="*/ 6155 w 10000"/>
              <a:gd name="connsiteY10" fmla="*/ 2250 h 10000"/>
              <a:gd name="connsiteX11" fmla="*/ 6016 w 10000"/>
              <a:gd name="connsiteY11" fmla="*/ 2332 h 10000"/>
              <a:gd name="connsiteX12" fmla="*/ 5808 w 10000"/>
              <a:gd name="connsiteY12" fmla="*/ 2000 h 10000"/>
              <a:gd name="connsiteX13" fmla="*/ 5603 w 10000"/>
              <a:gd name="connsiteY13" fmla="*/ 1915 h 10000"/>
              <a:gd name="connsiteX14" fmla="*/ 5523 w 10000"/>
              <a:gd name="connsiteY14" fmla="*/ 2000 h 10000"/>
              <a:gd name="connsiteX15" fmla="*/ 5383 w 10000"/>
              <a:gd name="connsiteY15" fmla="*/ 1831 h 10000"/>
              <a:gd name="connsiteX16" fmla="*/ 5243 w 10000"/>
              <a:gd name="connsiteY16" fmla="*/ 1665 h 10000"/>
              <a:gd name="connsiteX17" fmla="*/ 5243 w 10000"/>
              <a:gd name="connsiteY17" fmla="*/ 1749 h 10000"/>
              <a:gd name="connsiteX18" fmla="*/ 5321 w 10000"/>
              <a:gd name="connsiteY18" fmla="*/ 2000 h 10000"/>
              <a:gd name="connsiteX19" fmla="*/ 5103 w 10000"/>
              <a:gd name="connsiteY19" fmla="*/ 2416 h 10000"/>
              <a:gd name="connsiteX20" fmla="*/ 5243 w 10000"/>
              <a:gd name="connsiteY20" fmla="*/ 2748 h 10000"/>
              <a:gd name="connsiteX21" fmla="*/ 5173 w 10000"/>
              <a:gd name="connsiteY21" fmla="*/ 3083 h 10000"/>
              <a:gd name="connsiteX22" fmla="*/ 5173 w 10000"/>
              <a:gd name="connsiteY22" fmla="*/ 3333 h 10000"/>
              <a:gd name="connsiteX23" fmla="*/ 5383 w 10000"/>
              <a:gd name="connsiteY23" fmla="*/ 3333 h 10000"/>
              <a:gd name="connsiteX24" fmla="*/ 5243 w 10000"/>
              <a:gd name="connsiteY24" fmla="*/ 3416 h 10000"/>
              <a:gd name="connsiteX25" fmla="*/ 5321 w 10000"/>
              <a:gd name="connsiteY25" fmla="*/ 3832 h 10000"/>
              <a:gd name="connsiteX26" fmla="*/ 4898 w 10000"/>
              <a:gd name="connsiteY26" fmla="*/ 4250 h 10000"/>
              <a:gd name="connsiteX27" fmla="*/ 4820 w 10000"/>
              <a:gd name="connsiteY27" fmla="*/ 4167 h 10000"/>
              <a:gd name="connsiteX28" fmla="*/ 5103 w 10000"/>
              <a:gd name="connsiteY28" fmla="*/ 3748 h 10000"/>
              <a:gd name="connsiteX29" fmla="*/ 5173 w 10000"/>
              <a:gd name="connsiteY29" fmla="*/ 3500 h 10000"/>
              <a:gd name="connsiteX30" fmla="*/ 5026 w 10000"/>
              <a:gd name="connsiteY30" fmla="*/ 3333 h 10000"/>
              <a:gd name="connsiteX31" fmla="*/ 5026 w 10000"/>
              <a:gd name="connsiteY31" fmla="*/ 2498 h 10000"/>
              <a:gd name="connsiteX32" fmla="*/ 4963 w 10000"/>
              <a:gd name="connsiteY32" fmla="*/ 2332 h 10000"/>
              <a:gd name="connsiteX33" fmla="*/ 5026 w 10000"/>
              <a:gd name="connsiteY33" fmla="*/ 1831 h 10000"/>
              <a:gd name="connsiteX34" fmla="*/ 4898 w 10000"/>
              <a:gd name="connsiteY34" fmla="*/ 1749 h 10000"/>
              <a:gd name="connsiteX35" fmla="*/ 4963 w 10000"/>
              <a:gd name="connsiteY35" fmla="*/ 1665 h 10000"/>
              <a:gd name="connsiteX36" fmla="*/ 4898 w 10000"/>
              <a:gd name="connsiteY36" fmla="*/ 1500 h 10000"/>
              <a:gd name="connsiteX37" fmla="*/ 4752 w 10000"/>
              <a:gd name="connsiteY37" fmla="*/ 1582 h 10000"/>
              <a:gd name="connsiteX38" fmla="*/ 4407 w 10000"/>
              <a:gd name="connsiteY38" fmla="*/ 2666 h 10000"/>
              <a:gd name="connsiteX39" fmla="*/ 4407 w 10000"/>
              <a:gd name="connsiteY39" fmla="*/ 3083 h 10000"/>
              <a:gd name="connsiteX40" fmla="*/ 4617 w 10000"/>
              <a:gd name="connsiteY40" fmla="*/ 3416 h 10000"/>
              <a:gd name="connsiteX41" fmla="*/ 4617 w 10000"/>
              <a:gd name="connsiteY41" fmla="*/ 3582 h 10000"/>
              <a:gd name="connsiteX42" fmla="*/ 4407 w 10000"/>
              <a:gd name="connsiteY42" fmla="*/ 3416 h 10000"/>
              <a:gd name="connsiteX43" fmla="*/ 3571 w 10000"/>
              <a:gd name="connsiteY43" fmla="*/ 2748 h 10000"/>
              <a:gd name="connsiteX44" fmla="*/ 3499 w 10000"/>
              <a:gd name="connsiteY44" fmla="*/ 2915 h 10000"/>
              <a:gd name="connsiteX45" fmla="*/ 3778 w 10000"/>
              <a:gd name="connsiteY45" fmla="*/ 3333 h 10000"/>
              <a:gd name="connsiteX46" fmla="*/ 3633 w 10000"/>
              <a:gd name="connsiteY46" fmla="*/ 3416 h 10000"/>
              <a:gd name="connsiteX47" fmla="*/ 3571 w 10000"/>
              <a:gd name="connsiteY47" fmla="*/ 3333 h 10000"/>
              <a:gd name="connsiteX48" fmla="*/ 3150 w 10000"/>
              <a:gd name="connsiteY48" fmla="*/ 3500 h 10000"/>
              <a:gd name="connsiteX49" fmla="*/ 3081 w 10000"/>
              <a:gd name="connsiteY49" fmla="*/ 3665 h 10000"/>
              <a:gd name="connsiteX50" fmla="*/ 3010 w 10000"/>
              <a:gd name="connsiteY50" fmla="*/ 3500 h 10000"/>
              <a:gd name="connsiteX51" fmla="*/ 3010 w 10000"/>
              <a:gd name="connsiteY51" fmla="*/ 3333 h 10000"/>
              <a:gd name="connsiteX52" fmla="*/ 2304 w 10000"/>
              <a:gd name="connsiteY52" fmla="*/ 3832 h 10000"/>
              <a:gd name="connsiteX53" fmla="*/ 2304 w 10000"/>
              <a:gd name="connsiteY53" fmla="*/ 3998 h 10000"/>
              <a:gd name="connsiteX54" fmla="*/ 2168 w 10000"/>
              <a:gd name="connsiteY54" fmla="*/ 4082 h 10000"/>
              <a:gd name="connsiteX55" fmla="*/ 1959 w 10000"/>
              <a:gd name="connsiteY55" fmla="*/ 3916 h 10000"/>
              <a:gd name="connsiteX56" fmla="*/ 2168 w 10000"/>
              <a:gd name="connsiteY56" fmla="*/ 3748 h 10000"/>
              <a:gd name="connsiteX57" fmla="*/ 2095 w 10000"/>
              <a:gd name="connsiteY57" fmla="*/ 3500 h 10000"/>
              <a:gd name="connsiteX58" fmla="*/ 1818 w 10000"/>
              <a:gd name="connsiteY58" fmla="*/ 3416 h 10000"/>
              <a:gd name="connsiteX59" fmla="*/ 1889 w 10000"/>
              <a:gd name="connsiteY59" fmla="*/ 3582 h 10000"/>
              <a:gd name="connsiteX60" fmla="*/ 1889 w 10000"/>
              <a:gd name="connsiteY60" fmla="*/ 3998 h 10000"/>
              <a:gd name="connsiteX61" fmla="*/ 1959 w 10000"/>
              <a:gd name="connsiteY61" fmla="*/ 4167 h 10000"/>
              <a:gd name="connsiteX62" fmla="*/ 1889 w 10000"/>
              <a:gd name="connsiteY62" fmla="*/ 4334 h 10000"/>
              <a:gd name="connsiteX63" fmla="*/ 1674 w 10000"/>
              <a:gd name="connsiteY63" fmla="*/ 4250 h 10000"/>
              <a:gd name="connsiteX64" fmla="*/ 1400 w 10000"/>
              <a:gd name="connsiteY64" fmla="*/ 4498 h 10000"/>
              <a:gd name="connsiteX65" fmla="*/ 1535 w 10000"/>
              <a:gd name="connsiteY65" fmla="*/ 4833 h 10000"/>
              <a:gd name="connsiteX66" fmla="*/ 1116 w 10000"/>
              <a:gd name="connsiteY66" fmla="*/ 4666 h 10000"/>
              <a:gd name="connsiteX67" fmla="*/ 1049 w 10000"/>
              <a:gd name="connsiteY67" fmla="*/ 4748 h 10000"/>
              <a:gd name="connsiteX68" fmla="*/ 1191 w 10000"/>
              <a:gd name="connsiteY68" fmla="*/ 4999 h 10000"/>
              <a:gd name="connsiteX69" fmla="*/ 1049 w 10000"/>
              <a:gd name="connsiteY69" fmla="*/ 4999 h 10000"/>
              <a:gd name="connsiteX70" fmla="*/ 842 w 10000"/>
              <a:gd name="connsiteY70" fmla="*/ 4833 h 10000"/>
              <a:gd name="connsiteX71" fmla="*/ 842 w 10000"/>
              <a:gd name="connsiteY71" fmla="*/ 4334 h 10000"/>
              <a:gd name="connsiteX72" fmla="*/ 632 w 10000"/>
              <a:gd name="connsiteY72" fmla="*/ 4167 h 10000"/>
              <a:gd name="connsiteX73" fmla="*/ 558 w 10000"/>
              <a:gd name="connsiteY73" fmla="*/ 3998 h 10000"/>
              <a:gd name="connsiteX74" fmla="*/ 697 w 10000"/>
              <a:gd name="connsiteY74" fmla="*/ 4082 h 10000"/>
              <a:gd name="connsiteX75" fmla="*/ 1255 w 10000"/>
              <a:gd name="connsiteY75" fmla="*/ 4334 h 10000"/>
              <a:gd name="connsiteX76" fmla="*/ 1601 w 10000"/>
              <a:gd name="connsiteY76" fmla="*/ 4082 h 10000"/>
              <a:gd name="connsiteX77" fmla="*/ 1535 w 10000"/>
              <a:gd name="connsiteY77" fmla="*/ 3832 h 10000"/>
              <a:gd name="connsiteX78" fmla="*/ 1116 w 10000"/>
              <a:gd name="connsiteY78" fmla="*/ 3333 h 10000"/>
              <a:gd name="connsiteX79" fmla="*/ 697 w 10000"/>
              <a:gd name="connsiteY79" fmla="*/ 3166 h 10000"/>
              <a:gd name="connsiteX80" fmla="*/ 697 w 10000"/>
              <a:gd name="connsiteY80" fmla="*/ 3083 h 10000"/>
              <a:gd name="connsiteX81" fmla="*/ 558 w 10000"/>
              <a:gd name="connsiteY81" fmla="*/ 2997 h 10000"/>
              <a:gd name="connsiteX82" fmla="*/ 417 w 10000"/>
              <a:gd name="connsiteY82" fmla="*/ 3083 h 10000"/>
              <a:gd name="connsiteX83" fmla="*/ 417 w 10000"/>
              <a:gd name="connsiteY83" fmla="*/ 3166 h 10000"/>
              <a:gd name="connsiteX84" fmla="*/ 348 w 10000"/>
              <a:gd name="connsiteY84" fmla="*/ 3166 h 10000"/>
              <a:gd name="connsiteX85" fmla="*/ 210 w 10000"/>
              <a:gd name="connsiteY85" fmla="*/ 3333 h 10000"/>
              <a:gd name="connsiteX86" fmla="*/ 210 w 10000"/>
              <a:gd name="connsiteY86" fmla="*/ 3582 h 10000"/>
              <a:gd name="connsiteX87" fmla="*/ 348 w 10000"/>
              <a:gd name="connsiteY87" fmla="*/ 3748 h 10000"/>
              <a:gd name="connsiteX88" fmla="*/ 282 w 10000"/>
              <a:gd name="connsiteY88" fmla="*/ 3998 h 10000"/>
              <a:gd name="connsiteX89" fmla="*/ 348 w 10000"/>
              <a:gd name="connsiteY89" fmla="*/ 4417 h 10000"/>
              <a:gd name="connsiteX90" fmla="*/ 282 w 10000"/>
              <a:gd name="connsiteY90" fmla="*/ 4666 h 10000"/>
              <a:gd name="connsiteX91" fmla="*/ 417 w 10000"/>
              <a:gd name="connsiteY91" fmla="*/ 4916 h 10000"/>
              <a:gd name="connsiteX92" fmla="*/ 348 w 10000"/>
              <a:gd name="connsiteY92" fmla="*/ 5083 h 10000"/>
              <a:gd name="connsiteX93" fmla="*/ 487 w 10000"/>
              <a:gd name="connsiteY93" fmla="*/ 5250 h 10000"/>
              <a:gd name="connsiteX94" fmla="*/ 487 w 10000"/>
              <a:gd name="connsiteY94" fmla="*/ 5333 h 10000"/>
              <a:gd name="connsiteX95" fmla="*/ 282 w 10000"/>
              <a:gd name="connsiteY95" fmla="*/ 5750 h 10000"/>
              <a:gd name="connsiteX96" fmla="*/ 64 w 10000"/>
              <a:gd name="connsiteY96" fmla="*/ 5917 h 10000"/>
              <a:gd name="connsiteX97" fmla="*/ 138 w 10000"/>
              <a:gd name="connsiteY97" fmla="*/ 5917 h 10000"/>
              <a:gd name="connsiteX98" fmla="*/ 282 w 10000"/>
              <a:gd name="connsiteY98" fmla="*/ 6083 h 10000"/>
              <a:gd name="connsiteX99" fmla="*/ 138 w 10000"/>
              <a:gd name="connsiteY99" fmla="*/ 6249 h 10000"/>
              <a:gd name="connsiteX100" fmla="*/ 64 w 10000"/>
              <a:gd name="connsiteY100" fmla="*/ 6334 h 10000"/>
              <a:gd name="connsiteX101" fmla="*/ 0 w 10000"/>
              <a:gd name="connsiteY101" fmla="*/ 6334 h 10000"/>
              <a:gd name="connsiteX102" fmla="*/ 64 w 10000"/>
              <a:gd name="connsiteY102" fmla="*/ 6584 h 10000"/>
              <a:gd name="connsiteX103" fmla="*/ 64 w 10000"/>
              <a:gd name="connsiteY103" fmla="*/ 6667 h 10000"/>
              <a:gd name="connsiteX104" fmla="*/ 64 w 10000"/>
              <a:gd name="connsiteY104" fmla="*/ 6749 h 10000"/>
              <a:gd name="connsiteX105" fmla="*/ 64 w 10000"/>
              <a:gd name="connsiteY105" fmla="*/ 6834 h 10000"/>
              <a:gd name="connsiteX106" fmla="*/ 138 w 10000"/>
              <a:gd name="connsiteY106" fmla="*/ 6998 h 10000"/>
              <a:gd name="connsiteX107" fmla="*/ 348 w 10000"/>
              <a:gd name="connsiteY107" fmla="*/ 7083 h 10000"/>
              <a:gd name="connsiteX108" fmla="*/ 417 w 10000"/>
              <a:gd name="connsiteY108" fmla="*/ 7165 h 10000"/>
              <a:gd name="connsiteX109" fmla="*/ 417 w 10000"/>
              <a:gd name="connsiteY109" fmla="*/ 7334 h 10000"/>
              <a:gd name="connsiteX110" fmla="*/ 558 w 10000"/>
              <a:gd name="connsiteY110" fmla="*/ 7584 h 10000"/>
              <a:gd name="connsiteX111" fmla="*/ 632 w 10000"/>
              <a:gd name="connsiteY111" fmla="*/ 7584 h 10000"/>
              <a:gd name="connsiteX112" fmla="*/ 558 w 10000"/>
              <a:gd name="connsiteY112" fmla="*/ 7750 h 10000"/>
              <a:gd name="connsiteX113" fmla="*/ 487 w 10000"/>
              <a:gd name="connsiteY113" fmla="*/ 7668 h 10000"/>
              <a:gd name="connsiteX114" fmla="*/ 487 w 10000"/>
              <a:gd name="connsiteY114" fmla="*/ 7750 h 10000"/>
              <a:gd name="connsiteX115" fmla="*/ 558 w 10000"/>
              <a:gd name="connsiteY115" fmla="*/ 7916 h 10000"/>
              <a:gd name="connsiteX116" fmla="*/ 773 w 10000"/>
              <a:gd name="connsiteY116" fmla="*/ 7916 h 10000"/>
              <a:gd name="connsiteX117" fmla="*/ 842 w 10000"/>
              <a:gd name="connsiteY117" fmla="*/ 8000 h 10000"/>
              <a:gd name="connsiteX118" fmla="*/ 773 w 10000"/>
              <a:gd name="connsiteY118" fmla="*/ 8000 h 10000"/>
              <a:gd name="connsiteX119" fmla="*/ 842 w 10000"/>
              <a:gd name="connsiteY119" fmla="*/ 8082 h 10000"/>
              <a:gd name="connsiteX120" fmla="*/ 908 w 10000"/>
              <a:gd name="connsiteY120" fmla="*/ 8082 h 10000"/>
              <a:gd name="connsiteX121" fmla="*/ 976 w 10000"/>
              <a:gd name="connsiteY121" fmla="*/ 8249 h 10000"/>
              <a:gd name="connsiteX122" fmla="*/ 1049 w 10000"/>
              <a:gd name="connsiteY122" fmla="*/ 8332 h 10000"/>
              <a:gd name="connsiteX123" fmla="*/ 1116 w 10000"/>
              <a:gd name="connsiteY123" fmla="*/ 8249 h 10000"/>
              <a:gd name="connsiteX124" fmla="*/ 1469 w 10000"/>
              <a:gd name="connsiteY124" fmla="*/ 8500 h 10000"/>
              <a:gd name="connsiteX125" fmla="*/ 1400 w 10000"/>
              <a:gd name="connsiteY125" fmla="*/ 8833 h 10000"/>
              <a:gd name="connsiteX126" fmla="*/ 1329 w 10000"/>
              <a:gd name="connsiteY126" fmla="*/ 8750 h 10000"/>
              <a:gd name="connsiteX127" fmla="*/ 1255 w 10000"/>
              <a:gd name="connsiteY127" fmla="*/ 8833 h 10000"/>
              <a:gd name="connsiteX128" fmla="*/ 1255 w 10000"/>
              <a:gd name="connsiteY128" fmla="*/ 8999 h 10000"/>
              <a:gd name="connsiteX129" fmla="*/ 1329 w 10000"/>
              <a:gd name="connsiteY129" fmla="*/ 8917 h 10000"/>
              <a:gd name="connsiteX130" fmla="*/ 1400 w 10000"/>
              <a:gd name="connsiteY130" fmla="*/ 8999 h 10000"/>
              <a:gd name="connsiteX131" fmla="*/ 1191 w 10000"/>
              <a:gd name="connsiteY131" fmla="*/ 9083 h 10000"/>
              <a:gd name="connsiteX132" fmla="*/ 1255 w 10000"/>
              <a:gd name="connsiteY132" fmla="*/ 9167 h 10000"/>
              <a:gd name="connsiteX133" fmla="*/ 1116 w 10000"/>
              <a:gd name="connsiteY133" fmla="*/ 9333 h 10000"/>
              <a:gd name="connsiteX134" fmla="*/ 1049 w 10000"/>
              <a:gd name="connsiteY134" fmla="*/ 9333 h 10000"/>
              <a:gd name="connsiteX135" fmla="*/ 1116 w 10000"/>
              <a:gd name="connsiteY135" fmla="*/ 9333 h 10000"/>
              <a:gd name="connsiteX136" fmla="*/ 1400 w 10000"/>
              <a:gd name="connsiteY136" fmla="*/ 9668 h 10000"/>
              <a:gd name="connsiteX137" fmla="*/ 1749 w 10000"/>
              <a:gd name="connsiteY137" fmla="*/ 9668 h 10000"/>
              <a:gd name="connsiteX138" fmla="*/ 1889 w 10000"/>
              <a:gd name="connsiteY138" fmla="*/ 9750 h 10000"/>
              <a:gd name="connsiteX139" fmla="*/ 2028 w 10000"/>
              <a:gd name="connsiteY139" fmla="*/ 9750 h 10000"/>
              <a:gd name="connsiteX140" fmla="*/ 2168 w 10000"/>
              <a:gd name="connsiteY140" fmla="*/ 9918 h 10000"/>
              <a:gd name="connsiteX141" fmla="*/ 2238 w 10000"/>
              <a:gd name="connsiteY141" fmla="*/ 10000 h 10000"/>
              <a:gd name="connsiteX142" fmla="*/ 2304 w 10000"/>
              <a:gd name="connsiteY142" fmla="*/ 10000 h 10000"/>
              <a:gd name="connsiteX143" fmla="*/ 2378 w 10000"/>
              <a:gd name="connsiteY143" fmla="*/ 9918 h 10000"/>
              <a:gd name="connsiteX144" fmla="*/ 2238 w 10000"/>
              <a:gd name="connsiteY144" fmla="*/ 9750 h 10000"/>
              <a:gd name="connsiteX145" fmla="*/ 2238 w 10000"/>
              <a:gd name="connsiteY145" fmla="*/ 9584 h 10000"/>
              <a:gd name="connsiteX146" fmla="*/ 2168 w 10000"/>
              <a:gd name="connsiteY146" fmla="*/ 9416 h 10000"/>
              <a:gd name="connsiteX147" fmla="*/ 2304 w 10000"/>
              <a:gd name="connsiteY147" fmla="*/ 9167 h 10000"/>
              <a:gd name="connsiteX148" fmla="*/ 2378 w 10000"/>
              <a:gd name="connsiteY148" fmla="*/ 9250 h 10000"/>
              <a:gd name="connsiteX149" fmla="*/ 2447 w 10000"/>
              <a:gd name="connsiteY149" fmla="*/ 9167 h 10000"/>
              <a:gd name="connsiteX150" fmla="*/ 2447 w 10000"/>
              <a:gd name="connsiteY150" fmla="*/ 9083 h 10000"/>
              <a:gd name="connsiteX151" fmla="*/ 2378 w 10000"/>
              <a:gd name="connsiteY151" fmla="*/ 9083 h 10000"/>
              <a:gd name="connsiteX152" fmla="*/ 2447 w 10000"/>
              <a:gd name="connsiteY152" fmla="*/ 8999 h 10000"/>
              <a:gd name="connsiteX153" fmla="*/ 2378 w 10000"/>
              <a:gd name="connsiteY153" fmla="*/ 8833 h 10000"/>
              <a:gd name="connsiteX154" fmla="*/ 2238 w 10000"/>
              <a:gd name="connsiteY154" fmla="*/ 8833 h 10000"/>
              <a:gd name="connsiteX155" fmla="*/ 2168 w 10000"/>
              <a:gd name="connsiteY155" fmla="*/ 8667 h 10000"/>
              <a:gd name="connsiteX156" fmla="*/ 2238 w 10000"/>
              <a:gd name="connsiteY156" fmla="*/ 8249 h 10000"/>
              <a:gd name="connsiteX157" fmla="*/ 2378 w 10000"/>
              <a:gd name="connsiteY157" fmla="*/ 8418 h 10000"/>
              <a:gd name="connsiteX158" fmla="*/ 2447 w 10000"/>
              <a:gd name="connsiteY158" fmla="*/ 8418 h 10000"/>
              <a:gd name="connsiteX159" fmla="*/ 2378 w 10000"/>
              <a:gd name="connsiteY159" fmla="*/ 8249 h 10000"/>
              <a:gd name="connsiteX160" fmla="*/ 2589 w 10000"/>
              <a:gd name="connsiteY160" fmla="*/ 8000 h 10000"/>
              <a:gd name="connsiteX161" fmla="*/ 2730 w 10000"/>
              <a:gd name="connsiteY161" fmla="*/ 8082 h 10000"/>
              <a:gd name="connsiteX162" fmla="*/ 2798 w 10000"/>
              <a:gd name="connsiteY162" fmla="*/ 8000 h 10000"/>
              <a:gd name="connsiteX163" fmla="*/ 2933 w 10000"/>
              <a:gd name="connsiteY163" fmla="*/ 8082 h 10000"/>
              <a:gd name="connsiteX164" fmla="*/ 3150 w 10000"/>
              <a:gd name="connsiteY164" fmla="*/ 8249 h 10000"/>
              <a:gd name="connsiteX165" fmla="*/ 3285 w 10000"/>
              <a:gd name="connsiteY165" fmla="*/ 8167 h 10000"/>
              <a:gd name="connsiteX166" fmla="*/ 3427 w 10000"/>
              <a:gd name="connsiteY166" fmla="*/ 8167 h 10000"/>
              <a:gd name="connsiteX167" fmla="*/ 3499 w 10000"/>
              <a:gd name="connsiteY167" fmla="*/ 8249 h 10000"/>
              <a:gd name="connsiteX168" fmla="*/ 3778 w 10000"/>
              <a:gd name="connsiteY168" fmla="*/ 8249 h 10000"/>
              <a:gd name="connsiteX169" fmla="*/ 3844 w 10000"/>
              <a:gd name="connsiteY169" fmla="*/ 8082 h 10000"/>
              <a:gd name="connsiteX170" fmla="*/ 3633 w 10000"/>
              <a:gd name="connsiteY170" fmla="*/ 8000 h 10000"/>
              <a:gd name="connsiteX171" fmla="*/ 3778 w 10000"/>
              <a:gd name="connsiteY171" fmla="*/ 7916 h 10000"/>
              <a:gd name="connsiteX172" fmla="*/ 3703 w 10000"/>
              <a:gd name="connsiteY172" fmla="*/ 7833 h 10000"/>
              <a:gd name="connsiteX173" fmla="*/ 3778 w 10000"/>
              <a:gd name="connsiteY173" fmla="*/ 7750 h 10000"/>
              <a:gd name="connsiteX174" fmla="*/ 3778 w 10000"/>
              <a:gd name="connsiteY174" fmla="*/ 7500 h 10000"/>
              <a:gd name="connsiteX175" fmla="*/ 3913 w 10000"/>
              <a:gd name="connsiteY175" fmla="*/ 7584 h 10000"/>
              <a:gd name="connsiteX176" fmla="*/ 4545 w 10000"/>
              <a:gd name="connsiteY176" fmla="*/ 7334 h 10000"/>
              <a:gd name="connsiteX177" fmla="*/ 4545 w 10000"/>
              <a:gd name="connsiteY177" fmla="*/ 7250 h 10000"/>
              <a:gd name="connsiteX178" fmla="*/ 4617 w 10000"/>
              <a:gd name="connsiteY178" fmla="*/ 7250 h 10000"/>
              <a:gd name="connsiteX179" fmla="*/ 4820 w 10000"/>
              <a:gd name="connsiteY179" fmla="*/ 7250 h 10000"/>
              <a:gd name="connsiteX180" fmla="*/ 4898 w 10000"/>
              <a:gd name="connsiteY180" fmla="*/ 7417 h 10000"/>
              <a:gd name="connsiteX181" fmla="*/ 4898 w 10000"/>
              <a:gd name="connsiteY181" fmla="*/ 7500 h 10000"/>
              <a:gd name="connsiteX182" fmla="*/ 4963 w 10000"/>
              <a:gd name="connsiteY182" fmla="*/ 7500 h 10000"/>
              <a:gd name="connsiteX183" fmla="*/ 5103 w 10000"/>
              <a:gd name="connsiteY183" fmla="*/ 7584 h 10000"/>
              <a:gd name="connsiteX184" fmla="*/ 5103 w 10000"/>
              <a:gd name="connsiteY184" fmla="*/ 7668 h 10000"/>
              <a:gd name="connsiteX185" fmla="*/ 5243 w 10000"/>
              <a:gd name="connsiteY185" fmla="*/ 7668 h 10000"/>
              <a:gd name="connsiteX186" fmla="*/ 5383 w 10000"/>
              <a:gd name="connsiteY186" fmla="*/ 7500 h 10000"/>
              <a:gd name="connsiteX187" fmla="*/ 5523 w 10000"/>
              <a:gd name="connsiteY187" fmla="*/ 7417 h 10000"/>
              <a:gd name="connsiteX188" fmla="*/ 5603 w 10000"/>
              <a:gd name="connsiteY188" fmla="*/ 7668 h 10000"/>
              <a:gd name="connsiteX189" fmla="*/ 5875 w 10000"/>
              <a:gd name="connsiteY189" fmla="*/ 8249 h 10000"/>
              <a:gd name="connsiteX190" fmla="*/ 5947 w 10000"/>
              <a:gd name="connsiteY190" fmla="*/ 8082 h 10000"/>
              <a:gd name="connsiteX191" fmla="*/ 6016 w 10000"/>
              <a:gd name="connsiteY191" fmla="*/ 8249 h 10000"/>
              <a:gd name="connsiteX192" fmla="*/ 6226 w 10000"/>
              <a:gd name="connsiteY192" fmla="*/ 8167 h 10000"/>
              <a:gd name="connsiteX193" fmla="*/ 6437 w 10000"/>
              <a:gd name="connsiteY193" fmla="*/ 8418 h 10000"/>
              <a:gd name="connsiteX194" fmla="*/ 6572 w 10000"/>
              <a:gd name="connsiteY194" fmla="*/ 8500 h 10000"/>
              <a:gd name="connsiteX195" fmla="*/ 6572 w 10000"/>
              <a:gd name="connsiteY195" fmla="*/ 8418 h 10000"/>
              <a:gd name="connsiteX196" fmla="*/ 6647 w 10000"/>
              <a:gd name="connsiteY196" fmla="*/ 8584 h 10000"/>
              <a:gd name="connsiteX197" fmla="*/ 6572 w 10000"/>
              <a:gd name="connsiteY197" fmla="*/ 8667 h 10000"/>
              <a:gd name="connsiteX198" fmla="*/ 6716 w 10000"/>
              <a:gd name="connsiteY198" fmla="*/ 8584 h 10000"/>
              <a:gd name="connsiteX199" fmla="*/ 6783 w 10000"/>
              <a:gd name="connsiteY199" fmla="*/ 8500 h 10000"/>
              <a:gd name="connsiteX200" fmla="*/ 7130 w 10000"/>
              <a:gd name="connsiteY200" fmla="*/ 8249 h 10000"/>
              <a:gd name="connsiteX201" fmla="*/ 7413 w 10000"/>
              <a:gd name="connsiteY201" fmla="*/ 8332 h 10000"/>
              <a:gd name="connsiteX202" fmla="*/ 7550 w 10000"/>
              <a:gd name="connsiteY202" fmla="*/ 8418 h 10000"/>
              <a:gd name="connsiteX203" fmla="*/ 7830 w 10000"/>
              <a:gd name="connsiteY203" fmla="*/ 8418 h 10000"/>
              <a:gd name="connsiteX204" fmla="*/ 7830 w 10000"/>
              <a:gd name="connsiteY204" fmla="*/ 8249 h 10000"/>
              <a:gd name="connsiteX205" fmla="*/ 7830 w 10000"/>
              <a:gd name="connsiteY205" fmla="*/ 8082 h 10000"/>
              <a:gd name="connsiteX206" fmla="*/ 7971 w 10000"/>
              <a:gd name="connsiteY206" fmla="*/ 8000 h 10000"/>
              <a:gd name="connsiteX207" fmla="*/ 8247 w 10000"/>
              <a:gd name="connsiteY207" fmla="*/ 8082 h 10000"/>
              <a:gd name="connsiteX208" fmla="*/ 8392 w 10000"/>
              <a:gd name="connsiteY208" fmla="*/ 8332 h 10000"/>
              <a:gd name="connsiteX209" fmla="*/ 8462 w 10000"/>
              <a:gd name="connsiteY209" fmla="*/ 8332 h 10000"/>
              <a:gd name="connsiteX210" fmla="*/ 8602 w 10000"/>
              <a:gd name="connsiteY210" fmla="*/ 8249 h 10000"/>
              <a:gd name="connsiteX211" fmla="*/ 9026 w 10000"/>
              <a:gd name="connsiteY211" fmla="*/ 8500 h 10000"/>
              <a:gd name="connsiteX212" fmla="*/ 9231 w 10000"/>
              <a:gd name="connsiteY212" fmla="*/ 8584 h 10000"/>
              <a:gd name="connsiteX213" fmla="*/ 9510 w 10000"/>
              <a:gd name="connsiteY213" fmla="*/ 8500 h 10000"/>
              <a:gd name="connsiteX214" fmla="*/ 9652 w 10000"/>
              <a:gd name="connsiteY214" fmla="*/ 8332 h 10000"/>
              <a:gd name="connsiteX215" fmla="*/ 9860 w 10000"/>
              <a:gd name="connsiteY215" fmla="*/ 8418 h 10000"/>
              <a:gd name="connsiteX216" fmla="*/ 10000 w 10000"/>
              <a:gd name="connsiteY216" fmla="*/ 8500 h 10000"/>
              <a:gd name="connsiteX217" fmla="*/ 9580 w 10000"/>
              <a:gd name="connsiteY217" fmla="*/ 150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8184 w 10000"/>
              <a:gd name="connsiteY2" fmla="*/ 0 h 10000"/>
              <a:gd name="connsiteX3" fmla="*/ 7971 w 10000"/>
              <a:gd name="connsiteY3" fmla="*/ 0 h 10000"/>
              <a:gd name="connsiteX4" fmla="*/ 7344 w 10000"/>
              <a:gd name="connsiteY4" fmla="*/ 165 h 10000"/>
              <a:gd name="connsiteX5" fmla="*/ 6783 w 10000"/>
              <a:gd name="connsiteY5" fmla="*/ 582 h 10000"/>
              <a:gd name="connsiteX6" fmla="*/ 6572 w 10000"/>
              <a:gd name="connsiteY6" fmla="*/ 916 h 10000"/>
              <a:gd name="connsiteX7" fmla="*/ 6647 w 10000"/>
              <a:gd name="connsiteY7" fmla="*/ 1332 h 10000"/>
              <a:gd name="connsiteX8" fmla="*/ 5875 w 10000"/>
              <a:gd name="connsiteY8" fmla="*/ 1500 h 10000"/>
              <a:gd name="connsiteX9" fmla="*/ 5947 w 10000"/>
              <a:gd name="connsiteY9" fmla="*/ 2000 h 10000"/>
              <a:gd name="connsiteX10" fmla="*/ 6155 w 10000"/>
              <a:gd name="connsiteY10" fmla="*/ 2250 h 10000"/>
              <a:gd name="connsiteX11" fmla="*/ 6016 w 10000"/>
              <a:gd name="connsiteY11" fmla="*/ 2332 h 10000"/>
              <a:gd name="connsiteX12" fmla="*/ 5808 w 10000"/>
              <a:gd name="connsiteY12" fmla="*/ 2000 h 10000"/>
              <a:gd name="connsiteX13" fmla="*/ 5603 w 10000"/>
              <a:gd name="connsiteY13" fmla="*/ 1915 h 10000"/>
              <a:gd name="connsiteX14" fmla="*/ 5523 w 10000"/>
              <a:gd name="connsiteY14" fmla="*/ 2000 h 10000"/>
              <a:gd name="connsiteX15" fmla="*/ 5383 w 10000"/>
              <a:gd name="connsiteY15" fmla="*/ 1831 h 10000"/>
              <a:gd name="connsiteX16" fmla="*/ 5243 w 10000"/>
              <a:gd name="connsiteY16" fmla="*/ 1665 h 10000"/>
              <a:gd name="connsiteX17" fmla="*/ 5243 w 10000"/>
              <a:gd name="connsiteY17" fmla="*/ 1749 h 10000"/>
              <a:gd name="connsiteX18" fmla="*/ 5321 w 10000"/>
              <a:gd name="connsiteY18" fmla="*/ 2000 h 10000"/>
              <a:gd name="connsiteX19" fmla="*/ 5103 w 10000"/>
              <a:gd name="connsiteY19" fmla="*/ 2416 h 10000"/>
              <a:gd name="connsiteX20" fmla="*/ 5243 w 10000"/>
              <a:gd name="connsiteY20" fmla="*/ 2748 h 10000"/>
              <a:gd name="connsiteX21" fmla="*/ 5173 w 10000"/>
              <a:gd name="connsiteY21" fmla="*/ 3083 h 10000"/>
              <a:gd name="connsiteX22" fmla="*/ 5173 w 10000"/>
              <a:gd name="connsiteY22" fmla="*/ 3333 h 10000"/>
              <a:gd name="connsiteX23" fmla="*/ 5383 w 10000"/>
              <a:gd name="connsiteY23" fmla="*/ 3333 h 10000"/>
              <a:gd name="connsiteX24" fmla="*/ 5243 w 10000"/>
              <a:gd name="connsiteY24" fmla="*/ 3416 h 10000"/>
              <a:gd name="connsiteX25" fmla="*/ 5321 w 10000"/>
              <a:gd name="connsiteY25" fmla="*/ 3832 h 10000"/>
              <a:gd name="connsiteX26" fmla="*/ 4898 w 10000"/>
              <a:gd name="connsiteY26" fmla="*/ 4250 h 10000"/>
              <a:gd name="connsiteX27" fmla="*/ 4820 w 10000"/>
              <a:gd name="connsiteY27" fmla="*/ 4167 h 10000"/>
              <a:gd name="connsiteX28" fmla="*/ 5103 w 10000"/>
              <a:gd name="connsiteY28" fmla="*/ 3748 h 10000"/>
              <a:gd name="connsiteX29" fmla="*/ 5173 w 10000"/>
              <a:gd name="connsiteY29" fmla="*/ 3500 h 10000"/>
              <a:gd name="connsiteX30" fmla="*/ 5026 w 10000"/>
              <a:gd name="connsiteY30" fmla="*/ 3333 h 10000"/>
              <a:gd name="connsiteX31" fmla="*/ 5026 w 10000"/>
              <a:gd name="connsiteY31" fmla="*/ 2498 h 10000"/>
              <a:gd name="connsiteX32" fmla="*/ 4963 w 10000"/>
              <a:gd name="connsiteY32" fmla="*/ 2332 h 10000"/>
              <a:gd name="connsiteX33" fmla="*/ 5026 w 10000"/>
              <a:gd name="connsiteY33" fmla="*/ 1831 h 10000"/>
              <a:gd name="connsiteX34" fmla="*/ 4898 w 10000"/>
              <a:gd name="connsiteY34" fmla="*/ 1749 h 10000"/>
              <a:gd name="connsiteX35" fmla="*/ 4963 w 10000"/>
              <a:gd name="connsiteY35" fmla="*/ 1665 h 10000"/>
              <a:gd name="connsiteX36" fmla="*/ 4898 w 10000"/>
              <a:gd name="connsiteY36" fmla="*/ 1500 h 10000"/>
              <a:gd name="connsiteX37" fmla="*/ 4752 w 10000"/>
              <a:gd name="connsiteY37" fmla="*/ 1582 h 10000"/>
              <a:gd name="connsiteX38" fmla="*/ 4407 w 10000"/>
              <a:gd name="connsiteY38" fmla="*/ 2666 h 10000"/>
              <a:gd name="connsiteX39" fmla="*/ 4407 w 10000"/>
              <a:gd name="connsiteY39" fmla="*/ 3083 h 10000"/>
              <a:gd name="connsiteX40" fmla="*/ 4617 w 10000"/>
              <a:gd name="connsiteY40" fmla="*/ 3416 h 10000"/>
              <a:gd name="connsiteX41" fmla="*/ 4617 w 10000"/>
              <a:gd name="connsiteY41" fmla="*/ 3582 h 10000"/>
              <a:gd name="connsiteX42" fmla="*/ 4407 w 10000"/>
              <a:gd name="connsiteY42" fmla="*/ 3416 h 10000"/>
              <a:gd name="connsiteX43" fmla="*/ 3571 w 10000"/>
              <a:gd name="connsiteY43" fmla="*/ 2748 h 10000"/>
              <a:gd name="connsiteX44" fmla="*/ 3499 w 10000"/>
              <a:gd name="connsiteY44" fmla="*/ 2915 h 10000"/>
              <a:gd name="connsiteX45" fmla="*/ 3778 w 10000"/>
              <a:gd name="connsiteY45" fmla="*/ 3333 h 10000"/>
              <a:gd name="connsiteX46" fmla="*/ 3633 w 10000"/>
              <a:gd name="connsiteY46" fmla="*/ 3416 h 10000"/>
              <a:gd name="connsiteX47" fmla="*/ 3571 w 10000"/>
              <a:gd name="connsiteY47" fmla="*/ 3333 h 10000"/>
              <a:gd name="connsiteX48" fmla="*/ 3150 w 10000"/>
              <a:gd name="connsiteY48" fmla="*/ 3500 h 10000"/>
              <a:gd name="connsiteX49" fmla="*/ 3081 w 10000"/>
              <a:gd name="connsiteY49" fmla="*/ 3665 h 10000"/>
              <a:gd name="connsiteX50" fmla="*/ 3010 w 10000"/>
              <a:gd name="connsiteY50" fmla="*/ 3500 h 10000"/>
              <a:gd name="connsiteX51" fmla="*/ 3010 w 10000"/>
              <a:gd name="connsiteY51" fmla="*/ 3333 h 10000"/>
              <a:gd name="connsiteX52" fmla="*/ 2304 w 10000"/>
              <a:gd name="connsiteY52" fmla="*/ 3832 h 10000"/>
              <a:gd name="connsiteX53" fmla="*/ 2304 w 10000"/>
              <a:gd name="connsiteY53" fmla="*/ 3998 h 10000"/>
              <a:gd name="connsiteX54" fmla="*/ 2168 w 10000"/>
              <a:gd name="connsiteY54" fmla="*/ 4082 h 10000"/>
              <a:gd name="connsiteX55" fmla="*/ 1959 w 10000"/>
              <a:gd name="connsiteY55" fmla="*/ 3916 h 10000"/>
              <a:gd name="connsiteX56" fmla="*/ 2168 w 10000"/>
              <a:gd name="connsiteY56" fmla="*/ 3748 h 10000"/>
              <a:gd name="connsiteX57" fmla="*/ 2095 w 10000"/>
              <a:gd name="connsiteY57" fmla="*/ 3500 h 10000"/>
              <a:gd name="connsiteX58" fmla="*/ 1818 w 10000"/>
              <a:gd name="connsiteY58" fmla="*/ 3416 h 10000"/>
              <a:gd name="connsiteX59" fmla="*/ 1889 w 10000"/>
              <a:gd name="connsiteY59" fmla="*/ 3582 h 10000"/>
              <a:gd name="connsiteX60" fmla="*/ 1889 w 10000"/>
              <a:gd name="connsiteY60" fmla="*/ 3998 h 10000"/>
              <a:gd name="connsiteX61" fmla="*/ 1959 w 10000"/>
              <a:gd name="connsiteY61" fmla="*/ 4167 h 10000"/>
              <a:gd name="connsiteX62" fmla="*/ 1889 w 10000"/>
              <a:gd name="connsiteY62" fmla="*/ 4334 h 10000"/>
              <a:gd name="connsiteX63" fmla="*/ 1674 w 10000"/>
              <a:gd name="connsiteY63" fmla="*/ 4250 h 10000"/>
              <a:gd name="connsiteX64" fmla="*/ 1400 w 10000"/>
              <a:gd name="connsiteY64" fmla="*/ 4498 h 10000"/>
              <a:gd name="connsiteX65" fmla="*/ 1535 w 10000"/>
              <a:gd name="connsiteY65" fmla="*/ 4833 h 10000"/>
              <a:gd name="connsiteX66" fmla="*/ 1116 w 10000"/>
              <a:gd name="connsiteY66" fmla="*/ 4666 h 10000"/>
              <a:gd name="connsiteX67" fmla="*/ 1049 w 10000"/>
              <a:gd name="connsiteY67" fmla="*/ 4748 h 10000"/>
              <a:gd name="connsiteX68" fmla="*/ 1191 w 10000"/>
              <a:gd name="connsiteY68" fmla="*/ 4999 h 10000"/>
              <a:gd name="connsiteX69" fmla="*/ 1049 w 10000"/>
              <a:gd name="connsiteY69" fmla="*/ 4999 h 10000"/>
              <a:gd name="connsiteX70" fmla="*/ 842 w 10000"/>
              <a:gd name="connsiteY70" fmla="*/ 4833 h 10000"/>
              <a:gd name="connsiteX71" fmla="*/ 842 w 10000"/>
              <a:gd name="connsiteY71" fmla="*/ 4334 h 10000"/>
              <a:gd name="connsiteX72" fmla="*/ 632 w 10000"/>
              <a:gd name="connsiteY72" fmla="*/ 4167 h 10000"/>
              <a:gd name="connsiteX73" fmla="*/ 558 w 10000"/>
              <a:gd name="connsiteY73" fmla="*/ 3998 h 10000"/>
              <a:gd name="connsiteX74" fmla="*/ 697 w 10000"/>
              <a:gd name="connsiteY74" fmla="*/ 4082 h 10000"/>
              <a:gd name="connsiteX75" fmla="*/ 1255 w 10000"/>
              <a:gd name="connsiteY75" fmla="*/ 4334 h 10000"/>
              <a:gd name="connsiteX76" fmla="*/ 1601 w 10000"/>
              <a:gd name="connsiteY76" fmla="*/ 4082 h 10000"/>
              <a:gd name="connsiteX77" fmla="*/ 1535 w 10000"/>
              <a:gd name="connsiteY77" fmla="*/ 3832 h 10000"/>
              <a:gd name="connsiteX78" fmla="*/ 1116 w 10000"/>
              <a:gd name="connsiteY78" fmla="*/ 3333 h 10000"/>
              <a:gd name="connsiteX79" fmla="*/ 697 w 10000"/>
              <a:gd name="connsiteY79" fmla="*/ 3166 h 10000"/>
              <a:gd name="connsiteX80" fmla="*/ 697 w 10000"/>
              <a:gd name="connsiteY80" fmla="*/ 3083 h 10000"/>
              <a:gd name="connsiteX81" fmla="*/ 558 w 10000"/>
              <a:gd name="connsiteY81" fmla="*/ 2997 h 10000"/>
              <a:gd name="connsiteX82" fmla="*/ 417 w 10000"/>
              <a:gd name="connsiteY82" fmla="*/ 3083 h 10000"/>
              <a:gd name="connsiteX83" fmla="*/ 417 w 10000"/>
              <a:gd name="connsiteY83" fmla="*/ 3166 h 10000"/>
              <a:gd name="connsiteX84" fmla="*/ 348 w 10000"/>
              <a:gd name="connsiteY84" fmla="*/ 3166 h 10000"/>
              <a:gd name="connsiteX85" fmla="*/ 210 w 10000"/>
              <a:gd name="connsiteY85" fmla="*/ 3333 h 10000"/>
              <a:gd name="connsiteX86" fmla="*/ 210 w 10000"/>
              <a:gd name="connsiteY86" fmla="*/ 3582 h 10000"/>
              <a:gd name="connsiteX87" fmla="*/ 348 w 10000"/>
              <a:gd name="connsiteY87" fmla="*/ 3748 h 10000"/>
              <a:gd name="connsiteX88" fmla="*/ 282 w 10000"/>
              <a:gd name="connsiteY88" fmla="*/ 3998 h 10000"/>
              <a:gd name="connsiteX89" fmla="*/ 348 w 10000"/>
              <a:gd name="connsiteY89" fmla="*/ 4417 h 10000"/>
              <a:gd name="connsiteX90" fmla="*/ 282 w 10000"/>
              <a:gd name="connsiteY90" fmla="*/ 4666 h 10000"/>
              <a:gd name="connsiteX91" fmla="*/ 417 w 10000"/>
              <a:gd name="connsiteY91" fmla="*/ 4916 h 10000"/>
              <a:gd name="connsiteX92" fmla="*/ 348 w 10000"/>
              <a:gd name="connsiteY92" fmla="*/ 5083 h 10000"/>
              <a:gd name="connsiteX93" fmla="*/ 487 w 10000"/>
              <a:gd name="connsiteY93" fmla="*/ 5250 h 10000"/>
              <a:gd name="connsiteX94" fmla="*/ 487 w 10000"/>
              <a:gd name="connsiteY94" fmla="*/ 5333 h 10000"/>
              <a:gd name="connsiteX95" fmla="*/ 282 w 10000"/>
              <a:gd name="connsiteY95" fmla="*/ 5750 h 10000"/>
              <a:gd name="connsiteX96" fmla="*/ 64 w 10000"/>
              <a:gd name="connsiteY96" fmla="*/ 5917 h 10000"/>
              <a:gd name="connsiteX97" fmla="*/ 138 w 10000"/>
              <a:gd name="connsiteY97" fmla="*/ 5917 h 10000"/>
              <a:gd name="connsiteX98" fmla="*/ 282 w 10000"/>
              <a:gd name="connsiteY98" fmla="*/ 6083 h 10000"/>
              <a:gd name="connsiteX99" fmla="*/ 138 w 10000"/>
              <a:gd name="connsiteY99" fmla="*/ 6249 h 10000"/>
              <a:gd name="connsiteX100" fmla="*/ 64 w 10000"/>
              <a:gd name="connsiteY100" fmla="*/ 6334 h 10000"/>
              <a:gd name="connsiteX101" fmla="*/ 0 w 10000"/>
              <a:gd name="connsiteY101" fmla="*/ 6334 h 10000"/>
              <a:gd name="connsiteX102" fmla="*/ 64 w 10000"/>
              <a:gd name="connsiteY102" fmla="*/ 6584 h 10000"/>
              <a:gd name="connsiteX103" fmla="*/ 64 w 10000"/>
              <a:gd name="connsiteY103" fmla="*/ 6667 h 10000"/>
              <a:gd name="connsiteX104" fmla="*/ 64 w 10000"/>
              <a:gd name="connsiteY104" fmla="*/ 6749 h 10000"/>
              <a:gd name="connsiteX105" fmla="*/ 64 w 10000"/>
              <a:gd name="connsiteY105" fmla="*/ 6834 h 10000"/>
              <a:gd name="connsiteX106" fmla="*/ 138 w 10000"/>
              <a:gd name="connsiteY106" fmla="*/ 6998 h 10000"/>
              <a:gd name="connsiteX107" fmla="*/ 348 w 10000"/>
              <a:gd name="connsiteY107" fmla="*/ 7083 h 10000"/>
              <a:gd name="connsiteX108" fmla="*/ 417 w 10000"/>
              <a:gd name="connsiteY108" fmla="*/ 7165 h 10000"/>
              <a:gd name="connsiteX109" fmla="*/ 417 w 10000"/>
              <a:gd name="connsiteY109" fmla="*/ 7334 h 10000"/>
              <a:gd name="connsiteX110" fmla="*/ 558 w 10000"/>
              <a:gd name="connsiteY110" fmla="*/ 7584 h 10000"/>
              <a:gd name="connsiteX111" fmla="*/ 632 w 10000"/>
              <a:gd name="connsiteY111" fmla="*/ 7584 h 10000"/>
              <a:gd name="connsiteX112" fmla="*/ 558 w 10000"/>
              <a:gd name="connsiteY112" fmla="*/ 7750 h 10000"/>
              <a:gd name="connsiteX113" fmla="*/ 487 w 10000"/>
              <a:gd name="connsiteY113" fmla="*/ 7668 h 10000"/>
              <a:gd name="connsiteX114" fmla="*/ 487 w 10000"/>
              <a:gd name="connsiteY114" fmla="*/ 7750 h 10000"/>
              <a:gd name="connsiteX115" fmla="*/ 558 w 10000"/>
              <a:gd name="connsiteY115" fmla="*/ 7916 h 10000"/>
              <a:gd name="connsiteX116" fmla="*/ 773 w 10000"/>
              <a:gd name="connsiteY116" fmla="*/ 7916 h 10000"/>
              <a:gd name="connsiteX117" fmla="*/ 842 w 10000"/>
              <a:gd name="connsiteY117" fmla="*/ 8000 h 10000"/>
              <a:gd name="connsiteX118" fmla="*/ 773 w 10000"/>
              <a:gd name="connsiteY118" fmla="*/ 8000 h 10000"/>
              <a:gd name="connsiteX119" fmla="*/ 842 w 10000"/>
              <a:gd name="connsiteY119" fmla="*/ 8082 h 10000"/>
              <a:gd name="connsiteX120" fmla="*/ 908 w 10000"/>
              <a:gd name="connsiteY120" fmla="*/ 8082 h 10000"/>
              <a:gd name="connsiteX121" fmla="*/ 976 w 10000"/>
              <a:gd name="connsiteY121" fmla="*/ 8249 h 10000"/>
              <a:gd name="connsiteX122" fmla="*/ 1049 w 10000"/>
              <a:gd name="connsiteY122" fmla="*/ 8332 h 10000"/>
              <a:gd name="connsiteX123" fmla="*/ 1116 w 10000"/>
              <a:gd name="connsiteY123" fmla="*/ 8249 h 10000"/>
              <a:gd name="connsiteX124" fmla="*/ 1469 w 10000"/>
              <a:gd name="connsiteY124" fmla="*/ 8500 h 10000"/>
              <a:gd name="connsiteX125" fmla="*/ 1400 w 10000"/>
              <a:gd name="connsiteY125" fmla="*/ 8833 h 10000"/>
              <a:gd name="connsiteX126" fmla="*/ 1329 w 10000"/>
              <a:gd name="connsiteY126" fmla="*/ 8750 h 10000"/>
              <a:gd name="connsiteX127" fmla="*/ 1255 w 10000"/>
              <a:gd name="connsiteY127" fmla="*/ 8833 h 10000"/>
              <a:gd name="connsiteX128" fmla="*/ 1255 w 10000"/>
              <a:gd name="connsiteY128" fmla="*/ 8999 h 10000"/>
              <a:gd name="connsiteX129" fmla="*/ 1329 w 10000"/>
              <a:gd name="connsiteY129" fmla="*/ 8917 h 10000"/>
              <a:gd name="connsiteX130" fmla="*/ 1400 w 10000"/>
              <a:gd name="connsiteY130" fmla="*/ 8999 h 10000"/>
              <a:gd name="connsiteX131" fmla="*/ 1191 w 10000"/>
              <a:gd name="connsiteY131" fmla="*/ 9083 h 10000"/>
              <a:gd name="connsiteX132" fmla="*/ 1255 w 10000"/>
              <a:gd name="connsiteY132" fmla="*/ 9167 h 10000"/>
              <a:gd name="connsiteX133" fmla="*/ 1116 w 10000"/>
              <a:gd name="connsiteY133" fmla="*/ 9333 h 10000"/>
              <a:gd name="connsiteX134" fmla="*/ 1049 w 10000"/>
              <a:gd name="connsiteY134" fmla="*/ 9333 h 10000"/>
              <a:gd name="connsiteX135" fmla="*/ 1116 w 10000"/>
              <a:gd name="connsiteY135" fmla="*/ 9333 h 10000"/>
              <a:gd name="connsiteX136" fmla="*/ 1400 w 10000"/>
              <a:gd name="connsiteY136" fmla="*/ 9668 h 10000"/>
              <a:gd name="connsiteX137" fmla="*/ 1749 w 10000"/>
              <a:gd name="connsiteY137" fmla="*/ 9668 h 10000"/>
              <a:gd name="connsiteX138" fmla="*/ 1889 w 10000"/>
              <a:gd name="connsiteY138" fmla="*/ 9750 h 10000"/>
              <a:gd name="connsiteX139" fmla="*/ 2028 w 10000"/>
              <a:gd name="connsiteY139" fmla="*/ 9750 h 10000"/>
              <a:gd name="connsiteX140" fmla="*/ 2168 w 10000"/>
              <a:gd name="connsiteY140" fmla="*/ 9918 h 10000"/>
              <a:gd name="connsiteX141" fmla="*/ 2238 w 10000"/>
              <a:gd name="connsiteY141" fmla="*/ 10000 h 10000"/>
              <a:gd name="connsiteX142" fmla="*/ 2304 w 10000"/>
              <a:gd name="connsiteY142" fmla="*/ 10000 h 10000"/>
              <a:gd name="connsiteX143" fmla="*/ 2378 w 10000"/>
              <a:gd name="connsiteY143" fmla="*/ 9918 h 10000"/>
              <a:gd name="connsiteX144" fmla="*/ 2238 w 10000"/>
              <a:gd name="connsiteY144" fmla="*/ 9750 h 10000"/>
              <a:gd name="connsiteX145" fmla="*/ 2238 w 10000"/>
              <a:gd name="connsiteY145" fmla="*/ 9584 h 10000"/>
              <a:gd name="connsiteX146" fmla="*/ 2168 w 10000"/>
              <a:gd name="connsiteY146" fmla="*/ 9416 h 10000"/>
              <a:gd name="connsiteX147" fmla="*/ 2304 w 10000"/>
              <a:gd name="connsiteY147" fmla="*/ 9167 h 10000"/>
              <a:gd name="connsiteX148" fmla="*/ 2378 w 10000"/>
              <a:gd name="connsiteY148" fmla="*/ 9250 h 10000"/>
              <a:gd name="connsiteX149" fmla="*/ 2447 w 10000"/>
              <a:gd name="connsiteY149" fmla="*/ 9167 h 10000"/>
              <a:gd name="connsiteX150" fmla="*/ 2447 w 10000"/>
              <a:gd name="connsiteY150" fmla="*/ 9083 h 10000"/>
              <a:gd name="connsiteX151" fmla="*/ 2378 w 10000"/>
              <a:gd name="connsiteY151" fmla="*/ 9083 h 10000"/>
              <a:gd name="connsiteX152" fmla="*/ 2447 w 10000"/>
              <a:gd name="connsiteY152" fmla="*/ 8999 h 10000"/>
              <a:gd name="connsiteX153" fmla="*/ 2378 w 10000"/>
              <a:gd name="connsiteY153" fmla="*/ 8833 h 10000"/>
              <a:gd name="connsiteX154" fmla="*/ 2238 w 10000"/>
              <a:gd name="connsiteY154" fmla="*/ 8833 h 10000"/>
              <a:gd name="connsiteX155" fmla="*/ 2168 w 10000"/>
              <a:gd name="connsiteY155" fmla="*/ 8667 h 10000"/>
              <a:gd name="connsiteX156" fmla="*/ 2238 w 10000"/>
              <a:gd name="connsiteY156" fmla="*/ 8249 h 10000"/>
              <a:gd name="connsiteX157" fmla="*/ 2378 w 10000"/>
              <a:gd name="connsiteY157" fmla="*/ 8418 h 10000"/>
              <a:gd name="connsiteX158" fmla="*/ 2447 w 10000"/>
              <a:gd name="connsiteY158" fmla="*/ 8418 h 10000"/>
              <a:gd name="connsiteX159" fmla="*/ 2378 w 10000"/>
              <a:gd name="connsiteY159" fmla="*/ 8249 h 10000"/>
              <a:gd name="connsiteX160" fmla="*/ 2589 w 10000"/>
              <a:gd name="connsiteY160" fmla="*/ 8000 h 10000"/>
              <a:gd name="connsiteX161" fmla="*/ 2730 w 10000"/>
              <a:gd name="connsiteY161" fmla="*/ 8082 h 10000"/>
              <a:gd name="connsiteX162" fmla="*/ 2798 w 10000"/>
              <a:gd name="connsiteY162" fmla="*/ 8000 h 10000"/>
              <a:gd name="connsiteX163" fmla="*/ 2933 w 10000"/>
              <a:gd name="connsiteY163" fmla="*/ 8082 h 10000"/>
              <a:gd name="connsiteX164" fmla="*/ 3150 w 10000"/>
              <a:gd name="connsiteY164" fmla="*/ 8249 h 10000"/>
              <a:gd name="connsiteX165" fmla="*/ 3285 w 10000"/>
              <a:gd name="connsiteY165" fmla="*/ 8167 h 10000"/>
              <a:gd name="connsiteX166" fmla="*/ 3427 w 10000"/>
              <a:gd name="connsiteY166" fmla="*/ 8167 h 10000"/>
              <a:gd name="connsiteX167" fmla="*/ 3499 w 10000"/>
              <a:gd name="connsiteY167" fmla="*/ 8249 h 10000"/>
              <a:gd name="connsiteX168" fmla="*/ 3778 w 10000"/>
              <a:gd name="connsiteY168" fmla="*/ 8249 h 10000"/>
              <a:gd name="connsiteX169" fmla="*/ 3844 w 10000"/>
              <a:gd name="connsiteY169" fmla="*/ 8082 h 10000"/>
              <a:gd name="connsiteX170" fmla="*/ 3633 w 10000"/>
              <a:gd name="connsiteY170" fmla="*/ 8000 h 10000"/>
              <a:gd name="connsiteX171" fmla="*/ 3778 w 10000"/>
              <a:gd name="connsiteY171" fmla="*/ 7916 h 10000"/>
              <a:gd name="connsiteX172" fmla="*/ 3703 w 10000"/>
              <a:gd name="connsiteY172" fmla="*/ 7833 h 10000"/>
              <a:gd name="connsiteX173" fmla="*/ 3778 w 10000"/>
              <a:gd name="connsiteY173" fmla="*/ 7750 h 10000"/>
              <a:gd name="connsiteX174" fmla="*/ 3778 w 10000"/>
              <a:gd name="connsiteY174" fmla="*/ 7500 h 10000"/>
              <a:gd name="connsiteX175" fmla="*/ 3913 w 10000"/>
              <a:gd name="connsiteY175" fmla="*/ 7584 h 10000"/>
              <a:gd name="connsiteX176" fmla="*/ 4545 w 10000"/>
              <a:gd name="connsiteY176" fmla="*/ 7334 h 10000"/>
              <a:gd name="connsiteX177" fmla="*/ 4545 w 10000"/>
              <a:gd name="connsiteY177" fmla="*/ 7250 h 10000"/>
              <a:gd name="connsiteX178" fmla="*/ 4617 w 10000"/>
              <a:gd name="connsiteY178" fmla="*/ 7250 h 10000"/>
              <a:gd name="connsiteX179" fmla="*/ 4820 w 10000"/>
              <a:gd name="connsiteY179" fmla="*/ 7250 h 10000"/>
              <a:gd name="connsiteX180" fmla="*/ 4898 w 10000"/>
              <a:gd name="connsiteY180" fmla="*/ 7417 h 10000"/>
              <a:gd name="connsiteX181" fmla="*/ 4898 w 10000"/>
              <a:gd name="connsiteY181" fmla="*/ 7500 h 10000"/>
              <a:gd name="connsiteX182" fmla="*/ 4963 w 10000"/>
              <a:gd name="connsiteY182" fmla="*/ 7500 h 10000"/>
              <a:gd name="connsiteX183" fmla="*/ 5103 w 10000"/>
              <a:gd name="connsiteY183" fmla="*/ 7584 h 10000"/>
              <a:gd name="connsiteX184" fmla="*/ 5103 w 10000"/>
              <a:gd name="connsiteY184" fmla="*/ 7668 h 10000"/>
              <a:gd name="connsiteX185" fmla="*/ 5243 w 10000"/>
              <a:gd name="connsiteY185" fmla="*/ 7668 h 10000"/>
              <a:gd name="connsiteX186" fmla="*/ 5383 w 10000"/>
              <a:gd name="connsiteY186" fmla="*/ 7500 h 10000"/>
              <a:gd name="connsiteX187" fmla="*/ 5523 w 10000"/>
              <a:gd name="connsiteY187" fmla="*/ 7417 h 10000"/>
              <a:gd name="connsiteX188" fmla="*/ 5603 w 10000"/>
              <a:gd name="connsiteY188" fmla="*/ 7668 h 10000"/>
              <a:gd name="connsiteX189" fmla="*/ 5875 w 10000"/>
              <a:gd name="connsiteY189" fmla="*/ 8249 h 10000"/>
              <a:gd name="connsiteX190" fmla="*/ 5947 w 10000"/>
              <a:gd name="connsiteY190" fmla="*/ 8082 h 10000"/>
              <a:gd name="connsiteX191" fmla="*/ 6016 w 10000"/>
              <a:gd name="connsiteY191" fmla="*/ 8249 h 10000"/>
              <a:gd name="connsiteX192" fmla="*/ 6226 w 10000"/>
              <a:gd name="connsiteY192" fmla="*/ 8167 h 10000"/>
              <a:gd name="connsiteX193" fmla="*/ 6437 w 10000"/>
              <a:gd name="connsiteY193" fmla="*/ 8418 h 10000"/>
              <a:gd name="connsiteX194" fmla="*/ 6572 w 10000"/>
              <a:gd name="connsiteY194" fmla="*/ 8500 h 10000"/>
              <a:gd name="connsiteX195" fmla="*/ 6572 w 10000"/>
              <a:gd name="connsiteY195" fmla="*/ 8418 h 10000"/>
              <a:gd name="connsiteX196" fmla="*/ 6647 w 10000"/>
              <a:gd name="connsiteY196" fmla="*/ 8584 h 10000"/>
              <a:gd name="connsiteX197" fmla="*/ 6572 w 10000"/>
              <a:gd name="connsiteY197" fmla="*/ 8667 h 10000"/>
              <a:gd name="connsiteX198" fmla="*/ 6716 w 10000"/>
              <a:gd name="connsiteY198" fmla="*/ 8584 h 10000"/>
              <a:gd name="connsiteX199" fmla="*/ 6783 w 10000"/>
              <a:gd name="connsiteY199" fmla="*/ 8500 h 10000"/>
              <a:gd name="connsiteX200" fmla="*/ 7130 w 10000"/>
              <a:gd name="connsiteY200" fmla="*/ 8249 h 10000"/>
              <a:gd name="connsiteX201" fmla="*/ 7413 w 10000"/>
              <a:gd name="connsiteY201" fmla="*/ 8332 h 10000"/>
              <a:gd name="connsiteX202" fmla="*/ 7550 w 10000"/>
              <a:gd name="connsiteY202" fmla="*/ 8418 h 10000"/>
              <a:gd name="connsiteX203" fmla="*/ 7830 w 10000"/>
              <a:gd name="connsiteY203" fmla="*/ 8418 h 10000"/>
              <a:gd name="connsiteX204" fmla="*/ 7830 w 10000"/>
              <a:gd name="connsiteY204" fmla="*/ 8249 h 10000"/>
              <a:gd name="connsiteX205" fmla="*/ 7830 w 10000"/>
              <a:gd name="connsiteY205" fmla="*/ 8082 h 10000"/>
              <a:gd name="connsiteX206" fmla="*/ 7971 w 10000"/>
              <a:gd name="connsiteY206" fmla="*/ 8000 h 10000"/>
              <a:gd name="connsiteX207" fmla="*/ 8247 w 10000"/>
              <a:gd name="connsiteY207" fmla="*/ 8082 h 10000"/>
              <a:gd name="connsiteX208" fmla="*/ 8392 w 10000"/>
              <a:gd name="connsiteY208" fmla="*/ 8332 h 10000"/>
              <a:gd name="connsiteX209" fmla="*/ 8462 w 10000"/>
              <a:gd name="connsiteY209" fmla="*/ 8332 h 10000"/>
              <a:gd name="connsiteX210" fmla="*/ 8602 w 10000"/>
              <a:gd name="connsiteY210" fmla="*/ 8249 h 10000"/>
              <a:gd name="connsiteX211" fmla="*/ 9026 w 10000"/>
              <a:gd name="connsiteY211" fmla="*/ 8500 h 10000"/>
              <a:gd name="connsiteX212" fmla="*/ 9231 w 10000"/>
              <a:gd name="connsiteY212" fmla="*/ 8584 h 10000"/>
              <a:gd name="connsiteX213" fmla="*/ 9510 w 10000"/>
              <a:gd name="connsiteY213" fmla="*/ 8500 h 10000"/>
              <a:gd name="connsiteX214" fmla="*/ 9652 w 10000"/>
              <a:gd name="connsiteY214" fmla="*/ 8332 h 10000"/>
              <a:gd name="connsiteX215" fmla="*/ 9860 w 10000"/>
              <a:gd name="connsiteY215" fmla="*/ 8418 h 10000"/>
              <a:gd name="connsiteX216" fmla="*/ 10000 w 10000"/>
              <a:gd name="connsiteY216" fmla="*/ 8500 h 10000"/>
              <a:gd name="connsiteX0" fmla="*/ 9173 w 10000"/>
              <a:gd name="connsiteY0" fmla="*/ 1250 h 10000"/>
              <a:gd name="connsiteX1" fmla="*/ 9173 w 10000"/>
              <a:gd name="connsiteY1" fmla="*/ 1250 h 10000"/>
              <a:gd name="connsiteX2" fmla="*/ 7971 w 10000"/>
              <a:gd name="connsiteY2" fmla="*/ 0 h 10000"/>
              <a:gd name="connsiteX3" fmla="*/ 7344 w 10000"/>
              <a:gd name="connsiteY3" fmla="*/ 165 h 10000"/>
              <a:gd name="connsiteX4" fmla="*/ 6783 w 10000"/>
              <a:gd name="connsiteY4" fmla="*/ 582 h 10000"/>
              <a:gd name="connsiteX5" fmla="*/ 6572 w 10000"/>
              <a:gd name="connsiteY5" fmla="*/ 916 h 10000"/>
              <a:gd name="connsiteX6" fmla="*/ 6647 w 10000"/>
              <a:gd name="connsiteY6" fmla="*/ 1332 h 10000"/>
              <a:gd name="connsiteX7" fmla="*/ 5875 w 10000"/>
              <a:gd name="connsiteY7" fmla="*/ 1500 h 10000"/>
              <a:gd name="connsiteX8" fmla="*/ 5947 w 10000"/>
              <a:gd name="connsiteY8" fmla="*/ 2000 h 10000"/>
              <a:gd name="connsiteX9" fmla="*/ 6155 w 10000"/>
              <a:gd name="connsiteY9" fmla="*/ 2250 h 10000"/>
              <a:gd name="connsiteX10" fmla="*/ 6016 w 10000"/>
              <a:gd name="connsiteY10" fmla="*/ 2332 h 10000"/>
              <a:gd name="connsiteX11" fmla="*/ 5808 w 10000"/>
              <a:gd name="connsiteY11" fmla="*/ 2000 h 10000"/>
              <a:gd name="connsiteX12" fmla="*/ 5603 w 10000"/>
              <a:gd name="connsiteY12" fmla="*/ 1915 h 10000"/>
              <a:gd name="connsiteX13" fmla="*/ 5523 w 10000"/>
              <a:gd name="connsiteY13" fmla="*/ 2000 h 10000"/>
              <a:gd name="connsiteX14" fmla="*/ 5383 w 10000"/>
              <a:gd name="connsiteY14" fmla="*/ 1831 h 10000"/>
              <a:gd name="connsiteX15" fmla="*/ 5243 w 10000"/>
              <a:gd name="connsiteY15" fmla="*/ 1665 h 10000"/>
              <a:gd name="connsiteX16" fmla="*/ 5243 w 10000"/>
              <a:gd name="connsiteY16" fmla="*/ 1749 h 10000"/>
              <a:gd name="connsiteX17" fmla="*/ 5321 w 10000"/>
              <a:gd name="connsiteY17" fmla="*/ 2000 h 10000"/>
              <a:gd name="connsiteX18" fmla="*/ 5103 w 10000"/>
              <a:gd name="connsiteY18" fmla="*/ 2416 h 10000"/>
              <a:gd name="connsiteX19" fmla="*/ 5243 w 10000"/>
              <a:gd name="connsiteY19" fmla="*/ 2748 h 10000"/>
              <a:gd name="connsiteX20" fmla="*/ 5173 w 10000"/>
              <a:gd name="connsiteY20" fmla="*/ 3083 h 10000"/>
              <a:gd name="connsiteX21" fmla="*/ 5173 w 10000"/>
              <a:gd name="connsiteY21" fmla="*/ 3333 h 10000"/>
              <a:gd name="connsiteX22" fmla="*/ 5383 w 10000"/>
              <a:gd name="connsiteY22" fmla="*/ 3333 h 10000"/>
              <a:gd name="connsiteX23" fmla="*/ 5243 w 10000"/>
              <a:gd name="connsiteY23" fmla="*/ 3416 h 10000"/>
              <a:gd name="connsiteX24" fmla="*/ 5321 w 10000"/>
              <a:gd name="connsiteY24" fmla="*/ 3832 h 10000"/>
              <a:gd name="connsiteX25" fmla="*/ 4898 w 10000"/>
              <a:gd name="connsiteY25" fmla="*/ 4250 h 10000"/>
              <a:gd name="connsiteX26" fmla="*/ 4820 w 10000"/>
              <a:gd name="connsiteY26" fmla="*/ 4167 h 10000"/>
              <a:gd name="connsiteX27" fmla="*/ 5103 w 10000"/>
              <a:gd name="connsiteY27" fmla="*/ 3748 h 10000"/>
              <a:gd name="connsiteX28" fmla="*/ 5173 w 10000"/>
              <a:gd name="connsiteY28" fmla="*/ 3500 h 10000"/>
              <a:gd name="connsiteX29" fmla="*/ 5026 w 10000"/>
              <a:gd name="connsiteY29" fmla="*/ 3333 h 10000"/>
              <a:gd name="connsiteX30" fmla="*/ 5026 w 10000"/>
              <a:gd name="connsiteY30" fmla="*/ 2498 h 10000"/>
              <a:gd name="connsiteX31" fmla="*/ 4963 w 10000"/>
              <a:gd name="connsiteY31" fmla="*/ 2332 h 10000"/>
              <a:gd name="connsiteX32" fmla="*/ 5026 w 10000"/>
              <a:gd name="connsiteY32" fmla="*/ 1831 h 10000"/>
              <a:gd name="connsiteX33" fmla="*/ 4898 w 10000"/>
              <a:gd name="connsiteY33" fmla="*/ 1749 h 10000"/>
              <a:gd name="connsiteX34" fmla="*/ 4963 w 10000"/>
              <a:gd name="connsiteY34" fmla="*/ 1665 h 10000"/>
              <a:gd name="connsiteX35" fmla="*/ 4898 w 10000"/>
              <a:gd name="connsiteY35" fmla="*/ 1500 h 10000"/>
              <a:gd name="connsiteX36" fmla="*/ 4752 w 10000"/>
              <a:gd name="connsiteY36" fmla="*/ 1582 h 10000"/>
              <a:gd name="connsiteX37" fmla="*/ 4407 w 10000"/>
              <a:gd name="connsiteY37" fmla="*/ 2666 h 10000"/>
              <a:gd name="connsiteX38" fmla="*/ 4407 w 10000"/>
              <a:gd name="connsiteY38" fmla="*/ 3083 h 10000"/>
              <a:gd name="connsiteX39" fmla="*/ 4617 w 10000"/>
              <a:gd name="connsiteY39" fmla="*/ 3416 h 10000"/>
              <a:gd name="connsiteX40" fmla="*/ 4617 w 10000"/>
              <a:gd name="connsiteY40" fmla="*/ 3582 h 10000"/>
              <a:gd name="connsiteX41" fmla="*/ 4407 w 10000"/>
              <a:gd name="connsiteY41" fmla="*/ 3416 h 10000"/>
              <a:gd name="connsiteX42" fmla="*/ 3571 w 10000"/>
              <a:gd name="connsiteY42" fmla="*/ 2748 h 10000"/>
              <a:gd name="connsiteX43" fmla="*/ 3499 w 10000"/>
              <a:gd name="connsiteY43" fmla="*/ 2915 h 10000"/>
              <a:gd name="connsiteX44" fmla="*/ 3778 w 10000"/>
              <a:gd name="connsiteY44" fmla="*/ 3333 h 10000"/>
              <a:gd name="connsiteX45" fmla="*/ 3633 w 10000"/>
              <a:gd name="connsiteY45" fmla="*/ 3416 h 10000"/>
              <a:gd name="connsiteX46" fmla="*/ 3571 w 10000"/>
              <a:gd name="connsiteY46" fmla="*/ 3333 h 10000"/>
              <a:gd name="connsiteX47" fmla="*/ 3150 w 10000"/>
              <a:gd name="connsiteY47" fmla="*/ 3500 h 10000"/>
              <a:gd name="connsiteX48" fmla="*/ 3081 w 10000"/>
              <a:gd name="connsiteY48" fmla="*/ 3665 h 10000"/>
              <a:gd name="connsiteX49" fmla="*/ 3010 w 10000"/>
              <a:gd name="connsiteY49" fmla="*/ 3500 h 10000"/>
              <a:gd name="connsiteX50" fmla="*/ 3010 w 10000"/>
              <a:gd name="connsiteY50" fmla="*/ 3333 h 10000"/>
              <a:gd name="connsiteX51" fmla="*/ 2304 w 10000"/>
              <a:gd name="connsiteY51" fmla="*/ 3832 h 10000"/>
              <a:gd name="connsiteX52" fmla="*/ 2304 w 10000"/>
              <a:gd name="connsiteY52" fmla="*/ 3998 h 10000"/>
              <a:gd name="connsiteX53" fmla="*/ 2168 w 10000"/>
              <a:gd name="connsiteY53" fmla="*/ 4082 h 10000"/>
              <a:gd name="connsiteX54" fmla="*/ 1959 w 10000"/>
              <a:gd name="connsiteY54" fmla="*/ 3916 h 10000"/>
              <a:gd name="connsiteX55" fmla="*/ 2168 w 10000"/>
              <a:gd name="connsiteY55" fmla="*/ 3748 h 10000"/>
              <a:gd name="connsiteX56" fmla="*/ 2095 w 10000"/>
              <a:gd name="connsiteY56" fmla="*/ 3500 h 10000"/>
              <a:gd name="connsiteX57" fmla="*/ 1818 w 10000"/>
              <a:gd name="connsiteY57" fmla="*/ 3416 h 10000"/>
              <a:gd name="connsiteX58" fmla="*/ 1889 w 10000"/>
              <a:gd name="connsiteY58" fmla="*/ 3582 h 10000"/>
              <a:gd name="connsiteX59" fmla="*/ 1889 w 10000"/>
              <a:gd name="connsiteY59" fmla="*/ 3998 h 10000"/>
              <a:gd name="connsiteX60" fmla="*/ 1959 w 10000"/>
              <a:gd name="connsiteY60" fmla="*/ 4167 h 10000"/>
              <a:gd name="connsiteX61" fmla="*/ 1889 w 10000"/>
              <a:gd name="connsiteY61" fmla="*/ 4334 h 10000"/>
              <a:gd name="connsiteX62" fmla="*/ 1674 w 10000"/>
              <a:gd name="connsiteY62" fmla="*/ 4250 h 10000"/>
              <a:gd name="connsiteX63" fmla="*/ 1400 w 10000"/>
              <a:gd name="connsiteY63" fmla="*/ 4498 h 10000"/>
              <a:gd name="connsiteX64" fmla="*/ 1535 w 10000"/>
              <a:gd name="connsiteY64" fmla="*/ 4833 h 10000"/>
              <a:gd name="connsiteX65" fmla="*/ 1116 w 10000"/>
              <a:gd name="connsiteY65" fmla="*/ 4666 h 10000"/>
              <a:gd name="connsiteX66" fmla="*/ 1049 w 10000"/>
              <a:gd name="connsiteY66" fmla="*/ 4748 h 10000"/>
              <a:gd name="connsiteX67" fmla="*/ 1191 w 10000"/>
              <a:gd name="connsiteY67" fmla="*/ 4999 h 10000"/>
              <a:gd name="connsiteX68" fmla="*/ 1049 w 10000"/>
              <a:gd name="connsiteY68" fmla="*/ 4999 h 10000"/>
              <a:gd name="connsiteX69" fmla="*/ 842 w 10000"/>
              <a:gd name="connsiteY69" fmla="*/ 4833 h 10000"/>
              <a:gd name="connsiteX70" fmla="*/ 842 w 10000"/>
              <a:gd name="connsiteY70" fmla="*/ 4334 h 10000"/>
              <a:gd name="connsiteX71" fmla="*/ 632 w 10000"/>
              <a:gd name="connsiteY71" fmla="*/ 4167 h 10000"/>
              <a:gd name="connsiteX72" fmla="*/ 558 w 10000"/>
              <a:gd name="connsiteY72" fmla="*/ 3998 h 10000"/>
              <a:gd name="connsiteX73" fmla="*/ 697 w 10000"/>
              <a:gd name="connsiteY73" fmla="*/ 4082 h 10000"/>
              <a:gd name="connsiteX74" fmla="*/ 1255 w 10000"/>
              <a:gd name="connsiteY74" fmla="*/ 4334 h 10000"/>
              <a:gd name="connsiteX75" fmla="*/ 1601 w 10000"/>
              <a:gd name="connsiteY75" fmla="*/ 4082 h 10000"/>
              <a:gd name="connsiteX76" fmla="*/ 1535 w 10000"/>
              <a:gd name="connsiteY76" fmla="*/ 3832 h 10000"/>
              <a:gd name="connsiteX77" fmla="*/ 1116 w 10000"/>
              <a:gd name="connsiteY77" fmla="*/ 3333 h 10000"/>
              <a:gd name="connsiteX78" fmla="*/ 697 w 10000"/>
              <a:gd name="connsiteY78" fmla="*/ 3166 h 10000"/>
              <a:gd name="connsiteX79" fmla="*/ 697 w 10000"/>
              <a:gd name="connsiteY79" fmla="*/ 3083 h 10000"/>
              <a:gd name="connsiteX80" fmla="*/ 558 w 10000"/>
              <a:gd name="connsiteY80" fmla="*/ 2997 h 10000"/>
              <a:gd name="connsiteX81" fmla="*/ 417 w 10000"/>
              <a:gd name="connsiteY81" fmla="*/ 3083 h 10000"/>
              <a:gd name="connsiteX82" fmla="*/ 417 w 10000"/>
              <a:gd name="connsiteY82" fmla="*/ 3166 h 10000"/>
              <a:gd name="connsiteX83" fmla="*/ 348 w 10000"/>
              <a:gd name="connsiteY83" fmla="*/ 3166 h 10000"/>
              <a:gd name="connsiteX84" fmla="*/ 210 w 10000"/>
              <a:gd name="connsiteY84" fmla="*/ 3333 h 10000"/>
              <a:gd name="connsiteX85" fmla="*/ 210 w 10000"/>
              <a:gd name="connsiteY85" fmla="*/ 3582 h 10000"/>
              <a:gd name="connsiteX86" fmla="*/ 348 w 10000"/>
              <a:gd name="connsiteY86" fmla="*/ 3748 h 10000"/>
              <a:gd name="connsiteX87" fmla="*/ 282 w 10000"/>
              <a:gd name="connsiteY87" fmla="*/ 3998 h 10000"/>
              <a:gd name="connsiteX88" fmla="*/ 348 w 10000"/>
              <a:gd name="connsiteY88" fmla="*/ 4417 h 10000"/>
              <a:gd name="connsiteX89" fmla="*/ 282 w 10000"/>
              <a:gd name="connsiteY89" fmla="*/ 4666 h 10000"/>
              <a:gd name="connsiteX90" fmla="*/ 417 w 10000"/>
              <a:gd name="connsiteY90" fmla="*/ 4916 h 10000"/>
              <a:gd name="connsiteX91" fmla="*/ 348 w 10000"/>
              <a:gd name="connsiteY91" fmla="*/ 5083 h 10000"/>
              <a:gd name="connsiteX92" fmla="*/ 487 w 10000"/>
              <a:gd name="connsiteY92" fmla="*/ 5250 h 10000"/>
              <a:gd name="connsiteX93" fmla="*/ 487 w 10000"/>
              <a:gd name="connsiteY93" fmla="*/ 5333 h 10000"/>
              <a:gd name="connsiteX94" fmla="*/ 282 w 10000"/>
              <a:gd name="connsiteY94" fmla="*/ 5750 h 10000"/>
              <a:gd name="connsiteX95" fmla="*/ 64 w 10000"/>
              <a:gd name="connsiteY95" fmla="*/ 5917 h 10000"/>
              <a:gd name="connsiteX96" fmla="*/ 138 w 10000"/>
              <a:gd name="connsiteY96" fmla="*/ 5917 h 10000"/>
              <a:gd name="connsiteX97" fmla="*/ 282 w 10000"/>
              <a:gd name="connsiteY97" fmla="*/ 6083 h 10000"/>
              <a:gd name="connsiteX98" fmla="*/ 138 w 10000"/>
              <a:gd name="connsiteY98" fmla="*/ 6249 h 10000"/>
              <a:gd name="connsiteX99" fmla="*/ 64 w 10000"/>
              <a:gd name="connsiteY99" fmla="*/ 6334 h 10000"/>
              <a:gd name="connsiteX100" fmla="*/ 0 w 10000"/>
              <a:gd name="connsiteY100" fmla="*/ 6334 h 10000"/>
              <a:gd name="connsiteX101" fmla="*/ 64 w 10000"/>
              <a:gd name="connsiteY101" fmla="*/ 6584 h 10000"/>
              <a:gd name="connsiteX102" fmla="*/ 64 w 10000"/>
              <a:gd name="connsiteY102" fmla="*/ 6667 h 10000"/>
              <a:gd name="connsiteX103" fmla="*/ 64 w 10000"/>
              <a:gd name="connsiteY103" fmla="*/ 6749 h 10000"/>
              <a:gd name="connsiteX104" fmla="*/ 64 w 10000"/>
              <a:gd name="connsiteY104" fmla="*/ 6834 h 10000"/>
              <a:gd name="connsiteX105" fmla="*/ 138 w 10000"/>
              <a:gd name="connsiteY105" fmla="*/ 6998 h 10000"/>
              <a:gd name="connsiteX106" fmla="*/ 348 w 10000"/>
              <a:gd name="connsiteY106" fmla="*/ 7083 h 10000"/>
              <a:gd name="connsiteX107" fmla="*/ 417 w 10000"/>
              <a:gd name="connsiteY107" fmla="*/ 7165 h 10000"/>
              <a:gd name="connsiteX108" fmla="*/ 417 w 10000"/>
              <a:gd name="connsiteY108" fmla="*/ 7334 h 10000"/>
              <a:gd name="connsiteX109" fmla="*/ 558 w 10000"/>
              <a:gd name="connsiteY109" fmla="*/ 7584 h 10000"/>
              <a:gd name="connsiteX110" fmla="*/ 632 w 10000"/>
              <a:gd name="connsiteY110" fmla="*/ 7584 h 10000"/>
              <a:gd name="connsiteX111" fmla="*/ 558 w 10000"/>
              <a:gd name="connsiteY111" fmla="*/ 7750 h 10000"/>
              <a:gd name="connsiteX112" fmla="*/ 487 w 10000"/>
              <a:gd name="connsiteY112" fmla="*/ 7668 h 10000"/>
              <a:gd name="connsiteX113" fmla="*/ 487 w 10000"/>
              <a:gd name="connsiteY113" fmla="*/ 7750 h 10000"/>
              <a:gd name="connsiteX114" fmla="*/ 558 w 10000"/>
              <a:gd name="connsiteY114" fmla="*/ 7916 h 10000"/>
              <a:gd name="connsiteX115" fmla="*/ 773 w 10000"/>
              <a:gd name="connsiteY115" fmla="*/ 7916 h 10000"/>
              <a:gd name="connsiteX116" fmla="*/ 842 w 10000"/>
              <a:gd name="connsiteY116" fmla="*/ 8000 h 10000"/>
              <a:gd name="connsiteX117" fmla="*/ 773 w 10000"/>
              <a:gd name="connsiteY117" fmla="*/ 8000 h 10000"/>
              <a:gd name="connsiteX118" fmla="*/ 842 w 10000"/>
              <a:gd name="connsiteY118" fmla="*/ 8082 h 10000"/>
              <a:gd name="connsiteX119" fmla="*/ 908 w 10000"/>
              <a:gd name="connsiteY119" fmla="*/ 8082 h 10000"/>
              <a:gd name="connsiteX120" fmla="*/ 976 w 10000"/>
              <a:gd name="connsiteY120" fmla="*/ 8249 h 10000"/>
              <a:gd name="connsiteX121" fmla="*/ 1049 w 10000"/>
              <a:gd name="connsiteY121" fmla="*/ 8332 h 10000"/>
              <a:gd name="connsiteX122" fmla="*/ 1116 w 10000"/>
              <a:gd name="connsiteY122" fmla="*/ 8249 h 10000"/>
              <a:gd name="connsiteX123" fmla="*/ 1469 w 10000"/>
              <a:gd name="connsiteY123" fmla="*/ 8500 h 10000"/>
              <a:gd name="connsiteX124" fmla="*/ 1400 w 10000"/>
              <a:gd name="connsiteY124" fmla="*/ 8833 h 10000"/>
              <a:gd name="connsiteX125" fmla="*/ 1329 w 10000"/>
              <a:gd name="connsiteY125" fmla="*/ 8750 h 10000"/>
              <a:gd name="connsiteX126" fmla="*/ 1255 w 10000"/>
              <a:gd name="connsiteY126" fmla="*/ 8833 h 10000"/>
              <a:gd name="connsiteX127" fmla="*/ 1255 w 10000"/>
              <a:gd name="connsiteY127" fmla="*/ 8999 h 10000"/>
              <a:gd name="connsiteX128" fmla="*/ 1329 w 10000"/>
              <a:gd name="connsiteY128" fmla="*/ 8917 h 10000"/>
              <a:gd name="connsiteX129" fmla="*/ 1400 w 10000"/>
              <a:gd name="connsiteY129" fmla="*/ 8999 h 10000"/>
              <a:gd name="connsiteX130" fmla="*/ 1191 w 10000"/>
              <a:gd name="connsiteY130" fmla="*/ 9083 h 10000"/>
              <a:gd name="connsiteX131" fmla="*/ 1255 w 10000"/>
              <a:gd name="connsiteY131" fmla="*/ 9167 h 10000"/>
              <a:gd name="connsiteX132" fmla="*/ 1116 w 10000"/>
              <a:gd name="connsiteY132" fmla="*/ 9333 h 10000"/>
              <a:gd name="connsiteX133" fmla="*/ 1049 w 10000"/>
              <a:gd name="connsiteY133" fmla="*/ 9333 h 10000"/>
              <a:gd name="connsiteX134" fmla="*/ 1116 w 10000"/>
              <a:gd name="connsiteY134" fmla="*/ 9333 h 10000"/>
              <a:gd name="connsiteX135" fmla="*/ 1400 w 10000"/>
              <a:gd name="connsiteY135" fmla="*/ 9668 h 10000"/>
              <a:gd name="connsiteX136" fmla="*/ 1749 w 10000"/>
              <a:gd name="connsiteY136" fmla="*/ 9668 h 10000"/>
              <a:gd name="connsiteX137" fmla="*/ 1889 w 10000"/>
              <a:gd name="connsiteY137" fmla="*/ 9750 h 10000"/>
              <a:gd name="connsiteX138" fmla="*/ 2028 w 10000"/>
              <a:gd name="connsiteY138" fmla="*/ 9750 h 10000"/>
              <a:gd name="connsiteX139" fmla="*/ 2168 w 10000"/>
              <a:gd name="connsiteY139" fmla="*/ 9918 h 10000"/>
              <a:gd name="connsiteX140" fmla="*/ 2238 w 10000"/>
              <a:gd name="connsiteY140" fmla="*/ 10000 h 10000"/>
              <a:gd name="connsiteX141" fmla="*/ 2304 w 10000"/>
              <a:gd name="connsiteY141" fmla="*/ 10000 h 10000"/>
              <a:gd name="connsiteX142" fmla="*/ 2378 w 10000"/>
              <a:gd name="connsiteY142" fmla="*/ 9918 h 10000"/>
              <a:gd name="connsiteX143" fmla="*/ 2238 w 10000"/>
              <a:gd name="connsiteY143" fmla="*/ 9750 h 10000"/>
              <a:gd name="connsiteX144" fmla="*/ 2238 w 10000"/>
              <a:gd name="connsiteY144" fmla="*/ 9584 h 10000"/>
              <a:gd name="connsiteX145" fmla="*/ 2168 w 10000"/>
              <a:gd name="connsiteY145" fmla="*/ 9416 h 10000"/>
              <a:gd name="connsiteX146" fmla="*/ 2304 w 10000"/>
              <a:gd name="connsiteY146" fmla="*/ 9167 h 10000"/>
              <a:gd name="connsiteX147" fmla="*/ 2378 w 10000"/>
              <a:gd name="connsiteY147" fmla="*/ 9250 h 10000"/>
              <a:gd name="connsiteX148" fmla="*/ 2447 w 10000"/>
              <a:gd name="connsiteY148" fmla="*/ 9167 h 10000"/>
              <a:gd name="connsiteX149" fmla="*/ 2447 w 10000"/>
              <a:gd name="connsiteY149" fmla="*/ 9083 h 10000"/>
              <a:gd name="connsiteX150" fmla="*/ 2378 w 10000"/>
              <a:gd name="connsiteY150" fmla="*/ 9083 h 10000"/>
              <a:gd name="connsiteX151" fmla="*/ 2447 w 10000"/>
              <a:gd name="connsiteY151" fmla="*/ 8999 h 10000"/>
              <a:gd name="connsiteX152" fmla="*/ 2378 w 10000"/>
              <a:gd name="connsiteY152" fmla="*/ 8833 h 10000"/>
              <a:gd name="connsiteX153" fmla="*/ 2238 w 10000"/>
              <a:gd name="connsiteY153" fmla="*/ 8833 h 10000"/>
              <a:gd name="connsiteX154" fmla="*/ 2168 w 10000"/>
              <a:gd name="connsiteY154" fmla="*/ 8667 h 10000"/>
              <a:gd name="connsiteX155" fmla="*/ 2238 w 10000"/>
              <a:gd name="connsiteY155" fmla="*/ 8249 h 10000"/>
              <a:gd name="connsiteX156" fmla="*/ 2378 w 10000"/>
              <a:gd name="connsiteY156" fmla="*/ 8418 h 10000"/>
              <a:gd name="connsiteX157" fmla="*/ 2447 w 10000"/>
              <a:gd name="connsiteY157" fmla="*/ 8418 h 10000"/>
              <a:gd name="connsiteX158" fmla="*/ 2378 w 10000"/>
              <a:gd name="connsiteY158" fmla="*/ 8249 h 10000"/>
              <a:gd name="connsiteX159" fmla="*/ 2589 w 10000"/>
              <a:gd name="connsiteY159" fmla="*/ 8000 h 10000"/>
              <a:gd name="connsiteX160" fmla="*/ 2730 w 10000"/>
              <a:gd name="connsiteY160" fmla="*/ 8082 h 10000"/>
              <a:gd name="connsiteX161" fmla="*/ 2798 w 10000"/>
              <a:gd name="connsiteY161" fmla="*/ 8000 h 10000"/>
              <a:gd name="connsiteX162" fmla="*/ 2933 w 10000"/>
              <a:gd name="connsiteY162" fmla="*/ 8082 h 10000"/>
              <a:gd name="connsiteX163" fmla="*/ 3150 w 10000"/>
              <a:gd name="connsiteY163" fmla="*/ 8249 h 10000"/>
              <a:gd name="connsiteX164" fmla="*/ 3285 w 10000"/>
              <a:gd name="connsiteY164" fmla="*/ 8167 h 10000"/>
              <a:gd name="connsiteX165" fmla="*/ 3427 w 10000"/>
              <a:gd name="connsiteY165" fmla="*/ 8167 h 10000"/>
              <a:gd name="connsiteX166" fmla="*/ 3499 w 10000"/>
              <a:gd name="connsiteY166" fmla="*/ 8249 h 10000"/>
              <a:gd name="connsiteX167" fmla="*/ 3778 w 10000"/>
              <a:gd name="connsiteY167" fmla="*/ 8249 h 10000"/>
              <a:gd name="connsiteX168" fmla="*/ 3844 w 10000"/>
              <a:gd name="connsiteY168" fmla="*/ 8082 h 10000"/>
              <a:gd name="connsiteX169" fmla="*/ 3633 w 10000"/>
              <a:gd name="connsiteY169" fmla="*/ 8000 h 10000"/>
              <a:gd name="connsiteX170" fmla="*/ 3778 w 10000"/>
              <a:gd name="connsiteY170" fmla="*/ 7916 h 10000"/>
              <a:gd name="connsiteX171" fmla="*/ 3703 w 10000"/>
              <a:gd name="connsiteY171" fmla="*/ 7833 h 10000"/>
              <a:gd name="connsiteX172" fmla="*/ 3778 w 10000"/>
              <a:gd name="connsiteY172" fmla="*/ 7750 h 10000"/>
              <a:gd name="connsiteX173" fmla="*/ 3778 w 10000"/>
              <a:gd name="connsiteY173" fmla="*/ 7500 h 10000"/>
              <a:gd name="connsiteX174" fmla="*/ 3913 w 10000"/>
              <a:gd name="connsiteY174" fmla="*/ 7584 h 10000"/>
              <a:gd name="connsiteX175" fmla="*/ 4545 w 10000"/>
              <a:gd name="connsiteY175" fmla="*/ 7334 h 10000"/>
              <a:gd name="connsiteX176" fmla="*/ 4545 w 10000"/>
              <a:gd name="connsiteY176" fmla="*/ 7250 h 10000"/>
              <a:gd name="connsiteX177" fmla="*/ 4617 w 10000"/>
              <a:gd name="connsiteY177" fmla="*/ 7250 h 10000"/>
              <a:gd name="connsiteX178" fmla="*/ 4820 w 10000"/>
              <a:gd name="connsiteY178" fmla="*/ 7250 h 10000"/>
              <a:gd name="connsiteX179" fmla="*/ 4898 w 10000"/>
              <a:gd name="connsiteY179" fmla="*/ 7417 h 10000"/>
              <a:gd name="connsiteX180" fmla="*/ 4898 w 10000"/>
              <a:gd name="connsiteY180" fmla="*/ 7500 h 10000"/>
              <a:gd name="connsiteX181" fmla="*/ 4963 w 10000"/>
              <a:gd name="connsiteY181" fmla="*/ 7500 h 10000"/>
              <a:gd name="connsiteX182" fmla="*/ 5103 w 10000"/>
              <a:gd name="connsiteY182" fmla="*/ 7584 h 10000"/>
              <a:gd name="connsiteX183" fmla="*/ 5103 w 10000"/>
              <a:gd name="connsiteY183" fmla="*/ 7668 h 10000"/>
              <a:gd name="connsiteX184" fmla="*/ 5243 w 10000"/>
              <a:gd name="connsiteY184" fmla="*/ 7668 h 10000"/>
              <a:gd name="connsiteX185" fmla="*/ 5383 w 10000"/>
              <a:gd name="connsiteY185" fmla="*/ 7500 h 10000"/>
              <a:gd name="connsiteX186" fmla="*/ 5523 w 10000"/>
              <a:gd name="connsiteY186" fmla="*/ 7417 h 10000"/>
              <a:gd name="connsiteX187" fmla="*/ 5603 w 10000"/>
              <a:gd name="connsiteY187" fmla="*/ 7668 h 10000"/>
              <a:gd name="connsiteX188" fmla="*/ 5875 w 10000"/>
              <a:gd name="connsiteY188" fmla="*/ 8249 h 10000"/>
              <a:gd name="connsiteX189" fmla="*/ 5947 w 10000"/>
              <a:gd name="connsiteY189" fmla="*/ 8082 h 10000"/>
              <a:gd name="connsiteX190" fmla="*/ 6016 w 10000"/>
              <a:gd name="connsiteY190" fmla="*/ 8249 h 10000"/>
              <a:gd name="connsiteX191" fmla="*/ 6226 w 10000"/>
              <a:gd name="connsiteY191" fmla="*/ 8167 h 10000"/>
              <a:gd name="connsiteX192" fmla="*/ 6437 w 10000"/>
              <a:gd name="connsiteY192" fmla="*/ 8418 h 10000"/>
              <a:gd name="connsiteX193" fmla="*/ 6572 w 10000"/>
              <a:gd name="connsiteY193" fmla="*/ 8500 h 10000"/>
              <a:gd name="connsiteX194" fmla="*/ 6572 w 10000"/>
              <a:gd name="connsiteY194" fmla="*/ 8418 h 10000"/>
              <a:gd name="connsiteX195" fmla="*/ 6647 w 10000"/>
              <a:gd name="connsiteY195" fmla="*/ 8584 h 10000"/>
              <a:gd name="connsiteX196" fmla="*/ 6572 w 10000"/>
              <a:gd name="connsiteY196" fmla="*/ 8667 h 10000"/>
              <a:gd name="connsiteX197" fmla="*/ 6716 w 10000"/>
              <a:gd name="connsiteY197" fmla="*/ 8584 h 10000"/>
              <a:gd name="connsiteX198" fmla="*/ 6783 w 10000"/>
              <a:gd name="connsiteY198" fmla="*/ 8500 h 10000"/>
              <a:gd name="connsiteX199" fmla="*/ 7130 w 10000"/>
              <a:gd name="connsiteY199" fmla="*/ 8249 h 10000"/>
              <a:gd name="connsiteX200" fmla="*/ 7413 w 10000"/>
              <a:gd name="connsiteY200" fmla="*/ 8332 h 10000"/>
              <a:gd name="connsiteX201" fmla="*/ 7550 w 10000"/>
              <a:gd name="connsiteY201" fmla="*/ 8418 h 10000"/>
              <a:gd name="connsiteX202" fmla="*/ 7830 w 10000"/>
              <a:gd name="connsiteY202" fmla="*/ 8418 h 10000"/>
              <a:gd name="connsiteX203" fmla="*/ 7830 w 10000"/>
              <a:gd name="connsiteY203" fmla="*/ 8249 h 10000"/>
              <a:gd name="connsiteX204" fmla="*/ 7830 w 10000"/>
              <a:gd name="connsiteY204" fmla="*/ 8082 h 10000"/>
              <a:gd name="connsiteX205" fmla="*/ 7971 w 10000"/>
              <a:gd name="connsiteY205" fmla="*/ 8000 h 10000"/>
              <a:gd name="connsiteX206" fmla="*/ 8247 w 10000"/>
              <a:gd name="connsiteY206" fmla="*/ 8082 h 10000"/>
              <a:gd name="connsiteX207" fmla="*/ 8392 w 10000"/>
              <a:gd name="connsiteY207" fmla="*/ 8332 h 10000"/>
              <a:gd name="connsiteX208" fmla="*/ 8462 w 10000"/>
              <a:gd name="connsiteY208" fmla="*/ 8332 h 10000"/>
              <a:gd name="connsiteX209" fmla="*/ 8602 w 10000"/>
              <a:gd name="connsiteY209" fmla="*/ 8249 h 10000"/>
              <a:gd name="connsiteX210" fmla="*/ 9026 w 10000"/>
              <a:gd name="connsiteY210" fmla="*/ 8500 h 10000"/>
              <a:gd name="connsiteX211" fmla="*/ 9231 w 10000"/>
              <a:gd name="connsiteY211" fmla="*/ 8584 h 10000"/>
              <a:gd name="connsiteX212" fmla="*/ 9510 w 10000"/>
              <a:gd name="connsiteY212" fmla="*/ 8500 h 10000"/>
              <a:gd name="connsiteX213" fmla="*/ 9652 w 10000"/>
              <a:gd name="connsiteY213" fmla="*/ 8332 h 10000"/>
              <a:gd name="connsiteX214" fmla="*/ 9860 w 10000"/>
              <a:gd name="connsiteY214" fmla="*/ 8418 h 10000"/>
              <a:gd name="connsiteX215" fmla="*/ 10000 w 10000"/>
              <a:gd name="connsiteY215" fmla="*/ 8500 h 10000"/>
              <a:gd name="connsiteX0" fmla="*/ 9173 w 10000"/>
              <a:gd name="connsiteY0" fmla="*/ 1250 h 10000"/>
              <a:gd name="connsiteX1" fmla="*/ 7971 w 10000"/>
              <a:gd name="connsiteY1" fmla="*/ 0 h 10000"/>
              <a:gd name="connsiteX2" fmla="*/ 7344 w 10000"/>
              <a:gd name="connsiteY2" fmla="*/ 165 h 10000"/>
              <a:gd name="connsiteX3" fmla="*/ 6783 w 10000"/>
              <a:gd name="connsiteY3" fmla="*/ 582 h 10000"/>
              <a:gd name="connsiteX4" fmla="*/ 6572 w 10000"/>
              <a:gd name="connsiteY4" fmla="*/ 916 h 10000"/>
              <a:gd name="connsiteX5" fmla="*/ 6647 w 10000"/>
              <a:gd name="connsiteY5" fmla="*/ 1332 h 10000"/>
              <a:gd name="connsiteX6" fmla="*/ 5875 w 10000"/>
              <a:gd name="connsiteY6" fmla="*/ 1500 h 10000"/>
              <a:gd name="connsiteX7" fmla="*/ 5947 w 10000"/>
              <a:gd name="connsiteY7" fmla="*/ 2000 h 10000"/>
              <a:gd name="connsiteX8" fmla="*/ 6155 w 10000"/>
              <a:gd name="connsiteY8" fmla="*/ 2250 h 10000"/>
              <a:gd name="connsiteX9" fmla="*/ 6016 w 10000"/>
              <a:gd name="connsiteY9" fmla="*/ 2332 h 10000"/>
              <a:gd name="connsiteX10" fmla="*/ 5808 w 10000"/>
              <a:gd name="connsiteY10" fmla="*/ 2000 h 10000"/>
              <a:gd name="connsiteX11" fmla="*/ 5603 w 10000"/>
              <a:gd name="connsiteY11" fmla="*/ 1915 h 10000"/>
              <a:gd name="connsiteX12" fmla="*/ 5523 w 10000"/>
              <a:gd name="connsiteY12" fmla="*/ 2000 h 10000"/>
              <a:gd name="connsiteX13" fmla="*/ 5383 w 10000"/>
              <a:gd name="connsiteY13" fmla="*/ 1831 h 10000"/>
              <a:gd name="connsiteX14" fmla="*/ 5243 w 10000"/>
              <a:gd name="connsiteY14" fmla="*/ 1665 h 10000"/>
              <a:gd name="connsiteX15" fmla="*/ 5243 w 10000"/>
              <a:gd name="connsiteY15" fmla="*/ 1749 h 10000"/>
              <a:gd name="connsiteX16" fmla="*/ 5321 w 10000"/>
              <a:gd name="connsiteY16" fmla="*/ 2000 h 10000"/>
              <a:gd name="connsiteX17" fmla="*/ 5103 w 10000"/>
              <a:gd name="connsiteY17" fmla="*/ 2416 h 10000"/>
              <a:gd name="connsiteX18" fmla="*/ 5243 w 10000"/>
              <a:gd name="connsiteY18" fmla="*/ 2748 h 10000"/>
              <a:gd name="connsiteX19" fmla="*/ 5173 w 10000"/>
              <a:gd name="connsiteY19" fmla="*/ 3083 h 10000"/>
              <a:gd name="connsiteX20" fmla="*/ 5173 w 10000"/>
              <a:gd name="connsiteY20" fmla="*/ 3333 h 10000"/>
              <a:gd name="connsiteX21" fmla="*/ 5383 w 10000"/>
              <a:gd name="connsiteY21" fmla="*/ 3333 h 10000"/>
              <a:gd name="connsiteX22" fmla="*/ 5243 w 10000"/>
              <a:gd name="connsiteY22" fmla="*/ 3416 h 10000"/>
              <a:gd name="connsiteX23" fmla="*/ 5321 w 10000"/>
              <a:gd name="connsiteY23" fmla="*/ 3832 h 10000"/>
              <a:gd name="connsiteX24" fmla="*/ 4898 w 10000"/>
              <a:gd name="connsiteY24" fmla="*/ 4250 h 10000"/>
              <a:gd name="connsiteX25" fmla="*/ 4820 w 10000"/>
              <a:gd name="connsiteY25" fmla="*/ 4167 h 10000"/>
              <a:gd name="connsiteX26" fmla="*/ 5103 w 10000"/>
              <a:gd name="connsiteY26" fmla="*/ 3748 h 10000"/>
              <a:gd name="connsiteX27" fmla="*/ 5173 w 10000"/>
              <a:gd name="connsiteY27" fmla="*/ 3500 h 10000"/>
              <a:gd name="connsiteX28" fmla="*/ 5026 w 10000"/>
              <a:gd name="connsiteY28" fmla="*/ 3333 h 10000"/>
              <a:gd name="connsiteX29" fmla="*/ 5026 w 10000"/>
              <a:gd name="connsiteY29" fmla="*/ 2498 h 10000"/>
              <a:gd name="connsiteX30" fmla="*/ 4963 w 10000"/>
              <a:gd name="connsiteY30" fmla="*/ 2332 h 10000"/>
              <a:gd name="connsiteX31" fmla="*/ 5026 w 10000"/>
              <a:gd name="connsiteY31" fmla="*/ 1831 h 10000"/>
              <a:gd name="connsiteX32" fmla="*/ 4898 w 10000"/>
              <a:gd name="connsiteY32" fmla="*/ 1749 h 10000"/>
              <a:gd name="connsiteX33" fmla="*/ 4963 w 10000"/>
              <a:gd name="connsiteY33" fmla="*/ 1665 h 10000"/>
              <a:gd name="connsiteX34" fmla="*/ 4898 w 10000"/>
              <a:gd name="connsiteY34" fmla="*/ 1500 h 10000"/>
              <a:gd name="connsiteX35" fmla="*/ 4752 w 10000"/>
              <a:gd name="connsiteY35" fmla="*/ 1582 h 10000"/>
              <a:gd name="connsiteX36" fmla="*/ 4407 w 10000"/>
              <a:gd name="connsiteY36" fmla="*/ 2666 h 10000"/>
              <a:gd name="connsiteX37" fmla="*/ 4407 w 10000"/>
              <a:gd name="connsiteY37" fmla="*/ 3083 h 10000"/>
              <a:gd name="connsiteX38" fmla="*/ 4617 w 10000"/>
              <a:gd name="connsiteY38" fmla="*/ 3416 h 10000"/>
              <a:gd name="connsiteX39" fmla="*/ 4617 w 10000"/>
              <a:gd name="connsiteY39" fmla="*/ 3582 h 10000"/>
              <a:gd name="connsiteX40" fmla="*/ 4407 w 10000"/>
              <a:gd name="connsiteY40" fmla="*/ 3416 h 10000"/>
              <a:gd name="connsiteX41" fmla="*/ 3571 w 10000"/>
              <a:gd name="connsiteY41" fmla="*/ 2748 h 10000"/>
              <a:gd name="connsiteX42" fmla="*/ 3499 w 10000"/>
              <a:gd name="connsiteY42" fmla="*/ 2915 h 10000"/>
              <a:gd name="connsiteX43" fmla="*/ 3778 w 10000"/>
              <a:gd name="connsiteY43" fmla="*/ 3333 h 10000"/>
              <a:gd name="connsiteX44" fmla="*/ 3633 w 10000"/>
              <a:gd name="connsiteY44" fmla="*/ 3416 h 10000"/>
              <a:gd name="connsiteX45" fmla="*/ 3571 w 10000"/>
              <a:gd name="connsiteY45" fmla="*/ 3333 h 10000"/>
              <a:gd name="connsiteX46" fmla="*/ 3150 w 10000"/>
              <a:gd name="connsiteY46" fmla="*/ 3500 h 10000"/>
              <a:gd name="connsiteX47" fmla="*/ 3081 w 10000"/>
              <a:gd name="connsiteY47" fmla="*/ 3665 h 10000"/>
              <a:gd name="connsiteX48" fmla="*/ 3010 w 10000"/>
              <a:gd name="connsiteY48" fmla="*/ 3500 h 10000"/>
              <a:gd name="connsiteX49" fmla="*/ 3010 w 10000"/>
              <a:gd name="connsiteY49" fmla="*/ 3333 h 10000"/>
              <a:gd name="connsiteX50" fmla="*/ 2304 w 10000"/>
              <a:gd name="connsiteY50" fmla="*/ 3832 h 10000"/>
              <a:gd name="connsiteX51" fmla="*/ 2304 w 10000"/>
              <a:gd name="connsiteY51" fmla="*/ 3998 h 10000"/>
              <a:gd name="connsiteX52" fmla="*/ 2168 w 10000"/>
              <a:gd name="connsiteY52" fmla="*/ 4082 h 10000"/>
              <a:gd name="connsiteX53" fmla="*/ 1959 w 10000"/>
              <a:gd name="connsiteY53" fmla="*/ 3916 h 10000"/>
              <a:gd name="connsiteX54" fmla="*/ 2168 w 10000"/>
              <a:gd name="connsiteY54" fmla="*/ 3748 h 10000"/>
              <a:gd name="connsiteX55" fmla="*/ 2095 w 10000"/>
              <a:gd name="connsiteY55" fmla="*/ 3500 h 10000"/>
              <a:gd name="connsiteX56" fmla="*/ 1818 w 10000"/>
              <a:gd name="connsiteY56" fmla="*/ 3416 h 10000"/>
              <a:gd name="connsiteX57" fmla="*/ 1889 w 10000"/>
              <a:gd name="connsiteY57" fmla="*/ 3582 h 10000"/>
              <a:gd name="connsiteX58" fmla="*/ 1889 w 10000"/>
              <a:gd name="connsiteY58" fmla="*/ 3998 h 10000"/>
              <a:gd name="connsiteX59" fmla="*/ 1959 w 10000"/>
              <a:gd name="connsiteY59" fmla="*/ 4167 h 10000"/>
              <a:gd name="connsiteX60" fmla="*/ 1889 w 10000"/>
              <a:gd name="connsiteY60" fmla="*/ 4334 h 10000"/>
              <a:gd name="connsiteX61" fmla="*/ 1674 w 10000"/>
              <a:gd name="connsiteY61" fmla="*/ 4250 h 10000"/>
              <a:gd name="connsiteX62" fmla="*/ 1400 w 10000"/>
              <a:gd name="connsiteY62" fmla="*/ 4498 h 10000"/>
              <a:gd name="connsiteX63" fmla="*/ 1535 w 10000"/>
              <a:gd name="connsiteY63" fmla="*/ 4833 h 10000"/>
              <a:gd name="connsiteX64" fmla="*/ 1116 w 10000"/>
              <a:gd name="connsiteY64" fmla="*/ 4666 h 10000"/>
              <a:gd name="connsiteX65" fmla="*/ 1049 w 10000"/>
              <a:gd name="connsiteY65" fmla="*/ 4748 h 10000"/>
              <a:gd name="connsiteX66" fmla="*/ 1191 w 10000"/>
              <a:gd name="connsiteY66" fmla="*/ 4999 h 10000"/>
              <a:gd name="connsiteX67" fmla="*/ 1049 w 10000"/>
              <a:gd name="connsiteY67" fmla="*/ 4999 h 10000"/>
              <a:gd name="connsiteX68" fmla="*/ 842 w 10000"/>
              <a:gd name="connsiteY68" fmla="*/ 4833 h 10000"/>
              <a:gd name="connsiteX69" fmla="*/ 842 w 10000"/>
              <a:gd name="connsiteY69" fmla="*/ 4334 h 10000"/>
              <a:gd name="connsiteX70" fmla="*/ 632 w 10000"/>
              <a:gd name="connsiteY70" fmla="*/ 4167 h 10000"/>
              <a:gd name="connsiteX71" fmla="*/ 558 w 10000"/>
              <a:gd name="connsiteY71" fmla="*/ 3998 h 10000"/>
              <a:gd name="connsiteX72" fmla="*/ 697 w 10000"/>
              <a:gd name="connsiteY72" fmla="*/ 4082 h 10000"/>
              <a:gd name="connsiteX73" fmla="*/ 1255 w 10000"/>
              <a:gd name="connsiteY73" fmla="*/ 4334 h 10000"/>
              <a:gd name="connsiteX74" fmla="*/ 1601 w 10000"/>
              <a:gd name="connsiteY74" fmla="*/ 4082 h 10000"/>
              <a:gd name="connsiteX75" fmla="*/ 1535 w 10000"/>
              <a:gd name="connsiteY75" fmla="*/ 3832 h 10000"/>
              <a:gd name="connsiteX76" fmla="*/ 1116 w 10000"/>
              <a:gd name="connsiteY76" fmla="*/ 3333 h 10000"/>
              <a:gd name="connsiteX77" fmla="*/ 697 w 10000"/>
              <a:gd name="connsiteY77" fmla="*/ 3166 h 10000"/>
              <a:gd name="connsiteX78" fmla="*/ 697 w 10000"/>
              <a:gd name="connsiteY78" fmla="*/ 3083 h 10000"/>
              <a:gd name="connsiteX79" fmla="*/ 558 w 10000"/>
              <a:gd name="connsiteY79" fmla="*/ 2997 h 10000"/>
              <a:gd name="connsiteX80" fmla="*/ 417 w 10000"/>
              <a:gd name="connsiteY80" fmla="*/ 3083 h 10000"/>
              <a:gd name="connsiteX81" fmla="*/ 417 w 10000"/>
              <a:gd name="connsiteY81" fmla="*/ 3166 h 10000"/>
              <a:gd name="connsiteX82" fmla="*/ 348 w 10000"/>
              <a:gd name="connsiteY82" fmla="*/ 3166 h 10000"/>
              <a:gd name="connsiteX83" fmla="*/ 210 w 10000"/>
              <a:gd name="connsiteY83" fmla="*/ 3333 h 10000"/>
              <a:gd name="connsiteX84" fmla="*/ 210 w 10000"/>
              <a:gd name="connsiteY84" fmla="*/ 3582 h 10000"/>
              <a:gd name="connsiteX85" fmla="*/ 348 w 10000"/>
              <a:gd name="connsiteY85" fmla="*/ 3748 h 10000"/>
              <a:gd name="connsiteX86" fmla="*/ 282 w 10000"/>
              <a:gd name="connsiteY86" fmla="*/ 3998 h 10000"/>
              <a:gd name="connsiteX87" fmla="*/ 348 w 10000"/>
              <a:gd name="connsiteY87" fmla="*/ 4417 h 10000"/>
              <a:gd name="connsiteX88" fmla="*/ 282 w 10000"/>
              <a:gd name="connsiteY88" fmla="*/ 4666 h 10000"/>
              <a:gd name="connsiteX89" fmla="*/ 417 w 10000"/>
              <a:gd name="connsiteY89" fmla="*/ 4916 h 10000"/>
              <a:gd name="connsiteX90" fmla="*/ 348 w 10000"/>
              <a:gd name="connsiteY90" fmla="*/ 5083 h 10000"/>
              <a:gd name="connsiteX91" fmla="*/ 487 w 10000"/>
              <a:gd name="connsiteY91" fmla="*/ 5250 h 10000"/>
              <a:gd name="connsiteX92" fmla="*/ 487 w 10000"/>
              <a:gd name="connsiteY92" fmla="*/ 5333 h 10000"/>
              <a:gd name="connsiteX93" fmla="*/ 282 w 10000"/>
              <a:gd name="connsiteY93" fmla="*/ 5750 h 10000"/>
              <a:gd name="connsiteX94" fmla="*/ 64 w 10000"/>
              <a:gd name="connsiteY94" fmla="*/ 5917 h 10000"/>
              <a:gd name="connsiteX95" fmla="*/ 138 w 10000"/>
              <a:gd name="connsiteY95" fmla="*/ 5917 h 10000"/>
              <a:gd name="connsiteX96" fmla="*/ 282 w 10000"/>
              <a:gd name="connsiteY96" fmla="*/ 6083 h 10000"/>
              <a:gd name="connsiteX97" fmla="*/ 138 w 10000"/>
              <a:gd name="connsiteY97" fmla="*/ 6249 h 10000"/>
              <a:gd name="connsiteX98" fmla="*/ 64 w 10000"/>
              <a:gd name="connsiteY98" fmla="*/ 6334 h 10000"/>
              <a:gd name="connsiteX99" fmla="*/ 0 w 10000"/>
              <a:gd name="connsiteY99" fmla="*/ 6334 h 10000"/>
              <a:gd name="connsiteX100" fmla="*/ 64 w 10000"/>
              <a:gd name="connsiteY100" fmla="*/ 6584 h 10000"/>
              <a:gd name="connsiteX101" fmla="*/ 64 w 10000"/>
              <a:gd name="connsiteY101" fmla="*/ 6667 h 10000"/>
              <a:gd name="connsiteX102" fmla="*/ 64 w 10000"/>
              <a:gd name="connsiteY102" fmla="*/ 6749 h 10000"/>
              <a:gd name="connsiteX103" fmla="*/ 64 w 10000"/>
              <a:gd name="connsiteY103" fmla="*/ 6834 h 10000"/>
              <a:gd name="connsiteX104" fmla="*/ 138 w 10000"/>
              <a:gd name="connsiteY104" fmla="*/ 6998 h 10000"/>
              <a:gd name="connsiteX105" fmla="*/ 348 w 10000"/>
              <a:gd name="connsiteY105" fmla="*/ 7083 h 10000"/>
              <a:gd name="connsiteX106" fmla="*/ 417 w 10000"/>
              <a:gd name="connsiteY106" fmla="*/ 7165 h 10000"/>
              <a:gd name="connsiteX107" fmla="*/ 417 w 10000"/>
              <a:gd name="connsiteY107" fmla="*/ 7334 h 10000"/>
              <a:gd name="connsiteX108" fmla="*/ 558 w 10000"/>
              <a:gd name="connsiteY108" fmla="*/ 7584 h 10000"/>
              <a:gd name="connsiteX109" fmla="*/ 632 w 10000"/>
              <a:gd name="connsiteY109" fmla="*/ 7584 h 10000"/>
              <a:gd name="connsiteX110" fmla="*/ 558 w 10000"/>
              <a:gd name="connsiteY110" fmla="*/ 7750 h 10000"/>
              <a:gd name="connsiteX111" fmla="*/ 487 w 10000"/>
              <a:gd name="connsiteY111" fmla="*/ 7668 h 10000"/>
              <a:gd name="connsiteX112" fmla="*/ 487 w 10000"/>
              <a:gd name="connsiteY112" fmla="*/ 7750 h 10000"/>
              <a:gd name="connsiteX113" fmla="*/ 558 w 10000"/>
              <a:gd name="connsiteY113" fmla="*/ 7916 h 10000"/>
              <a:gd name="connsiteX114" fmla="*/ 773 w 10000"/>
              <a:gd name="connsiteY114" fmla="*/ 7916 h 10000"/>
              <a:gd name="connsiteX115" fmla="*/ 842 w 10000"/>
              <a:gd name="connsiteY115" fmla="*/ 8000 h 10000"/>
              <a:gd name="connsiteX116" fmla="*/ 773 w 10000"/>
              <a:gd name="connsiteY116" fmla="*/ 8000 h 10000"/>
              <a:gd name="connsiteX117" fmla="*/ 842 w 10000"/>
              <a:gd name="connsiteY117" fmla="*/ 8082 h 10000"/>
              <a:gd name="connsiteX118" fmla="*/ 908 w 10000"/>
              <a:gd name="connsiteY118" fmla="*/ 8082 h 10000"/>
              <a:gd name="connsiteX119" fmla="*/ 976 w 10000"/>
              <a:gd name="connsiteY119" fmla="*/ 8249 h 10000"/>
              <a:gd name="connsiteX120" fmla="*/ 1049 w 10000"/>
              <a:gd name="connsiteY120" fmla="*/ 8332 h 10000"/>
              <a:gd name="connsiteX121" fmla="*/ 1116 w 10000"/>
              <a:gd name="connsiteY121" fmla="*/ 8249 h 10000"/>
              <a:gd name="connsiteX122" fmla="*/ 1469 w 10000"/>
              <a:gd name="connsiteY122" fmla="*/ 8500 h 10000"/>
              <a:gd name="connsiteX123" fmla="*/ 1400 w 10000"/>
              <a:gd name="connsiteY123" fmla="*/ 8833 h 10000"/>
              <a:gd name="connsiteX124" fmla="*/ 1329 w 10000"/>
              <a:gd name="connsiteY124" fmla="*/ 8750 h 10000"/>
              <a:gd name="connsiteX125" fmla="*/ 1255 w 10000"/>
              <a:gd name="connsiteY125" fmla="*/ 8833 h 10000"/>
              <a:gd name="connsiteX126" fmla="*/ 1255 w 10000"/>
              <a:gd name="connsiteY126" fmla="*/ 8999 h 10000"/>
              <a:gd name="connsiteX127" fmla="*/ 1329 w 10000"/>
              <a:gd name="connsiteY127" fmla="*/ 8917 h 10000"/>
              <a:gd name="connsiteX128" fmla="*/ 1400 w 10000"/>
              <a:gd name="connsiteY128" fmla="*/ 8999 h 10000"/>
              <a:gd name="connsiteX129" fmla="*/ 1191 w 10000"/>
              <a:gd name="connsiteY129" fmla="*/ 9083 h 10000"/>
              <a:gd name="connsiteX130" fmla="*/ 1255 w 10000"/>
              <a:gd name="connsiteY130" fmla="*/ 9167 h 10000"/>
              <a:gd name="connsiteX131" fmla="*/ 1116 w 10000"/>
              <a:gd name="connsiteY131" fmla="*/ 9333 h 10000"/>
              <a:gd name="connsiteX132" fmla="*/ 1049 w 10000"/>
              <a:gd name="connsiteY132" fmla="*/ 9333 h 10000"/>
              <a:gd name="connsiteX133" fmla="*/ 1116 w 10000"/>
              <a:gd name="connsiteY133" fmla="*/ 9333 h 10000"/>
              <a:gd name="connsiteX134" fmla="*/ 1400 w 10000"/>
              <a:gd name="connsiteY134" fmla="*/ 9668 h 10000"/>
              <a:gd name="connsiteX135" fmla="*/ 1749 w 10000"/>
              <a:gd name="connsiteY135" fmla="*/ 9668 h 10000"/>
              <a:gd name="connsiteX136" fmla="*/ 1889 w 10000"/>
              <a:gd name="connsiteY136" fmla="*/ 9750 h 10000"/>
              <a:gd name="connsiteX137" fmla="*/ 2028 w 10000"/>
              <a:gd name="connsiteY137" fmla="*/ 9750 h 10000"/>
              <a:gd name="connsiteX138" fmla="*/ 2168 w 10000"/>
              <a:gd name="connsiteY138" fmla="*/ 9918 h 10000"/>
              <a:gd name="connsiteX139" fmla="*/ 2238 w 10000"/>
              <a:gd name="connsiteY139" fmla="*/ 10000 h 10000"/>
              <a:gd name="connsiteX140" fmla="*/ 2304 w 10000"/>
              <a:gd name="connsiteY140" fmla="*/ 10000 h 10000"/>
              <a:gd name="connsiteX141" fmla="*/ 2378 w 10000"/>
              <a:gd name="connsiteY141" fmla="*/ 9918 h 10000"/>
              <a:gd name="connsiteX142" fmla="*/ 2238 w 10000"/>
              <a:gd name="connsiteY142" fmla="*/ 9750 h 10000"/>
              <a:gd name="connsiteX143" fmla="*/ 2238 w 10000"/>
              <a:gd name="connsiteY143" fmla="*/ 9584 h 10000"/>
              <a:gd name="connsiteX144" fmla="*/ 2168 w 10000"/>
              <a:gd name="connsiteY144" fmla="*/ 9416 h 10000"/>
              <a:gd name="connsiteX145" fmla="*/ 2304 w 10000"/>
              <a:gd name="connsiteY145" fmla="*/ 9167 h 10000"/>
              <a:gd name="connsiteX146" fmla="*/ 2378 w 10000"/>
              <a:gd name="connsiteY146" fmla="*/ 9250 h 10000"/>
              <a:gd name="connsiteX147" fmla="*/ 2447 w 10000"/>
              <a:gd name="connsiteY147" fmla="*/ 9167 h 10000"/>
              <a:gd name="connsiteX148" fmla="*/ 2447 w 10000"/>
              <a:gd name="connsiteY148" fmla="*/ 9083 h 10000"/>
              <a:gd name="connsiteX149" fmla="*/ 2378 w 10000"/>
              <a:gd name="connsiteY149" fmla="*/ 9083 h 10000"/>
              <a:gd name="connsiteX150" fmla="*/ 2447 w 10000"/>
              <a:gd name="connsiteY150" fmla="*/ 8999 h 10000"/>
              <a:gd name="connsiteX151" fmla="*/ 2378 w 10000"/>
              <a:gd name="connsiteY151" fmla="*/ 8833 h 10000"/>
              <a:gd name="connsiteX152" fmla="*/ 2238 w 10000"/>
              <a:gd name="connsiteY152" fmla="*/ 8833 h 10000"/>
              <a:gd name="connsiteX153" fmla="*/ 2168 w 10000"/>
              <a:gd name="connsiteY153" fmla="*/ 8667 h 10000"/>
              <a:gd name="connsiteX154" fmla="*/ 2238 w 10000"/>
              <a:gd name="connsiteY154" fmla="*/ 8249 h 10000"/>
              <a:gd name="connsiteX155" fmla="*/ 2378 w 10000"/>
              <a:gd name="connsiteY155" fmla="*/ 8418 h 10000"/>
              <a:gd name="connsiteX156" fmla="*/ 2447 w 10000"/>
              <a:gd name="connsiteY156" fmla="*/ 8418 h 10000"/>
              <a:gd name="connsiteX157" fmla="*/ 2378 w 10000"/>
              <a:gd name="connsiteY157" fmla="*/ 8249 h 10000"/>
              <a:gd name="connsiteX158" fmla="*/ 2589 w 10000"/>
              <a:gd name="connsiteY158" fmla="*/ 8000 h 10000"/>
              <a:gd name="connsiteX159" fmla="*/ 2730 w 10000"/>
              <a:gd name="connsiteY159" fmla="*/ 8082 h 10000"/>
              <a:gd name="connsiteX160" fmla="*/ 2798 w 10000"/>
              <a:gd name="connsiteY160" fmla="*/ 8000 h 10000"/>
              <a:gd name="connsiteX161" fmla="*/ 2933 w 10000"/>
              <a:gd name="connsiteY161" fmla="*/ 8082 h 10000"/>
              <a:gd name="connsiteX162" fmla="*/ 3150 w 10000"/>
              <a:gd name="connsiteY162" fmla="*/ 8249 h 10000"/>
              <a:gd name="connsiteX163" fmla="*/ 3285 w 10000"/>
              <a:gd name="connsiteY163" fmla="*/ 8167 h 10000"/>
              <a:gd name="connsiteX164" fmla="*/ 3427 w 10000"/>
              <a:gd name="connsiteY164" fmla="*/ 8167 h 10000"/>
              <a:gd name="connsiteX165" fmla="*/ 3499 w 10000"/>
              <a:gd name="connsiteY165" fmla="*/ 8249 h 10000"/>
              <a:gd name="connsiteX166" fmla="*/ 3778 w 10000"/>
              <a:gd name="connsiteY166" fmla="*/ 8249 h 10000"/>
              <a:gd name="connsiteX167" fmla="*/ 3844 w 10000"/>
              <a:gd name="connsiteY167" fmla="*/ 8082 h 10000"/>
              <a:gd name="connsiteX168" fmla="*/ 3633 w 10000"/>
              <a:gd name="connsiteY168" fmla="*/ 8000 h 10000"/>
              <a:gd name="connsiteX169" fmla="*/ 3778 w 10000"/>
              <a:gd name="connsiteY169" fmla="*/ 7916 h 10000"/>
              <a:gd name="connsiteX170" fmla="*/ 3703 w 10000"/>
              <a:gd name="connsiteY170" fmla="*/ 7833 h 10000"/>
              <a:gd name="connsiteX171" fmla="*/ 3778 w 10000"/>
              <a:gd name="connsiteY171" fmla="*/ 7750 h 10000"/>
              <a:gd name="connsiteX172" fmla="*/ 3778 w 10000"/>
              <a:gd name="connsiteY172" fmla="*/ 7500 h 10000"/>
              <a:gd name="connsiteX173" fmla="*/ 3913 w 10000"/>
              <a:gd name="connsiteY173" fmla="*/ 7584 h 10000"/>
              <a:gd name="connsiteX174" fmla="*/ 4545 w 10000"/>
              <a:gd name="connsiteY174" fmla="*/ 7334 h 10000"/>
              <a:gd name="connsiteX175" fmla="*/ 4545 w 10000"/>
              <a:gd name="connsiteY175" fmla="*/ 7250 h 10000"/>
              <a:gd name="connsiteX176" fmla="*/ 4617 w 10000"/>
              <a:gd name="connsiteY176" fmla="*/ 7250 h 10000"/>
              <a:gd name="connsiteX177" fmla="*/ 4820 w 10000"/>
              <a:gd name="connsiteY177" fmla="*/ 7250 h 10000"/>
              <a:gd name="connsiteX178" fmla="*/ 4898 w 10000"/>
              <a:gd name="connsiteY178" fmla="*/ 7417 h 10000"/>
              <a:gd name="connsiteX179" fmla="*/ 4898 w 10000"/>
              <a:gd name="connsiteY179" fmla="*/ 7500 h 10000"/>
              <a:gd name="connsiteX180" fmla="*/ 4963 w 10000"/>
              <a:gd name="connsiteY180" fmla="*/ 7500 h 10000"/>
              <a:gd name="connsiteX181" fmla="*/ 5103 w 10000"/>
              <a:gd name="connsiteY181" fmla="*/ 7584 h 10000"/>
              <a:gd name="connsiteX182" fmla="*/ 5103 w 10000"/>
              <a:gd name="connsiteY182" fmla="*/ 7668 h 10000"/>
              <a:gd name="connsiteX183" fmla="*/ 5243 w 10000"/>
              <a:gd name="connsiteY183" fmla="*/ 7668 h 10000"/>
              <a:gd name="connsiteX184" fmla="*/ 5383 w 10000"/>
              <a:gd name="connsiteY184" fmla="*/ 7500 h 10000"/>
              <a:gd name="connsiteX185" fmla="*/ 5523 w 10000"/>
              <a:gd name="connsiteY185" fmla="*/ 7417 h 10000"/>
              <a:gd name="connsiteX186" fmla="*/ 5603 w 10000"/>
              <a:gd name="connsiteY186" fmla="*/ 7668 h 10000"/>
              <a:gd name="connsiteX187" fmla="*/ 5875 w 10000"/>
              <a:gd name="connsiteY187" fmla="*/ 8249 h 10000"/>
              <a:gd name="connsiteX188" fmla="*/ 5947 w 10000"/>
              <a:gd name="connsiteY188" fmla="*/ 8082 h 10000"/>
              <a:gd name="connsiteX189" fmla="*/ 6016 w 10000"/>
              <a:gd name="connsiteY189" fmla="*/ 8249 h 10000"/>
              <a:gd name="connsiteX190" fmla="*/ 6226 w 10000"/>
              <a:gd name="connsiteY190" fmla="*/ 8167 h 10000"/>
              <a:gd name="connsiteX191" fmla="*/ 6437 w 10000"/>
              <a:gd name="connsiteY191" fmla="*/ 8418 h 10000"/>
              <a:gd name="connsiteX192" fmla="*/ 6572 w 10000"/>
              <a:gd name="connsiteY192" fmla="*/ 8500 h 10000"/>
              <a:gd name="connsiteX193" fmla="*/ 6572 w 10000"/>
              <a:gd name="connsiteY193" fmla="*/ 8418 h 10000"/>
              <a:gd name="connsiteX194" fmla="*/ 6647 w 10000"/>
              <a:gd name="connsiteY194" fmla="*/ 8584 h 10000"/>
              <a:gd name="connsiteX195" fmla="*/ 6572 w 10000"/>
              <a:gd name="connsiteY195" fmla="*/ 8667 h 10000"/>
              <a:gd name="connsiteX196" fmla="*/ 6716 w 10000"/>
              <a:gd name="connsiteY196" fmla="*/ 8584 h 10000"/>
              <a:gd name="connsiteX197" fmla="*/ 6783 w 10000"/>
              <a:gd name="connsiteY197" fmla="*/ 8500 h 10000"/>
              <a:gd name="connsiteX198" fmla="*/ 7130 w 10000"/>
              <a:gd name="connsiteY198" fmla="*/ 8249 h 10000"/>
              <a:gd name="connsiteX199" fmla="*/ 7413 w 10000"/>
              <a:gd name="connsiteY199" fmla="*/ 8332 h 10000"/>
              <a:gd name="connsiteX200" fmla="*/ 7550 w 10000"/>
              <a:gd name="connsiteY200" fmla="*/ 8418 h 10000"/>
              <a:gd name="connsiteX201" fmla="*/ 7830 w 10000"/>
              <a:gd name="connsiteY201" fmla="*/ 8418 h 10000"/>
              <a:gd name="connsiteX202" fmla="*/ 7830 w 10000"/>
              <a:gd name="connsiteY202" fmla="*/ 8249 h 10000"/>
              <a:gd name="connsiteX203" fmla="*/ 7830 w 10000"/>
              <a:gd name="connsiteY203" fmla="*/ 8082 h 10000"/>
              <a:gd name="connsiteX204" fmla="*/ 7971 w 10000"/>
              <a:gd name="connsiteY204" fmla="*/ 8000 h 10000"/>
              <a:gd name="connsiteX205" fmla="*/ 8247 w 10000"/>
              <a:gd name="connsiteY205" fmla="*/ 8082 h 10000"/>
              <a:gd name="connsiteX206" fmla="*/ 8392 w 10000"/>
              <a:gd name="connsiteY206" fmla="*/ 8332 h 10000"/>
              <a:gd name="connsiteX207" fmla="*/ 8462 w 10000"/>
              <a:gd name="connsiteY207" fmla="*/ 8332 h 10000"/>
              <a:gd name="connsiteX208" fmla="*/ 8602 w 10000"/>
              <a:gd name="connsiteY208" fmla="*/ 8249 h 10000"/>
              <a:gd name="connsiteX209" fmla="*/ 9026 w 10000"/>
              <a:gd name="connsiteY209" fmla="*/ 8500 h 10000"/>
              <a:gd name="connsiteX210" fmla="*/ 9231 w 10000"/>
              <a:gd name="connsiteY210" fmla="*/ 8584 h 10000"/>
              <a:gd name="connsiteX211" fmla="*/ 9510 w 10000"/>
              <a:gd name="connsiteY211" fmla="*/ 8500 h 10000"/>
              <a:gd name="connsiteX212" fmla="*/ 9652 w 10000"/>
              <a:gd name="connsiteY212" fmla="*/ 8332 h 10000"/>
              <a:gd name="connsiteX213" fmla="*/ 9860 w 10000"/>
              <a:gd name="connsiteY213" fmla="*/ 8418 h 10000"/>
              <a:gd name="connsiteX214" fmla="*/ 10000 w 10000"/>
              <a:gd name="connsiteY214" fmla="*/ 8500 h 10000"/>
              <a:gd name="connsiteX0" fmla="*/ 7971 w 10000"/>
              <a:gd name="connsiteY0" fmla="*/ 0 h 10000"/>
              <a:gd name="connsiteX1" fmla="*/ 7344 w 10000"/>
              <a:gd name="connsiteY1" fmla="*/ 165 h 10000"/>
              <a:gd name="connsiteX2" fmla="*/ 6783 w 10000"/>
              <a:gd name="connsiteY2" fmla="*/ 582 h 10000"/>
              <a:gd name="connsiteX3" fmla="*/ 6572 w 10000"/>
              <a:gd name="connsiteY3" fmla="*/ 916 h 10000"/>
              <a:gd name="connsiteX4" fmla="*/ 6647 w 10000"/>
              <a:gd name="connsiteY4" fmla="*/ 1332 h 10000"/>
              <a:gd name="connsiteX5" fmla="*/ 5875 w 10000"/>
              <a:gd name="connsiteY5" fmla="*/ 1500 h 10000"/>
              <a:gd name="connsiteX6" fmla="*/ 5947 w 10000"/>
              <a:gd name="connsiteY6" fmla="*/ 2000 h 10000"/>
              <a:gd name="connsiteX7" fmla="*/ 6155 w 10000"/>
              <a:gd name="connsiteY7" fmla="*/ 2250 h 10000"/>
              <a:gd name="connsiteX8" fmla="*/ 6016 w 10000"/>
              <a:gd name="connsiteY8" fmla="*/ 2332 h 10000"/>
              <a:gd name="connsiteX9" fmla="*/ 5808 w 10000"/>
              <a:gd name="connsiteY9" fmla="*/ 2000 h 10000"/>
              <a:gd name="connsiteX10" fmla="*/ 5603 w 10000"/>
              <a:gd name="connsiteY10" fmla="*/ 1915 h 10000"/>
              <a:gd name="connsiteX11" fmla="*/ 5523 w 10000"/>
              <a:gd name="connsiteY11" fmla="*/ 2000 h 10000"/>
              <a:gd name="connsiteX12" fmla="*/ 5383 w 10000"/>
              <a:gd name="connsiteY12" fmla="*/ 1831 h 10000"/>
              <a:gd name="connsiteX13" fmla="*/ 5243 w 10000"/>
              <a:gd name="connsiteY13" fmla="*/ 1665 h 10000"/>
              <a:gd name="connsiteX14" fmla="*/ 5243 w 10000"/>
              <a:gd name="connsiteY14" fmla="*/ 1749 h 10000"/>
              <a:gd name="connsiteX15" fmla="*/ 5321 w 10000"/>
              <a:gd name="connsiteY15" fmla="*/ 2000 h 10000"/>
              <a:gd name="connsiteX16" fmla="*/ 5103 w 10000"/>
              <a:gd name="connsiteY16" fmla="*/ 2416 h 10000"/>
              <a:gd name="connsiteX17" fmla="*/ 5243 w 10000"/>
              <a:gd name="connsiteY17" fmla="*/ 2748 h 10000"/>
              <a:gd name="connsiteX18" fmla="*/ 5173 w 10000"/>
              <a:gd name="connsiteY18" fmla="*/ 3083 h 10000"/>
              <a:gd name="connsiteX19" fmla="*/ 5173 w 10000"/>
              <a:gd name="connsiteY19" fmla="*/ 3333 h 10000"/>
              <a:gd name="connsiteX20" fmla="*/ 5383 w 10000"/>
              <a:gd name="connsiteY20" fmla="*/ 3333 h 10000"/>
              <a:gd name="connsiteX21" fmla="*/ 5243 w 10000"/>
              <a:gd name="connsiteY21" fmla="*/ 3416 h 10000"/>
              <a:gd name="connsiteX22" fmla="*/ 5321 w 10000"/>
              <a:gd name="connsiteY22" fmla="*/ 3832 h 10000"/>
              <a:gd name="connsiteX23" fmla="*/ 4898 w 10000"/>
              <a:gd name="connsiteY23" fmla="*/ 4250 h 10000"/>
              <a:gd name="connsiteX24" fmla="*/ 4820 w 10000"/>
              <a:gd name="connsiteY24" fmla="*/ 4167 h 10000"/>
              <a:gd name="connsiteX25" fmla="*/ 5103 w 10000"/>
              <a:gd name="connsiteY25" fmla="*/ 3748 h 10000"/>
              <a:gd name="connsiteX26" fmla="*/ 5173 w 10000"/>
              <a:gd name="connsiteY26" fmla="*/ 3500 h 10000"/>
              <a:gd name="connsiteX27" fmla="*/ 5026 w 10000"/>
              <a:gd name="connsiteY27" fmla="*/ 3333 h 10000"/>
              <a:gd name="connsiteX28" fmla="*/ 5026 w 10000"/>
              <a:gd name="connsiteY28" fmla="*/ 2498 h 10000"/>
              <a:gd name="connsiteX29" fmla="*/ 4963 w 10000"/>
              <a:gd name="connsiteY29" fmla="*/ 2332 h 10000"/>
              <a:gd name="connsiteX30" fmla="*/ 5026 w 10000"/>
              <a:gd name="connsiteY30" fmla="*/ 1831 h 10000"/>
              <a:gd name="connsiteX31" fmla="*/ 4898 w 10000"/>
              <a:gd name="connsiteY31" fmla="*/ 1749 h 10000"/>
              <a:gd name="connsiteX32" fmla="*/ 4963 w 10000"/>
              <a:gd name="connsiteY32" fmla="*/ 1665 h 10000"/>
              <a:gd name="connsiteX33" fmla="*/ 4898 w 10000"/>
              <a:gd name="connsiteY33" fmla="*/ 1500 h 10000"/>
              <a:gd name="connsiteX34" fmla="*/ 4752 w 10000"/>
              <a:gd name="connsiteY34" fmla="*/ 1582 h 10000"/>
              <a:gd name="connsiteX35" fmla="*/ 4407 w 10000"/>
              <a:gd name="connsiteY35" fmla="*/ 2666 h 10000"/>
              <a:gd name="connsiteX36" fmla="*/ 4407 w 10000"/>
              <a:gd name="connsiteY36" fmla="*/ 3083 h 10000"/>
              <a:gd name="connsiteX37" fmla="*/ 4617 w 10000"/>
              <a:gd name="connsiteY37" fmla="*/ 3416 h 10000"/>
              <a:gd name="connsiteX38" fmla="*/ 4617 w 10000"/>
              <a:gd name="connsiteY38" fmla="*/ 3582 h 10000"/>
              <a:gd name="connsiteX39" fmla="*/ 4407 w 10000"/>
              <a:gd name="connsiteY39" fmla="*/ 3416 h 10000"/>
              <a:gd name="connsiteX40" fmla="*/ 3571 w 10000"/>
              <a:gd name="connsiteY40" fmla="*/ 2748 h 10000"/>
              <a:gd name="connsiteX41" fmla="*/ 3499 w 10000"/>
              <a:gd name="connsiteY41" fmla="*/ 2915 h 10000"/>
              <a:gd name="connsiteX42" fmla="*/ 3778 w 10000"/>
              <a:gd name="connsiteY42" fmla="*/ 3333 h 10000"/>
              <a:gd name="connsiteX43" fmla="*/ 3633 w 10000"/>
              <a:gd name="connsiteY43" fmla="*/ 3416 h 10000"/>
              <a:gd name="connsiteX44" fmla="*/ 3571 w 10000"/>
              <a:gd name="connsiteY44" fmla="*/ 3333 h 10000"/>
              <a:gd name="connsiteX45" fmla="*/ 3150 w 10000"/>
              <a:gd name="connsiteY45" fmla="*/ 3500 h 10000"/>
              <a:gd name="connsiteX46" fmla="*/ 3081 w 10000"/>
              <a:gd name="connsiteY46" fmla="*/ 3665 h 10000"/>
              <a:gd name="connsiteX47" fmla="*/ 3010 w 10000"/>
              <a:gd name="connsiteY47" fmla="*/ 3500 h 10000"/>
              <a:gd name="connsiteX48" fmla="*/ 3010 w 10000"/>
              <a:gd name="connsiteY48" fmla="*/ 3333 h 10000"/>
              <a:gd name="connsiteX49" fmla="*/ 2304 w 10000"/>
              <a:gd name="connsiteY49" fmla="*/ 3832 h 10000"/>
              <a:gd name="connsiteX50" fmla="*/ 2304 w 10000"/>
              <a:gd name="connsiteY50" fmla="*/ 3998 h 10000"/>
              <a:gd name="connsiteX51" fmla="*/ 2168 w 10000"/>
              <a:gd name="connsiteY51" fmla="*/ 4082 h 10000"/>
              <a:gd name="connsiteX52" fmla="*/ 1959 w 10000"/>
              <a:gd name="connsiteY52" fmla="*/ 3916 h 10000"/>
              <a:gd name="connsiteX53" fmla="*/ 2168 w 10000"/>
              <a:gd name="connsiteY53" fmla="*/ 3748 h 10000"/>
              <a:gd name="connsiteX54" fmla="*/ 2095 w 10000"/>
              <a:gd name="connsiteY54" fmla="*/ 3500 h 10000"/>
              <a:gd name="connsiteX55" fmla="*/ 1818 w 10000"/>
              <a:gd name="connsiteY55" fmla="*/ 3416 h 10000"/>
              <a:gd name="connsiteX56" fmla="*/ 1889 w 10000"/>
              <a:gd name="connsiteY56" fmla="*/ 3582 h 10000"/>
              <a:gd name="connsiteX57" fmla="*/ 1889 w 10000"/>
              <a:gd name="connsiteY57" fmla="*/ 3998 h 10000"/>
              <a:gd name="connsiteX58" fmla="*/ 1959 w 10000"/>
              <a:gd name="connsiteY58" fmla="*/ 4167 h 10000"/>
              <a:gd name="connsiteX59" fmla="*/ 1889 w 10000"/>
              <a:gd name="connsiteY59" fmla="*/ 4334 h 10000"/>
              <a:gd name="connsiteX60" fmla="*/ 1674 w 10000"/>
              <a:gd name="connsiteY60" fmla="*/ 4250 h 10000"/>
              <a:gd name="connsiteX61" fmla="*/ 1400 w 10000"/>
              <a:gd name="connsiteY61" fmla="*/ 4498 h 10000"/>
              <a:gd name="connsiteX62" fmla="*/ 1535 w 10000"/>
              <a:gd name="connsiteY62" fmla="*/ 4833 h 10000"/>
              <a:gd name="connsiteX63" fmla="*/ 1116 w 10000"/>
              <a:gd name="connsiteY63" fmla="*/ 4666 h 10000"/>
              <a:gd name="connsiteX64" fmla="*/ 1049 w 10000"/>
              <a:gd name="connsiteY64" fmla="*/ 4748 h 10000"/>
              <a:gd name="connsiteX65" fmla="*/ 1191 w 10000"/>
              <a:gd name="connsiteY65" fmla="*/ 4999 h 10000"/>
              <a:gd name="connsiteX66" fmla="*/ 1049 w 10000"/>
              <a:gd name="connsiteY66" fmla="*/ 4999 h 10000"/>
              <a:gd name="connsiteX67" fmla="*/ 842 w 10000"/>
              <a:gd name="connsiteY67" fmla="*/ 4833 h 10000"/>
              <a:gd name="connsiteX68" fmla="*/ 842 w 10000"/>
              <a:gd name="connsiteY68" fmla="*/ 4334 h 10000"/>
              <a:gd name="connsiteX69" fmla="*/ 632 w 10000"/>
              <a:gd name="connsiteY69" fmla="*/ 4167 h 10000"/>
              <a:gd name="connsiteX70" fmla="*/ 558 w 10000"/>
              <a:gd name="connsiteY70" fmla="*/ 3998 h 10000"/>
              <a:gd name="connsiteX71" fmla="*/ 697 w 10000"/>
              <a:gd name="connsiteY71" fmla="*/ 4082 h 10000"/>
              <a:gd name="connsiteX72" fmla="*/ 1255 w 10000"/>
              <a:gd name="connsiteY72" fmla="*/ 4334 h 10000"/>
              <a:gd name="connsiteX73" fmla="*/ 1601 w 10000"/>
              <a:gd name="connsiteY73" fmla="*/ 4082 h 10000"/>
              <a:gd name="connsiteX74" fmla="*/ 1535 w 10000"/>
              <a:gd name="connsiteY74" fmla="*/ 3832 h 10000"/>
              <a:gd name="connsiteX75" fmla="*/ 1116 w 10000"/>
              <a:gd name="connsiteY75" fmla="*/ 3333 h 10000"/>
              <a:gd name="connsiteX76" fmla="*/ 697 w 10000"/>
              <a:gd name="connsiteY76" fmla="*/ 3166 h 10000"/>
              <a:gd name="connsiteX77" fmla="*/ 697 w 10000"/>
              <a:gd name="connsiteY77" fmla="*/ 3083 h 10000"/>
              <a:gd name="connsiteX78" fmla="*/ 558 w 10000"/>
              <a:gd name="connsiteY78" fmla="*/ 2997 h 10000"/>
              <a:gd name="connsiteX79" fmla="*/ 417 w 10000"/>
              <a:gd name="connsiteY79" fmla="*/ 3083 h 10000"/>
              <a:gd name="connsiteX80" fmla="*/ 417 w 10000"/>
              <a:gd name="connsiteY80" fmla="*/ 3166 h 10000"/>
              <a:gd name="connsiteX81" fmla="*/ 348 w 10000"/>
              <a:gd name="connsiteY81" fmla="*/ 3166 h 10000"/>
              <a:gd name="connsiteX82" fmla="*/ 210 w 10000"/>
              <a:gd name="connsiteY82" fmla="*/ 3333 h 10000"/>
              <a:gd name="connsiteX83" fmla="*/ 210 w 10000"/>
              <a:gd name="connsiteY83" fmla="*/ 3582 h 10000"/>
              <a:gd name="connsiteX84" fmla="*/ 348 w 10000"/>
              <a:gd name="connsiteY84" fmla="*/ 3748 h 10000"/>
              <a:gd name="connsiteX85" fmla="*/ 282 w 10000"/>
              <a:gd name="connsiteY85" fmla="*/ 3998 h 10000"/>
              <a:gd name="connsiteX86" fmla="*/ 348 w 10000"/>
              <a:gd name="connsiteY86" fmla="*/ 4417 h 10000"/>
              <a:gd name="connsiteX87" fmla="*/ 282 w 10000"/>
              <a:gd name="connsiteY87" fmla="*/ 4666 h 10000"/>
              <a:gd name="connsiteX88" fmla="*/ 417 w 10000"/>
              <a:gd name="connsiteY88" fmla="*/ 4916 h 10000"/>
              <a:gd name="connsiteX89" fmla="*/ 348 w 10000"/>
              <a:gd name="connsiteY89" fmla="*/ 5083 h 10000"/>
              <a:gd name="connsiteX90" fmla="*/ 487 w 10000"/>
              <a:gd name="connsiteY90" fmla="*/ 5250 h 10000"/>
              <a:gd name="connsiteX91" fmla="*/ 487 w 10000"/>
              <a:gd name="connsiteY91" fmla="*/ 5333 h 10000"/>
              <a:gd name="connsiteX92" fmla="*/ 282 w 10000"/>
              <a:gd name="connsiteY92" fmla="*/ 5750 h 10000"/>
              <a:gd name="connsiteX93" fmla="*/ 64 w 10000"/>
              <a:gd name="connsiteY93" fmla="*/ 5917 h 10000"/>
              <a:gd name="connsiteX94" fmla="*/ 138 w 10000"/>
              <a:gd name="connsiteY94" fmla="*/ 5917 h 10000"/>
              <a:gd name="connsiteX95" fmla="*/ 282 w 10000"/>
              <a:gd name="connsiteY95" fmla="*/ 6083 h 10000"/>
              <a:gd name="connsiteX96" fmla="*/ 138 w 10000"/>
              <a:gd name="connsiteY96" fmla="*/ 6249 h 10000"/>
              <a:gd name="connsiteX97" fmla="*/ 64 w 10000"/>
              <a:gd name="connsiteY97" fmla="*/ 6334 h 10000"/>
              <a:gd name="connsiteX98" fmla="*/ 0 w 10000"/>
              <a:gd name="connsiteY98" fmla="*/ 6334 h 10000"/>
              <a:gd name="connsiteX99" fmla="*/ 64 w 10000"/>
              <a:gd name="connsiteY99" fmla="*/ 6584 h 10000"/>
              <a:gd name="connsiteX100" fmla="*/ 64 w 10000"/>
              <a:gd name="connsiteY100" fmla="*/ 6667 h 10000"/>
              <a:gd name="connsiteX101" fmla="*/ 64 w 10000"/>
              <a:gd name="connsiteY101" fmla="*/ 6749 h 10000"/>
              <a:gd name="connsiteX102" fmla="*/ 64 w 10000"/>
              <a:gd name="connsiteY102" fmla="*/ 6834 h 10000"/>
              <a:gd name="connsiteX103" fmla="*/ 138 w 10000"/>
              <a:gd name="connsiteY103" fmla="*/ 6998 h 10000"/>
              <a:gd name="connsiteX104" fmla="*/ 348 w 10000"/>
              <a:gd name="connsiteY104" fmla="*/ 7083 h 10000"/>
              <a:gd name="connsiteX105" fmla="*/ 417 w 10000"/>
              <a:gd name="connsiteY105" fmla="*/ 7165 h 10000"/>
              <a:gd name="connsiteX106" fmla="*/ 417 w 10000"/>
              <a:gd name="connsiteY106" fmla="*/ 7334 h 10000"/>
              <a:gd name="connsiteX107" fmla="*/ 558 w 10000"/>
              <a:gd name="connsiteY107" fmla="*/ 7584 h 10000"/>
              <a:gd name="connsiteX108" fmla="*/ 632 w 10000"/>
              <a:gd name="connsiteY108" fmla="*/ 7584 h 10000"/>
              <a:gd name="connsiteX109" fmla="*/ 558 w 10000"/>
              <a:gd name="connsiteY109" fmla="*/ 7750 h 10000"/>
              <a:gd name="connsiteX110" fmla="*/ 487 w 10000"/>
              <a:gd name="connsiteY110" fmla="*/ 7668 h 10000"/>
              <a:gd name="connsiteX111" fmla="*/ 487 w 10000"/>
              <a:gd name="connsiteY111" fmla="*/ 7750 h 10000"/>
              <a:gd name="connsiteX112" fmla="*/ 558 w 10000"/>
              <a:gd name="connsiteY112" fmla="*/ 7916 h 10000"/>
              <a:gd name="connsiteX113" fmla="*/ 773 w 10000"/>
              <a:gd name="connsiteY113" fmla="*/ 7916 h 10000"/>
              <a:gd name="connsiteX114" fmla="*/ 842 w 10000"/>
              <a:gd name="connsiteY114" fmla="*/ 8000 h 10000"/>
              <a:gd name="connsiteX115" fmla="*/ 773 w 10000"/>
              <a:gd name="connsiteY115" fmla="*/ 8000 h 10000"/>
              <a:gd name="connsiteX116" fmla="*/ 842 w 10000"/>
              <a:gd name="connsiteY116" fmla="*/ 8082 h 10000"/>
              <a:gd name="connsiteX117" fmla="*/ 908 w 10000"/>
              <a:gd name="connsiteY117" fmla="*/ 8082 h 10000"/>
              <a:gd name="connsiteX118" fmla="*/ 976 w 10000"/>
              <a:gd name="connsiteY118" fmla="*/ 8249 h 10000"/>
              <a:gd name="connsiteX119" fmla="*/ 1049 w 10000"/>
              <a:gd name="connsiteY119" fmla="*/ 8332 h 10000"/>
              <a:gd name="connsiteX120" fmla="*/ 1116 w 10000"/>
              <a:gd name="connsiteY120" fmla="*/ 8249 h 10000"/>
              <a:gd name="connsiteX121" fmla="*/ 1469 w 10000"/>
              <a:gd name="connsiteY121" fmla="*/ 8500 h 10000"/>
              <a:gd name="connsiteX122" fmla="*/ 1400 w 10000"/>
              <a:gd name="connsiteY122" fmla="*/ 8833 h 10000"/>
              <a:gd name="connsiteX123" fmla="*/ 1329 w 10000"/>
              <a:gd name="connsiteY123" fmla="*/ 8750 h 10000"/>
              <a:gd name="connsiteX124" fmla="*/ 1255 w 10000"/>
              <a:gd name="connsiteY124" fmla="*/ 8833 h 10000"/>
              <a:gd name="connsiteX125" fmla="*/ 1255 w 10000"/>
              <a:gd name="connsiteY125" fmla="*/ 8999 h 10000"/>
              <a:gd name="connsiteX126" fmla="*/ 1329 w 10000"/>
              <a:gd name="connsiteY126" fmla="*/ 8917 h 10000"/>
              <a:gd name="connsiteX127" fmla="*/ 1400 w 10000"/>
              <a:gd name="connsiteY127" fmla="*/ 8999 h 10000"/>
              <a:gd name="connsiteX128" fmla="*/ 1191 w 10000"/>
              <a:gd name="connsiteY128" fmla="*/ 9083 h 10000"/>
              <a:gd name="connsiteX129" fmla="*/ 1255 w 10000"/>
              <a:gd name="connsiteY129" fmla="*/ 9167 h 10000"/>
              <a:gd name="connsiteX130" fmla="*/ 1116 w 10000"/>
              <a:gd name="connsiteY130" fmla="*/ 9333 h 10000"/>
              <a:gd name="connsiteX131" fmla="*/ 1049 w 10000"/>
              <a:gd name="connsiteY131" fmla="*/ 9333 h 10000"/>
              <a:gd name="connsiteX132" fmla="*/ 1116 w 10000"/>
              <a:gd name="connsiteY132" fmla="*/ 9333 h 10000"/>
              <a:gd name="connsiteX133" fmla="*/ 1400 w 10000"/>
              <a:gd name="connsiteY133" fmla="*/ 9668 h 10000"/>
              <a:gd name="connsiteX134" fmla="*/ 1749 w 10000"/>
              <a:gd name="connsiteY134" fmla="*/ 9668 h 10000"/>
              <a:gd name="connsiteX135" fmla="*/ 1889 w 10000"/>
              <a:gd name="connsiteY135" fmla="*/ 9750 h 10000"/>
              <a:gd name="connsiteX136" fmla="*/ 2028 w 10000"/>
              <a:gd name="connsiteY136" fmla="*/ 9750 h 10000"/>
              <a:gd name="connsiteX137" fmla="*/ 2168 w 10000"/>
              <a:gd name="connsiteY137" fmla="*/ 9918 h 10000"/>
              <a:gd name="connsiteX138" fmla="*/ 2238 w 10000"/>
              <a:gd name="connsiteY138" fmla="*/ 10000 h 10000"/>
              <a:gd name="connsiteX139" fmla="*/ 2304 w 10000"/>
              <a:gd name="connsiteY139" fmla="*/ 10000 h 10000"/>
              <a:gd name="connsiteX140" fmla="*/ 2378 w 10000"/>
              <a:gd name="connsiteY140" fmla="*/ 9918 h 10000"/>
              <a:gd name="connsiteX141" fmla="*/ 2238 w 10000"/>
              <a:gd name="connsiteY141" fmla="*/ 9750 h 10000"/>
              <a:gd name="connsiteX142" fmla="*/ 2238 w 10000"/>
              <a:gd name="connsiteY142" fmla="*/ 9584 h 10000"/>
              <a:gd name="connsiteX143" fmla="*/ 2168 w 10000"/>
              <a:gd name="connsiteY143" fmla="*/ 9416 h 10000"/>
              <a:gd name="connsiteX144" fmla="*/ 2304 w 10000"/>
              <a:gd name="connsiteY144" fmla="*/ 9167 h 10000"/>
              <a:gd name="connsiteX145" fmla="*/ 2378 w 10000"/>
              <a:gd name="connsiteY145" fmla="*/ 9250 h 10000"/>
              <a:gd name="connsiteX146" fmla="*/ 2447 w 10000"/>
              <a:gd name="connsiteY146" fmla="*/ 9167 h 10000"/>
              <a:gd name="connsiteX147" fmla="*/ 2447 w 10000"/>
              <a:gd name="connsiteY147" fmla="*/ 9083 h 10000"/>
              <a:gd name="connsiteX148" fmla="*/ 2378 w 10000"/>
              <a:gd name="connsiteY148" fmla="*/ 9083 h 10000"/>
              <a:gd name="connsiteX149" fmla="*/ 2447 w 10000"/>
              <a:gd name="connsiteY149" fmla="*/ 8999 h 10000"/>
              <a:gd name="connsiteX150" fmla="*/ 2378 w 10000"/>
              <a:gd name="connsiteY150" fmla="*/ 8833 h 10000"/>
              <a:gd name="connsiteX151" fmla="*/ 2238 w 10000"/>
              <a:gd name="connsiteY151" fmla="*/ 8833 h 10000"/>
              <a:gd name="connsiteX152" fmla="*/ 2168 w 10000"/>
              <a:gd name="connsiteY152" fmla="*/ 8667 h 10000"/>
              <a:gd name="connsiteX153" fmla="*/ 2238 w 10000"/>
              <a:gd name="connsiteY153" fmla="*/ 8249 h 10000"/>
              <a:gd name="connsiteX154" fmla="*/ 2378 w 10000"/>
              <a:gd name="connsiteY154" fmla="*/ 8418 h 10000"/>
              <a:gd name="connsiteX155" fmla="*/ 2447 w 10000"/>
              <a:gd name="connsiteY155" fmla="*/ 8418 h 10000"/>
              <a:gd name="connsiteX156" fmla="*/ 2378 w 10000"/>
              <a:gd name="connsiteY156" fmla="*/ 8249 h 10000"/>
              <a:gd name="connsiteX157" fmla="*/ 2589 w 10000"/>
              <a:gd name="connsiteY157" fmla="*/ 8000 h 10000"/>
              <a:gd name="connsiteX158" fmla="*/ 2730 w 10000"/>
              <a:gd name="connsiteY158" fmla="*/ 8082 h 10000"/>
              <a:gd name="connsiteX159" fmla="*/ 2798 w 10000"/>
              <a:gd name="connsiteY159" fmla="*/ 8000 h 10000"/>
              <a:gd name="connsiteX160" fmla="*/ 2933 w 10000"/>
              <a:gd name="connsiteY160" fmla="*/ 8082 h 10000"/>
              <a:gd name="connsiteX161" fmla="*/ 3150 w 10000"/>
              <a:gd name="connsiteY161" fmla="*/ 8249 h 10000"/>
              <a:gd name="connsiteX162" fmla="*/ 3285 w 10000"/>
              <a:gd name="connsiteY162" fmla="*/ 8167 h 10000"/>
              <a:gd name="connsiteX163" fmla="*/ 3427 w 10000"/>
              <a:gd name="connsiteY163" fmla="*/ 8167 h 10000"/>
              <a:gd name="connsiteX164" fmla="*/ 3499 w 10000"/>
              <a:gd name="connsiteY164" fmla="*/ 8249 h 10000"/>
              <a:gd name="connsiteX165" fmla="*/ 3778 w 10000"/>
              <a:gd name="connsiteY165" fmla="*/ 8249 h 10000"/>
              <a:gd name="connsiteX166" fmla="*/ 3844 w 10000"/>
              <a:gd name="connsiteY166" fmla="*/ 8082 h 10000"/>
              <a:gd name="connsiteX167" fmla="*/ 3633 w 10000"/>
              <a:gd name="connsiteY167" fmla="*/ 8000 h 10000"/>
              <a:gd name="connsiteX168" fmla="*/ 3778 w 10000"/>
              <a:gd name="connsiteY168" fmla="*/ 7916 h 10000"/>
              <a:gd name="connsiteX169" fmla="*/ 3703 w 10000"/>
              <a:gd name="connsiteY169" fmla="*/ 7833 h 10000"/>
              <a:gd name="connsiteX170" fmla="*/ 3778 w 10000"/>
              <a:gd name="connsiteY170" fmla="*/ 7750 h 10000"/>
              <a:gd name="connsiteX171" fmla="*/ 3778 w 10000"/>
              <a:gd name="connsiteY171" fmla="*/ 7500 h 10000"/>
              <a:gd name="connsiteX172" fmla="*/ 3913 w 10000"/>
              <a:gd name="connsiteY172" fmla="*/ 7584 h 10000"/>
              <a:gd name="connsiteX173" fmla="*/ 4545 w 10000"/>
              <a:gd name="connsiteY173" fmla="*/ 7334 h 10000"/>
              <a:gd name="connsiteX174" fmla="*/ 4545 w 10000"/>
              <a:gd name="connsiteY174" fmla="*/ 7250 h 10000"/>
              <a:gd name="connsiteX175" fmla="*/ 4617 w 10000"/>
              <a:gd name="connsiteY175" fmla="*/ 7250 h 10000"/>
              <a:gd name="connsiteX176" fmla="*/ 4820 w 10000"/>
              <a:gd name="connsiteY176" fmla="*/ 7250 h 10000"/>
              <a:gd name="connsiteX177" fmla="*/ 4898 w 10000"/>
              <a:gd name="connsiteY177" fmla="*/ 7417 h 10000"/>
              <a:gd name="connsiteX178" fmla="*/ 4898 w 10000"/>
              <a:gd name="connsiteY178" fmla="*/ 7500 h 10000"/>
              <a:gd name="connsiteX179" fmla="*/ 4963 w 10000"/>
              <a:gd name="connsiteY179" fmla="*/ 7500 h 10000"/>
              <a:gd name="connsiteX180" fmla="*/ 5103 w 10000"/>
              <a:gd name="connsiteY180" fmla="*/ 7584 h 10000"/>
              <a:gd name="connsiteX181" fmla="*/ 5103 w 10000"/>
              <a:gd name="connsiteY181" fmla="*/ 7668 h 10000"/>
              <a:gd name="connsiteX182" fmla="*/ 5243 w 10000"/>
              <a:gd name="connsiteY182" fmla="*/ 7668 h 10000"/>
              <a:gd name="connsiteX183" fmla="*/ 5383 w 10000"/>
              <a:gd name="connsiteY183" fmla="*/ 7500 h 10000"/>
              <a:gd name="connsiteX184" fmla="*/ 5523 w 10000"/>
              <a:gd name="connsiteY184" fmla="*/ 7417 h 10000"/>
              <a:gd name="connsiteX185" fmla="*/ 5603 w 10000"/>
              <a:gd name="connsiteY185" fmla="*/ 7668 h 10000"/>
              <a:gd name="connsiteX186" fmla="*/ 5875 w 10000"/>
              <a:gd name="connsiteY186" fmla="*/ 8249 h 10000"/>
              <a:gd name="connsiteX187" fmla="*/ 5947 w 10000"/>
              <a:gd name="connsiteY187" fmla="*/ 8082 h 10000"/>
              <a:gd name="connsiteX188" fmla="*/ 6016 w 10000"/>
              <a:gd name="connsiteY188" fmla="*/ 8249 h 10000"/>
              <a:gd name="connsiteX189" fmla="*/ 6226 w 10000"/>
              <a:gd name="connsiteY189" fmla="*/ 8167 h 10000"/>
              <a:gd name="connsiteX190" fmla="*/ 6437 w 10000"/>
              <a:gd name="connsiteY190" fmla="*/ 8418 h 10000"/>
              <a:gd name="connsiteX191" fmla="*/ 6572 w 10000"/>
              <a:gd name="connsiteY191" fmla="*/ 8500 h 10000"/>
              <a:gd name="connsiteX192" fmla="*/ 6572 w 10000"/>
              <a:gd name="connsiteY192" fmla="*/ 8418 h 10000"/>
              <a:gd name="connsiteX193" fmla="*/ 6647 w 10000"/>
              <a:gd name="connsiteY193" fmla="*/ 8584 h 10000"/>
              <a:gd name="connsiteX194" fmla="*/ 6572 w 10000"/>
              <a:gd name="connsiteY194" fmla="*/ 8667 h 10000"/>
              <a:gd name="connsiteX195" fmla="*/ 6716 w 10000"/>
              <a:gd name="connsiteY195" fmla="*/ 8584 h 10000"/>
              <a:gd name="connsiteX196" fmla="*/ 6783 w 10000"/>
              <a:gd name="connsiteY196" fmla="*/ 8500 h 10000"/>
              <a:gd name="connsiteX197" fmla="*/ 7130 w 10000"/>
              <a:gd name="connsiteY197" fmla="*/ 8249 h 10000"/>
              <a:gd name="connsiteX198" fmla="*/ 7413 w 10000"/>
              <a:gd name="connsiteY198" fmla="*/ 8332 h 10000"/>
              <a:gd name="connsiteX199" fmla="*/ 7550 w 10000"/>
              <a:gd name="connsiteY199" fmla="*/ 8418 h 10000"/>
              <a:gd name="connsiteX200" fmla="*/ 7830 w 10000"/>
              <a:gd name="connsiteY200" fmla="*/ 8418 h 10000"/>
              <a:gd name="connsiteX201" fmla="*/ 7830 w 10000"/>
              <a:gd name="connsiteY201" fmla="*/ 8249 h 10000"/>
              <a:gd name="connsiteX202" fmla="*/ 7830 w 10000"/>
              <a:gd name="connsiteY202" fmla="*/ 8082 h 10000"/>
              <a:gd name="connsiteX203" fmla="*/ 7971 w 10000"/>
              <a:gd name="connsiteY203" fmla="*/ 8000 h 10000"/>
              <a:gd name="connsiteX204" fmla="*/ 8247 w 10000"/>
              <a:gd name="connsiteY204" fmla="*/ 8082 h 10000"/>
              <a:gd name="connsiteX205" fmla="*/ 8392 w 10000"/>
              <a:gd name="connsiteY205" fmla="*/ 8332 h 10000"/>
              <a:gd name="connsiteX206" fmla="*/ 8462 w 10000"/>
              <a:gd name="connsiteY206" fmla="*/ 8332 h 10000"/>
              <a:gd name="connsiteX207" fmla="*/ 8602 w 10000"/>
              <a:gd name="connsiteY207" fmla="*/ 8249 h 10000"/>
              <a:gd name="connsiteX208" fmla="*/ 9026 w 10000"/>
              <a:gd name="connsiteY208" fmla="*/ 8500 h 10000"/>
              <a:gd name="connsiteX209" fmla="*/ 9231 w 10000"/>
              <a:gd name="connsiteY209" fmla="*/ 8584 h 10000"/>
              <a:gd name="connsiteX210" fmla="*/ 9510 w 10000"/>
              <a:gd name="connsiteY210" fmla="*/ 8500 h 10000"/>
              <a:gd name="connsiteX211" fmla="*/ 9652 w 10000"/>
              <a:gd name="connsiteY211" fmla="*/ 8332 h 10000"/>
              <a:gd name="connsiteX212" fmla="*/ 9860 w 10000"/>
              <a:gd name="connsiteY212" fmla="*/ 8418 h 10000"/>
              <a:gd name="connsiteX213" fmla="*/ 10000 w 10000"/>
              <a:gd name="connsiteY213" fmla="*/ 8500 h 10000"/>
              <a:gd name="connsiteX0" fmla="*/ 7971 w 9860"/>
              <a:gd name="connsiteY0" fmla="*/ 0 h 10000"/>
              <a:gd name="connsiteX1" fmla="*/ 7344 w 9860"/>
              <a:gd name="connsiteY1" fmla="*/ 165 h 10000"/>
              <a:gd name="connsiteX2" fmla="*/ 6783 w 9860"/>
              <a:gd name="connsiteY2" fmla="*/ 582 h 10000"/>
              <a:gd name="connsiteX3" fmla="*/ 6572 w 9860"/>
              <a:gd name="connsiteY3" fmla="*/ 916 h 10000"/>
              <a:gd name="connsiteX4" fmla="*/ 6647 w 9860"/>
              <a:gd name="connsiteY4" fmla="*/ 1332 h 10000"/>
              <a:gd name="connsiteX5" fmla="*/ 5875 w 9860"/>
              <a:gd name="connsiteY5" fmla="*/ 1500 h 10000"/>
              <a:gd name="connsiteX6" fmla="*/ 5947 w 9860"/>
              <a:gd name="connsiteY6" fmla="*/ 2000 h 10000"/>
              <a:gd name="connsiteX7" fmla="*/ 6155 w 9860"/>
              <a:gd name="connsiteY7" fmla="*/ 2250 h 10000"/>
              <a:gd name="connsiteX8" fmla="*/ 6016 w 9860"/>
              <a:gd name="connsiteY8" fmla="*/ 2332 h 10000"/>
              <a:gd name="connsiteX9" fmla="*/ 5808 w 9860"/>
              <a:gd name="connsiteY9" fmla="*/ 2000 h 10000"/>
              <a:gd name="connsiteX10" fmla="*/ 5603 w 9860"/>
              <a:gd name="connsiteY10" fmla="*/ 1915 h 10000"/>
              <a:gd name="connsiteX11" fmla="*/ 5523 w 9860"/>
              <a:gd name="connsiteY11" fmla="*/ 2000 h 10000"/>
              <a:gd name="connsiteX12" fmla="*/ 5383 w 9860"/>
              <a:gd name="connsiteY12" fmla="*/ 1831 h 10000"/>
              <a:gd name="connsiteX13" fmla="*/ 5243 w 9860"/>
              <a:gd name="connsiteY13" fmla="*/ 1665 h 10000"/>
              <a:gd name="connsiteX14" fmla="*/ 5243 w 9860"/>
              <a:gd name="connsiteY14" fmla="*/ 1749 h 10000"/>
              <a:gd name="connsiteX15" fmla="*/ 5321 w 9860"/>
              <a:gd name="connsiteY15" fmla="*/ 2000 h 10000"/>
              <a:gd name="connsiteX16" fmla="*/ 5103 w 9860"/>
              <a:gd name="connsiteY16" fmla="*/ 2416 h 10000"/>
              <a:gd name="connsiteX17" fmla="*/ 5243 w 9860"/>
              <a:gd name="connsiteY17" fmla="*/ 2748 h 10000"/>
              <a:gd name="connsiteX18" fmla="*/ 5173 w 9860"/>
              <a:gd name="connsiteY18" fmla="*/ 3083 h 10000"/>
              <a:gd name="connsiteX19" fmla="*/ 5173 w 9860"/>
              <a:gd name="connsiteY19" fmla="*/ 3333 h 10000"/>
              <a:gd name="connsiteX20" fmla="*/ 5383 w 9860"/>
              <a:gd name="connsiteY20" fmla="*/ 3333 h 10000"/>
              <a:gd name="connsiteX21" fmla="*/ 5243 w 9860"/>
              <a:gd name="connsiteY21" fmla="*/ 3416 h 10000"/>
              <a:gd name="connsiteX22" fmla="*/ 5321 w 9860"/>
              <a:gd name="connsiteY22" fmla="*/ 3832 h 10000"/>
              <a:gd name="connsiteX23" fmla="*/ 4898 w 9860"/>
              <a:gd name="connsiteY23" fmla="*/ 4250 h 10000"/>
              <a:gd name="connsiteX24" fmla="*/ 4820 w 9860"/>
              <a:gd name="connsiteY24" fmla="*/ 4167 h 10000"/>
              <a:gd name="connsiteX25" fmla="*/ 5103 w 9860"/>
              <a:gd name="connsiteY25" fmla="*/ 3748 h 10000"/>
              <a:gd name="connsiteX26" fmla="*/ 5173 w 9860"/>
              <a:gd name="connsiteY26" fmla="*/ 3500 h 10000"/>
              <a:gd name="connsiteX27" fmla="*/ 5026 w 9860"/>
              <a:gd name="connsiteY27" fmla="*/ 3333 h 10000"/>
              <a:gd name="connsiteX28" fmla="*/ 5026 w 9860"/>
              <a:gd name="connsiteY28" fmla="*/ 2498 h 10000"/>
              <a:gd name="connsiteX29" fmla="*/ 4963 w 9860"/>
              <a:gd name="connsiteY29" fmla="*/ 2332 h 10000"/>
              <a:gd name="connsiteX30" fmla="*/ 5026 w 9860"/>
              <a:gd name="connsiteY30" fmla="*/ 1831 h 10000"/>
              <a:gd name="connsiteX31" fmla="*/ 4898 w 9860"/>
              <a:gd name="connsiteY31" fmla="*/ 1749 h 10000"/>
              <a:gd name="connsiteX32" fmla="*/ 4963 w 9860"/>
              <a:gd name="connsiteY32" fmla="*/ 1665 h 10000"/>
              <a:gd name="connsiteX33" fmla="*/ 4898 w 9860"/>
              <a:gd name="connsiteY33" fmla="*/ 1500 h 10000"/>
              <a:gd name="connsiteX34" fmla="*/ 4752 w 9860"/>
              <a:gd name="connsiteY34" fmla="*/ 1582 h 10000"/>
              <a:gd name="connsiteX35" fmla="*/ 4407 w 9860"/>
              <a:gd name="connsiteY35" fmla="*/ 2666 h 10000"/>
              <a:gd name="connsiteX36" fmla="*/ 4407 w 9860"/>
              <a:gd name="connsiteY36" fmla="*/ 3083 h 10000"/>
              <a:gd name="connsiteX37" fmla="*/ 4617 w 9860"/>
              <a:gd name="connsiteY37" fmla="*/ 3416 h 10000"/>
              <a:gd name="connsiteX38" fmla="*/ 4617 w 9860"/>
              <a:gd name="connsiteY38" fmla="*/ 3582 h 10000"/>
              <a:gd name="connsiteX39" fmla="*/ 4407 w 9860"/>
              <a:gd name="connsiteY39" fmla="*/ 3416 h 10000"/>
              <a:gd name="connsiteX40" fmla="*/ 3571 w 9860"/>
              <a:gd name="connsiteY40" fmla="*/ 2748 h 10000"/>
              <a:gd name="connsiteX41" fmla="*/ 3499 w 9860"/>
              <a:gd name="connsiteY41" fmla="*/ 2915 h 10000"/>
              <a:gd name="connsiteX42" fmla="*/ 3778 w 9860"/>
              <a:gd name="connsiteY42" fmla="*/ 3333 h 10000"/>
              <a:gd name="connsiteX43" fmla="*/ 3633 w 9860"/>
              <a:gd name="connsiteY43" fmla="*/ 3416 h 10000"/>
              <a:gd name="connsiteX44" fmla="*/ 3571 w 9860"/>
              <a:gd name="connsiteY44" fmla="*/ 3333 h 10000"/>
              <a:gd name="connsiteX45" fmla="*/ 3150 w 9860"/>
              <a:gd name="connsiteY45" fmla="*/ 3500 h 10000"/>
              <a:gd name="connsiteX46" fmla="*/ 3081 w 9860"/>
              <a:gd name="connsiteY46" fmla="*/ 3665 h 10000"/>
              <a:gd name="connsiteX47" fmla="*/ 3010 w 9860"/>
              <a:gd name="connsiteY47" fmla="*/ 3500 h 10000"/>
              <a:gd name="connsiteX48" fmla="*/ 3010 w 9860"/>
              <a:gd name="connsiteY48" fmla="*/ 3333 h 10000"/>
              <a:gd name="connsiteX49" fmla="*/ 2304 w 9860"/>
              <a:gd name="connsiteY49" fmla="*/ 3832 h 10000"/>
              <a:gd name="connsiteX50" fmla="*/ 2304 w 9860"/>
              <a:gd name="connsiteY50" fmla="*/ 3998 h 10000"/>
              <a:gd name="connsiteX51" fmla="*/ 2168 w 9860"/>
              <a:gd name="connsiteY51" fmla="*/ 4082 h 10000"/>
              <a:gd name="connsiteX52" fmla="*/ 1959 w 9860"/>
              <a:gd name="connsiteY52" fmla="*/ 3916 h 10000"/>
              <a:gd name="connsiteX53" fmla="*/ 2168 w 9860"/>
              <a:gd name="connsiteY53" fmla="*/ 3748 h 10000"/>
              <a:gd name="connsiteX54" fmla="*/ 2095 w 9860"/>
              <a:gd name="connsiteY54" fmla="*/ 3500 h 10000"/>
              <a:gd name="connsiteX55" fmla="*/ 1818 w 9860"/>
              <a:gd name="connsiteY55" fmla="*/ 3416 h 10000"/>
              <a:gd name="connsiteX56" fmla="*/ 1889 w 9860"/>
              <a:gd name="connsiteY56" fmla="*/ 3582 h 10000"/>
              <a:gd name="connsiteX57" fmla="*/ 1889 w 9860"/>
              <a:gd name="connsiteY57" fmla="*/ 3998 h 10000"/>
              <a:gd name="connsiteX58" fmla="*/ 1959 w 9860"/>
              <a:gd name="connsiteY58" fmla="*/ 4167 h 10000"/>
              <a:gd name="connsiteX59" fmla="*/ 1889 w 9860"/>
              <a:gd name="connsiteY59" fmla="*/ 4334 h 10000"/>
              <a:gd name="connsiteX60" fmla="*/ 1674 w 9860"/>
              <a:gd name="connsiteY60" fmla="*/ 4250 h 10000"/>
              <a:gd name="connsiteX61" fmla="*/ 1400 w 9860"/>
              <a:gd name="connsiteY61" fmla="*/ 4498 h 10000"/>
              <a:gd name="connsiteX62" fmla="*/ 1535 w 9860"/>
              <a:gd name="connsiteY62" fmla="*/ 4833 h 10000"/>
              <a:gd name="connsiteX63" fmla="*/ 1116 w 9860"/>
              <a:gd name="connsiteY63" fmla="*/ 4666 h 10000"/>
              <a:gd name="connsiteX64" fmla="*/ 1049 w 9860"/>
              <a:gd name="connsiteY64" fmla="*/ 4748 h 10000"/>
              <a:gd name="connsiteX65" fmla="*/ 1191 w 9860"/>
              <a:gd name="connsiteY65" fmla="*/ 4999 h 10000"/>
              <a:gd name="connsiteX66" fmla="*/ 1049 w 9860"/>
              <a:gd name="connsiteY66" fmla="*/ 4999 h 10000"/>
              <a:gd name="connsiteX67" fmla="*/ 842 w 9860"/>
              <a:gd name="connsiteY67" fmla="*/ 4833 h 10000"/>
              <a:gd name="connsiteX68" fmla="*/ 842 w 9860"/>
              <a:gd name="connsiteY68" fmla="*/ 4334 h 10000"/>
              <a:gd name="connsiteX69" fmla="*/ 632 w 9860"/>
              <a:gd name="connsiteY69" fmla="*/ 4167 h 10000"/>
              <a:gd name="connsiteX70" fmla="*/ 558 w 9860"/>
              <a:gd name="connsiteY70" fmla="*/ 3998 h 10000"/>
              <a:gd name="connsiteX71" fmla="*/ 697 w 9860"/>
              <a:gd name="connsiteY71" fmla="*/ 4082 h 10000"/>
              <a:gd name="connsiteX72" fmla="*/ 1255 w 9860"/>
              <a:gd name="connsiteY72" fmla="*/ 4334 h 10000"/>
              <a:gd name="connsiteX73" fmla="*/ 1601 w 9860"/>
              <a:gd name="connsiteY73" fmla="*/ 4082 h 10000"/>
              <a:gd name="connsiteX74" fmla="*/ 1535 w 9860"/>
              <a:gd name="connsiteY74" fmla="*/ 3832 h 10000"/>
              <a:gd name="connsiteX75" fmla="*/ 1116 w 9860"/>
              <a:gd name="connsiteY75" fmla="*/ 3333 h 10000"/>
              <a:gd name="connsiteX76" fmla="*/ 697 w 9860"/>
              <a:gd name="connsiteY76" fmla="*/ 3166 h 10000"/>
              <a:gd name="connsiteX77" fmla="*/ 697 w 9860"/>
              <a:gd name="connsiteY77" fmla="*/ 3083 h 10000"/>
              <a:gd name="connsiteX78" fmla="*/ 558 w 9860"/>
              <a:gd name="connsiteY78" fmla="*/ 2997 h 10000"/>
              <a:gd name="connsiteX79" fmla="*/ 417 w 9860"/>
              <a:gd name="connsiteY79" fmla="*/ 3083 h 10000"/>
              <a:gd name="connsiteX80" fmla="*/ 417 w 9860"/>
              <a:gd name="connsiteY80" fmla="*/ 3166 h 10000"/>
              <a:gd name="connsiteX81" fmla="*/ 348 w 9860"/>
              <a:gd name="connsiteY81" fmla="*/ 3166 h 10000"/>
              <a:gd name="connsiteX82" fmla="*/ 210 w 9860"/>
              <a:gd name="connsiteY82" fmla="*/ 3333 h 10000"/>
              <a:gd name="connsiteX83" fmla="*/ 210 w 9860"/>
              <a:gd name="connsiteY83" fmla="*/ 3582 h 10000"/>
              <a:gd name="connsiteX84" fmla="*/ 348 w 9860"/>
              <a:gd name="connsiteY84" fmla="*/ 3748 h 10000"/>
              <a:gd name="connsiteX85" fmla="*/ 282 w 9860"/>
              <a:gd name="connsiteY85" fmla="*/ 3998 h 10000"/>
              <a:gd name="connsiteX86" fmla="*/ 348 w 9860"/>
              <a:gd name="connsiteY86" fmla="*/ 4417 h 10000"/>
              <a:gd name="connsiteX87" fmla="*/ 282 w 9860"/>
              <a:gd name="connsiteY87" fmla="*/ 4666 h 10000"/>
              <a:gd name="connsiteX88" fmla="*/ 417 w 9860"/>
              <a:gd name="connsiteY88" fmla="*/ 4916 h 10000"/>
              <a:gd name="connsiteX89" fmla="*/ 348 w 9860"/>
              <a:gd name="connsiteY89" fmla="*/ 5083 h 10000"/>
              <a:gd name="connsiteX90" fmla="*/ 487 w 9860"/>
              <a:gd name="connsiteY90" fmla="*/ 5250 h 10000"/>
              <a:gd name="connsiteX91" fmla="*/ 487 w 9860"/>
              <a:gd name="connsiteY91" fmla="*/ 5333 h 10000"/>
              <a:gd name="connsiteX92" fmla="*/ 282 w 9860"/>
              <a:gd name="connsiteY92" fmla="*/ 5750 h 10000"/>
              <a:gd name="connsiteX93" fmla="*/ 64 w 9860"/>
              <a:gd name="connsiteY93" fmla="*/ 5917 h 10000"/>
              <a:gd name="connsiteX94" fmla="*/ 138 w 9860"/>
              <a:gd name="connsiteY94" fmla="*/ 5917 h 10000"/>
              <a:gd name="connsiteX95" fmla="*/ 282 w 9860"/>
              <a:gd name="connsiteY95" fmla="*/ 6083 h 10000"/>
              <a:gd name="connsiteX96" fmla="*/ 138 w 9860"/>
              <a:gd name="connsiteY96" fmla="*/ 6249 h 10000"/>
              <a:gd name="connsiteX97" fmla="*/ 64 w 9860"/>
              <a:gd name="connsiteY97" fmla="*/ 6334 h 10000"/>
              <a:gd name="connsiteX98" fmla="*/ 0 w 9860"/>
              <a:gd name="connsiteY98" fmla="*/ 6334 h 10000"/>
              <a:gd name="connsiteX99" fmla="*/ 64 w 9860"/>
              <a:gd name="connsiteY99" fmla="*/ 6584 h 10000"/>
              <a:gd name="connsiteX100" fmla="*/ 64 w 9860"/>
              <a:gd name="connsiteY100" fmla="*/ 6667 h 10000"/>
              <a:gd name="connsiteX101" fmla="*/ 64 w 9860"/>
              <a:gd name="connsiteY101" fmla="*/ 6749 h 10000"/>
              <a:gd name="connsiteX102" fmla="*/ 64 w 9860"/>
              <a:gd name="connsiteY102" fmla="*/ 6834 h 10000"/>
              <a:gd name="connsiteX103" fmla="*/ 138 w 9860"/>
              <a:gd name="connsiteY103" fmla="*/ 6998 h 10000"/>
              <a:gd name="connsiteX104" fmla="*/ 348 w 9860"/>
              <a:gd name="connsiteY104" fmla="*/ 7083 h 10000"/>
              <a:gd name="connsiteX105" fmla="*/ 417 w 9860"/>
              <a:gd name="connsiteY105" fmla="*/ 7165 h 10000"/>
              <a:gd name="connsiteX106" fmla="*/ 417 w 9860"/>
              <a:gd name="connsiteY106" fmla="*/ 7334 h 10000"/>
              <a:gd name="connsiteX107" fmla="*/ 558 w 9860"/>
              <a:gd name="connsiteY107" fmla="*/ 7584 h 10000"/>
              <a:gd name="connsiteX108" fmla="*/ 632 w 9860"/>
              <a:gd name="connsiteY108" fmla="*/ 7584 h 10000"/>
              <a:gd name="connsiteX109" fmla="*/ 558 w 9860"/>
              <a:gd name="connsiteY109" fmla="*/ 7750 h 10000"/>
              <a:gd name="connsiteX110" fmla="*/ 487 w 9860"/>
              <a:gd name="connsiteY110" fmla="*/ 7668 h 10000"/>
              <a:gd name="connsiteX111" fmla="*/ 487 w 9860"/>
              <a:gd name="connsiteY111" fmla="*/ 7750 h 10000"/>
              <a:gd name="connsiteX112" fmla="*/ 558 w 9860"/>
              <a:gd name="connsiteY112" fmla="*/ 7916 h 10000"/>
              <a:gd name="connsiteX113" fmla="*/ 773 w 9860"/>
              <a:gd name="connsiteY113" fmla="*/ 7916 h 10000"/>
              <a:gd name="connsiteX114" fmla="*/ 842 w 9860"/>
              <a:gd name="connsiteY114" fmla="*/ 8000 h 10000"/>
              <a:gd name="connsiteX115" fmla="*/ 773 w 9860"/>
              <a:gd name="connsiteY115" fmla="*/ 8000 h 10000"/>
              <a:gd name="connsiteX116" fmla="*/ 842 w 9860"/>
              <a:gd name="connsiteY116" fmla="*/ 8082 h 10000"/>
              <a:gd name="connsiteX117" fmla="*/ 908 w 9860"/>
              <a:gd name="connsiteY117" fmla="*/ 8082 h 10000"/>
              <a:gd name="connsiteX118" fmla="*/ 976 w 9860"/>
              <a:gd name="connsiteY118" fmla="*/ 8249 h 10000"/>
              <a:gd name="connsiteX119" fmla="*/ 1049 w 9860"/>
              <a:gd name="connsiteY119" fmla="*/ 8332 h 10000"/>
              <a:gd name="connsiteX120" fmla="*/ 1116 w 9860"/>
              <a:gd name="connsiteY120" fmla="*/ 8249 h 10000"/>
              <a:gd name="connsiteX121" fmla="*/ 1469 w 9860"/>
              <a:gd name="connsiteY121" fmla="*/ 8500 h 10000"/>
              <a:gd name="connsiteX122" fmla="*/ 1400 w 9860"/>
              <a:gd name="connsiteY122" fmla="*/ 8833 h 10000"/>
              <a:gd name="connsiteX123" fmla="*/ 1329 w 9860"/>
              <a:gd name="connsiteY123" fmla="*/ 8750 h 10000"/>
              <a:gd name="connsiteX124" fmla="*/ 1255 w 9860"/>
              <a:gd name="connsiteY124" fmla="*/ 8833 h 10000"/>
              <a:gd name="connsiteX125" fmla="*/ 1255 w 9860"/>
              <a:gd name="connsiteY125" fmla="*/ 8999 h 10000"/>
              <a:gd name="connsiteX126" fmla="*/ 1329 w 9860"/>
              <a:gd name="connsiteY126" fmla="*/ 8917 h 10000"/>
              <a:gd name="connsiteX127" fmla="*/ 1400 w 9860"/>
              <a:gd name="connsiteY127" fmla="*/ 8999 h 10000"/>
              <a:gd name="connsiteX128" fmla="*/ 1191 w 9860"/>
              <a:gd name="connsiteY128" fmla="*/ 9083 h 10000"/>
              <a:gd name="connsiteX129" fmla="*/ 1255 w 9860"/>
              <a:gd name="connsiteY129" fmla="*/ 9167 h 10000"/>
              <a:gd name="connsiteX130" fmla="*/ 1116 w 9860"/>
              <a:gd name="connsiteY130" fmla="*/ 9333 h 10000"/>
              <a:gd name="connsiteX131" fmla="*/ 1049 w 9860"/>
              <a:gd name="connsiteY131" fmla="*/ 9333 h 10000"/>
              <a:gd name="connsiteX132" fmla="*/ 1116 w 9860"/>
              <a:gd name="connsiteY132" fmla="*/ 9333 h 10000"/>
              <a:gd name="connsiteX133" fmla="*/ 1400 w 9860"/>
              <a:gd name="connsiteY133" fmla="*/ 9668 h 10000"/>
              <a:gd name="connsiteX134" fmla="*/ 1749 w 9860"/>
              <a:gd name="connsiteY134" fmla="*/ 9668 h 10000"/>
              <a:gd name="connsiteX135" fmla="*/ 1889 w 9860"/>
              <a:gd name="connsiteY135" fmla="*/ 9750 h 10000"/>
              <a:gd name="connsiteX136" fmla="*/ 2028 w 9860"/>
              <a:gd name="connsiteY136" fmla="*/ 9750 h 10000"/>
              <a:gd name="connsiteX137" fmla="*/ 2168 w 9860"/>
              <a:gd name="connsiteY137" fmla="*/ 9918 h 10000"/>
              <a:gd name="connsiteX138" fmla="*/ 2238 w 9860"/>
              <a:gd name="connsiteY138" fmla="*/ 10000 h 10000"/>
              <a:gd name="connsiteX139" fmla="*/ 2304 w 9860"/>
              <a:gd name="connsiteY139" fmla="*/ 10000 h 10000"/>
              <a:gd name="connsiteX140" fmla="*/ 2378 w 9860"/>
              <a:gd name="connsiteY140" fmla="*/ 9918 h 10000"/>
              <a:gd name="connsiteX141" fmla="*/ 2238 w 9860"/>
              <a:gd name="connsiteY141" fmla="*/ 9750 h 10000"/>
              <a:gd name="connsiteX142" fmla="*/ 2238 w 9860"/>
              <a:gd name="connsiteY142" fmla="*/ 9584 h 10000"/>
              <a:gd name="connsiteX143" fmla="*/ 2168 w 9860"/>
              <a:gd name="connsiteY143" fmla="*/ 9416 h 10000"/>
              <a:gd name="connsiteX144" fmla="*/ 2304 w 9860"/>
              <a:gd name="connsiteY144" fmla="*/ 9167 h 10000"/>
              <a:gd name="connsiteX145" fmla="*/ 2378 w 9860"/>
              <a:gd name="connsiteY145" fmla="*/ 9250 h 10000"/>
              <a:gd name="connsiteX146" fmla="*/ 2447 w 9860"/>
              <a:gd name="connsiteY146" fmla="*/ 9167 h 10000"/>
              <a:gd name="connsiteX147" fmla="*/ 2447 w 9860"/>
              <a:gd name="connsiteY147" fmla="*/ 9083 h 10000"/>
              <a:gd name="connsiteX148" fmla="*/ 2378 w 9860"/>
              <a:gd name="connsiteY148" fmla="*/ 9083 h 10000"/>
              <a:gd name="connsiteX149" fmla="*/ 2447 w 9860"/>
              <a:gd name="connsiteY149" fmla="*/ 8999 h 10000"/>
              <a:gd name="connsiteX150" fmla="*/ 2378 w 9860"/>
              <a:gd name="connsiteY150" fmla="*/ 8833 h 10000"/>
              <a:gd name="connsiteX151" fmla="*/ 2238 w 9860"/>
              <a:gd name="connsiteY151" fmla="*/ 8833 h 10000"/>
              <a:gd name="connsiteX152" fmla="*/ 2168 w 9860"/>
              <a:gd name="connsiteY152" fmla="*/ 8667 h 10000"/>
              <a:gd name="connsiteX153" fmla="*/ 2238 w 9860"/>
              <a:gd name="connsiteY153" fmla="*/ 8249 h 10000"/>
              <a:gd name="connsiteX154" fmla="*/ 2378 w 9860"/>
              <a:gd name="connsiteY154" fmla="*/ 8418 h 10000"/>
              <a:gd name="connsiteX155" fmla="*/ 2447 w 9860"/>
              <a:gd name="connsiteY155" fmla="*/ 8418 h 10000"/>
              <a:gd name="connsiteX156" fmla="*/ 2378 w 9860"/>
              <a:gd name="connsiteY156" fmla="*/ 8249 h 10000"/>
              <a:gd name="connsiteX157" fmla="*/ 2589 w 9860"/>
              <a:gd name="connsiteY157" fmla="*/ 8000 h 10000"/>
              <a:gd name="connsiteX158" fmla="*/ 2730 w 9860"/>
              <a:gd name="connsiteY158" fmla="*/ 8082 h 10000"/>
              <a:gd name="connsiteX159" fmla="*/ 2798 w 9860"/>
              <a:gd name="connsiteY159" fmla="*/ 8000 h 10000"/>
              <a:gd name="connsiteX160" fmla="*/ 2933 w 9860"/>
              <a:gd name="connsiteY160" fmla="*/ 8082 h 10000"/>
              <a:gd name="connsiteX161" fmla="*/ 3150 w 9860"/>
              <a:gd name="connsiteY161" fmla="*/ 8249 h 10000"/>
              <a:gd name="connsiteX162" fmla="*/ 3285 w 9860"/>
              <a:gd name="connsiteY162" fmla="*/ 8167 h 10000"/>
              <a:gd name="connsiteX163" fmla="*/ 3427 w 9860"/>
              <a:gd name="connsiteY163" fmla="*/ 8167 h 10000"/>
              <a:gd name="connsiteX164" fmla="*/ 3499 w 9860"/>
              <a:gd name="connsiteY164" fmla="*/ 8249 h 10000"/>
              <a:gd name="connsiteX165" fmla="*/ 3778 w 9860"/>
              <a:gd name="connsiteY165" fmla="*/ 8249 h 10000"/>
              <a:gd name="connsiteX166" fmla="*/ 3844 w 9860"/>
              <a:gd name="connsiteY166" fmla="*/ 8082 h 10000"/>
              <a:gd name="connsiteX167" fmla="*/ 3633 w 9860"/>
              <a:gd name="connsiteY167" fmla="*/ 8000 h 10000"/>
              <a:gd name="connsiteX168" fmla="*/ 3778 w 9860"/>
              <a:gd name="connsiteY168" fmla="*/ 7916 h 10000"/>
              <a:gd name="connsiteX169" fmla="*/ 3703 w 9860"/>
              <a:gd name="connsiteY169" fmla="*/ 7833 h 10000"/>
              <a:gd name="connsiteX170" fmla="*/ 3778 w 9860"/>
              <a:gd name="connsiteY170" fmla="*/ 7750 h 10000"/>
              <a:gd name="connsiteX171" fmla="*/ 3778 w 9860"/>
              <a:gd name="connsiteY171" fmla="*/ 7500 h 10000"/>
              <a:gd name="connsiteX172" fmla="*/ 3913 w 9860"/>
              <a:gd name="connsiteY172" fmla="*/ 7584 h 10000"/>
              <a:gd name="connsiteX173" fmla="*/ 4545 w 9860"/>
              <a:gd name="connsiteY173" fmla="*/ 7334 h 10000"/>
              <a:gd name="connsiteX174" fmla="*/ 4545 w 9860"/>
              <a:gd name="connsiteY174" fmla="*/ 7250 h 10000"/>
              <a:gd name="connsiteX175" fmla="*/ 4617 w 9860"/>
              <a:gd name="connsiteY175" fmla="*/ 7250 h 10000"/>
              <a:gd name="connsiteX176" fmla="*/ 4820 w 9860"/>
              <a:gd name="connsiteY176" fmla="*/ 7250 h 10000"/>
              <a:gd name="connsiteX177" fmla="*/ 4898 w 9860"/>
              <a:gd name="connsiteY177" fmla="*/ 7417 h 10000"/>
              <a:gd name="connsiteX178" fmla="*/ 4898 w 9860"/>
              <a:gd name="connsiteY178" fmla="*/ 7500 h 10000"/>
              <a:gd name="connsiteX179" fmla="*/ 4963 w 9860"/>
              <a:gd name="connsiteY179" fmla="*/ 7500 h 10000"/>
              <a:gd name="connsiteX180" fmla="*/ 5103 w 9860"/>
              <a:gd name="connsiteY180" fmla="*/ 7584 h 10000"/>
              <a:gd name="connsiteX181" fmla="*/ 5103 w 9860"/>
              <a:gd name="connsiteY181" fmla="*/ 7668 h 10000"/>
              <a:gd name="connsiteX182" fmla="*/ 5243 w 9860"/>
              <a:gd name="connsiteY182" fmla="*/ 7668 h 10000"/>
              <a:gd name="connsiteX183" fmla="*/ 5383 w 9860"/>
              <a:gd name="connsiteY183" fmla="*/ 7500 h 10000"/>
              <a:gd name="connsiteX184" fmla="*/ 5523 w 9860"/>
              <a:gd name="connsiteY184" fmla="*/ 7417 h 10000"/>
              <a:gd name="connsiteX185" fmla="*/ 5603 w 9860"/>
              <a:gd name="connsiteY185" fmla="*/ 7668 h 10000"/>
              <a:gd name="connsiteX186" fmla="*/ 5875 w 9860"/>
              <a:gd name="connsiteY186" fmla="*/ 8249 h 10000"/>
              <a:gd name="connsiteX187" fmla="*/ 5947 w 9860"/>
              <a:gd name="connsiteY187" fmla="*/ 8082 h 10000"/>
              <a:gd name="connsiteX188" fmla="*/ 6016 w 9860"/>
              <a:gd name="connsiteY188" fmla="*/ 8249 h 10000"/>
              <a:gd name="connsiteX189" fmla="*/ 6226 w 9860"/>
              <a:gd name="connsiteY189" fmla="*/ 8167 h 10000"/>
              <a:gd name="connsiteX190" fmla="*/ 6437 w 9860"/>
              <a:gd name="connsiteY190" fmla="*/ 8418 h 10000"/>
              <a:gd name="connsiteX191" fmla="*/ 6572 w 9860"/>
              <a:gd name="connsiteY191" fmla="*/ 8500 h 10000"/>
              <a:gd name="connsiteX192" fmla="*/ 6572 w 9860"/>
              <a:gd name="connsiteY192" fmla="*/ 8418 h 10000"/>
              <a:gd name="connsiteX193" fmla="*/ 6647 w 9860"/>
              <a:gd name="connsiteY193" fmla="*/ 8584 h 10000"/>
              <a:gd name="connsiteX194" fmla="*/ 6572 w 9860"/>
              <a:gd name="connsiteY194" fmla="*/ 8667 h 10000"/>
              <a:gd name="connsiteX195" fmla="*/ 6716 w 9860"/>
              <a:gd name="connsiteY195" fmla="*/ 8584 h 10000"/>
              <a:gd name="connsiteX196" fmla="*/ 6783 w 9860"/>
              <a:gd name="connsiteY196" fmla="*/ 8500 h 10000"/>
              <a:gd name="connsiteX197" fmla="*/ 7130 w 9860"/>
              <a:gd name="connsiteY197" fmla="*/ 8249 h 10000"/>
              <a:gd name="connsiteX198" fmla="*/ 7413 w 9860"/>
              <a:gd name="connsiteY198" fmla="*/ 8332 h 10000"/>
              <a:gd name="connsiteX199" fmla="*/ 7550 w 9860"/>
              <a:gd name="connsiteY199" fmla="*/ 8418 h 10000"/>
              <a:gd name="connsiteX200" fmla="*/ 7830 w 9860"/>
              <a:gd name="connsiteY200" fmla="*/ 8418 h 10000"/>
              <a:gd name="connsiteX201" fmla="*/ 7830 w 9860"/>
              <a:gd name="connsiteY201" fmla="*/ 8249 h 10000"/>
              <a:gd name="connsiteX202" fmla="*/ 7830 w 9860"/>
              <a:gd name="connsiteY202" fmla="*/ 8082 h 10000"/>
              <a:gd name="connsiteX203" fmla="*/ 7971 w 9860"/>
              <a:gd name="connsiteY203" fmla="*/ 8000 h 10000"/>
              <a:gd name="connsiteX204" fmla="*/ 8247 w 9860"/>
              <a:gd name="connsiteY204" fmla="*/ 8082 h 10000"/>
              <a:gd name="connsiteX205" fmla="*/ 8392 w 9860"/>
              <a:gd name="connsiteY205" fmla="*/ 8332 h 10000"/>
              <a:gd name="connsiteX206" fmla="*/ 8462 w 9860"/>
              <a:gd name="connsiteY206" fmla="*/ 8332 h 10000"/>
              <a:gd name="connsiteX207" fmla="*/ 8602 w 9860"/>
              <a:gd name="connsiteY207" fmla="*/ 8249 h 10000"/>
              <a:gd name="connsiteX208" fmla="*/ 9026 w 9860"/>
              <a:gd name="connsiteY208" fmla="*/ 8500 h 10000"/>
              <a:gd name="connsiteX209" fmla="*/ 9231 w 9860"/>
              <a:gd name="connsiteY209" fmla="*/ 8584 h 10000"/>
              <a:gd name="connsiteX210" fmla="*/ 9510 w 9860"/>
              <a:gd name="connsiteY210" fmla="*/ 8500 h 10000"/>
              <a:gd name="connsiteX211" fmla="*/ 9652 w 9860"/>
              <a:gd name="connsiteY211" fmla="*/ 8332 h 10000"/>
              <a:gd name="connsiteX212" fmla="*/ 9860 w 9860"/>
              <a:gd name="connsiteY212" fmla="*/ 8418 h 10000"/>
              <a:gd name="connsiteX0" fmla="*/ 8084 w 9789"/>
              <a:gd name="connsiteY0" fmla="*/ 0 h 10000"/>
              <a:gd name="connsiteX1" fmla="*/ 7448 w 9789"/>
              <a:gd name="connsiteY1" fmla="*/ 165 h 10000"/>
              <a:gd name="connsiteX2" fmla="*/ 6879 w 9789"/>
              <a:gd name="connsiteY2" fmla="*/ 582 h 10000"/>
              <a:gd name="connsiteX3" fmla="*/ 6665 w 9789"/>
              <a:gd name="connsiteY3" fmla="*/ 916 h 10000"/>
              <a:gd name="connsiteX4" fmla="*/ 6741 w 9789"/>
              <a:gd name="connsiteY4" fmla="*/ 1332 h 10000"/>
              <a:gd name="connsiteX5" fmla="*/ 5958 w 9789"/>
              <a:gd name="connsiteY5" fmla="*/ 1500 h 10000"/>
              <a:gd name="connsiteX6" fmla="*/ 6031 w 9789"/>
              <a:gd name="connsiteY6" fmla="*/ 2000 h 10000"/>
              <a:gd name="connsiteX7" fmla="*/ 6242 w 9789"/>
              <a:gd name="connsiteY7" fmla="*/ 2250 h 10000"/>
              <a:gd name="connsiteX8" fmla="*/ 6101 w 9789"/>
              <a:gd name="connsiteY8" fmla="*/ 2332 h 10000"/>
              <a:gd name="connsiteX9" fmla="*/ 5890 w 9789"/>
              <a:gd name="connsiteY9" fmla="*/ 2000 h 10000"/>
              <a:gd name="connsiteX10" fmla="*/ 5683 w 9789"/>
              <a:gd name="connsiteY10" fmla="*/ 1915 h 10000"/>
              <a:gd name="connsiteX11" fmla="*/ 5601 w 9789"/>
              <a:gd name="connsiteY11" fmla="*/ 2000 h 10000"/>
              <a:gd name="connsiteX12" fmla="*/ 5459 w 9789"/>
              <a:gd name="connsiteY12" fmla="*/ 1831 h 10000"/>
              <a:gd name="connsiteX13" fmla="*/ 5317 w 9789"/>
              <a:gd name="connsiteY13" fmla="*/ 1665 h 10000"/>
              <a:gd name="connsiteX14" fmla="*/ 5317 w 9789"/>
              <a:gd name="connsiteY14" fmla="*/ 1749 h 10000"/>
              <a:gd name="connsiteX15" fmla="*/ 5397 w 9789"/>
              <a:gd name="connsiteY15" fmla="*/ 2000 h 10000"/>
              <a:gd name="connsiteX16" fmla="*/ 5175 w 9789"/>
              <a:gd name="connsiteY16" fmla="*/ 2416 h 10000"/>
              <a:gd name="connsiteX17" fmla="*/ 5317 w 9789"/>
              <a:gd name="connsiteY17" fmla="*/ 2748 h 10000"/>
              <a:gd name="connsiteX18" fmla="*/ 5246 w 9789"/>
              <a:gd name="connsiteY18" fmla="*/ 3083 h 10000"/>
              <a:gd name="connsiteX19" fmla="*/ 5246 w 9789"/>
              <a:gd name="connsiteY19" fmla="*/ 3333 h 10000"/>
              <a:gd name="connsiteX20" fmla="*/ 5459 w 9789"/>
              <a:gd name="connsiteY20" fmla="*/ 3333 h 10000"/>
              <a:gd name="connsiteX21" fmla="*/ 5317 w 9789"/>
              <a:gd name="connsiteY21" fmla="*/ 3416 h 10000"/>
              <a:gd name="connsiteX22" fmla="*/ 5397 w 9789"/>
              <a:gd name="connsiteY22" fmla="*/ 3832 h 10000"/>
              <a:gd name="connsiteX23" fmla="*/ 4968 w 9789"/>
              <a:gd name="connsiteY23" fmla="*/ 4250 h 10000"/>
              <a:gd name="connsiteX24" fmla="*/ 4888 w 9789"/>
              <a:gd name="connsiteY24" fmla="*/ 4167 h 10000"/>
              <a:gd name="connsiteX25" fmla="*/ 5175 w 9789"/>
              <a:gd name="connsiteY25" fmla="*/ 3748 h 10000"/>
              <a:gd name="connsiteX26" fmla="*/ 5246 w 9789"/>
              <a:gd name="connsiteY26" fmla="*/ 3500 h 10000"/>
              <a:gd name="connsiteX27" fmla="*/ 5097 w 9789"/>
              <a:gd name="connsiteY27" fmla="*/ 3333 h 10000"/>
              <a:gd name="connsiteX28" fmla="*/ 5097 w 9789"/>
              <a:gd name="connsiteY28" fmla="*/ 2498 h 10000"/>
              <a:gd name="connsiteX29" fmla="*/ 5033 w 9789"/>
              <a:gd name="connsiteY29" fmla="*/ 2332 h 10000"/>
              <a:gd name="connsiteX30" fmla="*/ 5097 w 9789"/>
              <a:gd name="connsiteY30" fmla="*/ 1831 h 10000"/>
              <a:gd name="connsiteX31" fmla="*/ 4968 w 9789"/>
              <a:gd name="connsiteY31" fmla="*/ 1749 h 10000"/>
              <a:gd name="connsiteX32" fmla="*/ 5033 w 9789"/>
              <a:gd name="connsiteY32" fmla="*/ 1665 h 10000"/>
              <a:gd name="connsiteX33" fmla="*/ 4968 w 9789"/>
              <a:gd name="connsiteY33" fmla="*/ 1500 h 10000"/>
              <a:gd name="connsiteX34" fmla="*/ 4819 w 9789"/>
              <a:gd name="connsiteY34" fmla="*/ 1582 h 10000"/>
              <a:gd name="connsiteX35" fmla="*/ 4470 w 9789"/>
              <a:gd name="connsiteY35" fmla="*/ 2666 h 10000"/>
              <a:gd name="connsiteX36" fmla="*/ 4470 w 9789"/>
              <a:gd name="connsiteY36" fmla="*/ 3083 h 10000"/>
              <a:gd name="connsiteX37" fmla="*/ 4683 w 9789"/>
              <a:gd name="connsiteY37" fmla="*/ 3416 h 10000"/>
              <a:gd name="connsiteX38" fmla="*/ 4683 w 9789"/>
              <a:gd name="connsiteY38" fmla="*/ 3582 h 10000"/>
              <a:gd name="connsiteX39" fmla="*/ 4470 w 9789"/>
              <a:gd name="connsiteY39" fmla="*/ 3416 h 10000"/>
              <a:gd name="connsiteX40" fmla="*/ 3622 w 9789"/>
              <a:gd name="connsiteY40" fmla="*/ 2748 h 10000"/>
              <a:gd name="connsiteX41" fmla="*/ 3549 w 9789"/>
              <a:gd name="connsiteY41" fmla="*/ 2915 h 10000"/>
              <a:gd name="connsiteX42" fmla="*/ 3832 w 9789"/>
              <a:gd name="connsiteY42" fmla="*/ 3333 h 10000"/>
              <a:gd name="connsiteX43" fmla="*/ 3685 w 9789"/>
              <a:gd name="connsiteY43" fmla="*/ 3416 h 10000"/>
              <a:gd name="connsiteX44" fmla="*/ 3622 w 9789"/>
              <a:gd name="connsiteY44" fmla="*/ 3333 h 10000"/>
              <a:gd name="connsiteX45" fmla="*/ 3195 w 9789"/>
              <a:gd name="connsiteY45" fmla="*/ 3500 h 10000"/>
              <a:gd name="connsiteX46" fmla="*/ 3125 w 9789"/>
              <a:gd name="connsiteY46" fmla="*/ 3665 h 10000"/>
              <a:gd name="connsiteX47" fmla="*/ 3053 w 9789"/>
              <a:gd name="connsiteY47" fmla="*/ 3500 h 10000"/>
              <a:gd name="connsiteX48" fmla="*/ 3053 w 9789"/>
              <a:gd name="connsiteY48" fmla="*/ 3333 h 10000"/>
              <a:gd name="connsiteX49" fmla="*/ 2337 w 9789"/>
              <a:gd name="connsiteY49" fmla="*/ 3832 h 10000"/>
              <a:gd name="connsiteX50" fmla="*/ 2337 w 9789"/>
              <a:gd name="connsiteY50" fmla="*/ 3998 h 10000"/>
              <a:gd name="connsiteX51" fmla="*/ 2199 w 9789"/>
              <a:gd name="connsiteY51" fmla="*/ 4082 h 10000"/>
              <a:gd name="connsiteX52" fmla="*/ 1987 w 9789"/>
              <a:gd name="connsiteY52" fmla="*/ 3916 h 10000"/>
              <a:gd name="connsiteX53" fmla="*/ 2199 w 9789"/>
              <a:gd name="connsiteY53" fmla="*/ 3748 h 10000"/>
              <a:gd name="connsiteX54" fmla="*/ 2125 w 9789"/>
              <a:gd name="connsiteY54" fmla="*/ 3500 h 10000"/>
              <a:gd name="connsiteX55" fmla="*/ 1844 w 9789"/>
              <a:gd name="connsiteY55" fmla="*/ 3416 h 10000"/>
              <a:gd name="connsiteX56" fmla="*/ 1916 w 9789"/>
              <a:gd name="connsiteY56" fmla="*/ 3582 h 10000"/>
              <a:gd name="connsiteX57" fmla="*/ 1916 w 9789"/>
              <a:gd name="connsiteY57" fmla="*/ 3998 h 10000"/>
              <a:gd name="connsiteX58" fmla="*/ 1987 w 9789"/>
              <a:gd name="connsiteY58" fmla="*/ 4167 h 10000"/>
              <a:gd name="connsiteX59" fmla="*/ 1916 w 9789"/>
              <a:gd name="connsiteY59" fmla="*/ 4334 h 10000"/>
              <a:gd name="connsiteX60" fmla="*/ 1698 w 9789"/>
              <a:gd name="connsiteY60" fmla="*/ 4250 h 10000"/>
              <a:gd name="connsiteX61" fmla="*/ 1420 w 9789"/>
              <a:gd name="connsiteY61" fmla="*/ 4498 h 10000"/>
              <a:gd name="connsiteX62" fmla="*/ 1557 w 9789"/>
              <a:gd name="connsiteY62" fmla="*/ 4833 h 10000"/>
              <a:gd name="connsiteX63" fmla="*/ 1132 w 9789"/>
              <a:gd name="connsiteY63" fmla="*/ 4666 h 10000"/>
              <a:gd name="connsiteX64" fmla="*/ 1064 w 9789"/>
              <a:gd name="connsiteY64" fmla="*/ 4748 h 10000"/>
              <a:gd name="connsiteX65" fmla="*/ 1208 w 9789"/>
              <a:gd name="connsiteY65" fmla="*/ 4999 h 10000"/>
              <a:gd name="connsiteX66" fmla="*/ 1064 w 9789"/>
              <a:gd name="connsiteY66" fmla="*/ 4999 h 10000"/>
              <a:gd name="connsiteX67" fmla="*/ 854 w 9789"/>
              <a:gd name="connsiteY67" fmla="*/ 4833 h 10000"/>
              <a:gd name="connsiteX68" fmla="*/ 854 w 9789"/>
              <a:gd name="connsiteY68" fmla="*/ 4334 h 10000"/>
              <a:gd name="connsiteX69" fmla="*/ 641 w 9789"/>
              <a:gd name="connsiteY69" fmla="*/ 4167 h 10000"/>
              <a:gd name="connsiteX70" fmla="*/ 566 w 9789"/>
              <a:gd name="connsiteY70" fmla="*/ 3998 h 10000"/>
              <a:gd name="connsiteX71" fmla="*/ 707 w 9789"/>
              <a:gd name="connsiteY71" fmla="*/ 4082 h 10000"/>
              <a:gd name="connsiteX72" fmla="*/ 1273 w 9789"/>
              <a:gd name="connsiteY72" fmla="*/ 4334 h 10000"/>
              <a:gd name="connsiteX73" fmla="*/ 1624 w 9789"/>
              <a:gd name="connsiteY73" fmla="*/ 4082 h 10000"/>
              <a:gd name="connsiteX74" fmla="*/ 1557 w 9789"/>
              <a:gd name="connsiteY74" fmla="*/ 3832 h 10000"/>
              <a:gd name="connsiteX75" fmla="*/ 1132 w 9789"/>
              <a:gd name="connsiteY75" fmla="*/ 3333 h 10000"/>
              <a:gd name="connsiteX76" fmla="*/ 707 w 9789"/>
              <a:gd name="connsiteY76" fmla="*/ 3166 h 10000"/>
              <a:gd name="connsiteX77" fmla="*/ 707 w 9789"/>
              <a:gd name="connsiteY77" fmla="*/ 3083 h 10000"/>
              <a:gd name="connsiteX78" fmla="*/ 566 w 9789"/>
              <a:gd name="connsiteY78" fmla="*/ 2997 h 10000"/>
              <a:gd name="connsiteX79" fmla="*/ 423 w 9789"/>
              <a:gd name="connsiteY79" fmla="*/ 3083 h 10000"/>
              <a:gd name="connsiteX80" fmla="*/ 423 w 9789"/>
              <a:gd name="connsiteY80" fmla="*/ 3166 h 10000"/>
              <a:gd name="connsiteX81" fmla="*/ 353 w 9789"/>
              <a:gd name="connsiteY81" fmla="*/ 3166 h 10000"/>
              <a:gd name="connsiteX82" fmla="*/ 213 w 9789"/>
              <a:gd name="connsiteY82" fmla="*/ 3333 h 10000"/>
              <a:gd name="connsiteX83" fmla="*/ 213 w 9789"/>
              <a:gd name="connsiteY83" fmla="*/ 3582 h 10000"/>
              <a:gd name="connsiteX84" fmla="*/ 353 w 9789"/>
              <a:gd name="connsiteY84" fmla="*/ 3748 h 10000"/>
              <a:gd name="connsiteX85" fmla="*/ 286 w 9789"/>
              <a:gd name="connsiteY85" fmla="*/ 3998 h 10000"/>
              <a:gd name="connsiteX86" fmla="*/ 353 w 9789"/>
              <a:gd name="connsiteY86" fmla="*/ 4417 h 10000"/>
              <a:gd name="connsiteX87" fmla="*/ 286 w 9789"/>
              <a:gd name="connsiteY87" fmla="*/ 4666 h 10000"/>
              <a:gd name="connsiteX88" fmla="*/ 423 w 9789"/>
              <a:gd name="connsiteY88" fmla="*/ 4916 h 10000"/>
              <a:gd name="connsiteX89" fmla="*/ 353 w 9789"/>
              <a:gd name="connsiteY89" fmla="*/ 5083 h 10000"/>
              <a:gd name="connsiteX90" fmla="*/ 494 w 9789"/>
              <a:gd name="connsiteY90" fmla="*/ 5250 h 10000"/>
              <a:gd name="connsiteX91" fmla="*/ 494 w 9789"/>
              <a:gd name="connsiteY91" fmla="*/ 5333 h 10000"/>
              <a:gd name="connsiteX92" fmla="*/ 286 w 9789"/>
              <a:gd name="connsiteY92" fmla="*/ 5750 h 10000"/>
              <a:gd name="connsiteX93" fmla="*/ 65 w 9789"/>
              <a:gd name="connsiteY93" fmla="*/ 5917 h 10000"/>
              <a:gd name="connsiteX94" fmla="*/ 140 w 9789"/>
              <a:gd name="connsiteY94" fmla="*/ 5917 h 10000"/>
              <a:gd name="connsiteX95" fmla="*/ 286 w 9789"/>
              <a:gd name="connsiteY95" fmla="*/ 6083 h 10000"/>
              <a:gd name="connsiteX96" fmla="*/ 140 w 9789"/>
              <a:gd name="connsiteY96" fmla="*/ 6249 h 10000"/>
              <a:gd name="connsiteX97" fmla="*/ 65 w 9789"/>
              <a:gd name="connsiteY97" fmla="*/ 6334 h 10000"/>
              <a:gd name="connsiteX98" fmla="*/ 0 w 9789"/>
              <a:gd name="connsiteY98" fmla="*/ 6334 h 10000"/>
              <a:gd name="connsiteX99" fmla="*/ 65 w 9789"/>
              <a:gd name="connsiteY99" fmla="*/ 6584 h 10000"/>
              <a:gd name="connsiteX100" fmla="*/ 65 w 9789"/>
              <a:gd name="connsiteY100" fmla="*/ 6667 h 10000"/>
              <a:gd name="connsiteX101" fmla="*/ 65 w 9789"/>
              <a:gd name="connsiteY101" fmla="*/ 6749 h 10000"/>
              <a:gd name="connsiteX102" fmla="*/ 65 w 9789"/>
              <a:gd name="connsiteY102" fmla="*/ 6834 h 10000"/>
              <a:gd name="connsiteX103" fmla="*/ 140 w 9789"/>
              <a:gd name="connsiteY103" fmla="*/ 6998 h 10000"/>
              <a:gd name="connsiteX104" fmla="*/ 353 w 9789"/>
              <a:gd name="connsiteY104" fmla="*/ 7083 h 10000"/>
              <a:gd name="connsiteX105" fmla="*/ 423 w 9789"/>
              <a:gd name="connsiteY105" fmla="*/ 7165 h 10000"/>
              <a:gd name="connsiteX106" fmla="*/ 423 w 9789"/>
              <a:gd name="connsiteY106" fmla="*/ 7334 h 10000"/>
              <a:gd name="connsiteX107" fmla="*/ 566 w 9789"/>
              <a:gd name="connsiteY107" fmla="*/ 7584 h 10000"/>
              <a:gd name="connsiteX108" fmla="*/ 641 w 9789"/>
              <a:gd name="connsiteY108" fmla="*/ 7584 h 10000"/>
              <a:gd name="connsiteX109" fmla="*/ 566 w 9789"/>
              <a:gd name="connsiteY109" fmla="*/ 7750 h 10000"/>
              <a:gd name="connsiteX110" fmla="*/ 494 w 9789"/>
              <a:gd name="connsiteY110" fmla="*/ 7668 h 10000"/>
              <a:gd name="connsiteX111" fmla="*/ 494 w 9789"/>
              <a:gd name="connsiteY111" fmla="*/ 7750 h 10000"/>
              <a:gd name="connsiteX112" fmla="*/ 566 w 9789"/>
              <a:gd name="connsiteY112" fmla="*/ 7916 h 10000"/>
              <a:gd name="connsiteX113" fmla="*/ 784 w 9789"/>
              <a:gd name="connsiteY113" fmla="*/ 7916 h 10000"/>
              <a:gd name="connsiteX114" fmla="*/ 854 w 9789"/>
              <a:gd name="connsiteY114" fmla="*/ 8000 h 10000"/>
              <a:gd name="connsiteX115" fmla="*/ 784 w 9789"/>
              <a:gd name="connsiteY115" fmla="*/ 8000 h 10000"/>
              <a:gd name="connsiteX116" fmla="*/ 854 w 9789"/>
              <a:gd name="connsiteY116" fmla="*/ 8082 h 10000"/>
              <a:gd name="connsiteX117" fmla="*/ 921 w 9789"/>
              <a:gd name="connsiteY117" fmla="*/ 8082 h 10000"/>
              <a:gd name="connsiteX118" fmla="*/ 990 w 9789"/>
              <a:gd name="connsiteY118" fmla="*/ 8249 h 10000"/>
              <a:gd name="connsiteX119" fmla="*/ 1064 w 9789"/>
              <a:gd name="connsiteY119" fmla="*/ 8332 h 10000"/>
              <a:gd name="connsiteX120" fmla="*/ 1132 w 9789"/>
              <a:gd name="connsiteY120" fmla="*/ 8249 h 10000"/>
              <a:gd name="connsiteX121" fmla="*/ 1490 w 9789"/>
              <a:gd name="connsiteY121" fmla="*/ 8500 h 10000"/>
              <a:gd name="connsiteX122" fmla="*/ 1420 w 9789"/>
              <a:gd name="connsiteY122" fmla="*/ 8833 h 10000"/>
              <a:gd name="connsiteX123" fmla="*/ 1348 w 9789"/>
              <a:gd name="connsiteY123" fmla="*/ 8750 h 10000"/>
              <a:gd name="connsiteX124" fmla="*/ 1273 w 9789"/>
              <a:gd name="connsiteY124" fmla="*/ 8833 h 10000"/>
              <a:gd name="connsiteX125" fmla="*/ 1273 w 9789"/>
              <a:gd name="connsiteY125" fmla="*/ 8999 h 10000"/>
              <a:gd name="connsiteX126" fmla="*/ 1348 w 9789"/>
              <a:gd name="connsiteY126" fmla="*/ 8917 h 10000"/>
              <a:gd name="connsiteX127" fmla="*/ 1420 w 9789"/>
              <a:gd name="connsiteY127" fmla="*/ 8999 h 10000"/>
              <a:gd name="connsiteX128" fmla="*/ 1208 w 9789"/>
              <a:gd name="connsiteY128" fmla="*/ 9083 h 10000"/>
              <a:gd name="connsiteX129" fmla="*/ 1273 w 9789"/>
              <a:gd name="connsiteY129" fmla="*/ 9167 h 10000"/>
              <a:gd name="connsiteX130" fmla="*/ 1132 w 9789"/>
              <a:gd name="connsiteY130" fmla="*/ 9333 h 10000"/>
              <a:gd name="connsiteX131" fmla="*/ 1064 w 9789"/>
              <a:gd name="connsiteY131" fmla="*/ 9333 h 10000"/>
              <a:gd name="connsiteX132" fmla="*/ 1132 w 9789"/>
              <a:gd name="connsiteY132" fmla="*/ 9333 h 10000"/>
              <a:gd name="connsiteX133" fmla="*/ 1420 w 9789"/>
              <a:gd name="connsiteY133" fmla="*/ 9668 h 10000"/>
              <a:gd name="connsiteX134" fmla="*/ 1774 w 9789"/>
              <a:gd name="connsiteY134" fmla="*/ 9668 h 10000"/>
              <a:gd name="connsiteX135" fmla="*/ 1916 w 9789"/>
              <a:gd name="connsiteY135" fmla="*/ 9750 h 10000"/>
              <a:gd name="connsiteX136" fmla="*/ 2057 w 9789"/>
              <a:gd name="connsiteY136" fmla="*/ 9750 h 10000"/>
              <a:gd name="connsiteX137" fmla="*/ 2199 w 9789"/>
              <a:gd name="connsiteY137" fmla="*/ 9918 h 10000"/>
              <a:gd name="connsiteX138" fmla="*/ 2270 w 9789"/>
              <a:gd name="connsiteY138" fmla="*/ 10000 h 10000"/>
              <a:gd name="connsiteX139" fmla="*/ 2337 w 9789"/>
              <a:gd name="connsiteY139" fmla="*/ 10000 h 10000"/>
              <a:gd name="connsiteX140" fmla="*/ 2412 w 9789"/>
              <a:gd name="connsiteY140" fmla="*/ 9918 h 10000"/>
              <a:gd name="connsiteX141" fmla="*/ 2270 w 9789"/>
              <a:gd name="connsiteY141" fmla="*/ 9750 h 10000"/>
              <a:gd name="connsiteX142" fmla="*/ 2270 w 9789"/>
              <a:gd name="connsiteY142" fmla="*/ 9584 h 10000"/>
              <a:gd name="connsiteX143" fmla="*/ 2199 w 9789"/>
              <a:gd name="connsiteY143" fmla="*/ 9416 h 10000"/>
              <a:gd name="connsiteX144" fmla="*/ 2337 w 9789"/>
              <a:gd name="connsiteY144" fmla="*/ 9167 h 10000"/>
              <a:gd name="connsiteX145" fmla="*/ 2412 w 9789"/>
              <a:gd name="connsiteY145" fmla="*/ 9250 h 10000"/>
              <a:gd name="connsiteX146" fmla="*/ 2482 w 9789"/>
              <a:gd name="connsiteY146" fmla="*/ 9167 h 10000"/>
              <a:gd name="connsiteX147" fmla="*/ 2482 w 9789"/>
              <a:gd name="connsiteY147" fmla="*/ 9083 h 10000"/>
              <a:gd name="connsiteX148" fmla="*/ 2412 w 9789"/>
              <a:gd name="connsiteY148" fmla="*/ 9083 h 10000"/>
              <a:gd name="connsiteX149" fmla="*/ 2482 w 9789"/>
              <a:gd name="connsiteY149" fmla="*/ 8999 h 10000"/>
              <a:gd name="connsiteX150" fmla="*/ 2412 w 9789"/>
              <a:gd name="connsiteY150" fmla="*/ 8833 h 10000"/>
              <a:gd name="connsiteX151" fmla="*/ 2270 w 9789"/>
              <a:gd name="connsiteY151" fmla="*/ 8833 h 10000"/>
              <a:gd name="connsiteX152" fmla="*/ 2199 w 9789"/>
              <a:gd name="connsiteY152" fmla="*/ 8667 h 10000"/>
              <a:gd name="connsiteX153" fmla="*/ 2270 w 9789"/>
              <a:gd name="connsiteY153" fmla="*/ 8249 h 10000"/>
              <a:gd name="connsiteX154" fmla="*/ 2412 w 9789"/>
              <a:gd name="connsiteY154" fmla="*/ 8418 h 10000"/>
              <a:gd name="connsiteX155" fmla="*/ 2482 w 9789"/>
              <a:gd name="connsiteY155" fmla="*/ 8418 h 10000"/>
              <a:gd name="connsiteX156" fmla="*/ 2412 w 9789"/>
              <a:gd name="connsiteY156" fmla="*/ 8249 h 10000"/>
              <a:gd name="connsiteX157" fmla="*/ 2626 w 9789"/>
              <a:gd name="connsiteY157" fmla="*/ 8000 h 10000"/>
              <a:gd name="connsiteX158" fmla="*/ 2769 w 9789"/>
              <a:gd name="connsiteY158" fmla="*/ 8082 h 10000"/>
              <a:gd name="connsiteX159" fmla="*/ 2838 w 9789"/>
              <a:gd name="connsiteY159" fmla="*/ 8000 h 10000"/>
              <a:gd name="connsiteX160" fmla="*/ 2975 w 9789"/>
              <a:gd name="connsiteY160" fmla="*/ 8082 h 10000"/>
              <a:gd name="connsiteX161" fmla="*/ 3195 w 9789"/>
              <a:gd name="connsiteY161" fmla="*/ 8249 h 10000"/>
              <a:gd name="connsiteX162" fmla="*/ 3332 w 9789"/>
              <a:gd name="connsiteY162" fmla="*/ 8167 h 10000"/>
              <a:gd name="connsiteX163" fmla="*/ 3476 w 9789"/>
              <a:gd name="connsiteY163" fmla="*/ 8167 h 10000"/>
              <a:gd name="connsiteX164" fmla="*/ 3549 w 9789"/>
              <a:gd name="connsiteY164" fmla="*/ 8249 h 10000"/>
              <a:gd name="connsiteX165" fmla="*/ 3832 w 9789"/>
              <a:gd name="connsiteY165" fmla="*/ 8249 h 10000"/>
              <a:gd name="connsiteX166" fmla="*/ 3899 w 9789"/>
              <a:gd name="connsiteY166" fmla="*/ 8082 h 10000"/>
              <a:gd name="connsiteX167" fmla="*/ 3685 w 9789"/>
              <a:gd name="connsiteY167" fmla="*/ 8000 h 10000"/>
              <a:gd name="connsiteX168" fmla="*/ 3832 w 9789"/>
              <a:gd name="connsiteY168" fmla="*/ 7916 h 10000"/>
              <a:gd name="connsiteX169" fmla="*/ 3756 w 9789"/>
              <a:gd name="connsiteY169" fmla="*/ 7833 h 10000"/>
              <a:gd name="connsiteX170" fmla="*/ 3832 w 9789"/>
              <a:gd name="connsiteY170" fmla="*/ 7750 h 10000"/>
              <a:gd name="connsiteX171" fmla="*/ 3832 w 9789"/>
              <a:gd name="connsiteY171" fmla="*/ 7500 h 10000"/>
              <a:gd name="connsiteX172" fmla="*/ 3969 w 9789"/>
              <a:gd name="connsiteY172" fmla="*/ 7584 h 10000"/>
              <a:gd name="connsiteX173" fmla="*/ 4610 w 9789"/>
              <a:gd name="connsiteY173" fmla="*/ 7334 h 10000"/>
              <a:gd name="connsiteX174" fmla="*/ 4610 w 9789"/>
              <a:gd name="connsiteY174" fmla="*/ 7250 h 10000"/>
              <a:gd name="connsiteX175" fmla="*/ 4683 w 9789"/>
              <a:gd name="connsiteY175" fmla="*/ 7250 h 10000"/>
              <a:gd name="connsiteX176" fmla="*/ 4888 w 9789"/>
              <a:gd name="connsiteY176" fmla="*/ 7250 h 10000"/>
              <a:gd name="connsiteX177" fmla="*/ 4968 w 9789"/>
              <a:gd name="connsiteY177" fmla="*/ 7417 h 10000"/>
              <a:gd name="connsiteX178" fmla="*/ 4968 w 9789"/>
              <a:gd name="connsiteY178" fmla="*/ 7500 h 10000"/>
              <a:gd name="connsiteX179" fmla="*/ 5033 w 9789"/>
              <a:gd name="connsiteY179" fmla="*/ 7500 h 10000"/>
              <a:gd name="connsiteX180" fmla="*/ 5175 w 9789"/>
              <a:gd name="connsiteY180" fmla="*/ 7584 h 10000"/>
              <a:gd name="connsiteX181" fmla="*/ 5175 w 9789"/>
              <a:gd name="connsiteY181" fmla="*/ 7668 h 10000"/>
              <a:gd name="connsiteX182" fmla="*/ 5317 w 9789"/>
              <a:gd name="connsiteY182" fmla="*/ 7668 h 10000"/>
              <a:gd name="connsiteX183" fmla="*/ 5459 w 9789"/>
              <a:gd name="connsiteY183" fmla="*/ 7500 h 10000"/>
              <a:gd name="connsiteX184" fmla="*/ 5601 w 9789"/>
              <a:gd name="connsiteY184" fmla="*/ 7417 h 10000"/>
              <a:gd name="connsiteX185" fmla="*/ 5683 w 9789"/>
              <a:gd name="connsiteY185" fmla="*/ 7668 h 10000"/>
              <a:gd name="connsiteX186" fmla="*/ 5958 w 9789"/>
              <a:gd name="connsiteY186" fmla="*/ 8249 h 10000"/>
              <a:gd name="connsiteX187" fmla="*/ 6031 w 9789"/>
              <a:gd name="connsiteY187" fmla="*/ 8082 h 10000"/>
              <a:gd name="connsiteX188" fmla="*/ 6101 w 9789"/>
              <a:gd name="connsiteY188" fmla="*/ 8249 h 10000"/>
              <a:gd name="connsiteX189" fmla="*/ 6314 w 9789"/>
              <a:gd name="connsiteY189" fmla="*/ 8167 h 10000"/>
              <a:gd name="connsiteX190" fmla="*/ 6528 w 9789"/>
              <a:gd name="connsiteY190" fmla="*/ 8418 h 10000"/>
              <a:gd name="connsiteX191" fmla="*/ 6665 w 9789"/>
              <a:gd name="connsiteY191" fmla="*/ 8500 h 10000"/>
              <a:gd name="connsiteX192" fmla="*/ 6665 w 9789"/>
              <a:gd name="connsiteY192" fmla="*/ 8418 h 10000"/>
              <a:gd name="connsiteX193" fmla="*/ 6741 w 9789"/>
              <a:gd name="connsiteY193" fmla="*/ 8584 h 10000"/>
              <a:gd name="connsiteX194" fmla="*/ 6665 w 9789"/>
              <a:gd name="connsiteY194" fmla="*/ 8667 h 10000"/>
              <a:gd name="connsiteX195" fmla="*/ 6811 w 9789"/>
              <a:gd name="connsiteY195" fmla="*/ 8584 h 10000"/>
              <a:gd name="connsiteX196" fmla="*/ 6879 w 9789"/>
              <a:gd name="connsiteY196" fmla="*/ 8500 h 10000"/>
              <a:gd name="connsiteX197" fmla="*/ 7231 w 9789"/>
              <a:gd name="connsiteY197" fmla="*/ 8249 h 10000"/>
              <a:gd name="connsiteX198" fmla="*/ 7518 w 9789"/>
              <a:gd name="connsiteY198" fmla="*/ 8332 h 10000"/>
              <a:gd name="connsiteX199" fmla="*/ 7657 w 9789"/>
              <a:gd name="connsiteY199" fmla="*/ 8418 h 10000"/>
              <a:gd name="connsiteX200" fmla="*/ 7941 w 9789"/>
              <a:gd name="connsiteY200" fmla="*/ 8418 h 10000"/>
              <a:gd name="connsiteX201" fmla="*/ 7941 w 9789"/>
              <a:gd name="connsiteY201" fmla="*/ 8249 h 10000"/>
              <a:gd name="connsiteX202" fmla="*/ 7941 w 9789"/>
              <a:gd name="connsiteY202" fmla="*/ 8082 h 10000"/>
              <a:gd name="connsiteX203" fmla="*/ 8084 w 9789"/>
              <a:gd name="connsiteY203" fmla="*/ 8000 h 10000"/>
              <a:gd name="connsiteX204" fmla="*/ 8364 w 9789"/>
              <a:gd name="connsiteY204" fmla="*/ 8082 h 10000"/>
              <a:gd name="connsiteX205" fmla="*/ 8511 w 9789"/>
              <a:gd name="connsiteY205" fmla="*/ 8332 h 10000"/>
              <a:gd name="connsiteX206" fmla="*/ 8582 w 9789"/>
              <a:gd name="connsiteY206" fmla="*/ 8332 h 10000"/>
              <a:gd name="connsiteX207" fmla="*/ 8724 w 9789"/>
              <a:gd name="connsiteY207" fmla="*/ 8249 h 10000"/>
              <a:gd name="connsiteX208" fmla="*/ 9154 w 9789"/>
              <a:gd name="connsiteY208" fmla="*/ 8500 h 10000"/>
              <a:gd name="connsiteX209" fmla="*/ 9362 w 9789"/>
              <a:gd name="connsiteY209" fmla="*/ 8584 h 10000"/>
              <a:gd name="connsiteX210" fmla="*/ 9645 w 9789"/>
              <a:gd name="connsiteY210" fmla="*/ 8500 h 10000"/>
              <a:gd name="connsiteX211" fmla="*/ 9789 w 9789"/>
              <a:gd name="connsiteY211" fmla="*/ 8332 h 10000"/>
              <a:gd name="connsiteX0" fmla="*/ 8258 w 9853"/>
              <a:gd name="connsiteY0" fmla="*/ 0 h 10000"/>
              <a:gd name="connsiteX1" fmla="*/ 7609 w 9853"/>
              <a:gd name="connsiteY1" fmla="*/ 165 h 10000"/>
              <a:gd name="connsiteX2" fmla="*/ 7027 w 9853"/>
              <a:gd name="connsiteY2" fmla="*/ 582 h 10000"/>
              <a:gd name="connsiteX3" fmla="*/ 6809 w 9853"/>
              <a:gd name="connsiteY3" fmla="*/ 916 h 10000"/>
              <a:gd name="connsiteX4" fmla="*/ 6886 w 9853"/>
              <a:gd name="connsiteY4" fmla="*/ 1332 h 10000"/>
              <a:gd name="connsiteX5" fmla="*/ 6086 w 9853"/>
              <a:gd name="connsiteY5" fmla="*/ 1500 h 10000"/>
              <a:gd name="connsiteX6" fmla="*/ 6161 w 9853"/>
              <a:gd name="connsiteY6" fmla="*/ 2000 h 10000"/>
              <a:gd name="connsiteX7" fmla="*/ 6377 w 9853"/>
              <a:gd name="connsiteY7" fmla="*/ 2250 h 10000"/>
              <a:gd name="connsiteX8" fmla="*/ 6233 w 9853"/>
              <a:gd name="connsiteY8" fmla="*/ 2332 h 10000"/>
              <a:gd name="connsiteX9" fmla="*/ 6017 w 9853"/>
              <a:gd name="connsiteY9" fmla="*/ 2000 h 10000"/>
              <a:gd name="connsiteX10" fmla="*/ 5805 w 9853"/>
              <a:gd name="connsiteY10" fmla="*/ 1915 h 10000"/>
              <a:gd name="connsiteX11" fmla="*/ 5722 w 9853"/>
              <a:gd name="connsiteY11" fmla="*/ 2000 h 10000"/>
              <a:gd name="connsiteX12" fmla="*/ 5577 w 9853"/>
              <a:gd name="connsiteY12" fmla="*/ 1831 h 10000"/>
              <a:gd name="connsiteX13" fmla="*/ 5432 w 9853"/>
              <a:gd name="connsiteY13" fmla="*/ 1665 h 10000"/>
              <a:gd name="connsiteX14" fmla="*/ 5432 w 9853"/>
              <a:gd name="connsiteY14" fmla="*/ 1749 h 10000"/>
              <a:gd name="connsiteX15" fmla="*/ 5513 w 9853"/>
              <a:gd name="connsiteY15" fmla="*/ 2000 h 10000"/>
              <a:gd name="connsiteX16" fmla="*/ 5287 w 9853"/>
              <a:gd name="connsiteY16" fmla="*/ 2416 h 10000"/>
              <a:gd name="connsiteX17" fmla="*/ 5432 w 9853"/>
              <a:gd name="connsiteY17" fmla="*/ 2748 h 10000"/>
              <a:gd name="connsiteX18" fmla="*/ 5359 w 9853"/>
              <a:gd name="connsiteY18" fmla="*/ 3083 h 10000"/>
              <a:gd name="connsiteX19" fmla="*/ 5359 w 9853"/>
              <a:gd name="connsiteY19" fmla="*/ 3333 h 10000"/>
              <a:gd name="connsiteX20" fmla="*/ 5577 w 9853"/>
              <a:gd name="connsiteY20" fmla="*/ 3333 h 10000"/>
              <a:gd name="connsiteX21" fmla="*/ 5432 w 9853"/>
              <a:gd name="connsiteY21" fmla="*/ 3416 h 10000"/>
              <a:gd name="connsiteX22" fmla="*/ 5513 w 9853"/>
              <a:gd name="connsiteY22" fmla="*/ 3832 h 10000"/>
              <a:gd name="connsiteX23" fmla="*/ 5075 w 9853"/>
              <a:gd name="connsiteY23" fmla="*/ 4250 h 10000"/>
              <a:gd name="connsiteX24" fmla="*/ 4993 w 9853"/>
              <a:gd name="connsiteY24" fmla="*/ 4167 h 10000"/>
              <a:gd name="connsiteX25" fmla="*/ 5287 w 9853"/>
              <a:gd name="connsiteY25" fmla="*/ 3748 h 10000"/>
              <a:gd name="connsiteX26" fmla="*/ 5359 w 9853"/>
              <a:gd name="connsiteY26" fmla="*/ 3500 h 10000"/>
              <a:gd name="connsiteX27" fmla="*/ 5207 w 9853"/>
              <a:gd name="connsiteY27" fmla="*/ 3333 h 10000"/>
              <a:gd name="connsiteX28" fmla="*/ 5207 w 9853"/>
              <a:gd name="connsiteY28" fmla="*/ 2498 h 10000"/>
              <a:gd name="connsiteX29" fmla="*/ 5141 w 9853"/>
              <a:gd name="connsiteY29" fmla="*/ 2332 h 10000"/>
              <a:gd name="connsiteX30" fmla="*/ 5207 w 9853"/>
              <a:gd name="connsiteY30" fmla="*/ 1831 h 10000"/>
              <a:gd name="connsiteX31" fmla="*/ 5075 w 9853"/>
              <a:gd name="connsiteY31" fmla="*/ 1749 h 10000"/>
              <a:gd name="connsiteX32" fmla="*/ 5141 w 9853"/>
              <a:gd name="connsiteY32" fmla="*/ 1665 h 10000"/>
              <a:gd name="connsiteX33" fmla="*/ 5075 w 9853"/>
              <a:gd name="connsiteY33" fmla="*/ 1500 h 10000"/>
              <a:gd name="connsiteX34" fmla="*/ 4923 w 9853"/>
              <a:gd name="connsiteY34" fmla="*/ 1582 h 10000"/>
              <a:gd name="connsiteX35" fmla="*/ 4566 w 9853"/>
              <a:gd name="connsiteY35" fmla="*/ 2666 h 10000"/>
              <a:gd name="connsiteX36" fmla="*/ 4566 w 9853"/>
              <a:gd name="connsiteY36" fmla="*/ 3083 h 10000"/>
              <a:gd name="connsiteX37" fmla="*/ 4784 w 9853"/>
              <a:gd name="connsiteY37" fmla="*/ 3416 h 10000"/>
              <a:gd name="connsiteX38" fmla="*/ 4784 w 9853"/>
              <a:gd name="connsiteY38" fmla="*/ 3582 h 10000"/>
              <a:gd name="connsiteX39" fmla="*/ 4566 w 9853"/>
              <a:gd name="connsiteY39" fmla="*/ 3416 h 10000"/>
              <a:gd name="connsiteX40" fmla="*/ 3700 w 9853"/>
              <a:gd name="connsiteY40" fmla="*/ 2748 h 10000"/>
              <a:gd name="connsiteX41" fmla="*/ 3625 w 9853"/>
              <a:gd name="connsiteY41" fmla="*/ 2915 h 10000"/>
              <a:gd name="connsiteX42" fmla="*/ 3915 w 9853"/>
              <a:gd name="connsiteY42" fmla="*/ 3333 h 10000"/>
              <a:gd name="connsiteX43" fmla="*/ 3764 w 9853"/>
              <a:gd name="connsiteY43" fmla="*/ 3416 h 10000"/>
              <a:gd name="connsiteX44" fmla="*/ 3700 w 9853"/>
              <a:gd name="connsiteY44" fmla="*/ 3333 h 10000"/>
              <a:gd name="connsiteX45" fmla="*/ 3264 w 9853"/>
              <a:gd name="connsiteY45" fmla="*/ 3500 h 10000"/>
              <a:gd name="connsiteX46" fmla="*/ 3192 w 9853"/>
              <a:gd name="connsiteY46" fmla="*/ 3665 h 10000"/>
              <a:gd name="connsiteX47" fmla="*/ 3119 w 9853"/>
              <a:gd name="connsiteY47" fmla="*/ 3500 h 10000"/>
              <a:gd name="connsiteX48" fmla="*/ 3119 w 9853"/>
              <a:gd name="connsiteY48" fmla="*/ 3333 h 10000"/>
              <a:gd name="connsiteX49" fmla="*/ 2387 w 9853"/>
              <a:gd name="connsiteY49" fmla="*/ 3832 h 10000"/>
              <a:gd name="connsiteX50" fmla="*/ 2387 w 9853"/>
              <a:gd name="connsiteY50" fmla="*/ 3998 h 10000"/>
              <a:gd name="connsiteX51" fmla="*/ 2246 w 9853"/>
              <a:gd name="connsiteY51" fmla="*/ 4082 h 10000"/>
              <a:gd name="connsiteX52" fmla="*/ 2030 w 9853"/>
              <a:gd name="connsiteY52" fmla="*/ 3916 h 10000"/>
              <a:gd name="connsiteX53" fmla="*/ 2246 w 9853"/>
              <a:gd name="connsiteY53" fmla="*/ 3748 h 10000"/>
              <a:gd name="connsiteX54" fmla="*/ 2171 w 9853"/>
              <a:gd name="connsiteY54" fmla="*/ 3500 h 10000"/>
              <a:gd name="connsiteX55" fmla="*/ 1884 w 9853"/>
              <a:gd name="connsiteY55" fmla="*/ 3416 h 10000"/>
              <a:gd name="connsiteX56" fmla="*/ 1957 w 9853"/>
              <a:gd name="connsiteY56" fmla="*/ 3582 h 10000"/>
              <a:gd name="connsiteX57" fmla="*/ 1957 w 9853"/>
              <a:gd name="connsiteY57" fmla="*/ 3998 h 10000"/>
              <a:gd name="connsiteX58" fmla="*/ 2030 w 9853"/>
              <a:gd name="connsiteY58" fmla="*/ 4167 h 10000"/>
              <a:gd name="connsiteX59" fmla="*/ 1957 w 9853"/>
              <a:gd name="connsiteY59" fmla="*/ 4334 h 10000"/>
              <a:gd name="connsiteX60" fmla="*/ 1735 w 9853"/>
              <a:gd name="connsiteY60" fmla="*/ 4250 h 10000"/>
              <a:gd name="connsiteX61" fmla="*/ 1451 w 9853"/>
              <a:gd name="connsiteY61" fmla="*/ 4498 h 10000"/>
              <a:gd name="connsiteX62" fmla="*/ 1591 w 9853"/>
              <a:gd name="connsiteY62" fmla="*/ 4833 h 10000"/>
              <a:gd name="connsiteX63" fmla="*/ 1156 w 9853"/>
              <a:gd name="connsiteY63" fmla="*/ 4666 h 10000"/>
              <a:gd name="connsiteX64" fmla="*/ 1087 w 9853"/>
              <a:gd name="connsiteY64" fmla="*/ 4748 h 10000"/>
              <a:gd name="connsiteX65" fmla="*/ 1234 w 9853"/>
              <a:gd name="connsiteY65" fmla="*/ 4999 h 10000"/>
              <a:gd name="connsiteX66" fmla="*/ 1087 w 9853"/>
              <a:gd name="connsiteY66" fmla="*/ 4999 h 10000"/>
              <a:gd name="connsiteX67" fmla="*/ 872 w 9853"/>
              <a:gd name="connsiteY67" fmla="*/ 4833 h 10000"/>
              <a:gd name="connsiteX68" fmla="*/ 872 w 9853"/>
              <a:gd name="connsiteY68" fmla="*/ 4334 h 10000"/>
              <a:gd name="connsiteX69" fmla="*/ 655 w 9853"/>
              <a:gd name="connsiteY69" fmla="*/ 4167 h 10000"/>
              <a:gd name="connsiteX70" fmla="*/ 578 w 9853"/>
              <a:gd name="connsiteY70" fmla="*/ 3998 h 10000"/>
              <a:gd name="connsiteX71" fmla="*/ 722 w 9853"/>
              <a:gd name="connsiteY71" fmla="*/ 4082 h 10000"/>
              <a:gd name="connsiteX72" fmla="*/ 1300 w 9853"/>
              <a:gd name="connsiteY72" fmla="*/ 4334 h 10000"/>
              <a:gd name="connsiteX73" fmla="*/ 1659 w 9853"/>
              <a:gd name="connsiteY73" fmla="*/ 4082 h 10000"/>
              <a:gd name="connsiteX74" fmla="*/ 1591 w 9853"/>
              <a:gd name="connsiteY74" fmla="*/ 3832 h 10000"/>
              <a:gd name="connsiteX75" fmla="*/ 1156 w 9853"/>
              <a:gd name="connsiteY75" fmla="*/ 3333 h 10000"/>
              <a:gd name="connsiteX76" fmla="*/ 722 w 9853"/>
              <a:gd name="connsiteY76" fmla="*/ 3166 h 10000"/>
              <a:gd name="connsiteX77" fmla="*/ 722 w 9853"/>
              <a:gd name="connsiteY77" fmla="*/ 3083 h 10000"/>
              <a:gd name="connsiteX78" fmla="*/ 578 w 9853"/>
              <a:gd name="connsiteY78" fmla="*/ 2997 h 10000"/>
              <a:gd name="connsiteX79" fmla="*/ 432 w 9853"/>
              <a:gd name="connsiteY79" fmla="*/ 3083 h 10000"/>
              <a:gd name="connsiteX80" fmla="*/ 432 w 9853"/>
              <a:gd name="connsiteY80" fmla="*/ 3166 h 10000"/>
              <a:gd name="connsiteX81" fmla="*/ 361 w 9853"/>
              <a:gd name="connsiteY81" fmla="*/ 3166 h 10000"/>
              <a:gd name="connsiteX82" fmla="*/ 218 w 9853"/>
              <a:gd name="connsiteY82" fmla="*/ 3333 h 10000"/>
              <a:gd name="connsiteX83" fmla="*/ 218 w 9853"/>
              <a:gd name="connsiteY83" fmla="*/ 3582 h 10000"/>
              <a:gd name="connsiteX84" fmla="*/ 361 w 9853"/>
              <a:gd name="connsiteY84" fmla="*/ 3748 h 10000"/>
              <a:gd name="connsiteX85" fmla="*/ 292 w 9853"/>
              <a:gd name="connsiteY85" fmla="*/ 3998 h 10000"/>
              <a:gd name="connsiteX86" fmla="*/ 361 w 9853"/>
              <a:gd name="connsiteY86" fmla="*/ 4417 h 10000"/>
              <a:gd name="connsiteX87" fmla="*/ 292 w 9853"/>
              <a:gd name="connsiteY87" fmla="*/ 4666 h 10000"/>
              <a:gd name="connsiteX88" fmla="*/ 432 w 9853"/>
              <a:gd name="connsiteY88" fmla="*/ 4916 h 10000"/>
              <a:gd name="connsiteX89" fmla="*/ 361 w 9853"/>
              <a:gd name="connsiteY89" fmla="*/ 5083 h 10000"/>
              <a:gd name="connsiteX90" fmla="*/ 505 w 9853"/>
              <a:gd name="connsiteY90" fmla="*/ 5250 h 10000"/>
              <a:gd name="connsiteX91" fmla="*/ 505 w 9853"/>
              <a:gd name="connsiteY91" fmla="*/ 5333 h 10000"/>
              <a:gd name="connsiteX92" fmla="*/ 292 w 9853"/>
              <a:gd name="connsiteY92" fmla="*/ 5750 h 10000"/>
              <a:gd name="connsiteX93" fmla="*/ 66 w 9853"/>
              <a:gd name="connsiteY93" fmla="*/ 5917 h 10000"/>
              <a:gd name="connsiteX94" fmla="*/ 143 w 9853"/>
              <a:gd name="connsiteY94" fmla="*/ 5917 h 10000"/>
              <a:gd name="connsiteX95" fmla="*/ 292 w 9853"/>
              <a:gd name="connsiteY95" fmla="*/ 6083 h 10000"/>
              <a:gd name="connsiteX96" fmla="*/ 143 w 9853"/>
              <a:gd name="connsiteY96" fmla="*/ 6249 h 10000"/>
              <a:gd name="connsiteX97" fmla="*/ 66 w 9853"/>
              <a:gd name="connsiteY97" fmla="*/ 6334 h 10000"/>
              <a:gd name="connsiteX98" fmla="*/ 0 w 9853"/>
              <a:gd name="connsiteY98" fmla="*/ 6334 h 10000"/>
              <a:gd name="connsiteX99" fmla="*/ 66 w 9853"/>
              <a:gd name="connsiteY99" fmla="*/ 6584 h 10000"/>
              <a:gd name="connsiteX100" fmla="*/ 66 w 9853"/>
              <a:gd name="connsiteY100" fmla="*/ 6667 h 10000"/>
              <a:gd name="connsiteX101" fmla="*/ 66 w 9853"/>
              <a:gd name="connsiteY101" fmla="*/ 6749 h 10000"/>
              <a:gd name="connsiteX102" fmla="*/ 66 w 9853"/>
              <a:gd name="connsiteY102" fmla="*/ 6834 h 10000"/>
              <a:gd name="connsiteX103" fmla="*/ 143 w 9853"/>
              <a:gd name="connsiteY103" fmla="*/ 6998 h 10000"/>
              <a:gd name="connsiteX104" fmla="*/ 361 w 9853"/>
              <a:gd name="connsiteY104" fmla="*/ 7083 h 10000"/>
              <a:gd name="connsiteX105" fmla="*/ 432 w 9853"/>
              <a:gd name="connsiteY105" fmla="*/ 7165 h 10000"/>
              <a:gd name="connsiteX106" fmla="*/ 432 w 9853"/>
              <a:gd name="connsiteY106" fmla="*/ 7334 h 10000"/>
              <a:gd name="connsiteX107" fmla="*/ 578 w 9853"/>
              <a:gd name="connsiteY107" fmla="*/ 7584 h 10000"/>
              <a:gd name="connsiteX108" fmla="*/ 655 w 9853"/>
              <a:gd name="connsiteY108" fmla="*/ 7584 h 10000"/>
              <a:gd name="connsiteX109" fmla="*/ 578 w 9853"/>
              <a:gd name="connsiteY109" fmla="*/ 7750 h 10000"/>
              <a:gd name="connsiteX110" fmla="*/ 505 w 9853"/>
              <a:gd name="connsiteY110" fmla="*/ 7668 h 10000"/>
              <a:gd name="connsiteX111" fmla="*/ 505 w 9853"/>
              <a:gd name="connsiteY111" fmla="*/ 7750 h 10000"/>
              <a:gd name="connsiteX112" fmla="*/ 578 w 9853"/>
              <a:gd name="connsiteY112" fmla="*/ 7916 h 10000"/>
              <a:gd name="connsiteX113" fmla="*/ 801 w 9853"/>
              <a:gd name="connsiteY113" fmla="*/ 7916 h 10000"/>
              <a:gd name="connsiteX114" fmla="*/ 872 w 9853"/>
              <a:gd name="connsiteY114" fmla="*/ 8000 h 10000"/>
              <a:gd name="connsiteX115" fmla="*/ 801 w 9853"/>
              <a:gd name="connsiteY115" fmla="*/ 8000 h 10000"/>
              <a:gd name="connsiteX116" fmla="*/ 872 w 9853"/>
              <a:gd name="connsiteY116" fmla="*/ 8082 h 10000"/>
              <a:gd name="connsiteX117" fmla="*/ 941 w 9853"/>
              <a:gd name="connsiteY117" fmla="*/ 8082 h 10000"/>
              <a:gd name="connsiteX118" fmla="*/ 1011 w 9853"/>
              <a:gd name="connsiteY118" fmla="*/ 8249 h 10000"/>
              <a:gd name="connsiteX119" fmla="*/ 1087 w 9853"/>
              <a:gd name="connsiteY119" fmla="*/ 8332 h 10000"/>
              <a:gd name="connsiteX120" fmla="*/ 1156 w 9853"/>
              <a:gd name="connsiteY120" fmla="*/ 8249 h 10000"/>
              <a:gd name="connsiteX121" fmla="*/ 1522 w 9853"/>
              <a:gd name="connsiteY121" fmla="*/ 8500 h 10000"/>
              <a:gd name="connsiteX122" fmla="*/ 1451 w 9853"/>
              <a:gd name="connsiteY122" fmla="*/ 8833 h 10000"/>
              <a:gd name="connsiteX123" fmla="*/ 1377 w 9853"/>
              <a:gd name="connsiteY123" fmla="*/ 8750 h 10000"/>
              <a:gd name="connsiteX124" fmla="*/ 1300 w 9853"/>
              <a:gd name="connsiteY124" fmla="*/ 8833 h 10000"/>
              <a:gd name="connsiteX125" fmla="*/ 1300 w 9853"/>
              <a:gd name="connsiteY125" fmla="*/ 8999 h 10000"/>
              <a:gd name="connsiteX126" fmla="*/ 1377 w 9853"/>
              <a:gd name="connsiteY126" fmla="*/ 8917 h 10000"/>
              <a:gd name="connsiteX127" fmla="*/ 1451 w 9853"/>
              <a:gd name="connsiteY127" fmla="*/ 8999 h 10000"/>
              <a:gd name="connsiteX128" fmla="*/ 1234 w 9853"/>
              <a:gd name="connsiteY128" fmla="*/ 9083 h 10000"/>
              <a:gd name="connsiteX129" fmla="*/ 1300 w 9853"/>
              <a:gd name="connsiteY129" fmla="*/ 9167 h 10000"/>
              <a:gd name="connsiteX130" fmla="*/ 1156 w 9853"/>
              <a:gd name="connsiteY130" fmla="*/ 9333 h 10000"/>
              <a:gd name="connsiteX131" fmla="*/ 1087 w 9853"/>
              <a:gd name="connsiteY131" fmla="*/ 9333 h 10000"/>
              <a:gd name="connsiteX132" fmla="*/ 1156 w 9853"/>
              <a:gd name="connsiteY132" fmla="*/ 9333 h 10000"/>
              <a:gd name="connsiteX133" fmla="*/ 1451 w 9853"/>
              <a:gd name="connsiteY133" fmla="*/ 9668 h 10000"/>
              <a:gd name="connsiteX134" fmla="*/ 1812 w 9853"/>
              <a:gd name="connsiteY134" fmla="*/ 9668 h 10000"/>
              <a:gd name="connsiteX135" fmla="*/ 1957 w 9853"/>
              <a:gd name="connsiteY135" fmla="*/ 9750 h 10000"/>
              <a:gd name="connsiteX136" fmla="*/ 2101 w 9853"/>
              <a:gd name="connsiteY136" fmla="*/ 9750 h 10000"/>
              <a:gd name="connsiteX137" fmla="*/ 2246 w 9853"/>
              <a:gd name="connsiteY137" fmla="*/ 9918 h 10000"/>
              <a:gd name="connsiteX138" fmla="*/ 2319 w 9853"/>
              <a:gd name="connsiteY138" fmla="*/ 10000 h 10000"/>
              <a:gd name="connsiteX139" fmla="*/ 2387 w 9853"/>
              <a:gd name="connsiteY139" fmla="*/ 10000 h 10000"/>
              <a:gd name="connsiteX140" fmla="*/ 2464 w 9853"/>
              <a:gd name="connsiteY140" fmla="*/ 9918 h 10000"/>
              <a:gd name="connsiteX141" fmla="*/ 2319 w 9853"/>
              <a:gd name="connsiteY141" fmla="*/ 9750 h 10000"/>
              <a:gd name="connsiteX142" fmla="*/ 2319 w 9853"/>
              <a:gd name="connsiteY142" fmla="*/ 9584 h 10000"/>
              <a:gd name="connsiteX143" fmla="*/ 2246 w 9853"/>
              <a:gd name="connsiteY143" fmla="*/ 9416 h 10000"/>
              <a:gd name="connsiteX144" fmla="*/ 2387 w 9853"/>
              <a:gd name="connsiteY144" fmla="*/ 9167 h 10000"/>
              <a:gd name="connsiteX145" fmla="*/ 2464 w 9853"/>
              <a:gd name="connsiteY145" fmla="*/ 9250 h 10000"/>
              <a:gd name="connsiteX146" fmla="*/ 2535 w 9853"/>
              <a:gd name="connsiteY146" fmla="*/ 9167 h 10000"/>
              <a:gd name="connsiteX147" fmla="*/ 2535 w 9853"/>
              <a:gd name="connsiteY147" fmla="*/ 9083 h 10000"/>
              <a:gd name="connsiteX148" fmla="*/ 2464 w 9853"/>
              <a:gd name="connsiteY148" fmla="*/ 9083 h 10000"/>
              <a:gd name="connsiteX149" fmla="*/ 2535 w 9853"/>
              <a:gd name="connsiteY149" fmla="*/ 8999 h 10000"/>
              <a:gd name="connsiteX150" fmla="*/ 2464 w 9853"/>
              <a:gd name="connsiteY150" fmla="*/ 8833 h 10000"/>
              <a:gd name="connsiteX151" fmla="*/ 2319 w 9853"/>
              <a:gd name="connsiteY151" fmla="*/ 8833 h 10000"/>
              <a:gd name="connsiteX152" fmla="*/ 2246 w 9853"/>
              <a:gd name="connsiteY152" fmla="*/ 8667 h 10000"/>
              <a:gd name="connsiteX153" fmla="*/ 2319 w 9853"/>
              <a:gd name="connsiteY153" fmla="*/ 8249 h 10000"/>
              <a:gd name="connsiteX154" fmla="*/ 2464 w 9853"/>
              <a:gd name="connsiteY154" fmla="*/ 8418 h 10000"/>
              <a:gd name="connsiteX155" fmla="*/ 2535 w 9853"/>
              <a:gd name="connsiteY155" fmla="*/ 8418 h 10000"/>
              <a:gd name="connsiteX156" fmla="*/ 2464 w 9853"/>
              <a:gd name="connsiteY156" fmla="*/ 8249 h 10000"/>
              <a:gd name="connsiteX157" fmla="*/ 2683 w 9853"/>
              <a:gd name="connsiteY157" fmla="*/ 8000 h 10000"/>
              <a:gd name="connsiteX158" fmla="*/ 2829 w 9853"/>
              <a:gd name="connsiteY158" fmla="*/ 8082 h 10000"/>
              <a:gd name="connsiteX159" fmla="*/ 2899 w 9853"/>
              <a:gd name="connsiteY159" fmla="*/ 8000 h 10000"/>
              <a:gd name="connsiteX160" fmla="*/ 3039 w 9853"/>
              <a:gd name="connsiteY160" fmla="*/ 8082 h 10000"/>
              <a:gd name="connsiteX161" fmla="*/ 3264 w 9853"/>
              <a:gd name="connsiteY161" fmla="*/ 8249 h 10000"/>
              <a:gd name="connsiteX162" fmla="*/ 3404 w 9853"/>
              <a:gd name="connsiteY162" fmla="*/ 8167 h 10000"/>
              <a:gd name="connsiteX163" fmla="*/ 3551 w 9853"/>
              <a:gd name="connsiteY163" fmla="*/ 8167 h 10000"/>
              <a:gd name="connsiteX164" fmla="*/ 3625 w 9853"/>
              <a:gd name="connsiteY164" fmla="*/ 8249 h 10000"/>
              <a:gd name="connsiteX165" fmla="*/ 3915 w 9853"/>
              <a:gd name="connsiteY165" fmla="*/ 8249 h 10000"/>
              <a:gd name="connsiteX166" fmla="*/ 3983 w 9853"/>
              <a:gd name="connsiteY166" fmla="*/ 8082 h 10000"/>
              <a:gd name="connsiteX167" fmla="*/ 3764 w 9853"/>
              <a:gd name="connsiteY167" fmla="*/ 8000 h 10000"/>
              <a:gd name="connsiteX168" fmla="*/ 3915 w 9853"/>
              <a:gd name="connsiteY168" fmla="*/ 7916 h 10000"/>
              <a:gd name="connsiteX169" fmla="*/ 3837 w 9853"/>
              <a:gd name="connsiteY169" fmla="*/ 7833 h 10000"/>
              <a:gd name="connsiteX170" fmla="*/ 3915 w 9853"/>
              <a:gd name="connsiteY170" fmla="*/ 7750 h 10000"/>
              <a:gd name="connsiteX171" fmla="*/ 3915 w 9853"/>
              <a:gd name="connsiteY171" fmla="*/ 7500 h 10000"/>
              <a:gd name="connsiteX172" fmla="*/ 4055 w 9853"/>
              <a:gd name="connsiteY172" fmla="*/ 7584 h 10000"/>
              <a:gd name="connsiteX173" fmla="*/ 4709 w 9853"/>
              <a:gd name="connsiteY173" fmla="*/ 7334 h 10000"/>
              <a:gd name="connsiteX174" fmla="*/ 4709 w 9853"/>
              <a:gd name="connsiteY174" fmla="*/ 7250 h 10000"/>
              <a:gd name="connsiteX175" fmla="*/ 4784 w 9853"/>
              <a:gd name="connsiteY175" fmla="*/ 7250 h 10000"/>
              <a:gd name="connsiteX176" fmla="*/ 4993 w 9853"/>
              <a:gd name="connsiteY176" fmla="*/ 7250 h 10000"/>
              <a:gd name="connsiteX177" fmla="*/ 5075 w 9853"/>
              <a:gd name="connsiteY177" fmla="*/ 7417 h 10000"/>
              <a:gd name="connsiteX178" fmla="*/ 5075 w 9853"/>
              <a:gd name="connsiteY178" fmla="*/ 7500 h 10000"/>
              <a:gd name="connsiteX179" fmla="*/ 5141 w 9853"/>
              <a:gd name="connsiteY179" fmla="*/ 7500 h 10000"/>
              <a:gd name="connsiteX180" fmla="*/ 5287 w 9853"/>
              <a:gd name="connsiteY180" fmla="*/ 7584 h 10000"/>
              <a:gd name="connsiteX181" fmla="*/ 5287 w 9853"/>
              <a:gd name="connsiteY181" fmla="*/ 7668 h 10000"/>
              <a:gd name="connsiteX182" fmla="*/ 5432 w 9853"/>
              <a:gd name="connsiteY182" fmla="*/ 7668 h 10000"/>
              <a:gd name="connsiteX183" fmla="*/ 5577 w 9853"/>
              <a:gd name="connsiteY183" fmla="*/ 7500 h 10000"/>
              <a:gd name="connsiteX184" fmla="*/ 5722 w 9853"/>
              <a:gd name="connsiteY184" fmla="*/ 7417 h 10000"/>
              <a:gd name="connsiteX185" fmla="*/ 5805 w 9853"/>
              <a:gd name="connsiteY185" fmla="*/ 7668 h 10000"/>
              <a:gd name="connsiteX186" fmla="*/ 6086 w 9853"/>
              <a:gd name="connsiteY186" fmla="*/ 8249 h 10000"/>
              <a:gd name="connsiteX187" fmla="*/ 6161 w 9853"/>
              <a:gd name="connsiteY187" fmla="*/ 8082 h 10000"/>
              <a:gd name="connsiteX188" fmla="*/ 6233 w 9853"/>
              <a:gd name="connsiteY188" fmla="*/ 8249 h 10000"/>
              <a:gd name="connsiteX189" fmla="*/ 6450 w 9853"/>
              <a:gd name="connsiteY189" fmla="*/ 8167 h 10000"/>
              <a:gd name="connsiteX190" fmla="*/ 6669 w 9853"/>
              <a:gd name="connsiteY190" fmla="*/ 8418 h 10000"/>
              <a:gd name="connsiteX191" fmla="*/ 6809 w 9853"/>
              <a:gd name="connsiteY191" fmla="*/ 8500 h 10000"/>
              <a:gd name="connsiteX192" fmla="*/ 6809 w 9853"/>
              <a:gd name="connsiteY192" fmla="*/ 8418 h 10000"/>
              <a:gd name="connsiteX193" fmla="*/ 6886 w 9853"/>
              <a:gd name="connsiteY193" fmla="*/ 8584 h 10000"/>
              <a:gd name="connsiteX194" fmla="*/ 6809 w 9853"/>
              <a:gd name="connsiteY194" fmla="*/ 8667 h 10000"/>
              <a:gd name="connsiteX195" fmla="*/ 6958 w 9853"/>
              <a:gd name="connsiteY195" fmla="*/ 8584 h 10000"/>
              <a:gd name="connsiteX196" fmla="*/ 7027 w 9853"/>
              <a:gd name="connsiteY196" fmla="*/ 8500 h 10000"/>
              <a:gd name="connsiteX197" fmla="*/ 7387 w 9853"/>
              <a:gd name="connsiteY197" fmla="*/ 8249 h 10000"/>
              <a:gd name="connsiteX198" fmla="*/ 7680 w 9853"/>
              <a:gd name="connsiteY198" fmla="*/ 8332 h 10000"/>
              <a:gd name="connsiteX199" fmla="*/ 7822 w 9853"/>
              <a:gd name="connsiteY199" fmla="*/ 8418 h 10000"/>
              <a:gd name="connsiteX200" fmla="*/ 8112 w 9853"/>
              <a:gd name="connsiteY200" fmla="*/ 8418 h 10000"/>
              <a:gd name="connsiteX201" fmla="*/ 8112 w 9853"/>
              <a:gd name="connsiteY201" fmla="*/ 8249 h 10000"/>
              <a:gd name="connsiteX202" fmla="*/ 8112 w 9853"/>
              <a:gd name="connsiteY202" fmla="*/ 8082 h 10000"/>
              <a:gd name="connsiteX203" fmla="*/ 8258 w 9853"/>
              <a:gd name="connsiteY203" fmla="*/ 8000 h 10000"/>
              <a:gd name="connsiteX204" fmla="*/ 8544 w 9853"/>
              <a:gd name="connsiteY204" fmla="*/ 8082 h 10000"/>
              <a:gd name="connsiteX205" fmla="*/ 8694 w 9853"/>
              <a:gd name="connsiteY205" fmla="*/ 8332 h 10000"/>
              <a:gd name="connsiteX206" fmla="*/ 8767 w 9853"/>
              <a:gd name="connsiteY206" fmla="*/ 8332 h 10000"/>
              <a:gd name="connsiteX207" fmla="*/ 8912 w 9853"/>
              <a:gd name="connsiteY207" fmla="*/ 8249 h 10000"/>
              <a:gd name="connsiteX208" fmla="*/ 9351 w 9853"/>
              <a:gd name="connsiteY208" fmla="*/ 8500 h 10000"/>
              <a:gd name="connsiteX209" fmla="*/ 9564 w 9853"/>
              <a:gd name="connsiteY209" fmla="*/ 8584 h 10000"/>
              <a:gd name="connsiteX210" fmla="*/ 9853 w 9853"/>
              <a:gd name="connsiteY210" fmla="*/ 8500 h 10000"/>
              <a:gd name="connsiteX0" fmla="*/ 8381 w 9707"/>
              <a:gd name="connsiteY0" fmla="*/ 0 h 10000"/>
              <a:gd name="connsiteX1" fmla="*/ 7723 w 9707"/>
              <a:gd name="connsiteY1" fmla="*/ 165 h 10000"/>
              <a:gd name="connsiteX2" fmla="*/ 7132 w 9707"/>
              <a:gd name="connsiteY2" fmla="*/ 582 h 10000"/>
              <a:gd name="connsiteX3" fmla="*/ 6911 w 9707"/>
              <a:gd name="connsiteY3" fmla="*/ 916 h 10000"/>
              <a:gd name="connsiteX4" fmla="*/ 6989 w 9707"/>
              <a:gd name="connsiteY4" fmla="*/ 1332 h 10000"/>
              <a:gd name="connsiteX5" fmla="*/ 6177 w 9707"/>
              <a:gd name="connsiteY5" fmla="*/ 1500 h 10000"/>
              <a:gd name="connsiteX6" fmla="*/ 6253 w 9707"/>
              <a:gd name="connsiteY6" fmla="*/ 2000 h 10000"/>
              <a:gd name="connsiteX7" fmla="*/ 6472 w 9707"/>
              <a:gd name="connsiteY7" fmla="*/ 2250 h 10000"/>
              <a:gd name="connsiteX8" fmla="*/ 6326 w 9707"/>
              <a:gd name="connsiteY8" fmla="*/ 2332 h 10000"/>
              <a:gd name="connsiteX9" fmla="*/ 6107 w 9707"/>
              <a:gd name="connsiteY9" fmla="*/ 2000 h 10000"/>
              <a:gd name="connsiteX10" fmla="*/ 5892 w 9707"/>
              <a:gd name="connsiteY10" fmla="*/ 1915 h 10000"/>
              <a:gd name="connsiteX11" fmla="*/ 5807 w 9707"/>
              <a:gd name="connsiteY11" fmla="*/ 2000 h 10000"/>
              <a:gd name="connsiteX12" fmla="*/ 5660 w 9707"/>
              <a:gd name="connsiteY12" fmla="*/ 1831 h 10000"/>
              <a:gd name="connsiteX13" fmla="*/ 5513 w 9707"/>
              <a:gd name="connsiteY13" fmla="*/ 1665 h 10000"/>
              <a:gd name="connsiteX14" fmla="*/ 5513 w 9707"/>
              <a:gd name="connsiteY14" fmla="*/ 1749 h 10000"/>
              <a:gd name="connsiteX15" fmla="*/ 5595 w 9707"/>
              <a:gd name="connsiteY15" fmla="*/ 2000 h 10000"/>
              <a:gd name="connsiteX16" fmla="*/ 5366 w 9707"/>
              <a:gd name="connsiteY16" fmla="*/ 2416 h 10000"/>
              <a:gd name="connsiteX17" fmla="*/ 5513 w 9707"/>
              <a:gd name="connsiteY17" fmla="*/ 2748 h 10000"/>
              <a:gd name="connsiteX18" fmla="*/ 5439 w 9707"/>
              <a:gd name="connsiteY18" fmla="*/ 3083 h 10000"/>
              <a:gd name="connsiteX19" fmla="*/ 5439 w 9707"/>
              <a:gd name="connsiteY19" fmla="*/ 3333 h 10000"/>
              <a:gd name="connsiteX20" fmla="*/ 5660 w 9707"/>
              <a:gd name="connsiteY20" fmla="*/ 3333 h 10000"/>
              <a:gd name="connsiteX21" fmla="*/ 5513 w 9707"/>
              <a:gd name="connsiteY21" fmla="*/ 3416 h 10000"/>
              <a:gd name="connsiteX22" fmla="*/ 5595 w 9707"/>
              <a:gd name="connsiteY22" fmla="*/ 3832 h 10000"/>
              <a:gd name="connsiteX23" fmla="*/ 5151 w 9707"/>
              <a:gd name="connsiteY23" fmla="*/ 4250 h 10000"/>
              <a:gd name="connsiteX24" fmla="*/ 5067 w 9707"/>
              <a:gd name="connsiteY24" fmla="*/ 4167 h 10000"/>
              <a:gd name="connsiteX25" fmla="*/ 5366 w 9707"/>
              <a:gd name="connsiteY25" fmla="*/ 3748 h 10000"/>
              <a:gd name="connsiteX26" fmla="*/ 5439 w 9707"/>
              <a:gd name="connsiteY26" fmla="*/ 3500 h 10000"/>
              <a:gd name="connsiteX27" fmla="*/ 5285 w 9707"/>
              <a:gd name="connsiteY27" fmla="*/ 3333 h 10000"/>
              <a:gd name="connsiteX28" fmla="*/ 5285 w 9707"/>
              <a:gd name="connsiteY28" fmla="*/ 2498 h 10000"/>
              <a:gd name="connsiteX29" fmla="*/ 5218 w 9707"/>
              <a:gd name="connsiteY29" fmla="*/ 2332 h 10000"/>
              <a:gd name="connsiteX30" fmla="*/ 5285 w 9707"/>
              <a:gd name="connsiteY30" fmla="*/ 1831 h 10000"/>
              <a:gd name="connsiteX31" fmla="*/ 5151 w 9707"/>
              <a:gd name="connsiteY31" fmla="*/ 1749 h 10000"/>
              <a:gd name="connsiteX32" fmla="*/ 5218 w 9707"/>
              <a:gd name="connsiteY32" fmla="*/ 1665 h 10000"/>
              <a:gd name="connsiteX33" fmla="*/ 5151 w 9707"/>
              <a:gd name="connsiteY33" fmla="*/ 1500 h 10000"/>
              <a:gd name="connsiteX34" fmla="*/ 4996 w 9707"/>
              <a:gd name="connsiteY34" fmla="*/ 1582 h 10000"/>
              <a:gd name="connsiteX35" fmla="*/ 4634 w 9707"/>
              <a:gd name="connsiteY35" fmla="*/ 2666 h 10000"/>
              <a:gd name="connsiteX36" fmla="*/ 4634 w 9707"/>
              <a:gd name="connsiteY36" fmla="*/ 3083 h 10000"/>
              <a:gd name="connsiteX37" fmla="*/ 4855 w 9707"/>
              <a:gd name="connsiteY37" fmla="*/ 3416 h 10000"/>
              <a:gd name="connsiteX38" fmla="*/ 4855 w 9707"/>
              <a:gd name="connsiteY38" fmla="*/ 3582 h 10000"/>
              <a:gd name="connsiteX39" fmla="*/ 4634 w 9707"/>
              <a:gd name="connsiteY39" fmla="*/ 3416 h 10000"/>
              <a:gd name="connsiteX40" fmla="*/ 3755 w 9707"/>
              <a:gd name="connsiteY40" fmla="*/ 2748 h 10000"/>
              <a:gd name="connsiteX41" fmla="*/ 3679 w 9707"/>
              <a:gd name="connsiteY41" fmla="*/ 2915 h 10000"/>
              <a:gd name="connsiteX42" fmla="*/ 3973 w 9707"/>
              <a:gd name="connsiteY42" fmla="*/ 3333 h 10000"/>
              <a:gd name="connsiteX43" fmla="*/ 3820 w 9707"/>
              <a:gd name="connsiteY43" fmla="*/ 3416 h 10000"/>
              <a:gd name="connsiteX44" fmla="*/ 3755 w 9707"/>
              <a:gd name="connsiteY44" fmla="*/ 3333 h 10000"/>
              <a:gd name="connsiteX45" fmla="*/ 3313 w 9707"/>
              <a:gd name="connsiteY45" fmla="*/ 3500 h 10000"/>
              <a:gd name="connsiteX46" fmla="*/ 3240 w 9707"/>
              <a:gd name="connsiteY46" fmla="*/ 3665 h 10000"/>
              <a:gd name="connsiteX47" fmla="*/ 3166 w 9707"/>
              <a:gd name="connsiteY47" fmla="*/ 3500 h 10000"/>
              <a:gd name="connsiteX48" fmla="*/ 3166 w 9707"/>
              <a:gd name="connsiteY48" fmla="*/ 3333 h 10000"/>
              <a:gd name="connsiteX49" fmla="*/ 2423 w 9707"/>
              <a:gd name="connsiteY49" fmla="*/ 3832 h 10000"/>
              <a:gd name="connsiteX50" fmla="*/ 2423 w 9707"/>
              <a:gd name="connsiteY50" fmla="*/ 3998 h 10000"/>
              <a:gd name="connsiteX51" fmla="*/ 2280 w 9707"/>
              <a:gd name="connsiteY51" fmla="*/ 4082 h 10000"/>
              <a:gd name="connsiteX52" fmla="*/ 2060 w 9707"/>
              <a:gd name="connsiteY52" fmla="*/ 3916 h 10000"/>
              <a:gd name="connsiteX53" fmla="*/ 2280 w 9707"/>
              <a:gd name="connsiteY53" fmla="*/ 3748 h 10000"/>
              <a:gd name="connsiteX54" fmla="*/ 2203 w 9707"/>
              <a:gd name="connsiteY54" fmla="*/ 3500 h 10000"/>
              <a:gd name="connsiteX55" fmla="*/ 1912 w 9707"/>
              <a:gd name="connsiteY55" fmla="*/ 3416 h 10000"/>
              <a:gd name="connsiteX56" fmla="*/ 1986 w 9707"/>
              <a:gd name="connsiteY56" fmla="*/ 3582 h 10000"/>
              <a:gd name="connsiteX57" fmla="*/ 1986 w 9707"/>
              <a:gd name="connsiteY57" fmla="*/ 3998 h 10000"/>
              <a:gd name="connsiteX58" fmla="*/ 2060 w 9707"/>
              <a:gd name="connsiteY58" fmla="*/ 4167 h 10000"/>
              <a:gd name="connsiteX59" fmla="*/ 1986 w 9707"/>
              <a:gd name="connsiteY59" fmla="*/ 4334 h 10000"/>
              <a:gd name="connsiteX60" fmla="*/ 1761 w 9707"/>
              <a:gd name="connsiteY60" fmla="*/ 4250 h 10000"/>
              <a:gd name="connsiteX61" fmla="*/ 1473 w 9707"/>
              <a:gd name="connsiteY61" fmla="*/ 4498 h 10000"/>
              <a:gd name="connsiteX62" fmla="*/ 1615 w 9707"/>
              <a:gd name="connsiteY62" fmla="*/ 4833 h 10000"/>
              <a:gd name="connsiteX63" fmla="*/ 1173 w 9707"/>
              <a:gd name="connsiteY63" fmla="*/ 4666 h 10000"/>
              <a:gd name="connsiteX64" fmla="*/ 1103 w 9707"/>
              <a:gd name="connsiteY64" fmla="*/ 4748 h 10000"/>
              <a:gd name="connsiteX65" fmla="*/ 1252 w 9707"/>
              <a:gd name="connsiteY65" fmla="*/ 4999 h 10000"/>
              <a:gd name="connsiteX66" fmla="*/ 1103 w 9707"/>
              <a:gd name="connsiteY66" fmla="*/ 4999 h 10000"/>
              <a:gd name="connsiteX67" fmla="*/ 885 w 9707"/>
              <a:gd name="connsiteY67" fmla="*/ 4833 h 10000"/>
              <a:gd name="connsiteX68" fmla="*/ 885 w 9707"/>
              <a:gd name="connsiteY68" fmla="*/ 4334 h 10000"/>
              <a:gd name="connsiteX69" fmla="*/ 665 w 9707"/>
              <a:gd name="connsiteY69" fmla="*/ 4167 h 10000"/>
              <a:gd name="connsiteX70" fmla="*/ 587 w 9707"/>
              <a:gd name="connsiteY70" fmla="*/ 3998 h 10000"/>
              <a:gd name="connsiteX71" fmla="*/ 733 w 9707"/>
              <a:gd name="connsiteY71" fmla="*/ 4082 h 10000"/>
              <a:gd name="connsiteX72" fmla="*/ 1319 w 9707"/>
              <a:gd name="connsiteY72" fmla="*/ 4334 h 10000"/>
              <a:gd name="connsiteX73" fmla="*/ 1684 w 9707"/>
              <a:gd name="connsiteY73" fmla="*/ 4082 h 10000"/>
              <a:gd name="connsiteX74" fmla="*/ 1615 w 9707"/>
              <a:gd name="connsiteY74" fmla="*/ 3832 h 10000"/>
              <a:gd name="connsiteX75" fmla="*/ 1173 w 9707"/>
              <a:gd name="connsiteY75" fmla="*/ 3333 h 10000"/>
              <a:gd name="connsiteX76" fmla="*/ 733 w 9707"/>
              <a:gd name="connsiteY76" fmla="*/ 3166 h 10000"/>
              <a:gd name="connsiteX77" fmla="*/ 733 w 9707"/>
              <a:gd name="connsiteY77" fmla="*/ 3083 h 10000"/>
              <a:gd name="connsiteX78" fmla="*/ 587 w 9707"/>
              <a:gd name="connsiteY78" fmla="*/ 2997 h 10000"/>
              <a:gd name="connsiteX79" fmla="*/ 438 w 9707"/>
              <a:gd name="connsiteY79" fmla="*/ 3083 h 10000"/>
              <a:gd name="connsiteX80" fmla="*/ 438 w 9707"/>
              <a:gd name="connsiteY80" fmla="*/ 3166 h 10000"/>
              <a:gd name="connsiteX81" fmla="*/ 366 w 9707"/>
              <a:gd name="connsiteY81" fmla="*/ 3166 h 10000"/>
              <a:gd name="connsiteX82" fmla="*/ 221 w 9707"/>
              <a:gd name="connsiteY82" fmla="*/ 3333 h 10000"/>
              <a:gd name="connsiteX83" fmla="*/ 221 w 9707"/>
              <a:gd name="connsiteY83" fmla="*/ 3582 h 10000"/>
              <a:gd name="connsiteX84" fmla="*/ 366 w 9707"/>
              <a:gd name="connsiteY84" fmla="*/ 3748 h 10000"/>
              <a:gd name="connsiteX85" fmla="*/ 296 w 9707"/>
              <a:gd name="connsiteY85" fmla="*/ 3998 h 10000"/>
              <a:gd name="connsiteX86" fmla="*/ 366 w 9707"/>
              <a:gd name="connsiteY86" fmla="*/ 4417 h 10000"/>
              <a:gd name="connsiteX87" fmla="*/ 296 w 9707"/>
              <a:gd name="connsiteY87" fmla="*/ 4666 h 10000"/>
              <a:gd name="connsiteX88" fmla="*/ 438 w 9707"/>
              <a:gd name="connsiteY88" fmla="*/ 4916 h 10000"/>
              <a:gd name="connsiteX89" fmla="*/ 366 w 9707"/>
              <a:gd name="connsiteY89" fmla="*/ 5083 h 10000"/>
              <a:gd name="connsiteX90" fmla="*/ 513 w 9707"/>
              <a:gd name="connsiteY90" fmla="*/ 5250 h 10000"/>
              <a:gd name="connsiteX91" fmla="*/ 513 w 9707"/>
              <a:gd name="connsiteY91" fmla="*/ 5333 h 10000"/>
              <a:gd name="connsiteX92" fmla="*/ 296 w 9707"/>
              <a:gd name="connsiteY92" fmla="*/ 5750 h 10000"/>
              <a:gd name="connsiteX93" fmla="*/ 67 w 9707"/>
              <a:gd name="connsiteY93" fmla="*/ 5917 h 10000"/>
              <a:gd name="connsiteX94" fmla="*/ 145 w 9707"/>
              <a:gd name="connsiteY94" fmla="*/ 5917 h 10000"/>
              <a:gd name="connsiteX95" fmla="*/ 296 w 9707"/>
              <a:gd name="connsiteY95" fmla="*/ 6083 h 10000"/>
              <a:gd name="connsiteX96" fmla="*/ 145 w 9707"/>
              <a:gd name="connsiteY96" fmla="*/ 6249 h 10000"/>
              <a:gd name="connsiteX97" fmla="*/ 67 w 9707"/>
              <a:gd name="connsiteY97" fmla="*/ 6334 h 10000"/>
              <a:gd name="connsiteX98" fmla="*/ 0 w 9707"/>
              <a:gd name="connsiteY98" fmla="*/ 6334 h 10000"/>
              <a:gd name="connsiteX99" fmla="*/ 67 w 9707"/>
              <a:gd name="connsiteY99" fmla="*/ 6584 h 10000"/>
              <a:gd name="connsiteX100" fmla="*/ 67 w 9707"/>
              <a:gd name="connsiteY100" fmla="*/ 6667 h 10000"/>
              <a:gd name="connsiteX101" fmla="*/ 67 w 9707"/>
              <a:gd name="connsiteY101" fmla="*/ 6749 h 10000"/>
              <a:gd name="connsiteX102" fmla="*/ 67 w 9707"/>
              <a:gd name="connsiteY102" fmla="*/ 6834 h 10000"/>
              <a:gd name="connsiteX103" fmla="*/ 145 w 9707"/>
              <a:gd name="connsiteY103" fmla="*/ 6998 h 10000"/>
              <a:gd name="connsiteX104" fmla="*/ 366 w 9707"/>
              <a:gd name="connsiteY104" fmla="*/ 7083 h 10000"/>
              <a:gd name="connsiteX105" fmla="*/ 438 w 9707"/>
              <a:gd name="connsiteY105" fmla="*/ 7165 h 10000"/>
              <a:gd name="connsiteX106" fmla="*/ 438 w 9707"/>
              <a:gd name="connsiteY106" fmla="*/ 7334 h 10000"/>
              <a:gd name="connsiteX107" fmla="*/ 587 w 9707"/>
              <a:gd name="connsiteY107" fmla="*/ 7584 h 10000"/>
              <a:gd name="connsiteX108" fmla="*/ 665 w 9707"/>
              <a:gd name="connsiteY108" fmla="*/ 7584 h 10000"/>
              <a:gd name="connsiteX109" fmla="*/ 587 w 9707"/>
              <a:gd name="connsiteY109" fmla="*/ 7750 h 10000"/>
              <a:gd name="connsiteX110" fmla="*/ 513 w 9707"/>
              <a:gd name="connsiteY110" fmla="*/ 7668 h 10000"/>
              <a:gd name="connsiteX111" fmla="*/ 513 w 9707"/>
              <a:gd name="connsiteY111" fmla="*/ 7750 h 10000"/>
              <a:gd name="connsiteX112" fmla="*/ 587 w 9707"/>
              <a:gd name="connsiteY112" fmla="*/ 7916 h 10000"/>
              <a:gd name="connsiteX113" fmla="*/ 813 w 9707"/>
              <a:gd name="connsiteY113" fmla="*/ 7916 h 10000"/>
              <a:gd name="connsiteX114" fmla="*/ 885 w 9707"/>
              <a:gd name="connsiteY114" fmla="*/ 8000 h 10000"/>
              <a:gd name="connsiteX115" fmla="*/ 813 w 9707"/>
              <a:gd name="connsiteY115" fmla="*/ 8000 h 10000"/>
              <a:gd name="connsiteX116" fmla="*/ 885 w 9707"/>
              <a:gd name="connsiteY116" fmla="*/ 8082 h 10000"/>
              <a:gd name="connsiteX117" fmla="*/ 955 w 9707"/>
              <a:gd name="connsiteY117" fmla="*/ 8082 h 10000"/>
              <a:gd name="connsiteX118" fmla="*/ 1026 w 9707"/>
              <a:gd name="connsiteY118" fmla="*/ 8249 h 10000"/>
              <a:gd name="connsiteX119" fmla="*/ 1103 w 9707"/>
              <a:gd name="connsiteY119" fmla="*/ 8332 h 10000"/>
              <a:gd name="connsiteX120" fmla="*/ 1173 w 9707"/>
              <a:gd name="connsiteY120" fmla="*/ 8249 h 10000"/>
              <a:gd name="connsiteX121" fmla="*/ 1545 w 9707"/>
              <a:gd name="connsiteY121" fmla="*/ 8500 h 10000"/>
              <a:gd name="connsiteX122" fmla="*/ 1473 w 9707"/>
              <a:gd name="connsiteY122" fmla="*/ 8833 h 10000"/>
              <a:gd name="connsiteX123" fmla="*/ 1398 w 9707"/>
              <a:gd name="connsiteY123" fmla="*/ 8750 h 10000"/>
              <a:gd name="connsiteX124" fmla="*/ 1319 w 9707"/>
              <a:gd name="connsiteY124" fmla="*/ 8833 h 10000"/>
              <a:gd name="connsiteX125" fmla="*/ 1319 w 9707"/>
              <a:gd name="connsiteY125" fmla="*/ 8999 h 10000"/>
              <a:gd name="connsiteX126" fmla="*/ 1398 w 9707"/>
              <a:gd name="connsiteY126" fmla="*/ 8917 h 10000"/>
              <a:gd name="connsiteX127" fmla="*/ 1473 w 9707"/>
              <a:gd name="connsiteY127" fmla="*/ 8999 h 10000"/>
              <a:gd name="connsiteX128" fmla="*/ 1252 w 9707"/>
              <a:gd name="connsiteY128" fmla="*/ 9083 h 10000"/>
              <a:gd name="connsiteX129" fmla="*/ 1319 w 9707"/>
              <a:gd name="connsiteY129" fmla="*/ 9167 h 10000"/>
              <a:gd name="connsiteX130" fmla="*/ 1173 w 9707"/>
              <a:gd name="connsiteY130" fmla="*/ 9333 h 10000"/>
              <a:gd name="connsiteX131" fmla="*/ 1103 w 9707"/>
              <a:gd name="connsiteY131" fmla="*/ 9333 h 10000"/>
              <a:gd name="connsiteX132" fmla="*/ 1173 w 9707"/>
              <a:gd name="connsiteY132" fmla="*/ 9333 h 10000"/>
              <a:gd name="connsiteX133" fmla="*/ 1473 w 9707"/>
              <a:gd name="connsiteY133" fmla="*/ 9668 h 10000"/>
              <a:gd name="connsiteX134" fmla="*/ 1839 w 9707"/>
              <a:gd name="connsiteY134" fmla="*/ 9668 h 10000"/>
              <a:gd name="connsiteX135" fmla="*/ 1986 w 9707"/>
              <a:gd name="connsiteY135" fmla="*/ 9750 h 10000"/>
              <a:gd name="connsiteX136" fmla="*/ 2132 w 9707"/>
              <a:gd name="connsiteY136" fmla="*/ 9750 h 10000"/>
              <a:gd name="connsiteX137" fmla="*/ 2280 w 9707"/>
              <a:gd name="connsiteY137" fmla="*/ 9918 h 10000"/>
              <a:gd name="connsiteX138" fmla="*/ 2354 w 9707"/>
              <a:gd name="connsiteY138" fmla="*/ 10000 h 10000"/>
              <a:gd name="connsiteX139" fmla="*/ 2423 w 9707"/>
              <a:gd name="connsiteY139" fmla="*/ 10000 h 10000"/>
              <a:gd name="connsiteX140" fmla="*/ 2501 w 9707"/>
              <a:gd name="connsiteY140" fmla="*/ 9918 h 10000"/>
              <a:gd name="connsiteX141" fmla="*/ 2354 w 9707"/>
              <a:gd name="connsiteY141" fmla="*/ 9750 h 10000"/>
              <a:gd name="connsiteX142" fmla="*/ 2354 w 9707"/>
              <a:gd name="connsiteY142" fmla="*/ 9584 h 10000"/>
              <a:gd name="connsiteX143" fmla="*/ 2280 w 9707"/>
              <a:gd name="connsiteY143" fmla="*/ 9416 h 10000"/>
              <a:gd name="connsiteX144" fmla="*/ 2423 w 9707"/>
              <a:gd name="connsiteY144" fmla="*/ 9167 h 10000"/>
              <a:gd name="connsiteX145" fmla="*/ 2501 w 9707"/>
              <a:gd name="connsiteY145" fmla="*/ 9250 h 10000"/>
              <a:gd name="connsiteX146" fmla="*/ 2573 w 9707"/>
              <a:gd name="connsiteY146" fmla="*/ 9167 h 10000"/>
              <a:gd name="connsiteX147" fmla="*/ 2573 w 9707"/>
              <a:gd name="connsiteY147" fmla="*/ 9083 h 10000"/>
              <a:gd name="connsiteX148" fmla="*/ 2501 w 9707"/>
              <a:gd name="connsiteY148" fmla="*/ 9083 h 10000"/>
              <a:gd name="connsiteX149" fmla="*/ 2573 w 9707"/>
              <a:gd name="connsiteY149" fmla="*/ 8999 h 10000"/>
              <a:gd name="connsiteX150" fmla="*/ 2501 w 9707"/>
              <a:gd name="connsiteY150" fmla="*/ 8833 h 10000"/>
              <a:gd name="connsiteX151" fmla="*/ 2354 w 9707"/>
              <a:gd name="connsiteY151" fmla="*/ 8833 h 10000"/>
              <a:gd name="connsiteX152" fmla="*/ 2280 w 9707"/>
              <a:gd name="connsiteY152" fmla="*/ 8667 h 10000"/>
              <a:gd name="connsiteX153" fmla="*/ 2354 w 9707"/>
              <a:gd name="connsiteY153" fmla="*/ 8249 h 10000"/>
              <a:gd name="connsiteX154" fmla="*/ 2501 w 9707"/>
              <a:gd name="connsiteY154" fmla="*/ 8418 h 10000"/>
              <a:gd name="connsiteX155" fmla="*/ 2573 w 9707"/>
              <a:gd name="connsiteY155" fmla="*/ 8418 h 10000"/>
              <a:gd name="connsiteX156" fmla="*/ 2501 w 9707"/>
              <a:gd name="connsiteY156" fmla="*/ 8249 h 10000"/>
              <a:gd name="connsiteX157" fmla="*/ 2723 w 9707"/>
              <a:gd name="connsiteY157" fmla="*/ 8000 h 10000"/>
              <a:gd name="connsiteX158" fmla="*/ 2871 w 9707"/>
              <a:gd name="connsiteY158" fmla="*/ 8082 h 10000"/>
              <a:gd name="connsiteX159" fmla="*/ 2942 w 9707"/>
              <a:gd name="connsiteY159" fmla="*/ 8000 h 10000"/>
              <a:gd name="connsiteX160" fmla="*/ 3084 w 9707"/>
              <a:gd name="connsiteY160" fmla="*/ 8082 h 10000"/>
              <a:gd name="connsiteX161" fmla="*/ 3313 w 9707"/>
              <a:gd name="connsiteY161" fmla="*/ 8249 h 10000"/>
              <a:gd name="connsiteX162" fmla="*/ 3455 w 9707"/>
              <a:gd name="connsiteY162" fmla="*/ 8167 h 10000"/>
              <a:gd name="connsiteX163" fmla="*/ 3604 w 9707"/>
              <a:gd name="connsiteY163" fmla="*/ 8167 h 10000"/>
              <a:gd name="connsiteX164" fmla="*/ 3679 w 9707"/>
              <a:gd name="connsiteY164" fmla="*/ 8249 h 10000"/>
              <a:gd name="connsiteX165" fmla="*/ 3973 w 9707"/>
              <a:gd name="connsiteY165" fmla="*/ 8249 h 10000"/>
              <a:gd name="connsiteX166" fmla="*/ 4042 w 9707"/>
              <a:gd name="connsiteY166" fmla="*/ 8082 h 10000"/>
              <a:gd name="connsiteX167" fmla="*/ 3820 w 9707"/>
              <a:gd name="connsiteY167" fmla="*/ 8000 h 10000"/>
              <a:gd name="connsiteX168" fmla="*/ 3973 w 9707"/>
              <a:gd name="connsiteY168" fmla="*/ 7916 h 10000"/>
              <a:gd name="connsiteX169" fmla="*/ 3894 w 9707"/>
              <a:gd name="connsiteY169" fmla="*/ 7833 h 10000"/>
              <a:gd name="connsiteX170" fmla="*/ 3973 w 9707"/>
              <a:gd name="connsiteY170" fmla="*/ 7750 h 10000"/>
              <a:gd name="connsiteX171" fmla="*/ 3973 w 9707"/>
              <a:gd name="connsiteY171" fmla="*/ 7500 h 10000"/>
              <a:gd name="connsiteX172" fmla="*/ 4115 w 9707"/>
              <a:gd name="connsiteY172" fmla="*/ 7584 h 10000"/>
              <a:gd name="connsiteX173" fmla="*/ 4779 w 9707"/>
              <a:gd name="connsiteY173" fmla="*/ 7334 h 10000"/>
              <a:gd name="connsiteX174" fmla="*/ 4779 w 9707"/>
              <a:gd name="connsiteY174" fmla="*/ 7250 h 10000"/>
              <a:gd name="connsiteX175" fmla="*/ 4855 w 9707"/>
              <a:gd name="connsiteY175" fmla="*/ 7250 h 10000"/>
              <a:gd name="connsiteX176" fmla="*/ 5067 w 9707"/>
              <a:gd name="connsiteY176" fmla="*/ 7250 h 10000"/>
              <a:gd name="connsiteX177" fmla="*/ 5151 w 9707"/>
              <a:gd name="connsiteY177" fmla="*/ 7417 h 10000"/>
              <a:gd name="connsiteX178" fmla="*/ 5151 w 9707"/>
              <a:gd name="connsiteY178" fmla="*/ 7500 h 10000"/>
              <a:gd name="connsiteX179" fmla="*/ 5218 w 9707"/>
              <a:gd name="connsiteY179" fmla="*/ 7500 h 10000"/>
              <a:gd name="connsiteX180" fmla="*/ 5366 w 9707"/>
              <a:gd name="connsiteY180" fmla="*/ 7584 h 10000"/>
              <a:gd name="connsiteX181" fmla="*/ 5366 w 9707"/>
              <a:gd name="connsiteY181" fmla="*/ 7668 h 10000"/>
              <a:gd name="connsiteX182" fmla="*/ 5513 w 9707"/>
              <a:gd name="connsiteY182" fmla="*/ 7668 h 10000"/>
              <a:gd name="connsiteX183" fmla="*/ 5660 w 9707"/>
              <a:gd name="connsiteY183" fmla="*/ 7500 h 10000"/>
              <a:gd name="connsiteX184" fmla="*/ 5807 w 9707"/>
              <a:gd name="connsiteY184" fmla="*/ 7417 h 10000"/>
              <a:gd name="connsiteX185" fmla="*/ 5892 w 9707"/>
              <a:gd name="connsiteY185" fmla="*/ 7668 h 10000"/>
              <a:gd name="connsiteX186" fmla="*/ 6177 w 9707"/>
              <a:gd name="connsiteY186" fmla="*/ 8249 h 10000"/>
              <a:gd name="connsiteX187" fmla="*/ 6253 w 9707"/>
              <a:gd name="connsiteY187" fmla="*/ 8082 h 10000"/>
              <a:gd name="connsiteX188" fmla="*/ 6326 w 9707"/>
              <a:gd name="connsiteY188" fmla="*/ 8249 h 10000"/>
              <a:gd name="connsiteX189" fmla="*/ 6546 w 9707"/>
              <a:gd name="connsiteY189" fmla="*/ 8167 h 10000"/>
              <a:gd name="connsiteX190" fmla="*/ 6768 w 9707"/>
              <a:gd name="connsiteY190" fmla="*/ 8418 h 10000"/>
              <a:gd name="connsiteX191" fmla="*/ 6911 w 9707"/>
              <a:gd name="connsiteY191" fmla="*/ 8500 h 10000"/>
              <a:gd name="connsiteX192" fmla="*/ 6911 w 9707"/>
              <a:gd name="connsiteY192" fmla="*/ 8418 h 10000"/>
              <a:gd name="connsiteX193" fmla="*/ 6989 w 9707"/>
              <a:gd name="connsiteY193" fmla="*/ 8584 h 10000"/>
              <a:gd name="connsiteX194" fmla="*/ 6911 w 9707"/>
              <a:gd name="connsiteY194" fmla="*/ 8667 h 10000"/>
              <a:gd name="connsiteX195" fmla="*/ 7062 w 9707"/>
              <a:gd name="connsiteY195" fmla="*/ 8584 h 10000"/>
              <a:gd name="connsiteX196" fmla="*/ 7132 w 9707"/>
              <a:gd name="connsiteY196" fmla="*/ 8500 h 10000"/>
              <a:gd name="connsiteX197" fmla="*/ 7497 w 9707"/>
              <a:gd name="connsiteY197" fmla="*/ 8249 h 10000"/>
              <a:gd name="connsiteX198" fmla="*/ 7795 w 9707"/>
              <a:gd name="connsiteY198" fmla="*/ 8332 h 10000"/>
              <a:gd name="connsiteX199" fmla="*/ 7939 w 9707"/>
              <a:gd name="connsiteY199" fmla="*/ 8418 h 10000"/>
              <a:gd name="connsiteX200" fmla="*/ 8233 w 9707"/>
              <a:gd name="connsiteY200" fmla="*/ 8418 h 10000"/>
              <a:gd name="connsiteX201" fmla="*/ 8233 w 9707"/>
              <a:gd name="connsiteY201" fmla="*/ 8249 h 10000"/>
              <a:gd name="connsiteX202" fmla="*/ 8233 w 9707"/>
              <a:gd name="connsiteY202" fmla="*/ 8082 h 10000"/>
              <a:gd name="connsiteX203" fmla="*/ 8381 w 9707"/>
              <a:gd name="connsiteY203" fmla="*/ 8000 h 10000"/>
              <a:gd name="connsiteX204" fmla="*/ 8671 w 9707"/>
              <a:gd name="connsiteY204" fmla="*/ 8082 h 10000"/>
              <a:gd name="connsiteX205" fmla="*/ 8824 w 9707"/>
              <a:gd name="connsiteY205" fmla="*/ 8332 h 10000"/>
              <a:gd name="connsiteX206" fmla="*/ 8898 w 9707"/>
              <a:gd name="connsiteY206" fmla="*/ 8332 h 10000"/>
              <a:gd name="connsiteX207" fmla="*/ 9045 w 9707"/>
              <a:gd name="connsiteY207" fmla="*/ 8249 h 10000"/>
              <a:gd name="connsiteX208" fmla="*/ 9491 w 9707"/>
              <a:gd name="connsiteY208" fmla="*/ 8500 h 10000"/>
              <a:gd name="connsiteX209" fmla="*/ 9707 w 9707"/>
              <a:gd name="connsiteY209" fmla="*/ 8584 h 10000"/>
              <a:gd name="connsiteX0" fmla="*/ 8634 w 9777"/>
              <a:gd name="connsiteY0" fmla="*/ 0 h 10000"/>
              <a:gd name="connsiteX1" fmla="*/ 7956 w 9777"/>
              <a:gd name="connsiteY1" fmla="*/ 165 h 10000"/>
              <a:gd name="connsiteX2" fmla="*/ 7347 w 9777"/>
              <a:gd name="connsiteY2" fmla="*/ 582 h 10000"/>
              <a:gd name="connsiteX3" fmla="*/ 7120 w 9777"/>
              <a:gd name="connsiteY3" fmla="*/ 916 h 10000"/>
              <a:gd name="connsiteX4" fmla="*/ 7200 w 9777"/>
              <a:gd name="connsiteY4" fmla="*/ 1332 h 10000"/>
              <a:gd name="connsiteX5" fmla="*/ 6363 w 9777"/>
              <a:gd name="connsiteY5" fmla="*/ 1500 h 10000"/>
              <a:gd name="connsiteX6" fmla="*/ 6442 w 9777"/>
              <a:gd name="connsiteY6" fmla="*/ 2000 h 10000"/>
              <a:gd name="connsiteX7" fmla="*/ 6667 w 9777"/>
              <a:gd name="connsiteY7" fmla="*/ 2250 h 10000"/>
              <a:gd name="connsiteX8" fmla="*/ 6517 w 9777"/>
              <a:gd name="connsiteY8" fmla="*/ 2332 h 10000"/>
              <a:gd name="connsiteX9" fmla="*/ 6291 w 9777"/>
              <a:gd name="connsiteY9" fmla="*/ 2000 h 10000"/>
              <a:gd name="connsiteX10" fmla="*/ 6070 w 9777"/>
              <a:gd name="connsiteY10" fmla="*/ 1915 h 10000"/>
              <a:gd name="connsiteX11" fmla="*/ 5982 w 9777"/>
              <a:gd name="connsiteY11" fmla="*/ 2000 h 10000"/>
              <a:gd name="connsiteX12" fmla="*/ 5831 w 9777"/>
              <a:gd name="connsiteY12" fmla="*/ 1831 h 10000"/>
              <a:gd name="connsiteX13" fmla="*/ 5679 w 9777"/>
              <a:gd name="connsiteY13" fmla="*/ 1665 h 10000"/>
              <a:gd name="connsiteX14" fmla="*/ 5679 w 9777"/>
              <a:gd name="connsiteY14" fmla="*/ 1749 h 10000"/>
              <a:gd name="connsiteX15" fmla="*/ 5764 w 9777"/>
              <a:gd name="connsiteY15" fmla="*/ 2000 h 10000"/>
              <a:gd name="connsiteX16" fmla="*/ 5528 w 9777"/>
              <a:gd name="connsiteY16" fmla="*/ 2416 h 10000"/>
              <a:gd name="connsiteX17" fmla="*/ 5679 w 9777"/>
              <a:gd name="connsiteY17" fmla="*/ 2748 h 10000"/>
              <a:gd name="connsiteX18" fmla="*/ 5603 w 9777"/>
              <a:gd name="connsiteY18" fmla="*/ 3083 h 10000"/>
              <a:gd name="connsiteX19" fmla="*/ 5603 w 9777"/>
              <a:gd name="connsiteY19" fmla="*/ 3333 h 10000"/>
              <a:gd name="connsiteX20" fmla="*/ 5831 w 9777"/>
              <a:gd name="connsiteY20" fmla="*/ 3333 h 10000"/>
              <a:gd name="connsiteX21" fmla="*/ 5679 w 9777"/>
              <a:gd name="connsiteY21" fmla="*/ 3416 h 10000"/>
              <a:gd name="connsiteX22" fmla="*/ 5764 w 9777"/>
              <a:gd name="connsiteY22" fmla="*/ 3832 h 10000"/>
              <a:gd name="connsiteX23" fmla="*/ 5306 w 9777"/>
              <a:gd name="connsiteY23" fmla="*/ 4250 h 10000"/>
              <a:gd name="connsiteX24" fmla="*/ 5220 w 9777"/>
              <a:gd name="connsiteY24" fmla="*/ 4167 h 10000"/>
              <a:gd name="connsiteX25" fmla="*/ 5528 w 9777"/>
              <a:gd name="connsiteY25" fmla="*/ 3748 h 10000"/>
              <a:gd name="connsiteX26" fmla="*/ 5603 w 9777"/>
              <a:gd name="connsiteY26" fmla="*/ 3500 h 10000"/>
              <a:gd name="connsiteX27" fmla="*/ 5445 w 9777"/>
              <a:gd name="connsiteY27" fmla="*/ 3333 h 10000"/>
              <a:gd name="connsiteX28" fmla="*/ 5445 w 9777"/>
              <a:gd name="connsiteY28" fmla="*/ 2498 h 10000"/>
              <a:gd name="connsiteX29" fmla="*/ 5376 w 9777"/>
              <a:gd name="connsiteY29" fmla="*/ 2332 h 10000"/>
              <a:gd name="connsiteX30" fmla="*/ 5445 w 9777"/>
              <a:gd name="connsiteY30" fmla="*/ 1831 h 10000"/>
              <a:gd name="connsiteX31" fmla="*/ 5306 w 9777"/>
              <a:gd name="connsiteY31" fmla="*/ 1749 h 10000"/>
              <a:gd name="connsiteX32" fmla="*/ 5376 w 9777"/>
              <a:gd name="connsiteY32" fmla="*/ 1665 h 10000"/>
              <a:gd name="connsiteX33" fmla="*/ 5306 w 9777"/>
              <a:gd name="connsiteY33" fmla="*/ 1500 h 10000"/>
              <a:gd name="connsiteX34" fmla="*/ 5147 w 9777"/>
              <a:gd name="connsiteY34" fmla="*/ 1582 h 10000"/>
              <a:gd name="connsiteX35" fmla="*/ 4774 w 9777"/>
              <a:gd name="connsiteY35" fmla="*/ 2666 h 10000"/>
              <a:gd name="connsiteX36" fmla="*/ 4774 w 9777"/>
              <a:gd name="connsiteY36" fmla="*/ 3083 h 10000"/>
              <a:gd name="connsiteX37" fmla="*/ 5002 w 9777"/>
              <a:gd name="connsiteY37" fmla="*/ 3416 h 10000"/>
              <a:gd name="connsiteX38" fmla="*/ 5002 w 9777"/>
              <a:gd name="connsiteY38" fmla="*/ 3582 h 10000"/>
              <a:gd name="connsiteX39" fmla="*/ 4774 w 9777"/>
              <a:gd name="connsiteY39" fmla="*/ 3416 h 10000"/>
              <a:gd name="connsiteX40" fmla="*/ 3868 w 9777"/>
              <a:gd name="connsiteY40" fmla="*/ 2748 h 10000"/>
              <a:gd name="connsiteX41" fmla="*/ 3790 w 9777"/>
              <a:gd name="connsiteY41" fmla="*/ 2915 h 10000"/>
              <a:gd name="connsiteX42" fmla="*/ 4093 w 9777"/>
              <a:gd name="connsiteY42" fmla="*/ 3333 h 10000"/>
              <a:gd name="connsiteX43" fmla="*/ 3935 w 9777"/>
              <a:gd name="connsiteY43" fmla="*/ 3416 h 10000"/>
              <a:gd name="connsiteX44" fmla="*/ 3868 w 9777"/>
              <a:gd name="connsiteY44" fmla="*/ 3333 h 10000"/>
              <a:gd name="connsiteX45" fmla="*/ 3413 w 9777"/>
              <a:gd name="connsiteY45" fmla="*/ 3500 h 10000"/>
              <a:gd name="connsiteX46" fmla="*/ 3338 w 9777"/>
              <a:gd name="connsiteY46" fmla="*/ 3665 h 10000"/>
              <a:gd name="connsiteX47" fmla="*/ 3262 w 9777"/>
              <a:gd name="connsiteY47" fmla="*/ 3500 h 10000"/>
              <a:gd name="connsiteX48" fmla="*/ 3262 w 9777"/>
              <a:gd name="connsiteY48" fmla="*/ 3333 h 10000"/>
              <a:gd name="connsiteX49" fmla="*/ 2496 w 9777"/>
              <a:gd name="connsiteY49" fmla="*/ 3832 h 10000"/>
              <a:gd name="connsiteX50" fmla="*/ 2496 w 9777"/>
              <a:gd name="connsiteY50" fmla="*/ 3998 h 10000"/>
              <a:gd name="connsiteX51" fmla="*/ 2349 w 9777"/>
              <a:gd name="connsiteY51" fmla="*/ 4082 h 10000"/>
              <a:gd name="connsiteX52" fmla="*/ 2122 w 9777"/>
              <a:gd name="connsiteY52" fmla="*/ 3916 h 10000"/>
              <a:gd name="connsiteX53" fmla="*/ 2349 w 9777"/>
              <a:gd name="connsiteY53" fmla="*/ 3748 h 10000"/>
              <a:gd name="connsiteX54" fmla="*/ 2269 w 9777"/>
              <a:gd name="connsiteY54" fmla="*/ 3500 h 10000"/>
              <a:gd name="connsiteX55" fmla="*/ 1970 w 9777"/>
              <a:gd name="connsiteY55" fmla="*/ 3416 h 10000"/>
              <a:gd name="connsiteX56" fmla="*/ 2046 w 9777"/>
              <a:gd name="connsiteY56" fmla="*/ 3582 h 10000"/>
              <a:gd name="connsiteX57" fmla="*/ 2046 w 9777"/>
              <a:gd name="connsiteY57" fmla="*/ 3998 h 10000"/>
              <a:gd name="connsiteX58" fmla="*/ 2122 w 9777"/>
              <a:gd name="connsiteY58" fmla="*/ 4167 h 10000"/>
              <a:gd name="connsiteX59" fmla="*/ 2046 w 9777"/>
              <a:gd name="connsiteY59" fmla="*/ 4334 h 10000"/>
              <a:gd name="connsiteX60" fmla="*/ 1814 w 9777"/>
              <a:gd name="connsiteY60" fmla="*/ 4250 h 10000"/>
              <a:gd name="connsiteX61" fmla="*/ 1517 w 9777"/>
              <a:gd name="connsiteY61" fmla="*/ 4498 h 10000"/>
              <a:gd name="connsiteX62" fmla="*/ 1664 w 9777"/>
              <a:gd name="connsiteY62" fmla="*/ 4833 h 10000"/>
              <a:gd name="connsiteX63" fmla="*/ 1208 w 9777"/>
              <a:gd name="connsiteY63" fmla="*/ 4666 h 10000"/>
              <a:gd name="connsiteX64" fmla="*/ 1136 w 9777"/>
              <a:gd name="connsiteY64" fmla="*/ 4748 h 10000"/>
              <a:gd name="connsiteX65" fmla="*/ 1290 w 9777"/>
              <a:gd name="connsiteY65" fmla="*/ 4999 h 10000"/>
              <a:gd name="connsiteX66" fmla="*/ 1136 w 9777"/>
              <a:gd name="connsiteY66" fmla="*/ 4999 h 10000"/>
              <a:gd name="connsiteX67" fmla="*/ 912 w 9777"/>
              <a:gd name="connsiteY67" fmla="*/ 4833 h 10000"/>
              <a:gd name="connsiteX68" fmla="*/ 912 w 9777"/>
              <a:gd name="connsiteY68" fmla="*/ 4334 h 10000"/>
              <a:gd name="connsiteX69" fmla="*/ 685 w 9777"/>
              <a:gd name="connsiteY69" fmla="*/ 4167 h 10000"/>
              <a:gd name="connsiteX70" fmla="*/ 605 w 9777"/>
              <a:gd name="connsiteY70" fmla="*/ 3998 h 10000"/>
              <a:gd name="connsiteX71" fmla="*/ 755 w 9777"/>
              <a:gd name="connsiteY71" fmla="*/ 4082 h 10000"/>
              <a:gd name="connsiteX72" fmla="*/ 1359 w 9777"/>
              <a:gd name="connsiteY72" fmla="*/ 4334 h 10000"/>
              <a:gd name="connsiteX73" fmla="*/ 1735 w 9777"/>
              <a:gd name="connsiteY73" fmla="*/ 4082 h 10000"/>
              <a:gd name="connsiteX74" fmla="*/ 1664 w 9777"/>
              <a:gd name="connsiteY74" fmla="*/ 3832 h 10000"/>
              <a:gd name="connsiteX75" fmla="*/ 1208 w 9777"/>
              <a:gd name="connsiteY75" fmla="*/ 3333 h 10000"/>
              <a:gd name="connsiteX76" fmla="*/ 755 w 9777"/>
              <a:gd name="connsiteY76" fmla="*/ 3166 h 10000"/>
              <a:gd name="connsiteX77" fmla="*/ 755 w 9777"/>
              <a:gd name="connsiteY77" fmla="*/ 3083 h 10000"/>
              <a:gd name="connsiteX78" fmla="*/ 605 w 9777"/>
              <a:gd name="connsiteY78" fmla="*/ 2997 h 10000"/>
              <a:gd name="connsiteX79" fmla="*/ 451 w 9777"/>
              <a:gd name="connsiteY79" fmla="*/ 3083 h 10000"/>
              <a:gd name="connsiteX80" fmla="*/ 451 w 9777"/>
              <a:gd name="connsiteY80" fmla="*/ 3166 h 10000"/>
              <a:gd name="connsiteX81" fmla="*/ 377 w 9777"/>
              <a:gd name="connsiteY81" fmla="*/ 3166 h 10000"/>
              <a:gd name="connsiteX82" fmla="*/ 228 w 9777"/>
              <a:gd name="connsiteY82" fmla="*/ 3333 h 10000"/>
              <a:gd name="connsiteX83" fmla="*/ 228 w 9777"/>
              <a:gd name="connsiteY83" fmla="*/ 3582 h 10000"/>
              <a:gd name="connsiteX84" fmla="*/ 377 w 9777"/>
              <a:gd name="connsiteY84" fmla="*/ 3748 h 10000"/>
              <a:gd name="connsiteX85" fmla="*/ 305 w 9777"/>
              <a:gd name="connsiteY85" fmla="*/ 3998 h 10000"/>
              <a:gd name="connsiteX86" fmla="*/ 377 w 9777"/>
              <a:gd name="connsiteY86" fmla="*/ 4417 h 10000"/>
              <a:gd name="connsiteX87" fmla="*/ 305 w 9777"/>
              <a:gd name="connsiteY87" fmla="*/ 4666 h 10000"/>
              <a:gd name="connsiteX88" fmla="*/ 451 w 9777"/>
              <a:gd name="connsiteY88" fmla="*/ 4916 h 10000"/>
              <a:gd name="connsiteX89" fmla="*/ 377 w 9777"/>
              <a:gd name="connsiteY89" fmla="*/ 5083 h 10000"/>
              <a:gd name="connsiteX90" fmla="*/ 528 w 9777"/>
              <a:gd name="connsiteY90" fmla="*/ 5250 h 10000"/>
              <a:gd name="connsiteX91" fmla="*/ 528 w 9777"/>
              <a:gd name="connsiteY91" fmla="*/ 5333 h 10000"/>
              <a:gd name="connsiteX92" fmla="*/ 305 w 9777"/>
              <a:gd name="connsiteY92" fmla="*/ 5750 h 10000"/>
              <a:gd name="connsiteX93" fmla="*/ 69 w 9777"/>
              <a:gd name="connsiteY93" fmla="*/ 5917 h 10000"/>
              <a:gd name="connsiteX94" fmla="*/ 149 w 9777"/>
              <a:gd name="connsiteY94" fmla="*/ 5917 h 10000"/>
              <a:gd name="connsiteX95" fmla="*/ 305 w 9777"/>
              <a:gd name="connsiteY95" fmla="*/ 6083 h 10000"/>
              <a:gd name="connsiteX96" fmla="*/ 149 w 9777"/>
              <a:gd name="connsiteY96" fmla="*/ 6249 h 10000"/>
              <a:gd name="connsiteX97" fmla="*/ 69 w 9777"/>
              <a:gd name="connsiteY97" fmla="*/ 6334 h 10000"/>
              <a:gd name="connsiteX98" fmla="*/ 0 w 9777"/>
              <a:gd name="connsiteY98" fmla="*/ 6334 h 10000"/>
              <a:gd name="connsiteX99" fmla="*/ 69 w 9777"/>
              <a:gd name="connsiteY99" fmla="*/ 6584 h 10000"/>
              <a:gd name="connsiteX100" fmla="*/ 69 w 9777"/>
              <a:gd name="connsiteY100" fmla="*/ 6667 h 10000"/>
              <a:gd name="connsiteX101" fmla="*/ 69 w 9777"/>
              <a:gd name="connsiteY101" fmla="*/ 6749 h 10000"/>
              <a:gd name="connsiteX102" fmla="*/ 69 w 9777"/>
              <a:gd name="connsiteY102" fmla="*/ 6834 h 10000"/>
              <a:gd name="connsiteX103" fmla="*/ 149 w 9777"/>
              <a:gd name="connsiteY103" fmla="*/ 6998 h 10000"/>
              <a:gd name="connsiteX104" fmla="*/ 377 w 9777"/>
              <a:gd name="connsiteY104" fmla="*/ 7083 h 10000"/>
              <a:gd name="connsiteX105" fmla="*/ 451 w 9777"/>
              <a:gd name="connsiteY105" fmla="*/ 7165 h 10000"/>
              <a:gd name="connsiteX106" fmla="*/ 451 w 9777"/>
              <a:gd name="connsiteY106" fmla="*/ 7334 h 10000"/>
              <a:gd name="connsiteX107" fmla="*/ 605 w 9777"/>
              <a:gd name="connsiteY107" fmla="*/ 7584 h 10000"/>
              <a:gd name="connsiteX108" fmla="*/ 685 w 9777"/>
              <a:gd name="connsiteY108" fmla="*/ 7584 h 10000"/>
              <a:gd name="connsiteX109" fmla="*/ 605 w 9777"/>
              <a:gd name="connsiteY109" fmla="*/ 7750 h 10000"/>
              <a:gd name="connsiteX110" fmla="*/ 528 w 9777"/>
              <a:gd name="connsiteY110" fmla="*/ 7668 h 10000"/>
              <a:gd name="connsiteX111" fmla="*/ 528 w 9777"/>
              <a:gd name="connsiteY111" fmla="*/ 7750 h 10000"/>
              <a:gd name="connsiteX112" fmla="*/ 605 w 9777"/>
              <a:gd name="connsiteY112" fmla="*/ 7916 h 10000"/>
              <a:gd name="connsiteX113" fmla="*/ 838 w 9777"/>
              <a:gd name="connsiteY113" fmla="*/ 7916 h 10000"/>
              <a:gd name="connsiteX114" fmla="*/ 912 w 9777"/>
              <a:gd name="connsiteY114" fmla="*/ 8000 h 10000"/>
              <a:gd name="connsiteX115" fmla="*/ 838 w 9777"/>
              <a:gd name="connsiteY115" fmla="*/ 8000 h 10000"/>
              <a:gd name="connsiteX116" fmla="*/ 912 w 9777"/>
              <a:gd name="connsiteY116" fmla="*/ 8082 h 10000"/>
              <a:gd name="connsiteX117" fmla="*/ 984 w 9777"/>
              <a:gd name="connsiteY117" fmla="*/ 8082 h 10000"/>
              <a:gd name="connsiteX118" fmla="*/ 1057 w 9777"/>
              <a:gd name="connsiteY118" fmla="*/ 8249 h 10000"/>
              <a:gd name="connsiteX119" fmla="*/ 1136 w 9777"/>
              <a:gd name="connsiteY119" fmla="*/ 8332 h 10000"/>
              <a:gd name="connsiteX120" fmla="*/ 1208 w 9777"/>
              <a:gd name="connsiteY120" fmla="*/ 8249 h 10000"/>
              <a:gd name="connsiteX121" fmla="*/ 1592 w 9777"/>
              <a:gd name="connsiteY121" fmla="*/ 8500 h 10000"/>
              <a:gd name="connsiteX122" fmla="*/ 1517 w 9777"/>
              <a:gd name="connsiteY122" fmla="*/ 8833 h 10000"/>
              <a:gd name="connsiteX123" fmla="*/ 1440 w 9777"/>
              <a:gd name="connsiteY123" fmla="*/ 8750 h 10000"/>
              <a:gd name="connsiteX124" fmla="*/ 1359 w 9777"/>
              <a:gd name="connsiteY124" fmla="*/ 8833 h 10000"/>
              <a:gd name="connsiteX125" fmla="*/ 1359 w 9777"/>
              <a:gd name="connsiteY125" fmla="*/ 8999 h 10000"/>
              <a:gd name="connsiteX126" fmla="*/ 1440 w 9777"/>
              <a:gd name="connsiteY126" fmla="*/ 8917 h 10000"/>
              <a:gd name="connsiteX127" fmla="*/ 1517 w 9777"/>
              <a:gd name="connsiteY127" fmla="*/ 8999 h 10000"/>
              <a:gd name="connsiteX128" fmla="*/ 1290 w 9777"/>
              <a:gd name="connsiteY128" fmla="*/ 9083 h 10000"/>
              <a:gd name="connsiteX129" fmla="*/ 1359 w 9777"/>
              <a:gd name="connsiteY129" fmla="*/ 9167 h 10000"/>
              <a:gd name="connsiteX130" fmla="*/ 1208 w 9777"/>
              <a:gd name="connsiteY130" fmla="*/ 9333 h 10000"/>
              <a:gd name="connsiteX131" fmla="*/ 1136 w 9777"/>
              <a:gd name="connsiteY131" fmla="*/ 9333 h 10000"/>
              <a:gd name="connsiteX132" fmla="*/ 1208 w 9777"/>
              <a:gd name="connsiteY132" fmla="*/ 9333 h 10000"/>
              <a:gd name="connsiteX133" fmla="*/ 1517 w 9777"/>
              <a:gd name="connsiteY133" fmla="*/ 9668 h 10000"/>
              <a:gd name="connsiteX134" fmla="*/ 1895 w 9777"/>
              <a:gd name="connsiteY134" fmla="*/ 9668 h 10000"/>
              <a:gd name="connsiteX135" fmla="*/ 2046 w 9777"/>
              <a:gd name="connsiteY135" fmla="*/ 9750 h 10000"/>
              <a:gd name="connsiteX136" fmla="*/ 2196 w 9777"/>
              <a:gd name="connsiteY136" fmla="*/ 9750 h 10000"/>
              <a:gd name="connsiteX137" fmla="*/ 2349 w 9777"/>
              <a:gd name="connsiteY137" fmla="*/ 9918 h 10000"/>
              <a:gd name="connsiteX138" fmla="*/ 2425 w 9777"/>
              <a:gd name="connsiteY138" fmla="*/ 10000 h 10000"/>
              <a:gd name="connsiteX139" fmla="*/ 2496 w 9777"/>
              <a:gd name="connsiteY139" fmla="*/ 10000 h 10000"/>
              <a:gd name="connsiteX140" fmla="*/ 2576 w 9777"/>
              <a:gd name="connsiteY140" fmla="*/ 9918 h 10000"/>
              <a:gd name="connsiteX141" fmla="*/ 2425 w 9777"/>
              <a:gd name="connsiteY141" fmla="*/ 9750 h 10000"/>
              <a:gd name="connsiteX142" fmla="*/ 2425 w 9777"/>
              <a:gd name="connsiteY142" fmla="*/ 9584 h 10000"/>
              <a:gd name="connsiteX143" fmla="*/ 2349 w 9777"/>
              <a:gd name="connsiteY143" fmla="*/ 9416 h 10000"/>
              <a:gd name="connsiteX144" fmla="*/ 2496 w 9777"/>
              <a:gd name="connsiteY144" fmla="*/ 9167 h 10000"/>
              <a:gd name="connsiteX145" fmla="*/ 2576 w 9777"/>
              <a:gd name="connsiteY145" fmla="*/ 9250 h 10000"/>
              <a:gd name="connsiteX146" fmla="*/ 2651 w 9777"/>
              <a:gd name="connsiteY146" fmla="*/ 9167 h 10000"/>
              <a:gd name="connsiteX147" fmla="*/ 2651 w 9777"/>
              <a:gd name="connsiteY147" fmla="*/ 9083 h 10000"/>
              <a:gd name="connsiteX148" fmla="*/ 2576 w 9777"/>
              <a:gd name="connsiteY148" fmla="*/ 9083 h 10000"/>
              <a:gd name="connsiteX149" fmla="*/ 2651 w 9777"/>
              <a:gd name="connsiteY149" fmla="*/ 8999 h 10000"/>
              <a:gd name="connsiteX150" fmla="*/ 2576 w 9777"/>
              <a:gd name="connsiteY150" fmla="*/ 8833 h 10000"/>
              <a:gd name="connsiteX151" fmla="*/ 2425 w 9777"/>
              <a:gd name="connsiteY151" fmla="*/ 8833 h 10000"/>
              <a:gd name="connsiteX152" fmla="*/ 2349 w 9777"/>
              <a:gd name="connsiteY152" fmla="*/ 8667 h 10000"/>
              <a:gd name="connsiteX153" fmla="*/ 2425 w 9777"/>
              <a:gd name="connsiteY153" fmla="*/ 8249 h 10000"/>
              <a:gd name="connsiteX154" fmla="*/ 2576 w 9777"/>
              <a:gd name="connsiteY154" fmla="*/ 8418 h 10000"/>
              <a:gd name="connsiteX155" fmla="*/ 2651 w 9777"/>
              <a:gd name="connsiteY155" fmla="*/ 8418 h 10000"/>
              <a:gd name="connsiteX156" fmla="*/ 2576 w 9777"/>
              <a:gd name="connsiteY156" fmla="*/ 8249 h 10000"/>
              <a:gd name="connsiteX157" fmla="*/ 2805 w 9777"/>
              <a:gd name="connsiteY157" fmla="*/ 8000 h 10000"/>
              <a:gd name="connsiteX158" fmla="*/ 2958 w 9777"/>
              <a:gd name="connsiteY158" fmla="*/ 8082 h 10000"/>
              <a:gd name="connsiteX159" fmla="*/ 3031 w 9777"/>
              <a:gd name="connsiteY159" fmla="*/ 8000 h 10000"/>
              <a:gd name="connsiteX160" fmla="*/ 3177 w 9777"/>
              <a:gd name="connsiteY160" fmla="*/ 8082 h 10000"/>
              <a:gd name="connsiteX161" fmla="*/ 3413 w 9777"/>
              <a:gd name="connsiteY161" fmla="*/ 8249 h 10000"/>
              <a:gd name="connsiteX162" fmla="*/ 3559 w 9777"/>
              <a:gd name="connsiteY162" fmla="*/ 8167 h 10000"/>
              <a:gd name="connsiteX163" fmla="*/ 3713 w 9777"/>
              <a:gd name="connsiteY163" fmla="*/ 8167 h 10000"/>
              <a:gd name="connsiteX164" fmla="*/ 3790 w 9777"/>
              <a:gd name="connsiteY164" fmla="*/ 8249 h 10000"/>
              <a:gd name="connsiteX165" fmla="*/ 4093 w 9777"/>
              <a:gd name="connsiteY165" fmla="*/ 8249 h 10000"/>
              <a:gd name="connsiteX166" fmla="*/ 4164 w 9777"/>
              <a:gd name="connsiteY166" fmla="*/ 8082 h 10000"/>
              <a:gd name="connsiteX167" fmla="*/ 3935 w 9777"/>
              <a:gd name="connsiteY167" fmla="*/ 8000 h 10000"/>
              <a:gd name="connsiteX168" fmla="*/ 4093 w 9777"/>
              <a:gd name="connsiteY168" fmla="*/ 7916 h 10000"/>
              <a:gd name="connsiteX169" fmla="*/ 4012 w 9777"/>
              <a:gd name="connsiteY169" fmla="*/ 7833 h 10000"/>
              <a:gd name="connsiteX170" fmla="*/ 4093 w 9777"/>
              <a:gd name="connsiteY170" fmla="*/ 7750 h 10000"/>
              <a:gd name="connsiteX171" fmla="*/ 4093 w 9777"/>
              <a:gd name="connsiteY171" fmla="*/ 7500 h 10000"/>
              <a:gd name="connsiteX172" fmla="*/ 4239 w 9777"/>
              <a:gd name="connsiteY172" fmla="*/ 7584 h 10000"/>
              <a:gd name="connsiteX173" fmla="*/ 4923 w 9777"/>
              <a:gd name="connsiteY173" fmla="*/ 7334 h 10000"/>
              <a:gd name="connsiteX174" fmla="*/ 4923 w 9777"/>
              <a:gd name="connsiteY174" fmla="*/ 7250 h 10000"/>
              <a:gd name="connsiteX175" fmla="*/ 5002 w 9777"/>
              <a:gd name="connsiteY175" fmla="*/ 7250 h 10000"/>
              <a:gd name="connsiteX176" fmla="*/ 5220 w 9777"/>
              <a:gd name="connsiteY176" fmla="*/ 7250 h 10000"/>
              <a:gd name="connsiteX177" fmla="*/ 5306 w 9777"/>
              <a:gd name="connsiteY177" fmla="*/ 7417 h 10000"/>
              <a:gd name="connsiteX178" fmla="*/ 5306 w 9777"/>
              <a:gd name="connsiteY178" fmla="*/ 7500 h 10000"/>
              <a:gd name="connsiteX179" fmla="*/ 5376 w 9777"/>
              <a:gd name="connsiteY179" fmla="*/ 7500 h 10000"/>
              <a:gd name="connsiteX180" fmla="*/ 5528 w 9777"/>
              <a:gd name="connsiteY180" fmla="*/ 7584 h 10000"/>
              <a:gd name="connsiteX181" fmla="*/ 5528 w 9777"/>
              <a:gd name="connsiteY181" fmla="*/ 7668 h 10000"/>
              <a:gd name="connsiteX182" fmla="*/ 5679 w 9777"/>
              <a:gd name="connsiteY182" fmla="*/ 7668 h 10000"/>
              <a:gd name="connsiteX183" fmla="*/ 5831 w 9777"/>
              <a:gd name="connsiteY183" fmla="*/ 7500 h 10000"/>
              <a:gd name="connsiteX184" fmla="*/ 5982 w 9777"/>
              <a:gd name="connsiteY184" fmla="*/ 7417 h 10000"/>
              <a:gd name="connsiteX185" fmla="*/ 6070 w 9777"/>
              <a:gd name="connsiteY185" fmla="*/ 7668 h 10000"/>
              <a:gd name="connsiteX186" fmla="*/ 6363 w 9777"/>
              <a:gd name="connsiteY186" fmla="*/ 8249 h 10000"/>
              <a:gd name="connsiteX187" fmla="*/ 6442 w 9777"/>
              <a:gd name="connsiteY187" fmla="*/ 8082 h 10000"/>
              <a:gd name="connsiteX188" fmla="*/ 6517 w 9777"/>
              <a:gd name="connsiteY188" fmla="*/ 8249 h 10000"/>
              <a:gd name="connsiteX189" fmla="*/ 6744 w 9777"/>
              <a:gd name="connsiteY189" fmla="*/ 8167 h 10000"/>
              <a:gd name="connsiteX190" fmla="*/ 6972 w 9777"/>
              <a:gd name="connsiteY190" fmla="*/ 8418 h 10000"/>
              <a:gd name="connsiteX191" fmla="*/ 7120 w 9777"/>
              <a:gd name="connsiteY191" fmla="*/ 8500 h 10000"/>
              <a:gd name="connsiteX192" fmla="*/ 7120 w 9777"/>
              <a:gd name="connsiteY192" fmla="*/ 8418 h 10000"/>
              <a:gd name="connsiteX193" fmla="*/ 7200 w 9777"/>
              <a:gd name="connsiteY193" fmla="*/ 8584 h 10000"/>
              <a:gd name="connsiteX194" fmla="*/ 7120 w 9777"/>
              <a:gd name="connsiteY194" fmla="*/ 8667 h 10000"/>
              <a:gd name="connsiteX195" fmla="*/ 7275 w 9777"/>
              <a:gd name="connsiteY195" fmla="*/ 8584 h 10000"/>
              <a:gd name="connsiteX196" fmla="*/ 7347 w 9777"/>
              <a:gd name="connsiteY196" fmla="*/ 8500 h 10000"/>
              <a:gd name="connsiteX197" fmla="*/ 7723 w 9777"/>
              <a:gd name="connsiteY197" fmla="*/ 8249 h 10000"/>
              <a:gd name="connsiteX198" fmla="*/ 8030 w 9777"/>
              <a:gd name="connsiteY198" fmla="*/ 8332 h 10000"/>
              <a:gd name="connsiteX199" fmla="*/ 8179 w 9777"/>
              <a:gd name="connsiteY199" fmla="*/ 8418 h 10000"/>
              <a:gd name="connsiteX200" fmla="*/ 8482 w 9777"/>
              <a:gd name="connsiteY200" fmla="*/ 8418 h 10000"/>
              <a:gd name="connsiteX201" fmla="*/ 8482 w 9777"/>
              <a:gd name="connsiteY201" fmla="*/ 8249 h 10000"/>
              <a:gd name="connsiteX202" fmla="*/ 8482 w 9777"/>
              <a:gd name="connsiteY202" fmla="*/ 8082 h 10000"/>
              <a:gd name="connsiteX203" fmla="*/ 8634 w 9777"/>
              <a:gd name="connsiteY203" fmla="*/ 8000 h 10000"/>
              <a:gd name="connsiteX204" fmla="*/ 8933 w 9777"/>
              <a:gd name="connsiteY204" fmla="*/ 8082 h 10000"/>
              <a:gd name="connsiteX205" fmla="*/ 9090 w 9777"/>
              <a:gd name="connsiteY205" fmla="*/ 8332 h 10000"/>
              <a:gd name="connsiteX206" fmla="*/ 9167 w 9777"/>
              <a:gd name="connsiteY206" fmla="*/ 8332 h 10000"/>
              <a:gd name="connsiteX207" fmla="*/ 9318 w 9777"/>
              <a:gd name="connsiteY207" fmla="*/ 8249 h 10000"/>
              <a:gd name="connsiteX208" fmla="*/ 9777 w 9777"/>
              <a:gd name="connsiteY208" fmla="*/ 8500 h 10000"/>
              <a:gd name="connsiteX0" fmla="*/ 8831 w 9531"/>
              <a:gd name="connsiteY0" fmla="*/ 0 h 10000"/>
              <a:gd name="connsiteX1" fmla="*/ 8137 w 9531"/>
              <a:gd name="connsiteY1" fmla="*/ 165 h 10000"/>
              <a:gd name="connsiteX2" fmla="*/ 7515 w 9531"/>
              <a:gd name="connsiteY2" fmla="*/ 582 h 10000"/>
              <a:gd name="connsiteX3" fmla="*/ 7282 w 9531"/>
              <a:gd name="connsiteY3" fmla="*/ 916 h 10000"/>
              <a:gd name="connsiteX4" fmla="*/ 7364 w 9531"/>
              <a:gd name="connsiteY4" fmla="*/ 1332 h 10000"/>
              <a:gd name="connsiteX5" fmla="*/ 6508 w 9531"/>
              <a:gd name="connsiteY5" fmla="*/ 1500 h 10000"/>
              <a:gd name="connsiteX6" fmla="*/ 6589 w 9531"/>
              <a:gd name="connsiteY6" fmla="*/ 2000 h 10000"/>
              <a:gd name="connsiteX7" fmla="*/ 6819 w 9531"/>
              <a:gd name="connsiteY7" fmla="*/ 2250 h 10000"/>
              <a:gd name="connsiteX8" fmla="*/ 6666 w 9531"/>
              <a:gd name="connsiteY8" fmla="*/ 2332 h 10000"/>
              <a:gd name="connsiteX9" fmla="*/ 6434 w 9531"/>
              <a:gd name="connsiteY9" fmla="*/ 2000 h 10000"/>
              <a:gd name="connsiteX10" fmla="*/ 6208 w 9531"/>
              <a:gd name="connsiteY10" fmla="*/ 1915 h 10000"/>
              <a:gd name="connsiteX11" fmla="*/ 6118 w 9531"/>
              <a:gd name="connsiteY11" fmla="*/ 2000 h 10000"/>
              <a:gd name="connsiteX12" fmla="*/ 5964 w 9531"/>
              <a:gd name="connsiteY12" fmla="*/ 1831 h 10000"/>
              <a:gd name="connsiteX13" fmla="*/ 5809 w 9531"/>
              <a:gd name="connsiteY13" fmla="*/ 1665 h 10000"/>
              <a:gd name="connsiteX14" fmla="*/ 5809 w 9531"/>
              <a:gd name="connsiteY14" fmla="*/ 1749 h 10000"/>
              <a:gd name="connsiteX15" fmla="*/ 5895 w 9531"/>
              <a:gd name="connsiteY15" fmla="*/ 2000 h 10000"/>
              <a:gd name="connsiteX16" fmla="*/ 5654 w 9531"/>
              <a:gd name="connsiteY16" fmla="*/ 2416 h 10000"/>
              <a:gd name="connsiteX17" fmla="*/ 5809 w 9531"/>
              <a:gd name="connsiteY17" fmla="*/ 2748 h 10000"/>
              <a:gd name="connsiteX18" fmla="*/ 5731 w 9531"/>
              <a:gd name="connsiteY18" fmla="*/ 3083 h 10000"/>
              <a:gd name="connsiteX19" fmla="*/ 5731 w 9531"/>
              <a:gd name="connsiteY19" fmla="*/ 3333 h 10000"/>
              <a:gd name="connsiteX20" fmla="*/ 5964 w 9531"/>
              <a:gd name="connsiteY20" fmla="*/ 3333 h 10000"/>
              <a:gd name="connsiteX21" fmla="*/ 5809 w 9531"/>
              <a:gd name="connsiteY21" fmla="*/ 3416 h 10000"/>
              <a:gd name="connsiteX22" fmla="*/ 5895 w 9531"/>
              <a:gd name="connsiteY22" fmla="*/ 3832 h 10000"/>
              <a:gd name="connsiteX23" fmla="*/ 5427 w 9531"/>
              <a:gd name="connsiteY23" fmla="*/ 4250 h 10000"/>
              <a:gd name="connsiteX24" fmla="*/ 5339 w 9531"/>
              <a:gd name="connsiteY24" fmla="*/ 4167 h 10000"/>
              <a:gd name="connsiteX25" fmla="*/ 5654 w 9531"/>
              <a:gd name="connsiteY25" fmla="*/ 3748 h 10000"/>
              <a:gd name="connsiteX26" fmla="*/ 5731 w 9531"/>
              <a:gd name="connsiteY26" fmla="*/ 3500 h 10000"/>
              <a:gd name="connsiteX27" fmla="*/ 5569 w 9531"/>
              <a:gd name="connsiteY27" fmla="*/ 3333 h 10000"/>
              <a:gd name="connsiteX28" fmla="*/ 5569 w 9531"/>
              <a:gd name="connsiteY28" fmla="*/ 2498 h 10000"/>
              <a:gd name="connsiteX29" fmla="*/ 5499 w 9531"/>
              <a:gd name="connsiteY29" fmla="*/ 2332 h 10000"/>
              <a:gd name="connsiteX30" fmla="*/ 5569 w 9531"/>
              <a:gd name="connsiteY30" fmla="*/ 1831 h 10000"/>
              <a:gd name="connsiteX31" fmla="*/ 5427 w 9531"/>
              <a:gd name="connsiteY31" fmla="*/ 1749 h 10000"/>
              <a:gd name="connsiteX32" fmla="*/ 5499 w 9531"/>
              <a:gd name="connsiteY32" fmla="*/ 1665 h 10000"/>
              <a:gd name="connsiteX33" fmla="*/ 5427 w 9531"/>
              <a:gd name="connsiteY33" fmla="*/ 1500 h 10000"/>
              <a:gd name="connsiteX34" fmla="*/ 5264 w 9531"/>
              <a:gd name="connsiteY34" fmla="*/ 1582 h 10000"/>
              <a:gd name="connsiteX35" fmla="*/ 4883 w 9531"/>
              <a:gd name="connsiteY35" fmla="*/ 2666 h 10000"/>
              <a:gd name="connsiteX36" fmla="*/ 4883 w 9531"/>
              <a:gd name="connsiteY36" fmla="*/ 3083 h 10000"/>
              <a:gd name="connsiteX37" fmla="*/ 5116 w 9531"/>
              <a:gd name="connsiteY37" fmla="*/ 3416 h 10000"/>
              <a:gd name="connsiteX38" fmla="*/ 5116 w 9531"/>
              <a:gd name="connsiteY38" fmla="*/ 3582 h 10000"/>
              <a:gd name="connsiteX39" fmla="*/ 4883 w 9531"/>
              <a:gd name="connsiteY39" fmla="*/ 3416 h 10000"/>
              <a:gd name="connsiteX40" fmla="*/ 3956 w 9531"/>
              <a:gd name="connsiteY40" fmla="*/ 2748 h 10000"/>
              <a:gd name="connsiteX41" fmla="*/ 3876 w 9531"/>
              <a:gd name="connsiteY41" fmla="*/ 2915 h 10000"/>
              <a:gd name="connsiteX42" fmla="*/ 4186 w 9531"/>
              <a:gd name="connsiteY42" fmla="*/ 3333 h 10000"/>
              <a:gd name="connsiteX43" fmla="*/ 4025 w 9531"/>
              <a:gd name="connsiteY43" fmla="*/ 3416 h 10000"/>
              <a:gd name="connsiteX44" fmla="*/ 3956 w 9531"/>
              <a:gd name="connsiteY44" fmla="*/ 3333 h 10000"/>
              <a:gd name="connsiteX45" fmla="*/ 3491 w 9531"/>
              <a:gd name="connsiteY45" fmla="*/ 3500 h 10000"/>
              <a:gd name="connsiteX46" fmla="*/ 3414 w 9531"/>
              <a:gd name="connsiteY46" fmla="*/ 3665 h 10000"/>
              <a:gd name="connsiteX47" fmla="*/ 3336 w 9531"/>
              <a:gd name="connsiteY47" fmla="*/ 3500 h 10000"/>
              <a:gd name="connsiteX48" fmla="*/ 3336 w 9531"/>
              <a:gd name="connsiteY48" fmla="*/ 3333 h 10000"/>
              <a:gd name="connsiteX49" fmla="*/ 2553 w 9531"/>
              <a:gd name="connsiteY49" fmla="*/ 3832 h 10000"/>
              <a:gd name="connsiteX50" fmla="*/ 2553 w 9531"/>
              <a:gd name="connsiteY50" fmla="*/ 3998 h 10000"/>
              <a:gd name="connsiteX51" fmla="*/ 2403 w 9531"/>
              <a:gd name="connsiteY51" fmla="*/ 4082 h 10000"/>
              <a:gd name="connsiteX52" fmla="*/ 2170 w 9531"/>
              <a:gd name="connsiteY52" fmla="*/ 3916 h 10000"/>
              <a:gd name="connsiteX53" fmla="*/ 2403 w 9531"/>
              <a:gd name="connsiteY53" fmla="*/ 3748 h 10000"/>
              <a:gd name="connsiteX54" fmla="*/ 2321 w 9531"/>
              <a:gd name="connsiteY54" fmla="*/ 3500 h 10000"/>
              <a:gd name="connsiteX55" fmla="*/ 2015 w 9531"/>
              <a:gd name="connsiteY55" fmla="*/ 3416 h 10000"/>
              <a:gd name="connsiteX56" fmla="*/ 2093 w 9531"/>
              <a:gd name="connsiteY56" fmla="*/ 3582 h 10000"/>
              <a:gd name="connsiteX57" fmla="*/ 2093 w 9531"/>
              <a:gd name="connsiteY57" fmla="*/ 3998 h 10000"/>
              <a:gd name="connsiteX58" fmla="*/ 2170 w 9531"/>
              <a:gd name="connsiteY58" fmla="*/ 4167 h 10000"/>
              <a:gd name="connsiteX59" fmla="*/ 2093 w 9531"/>
              <a:gd name="connsiteY59" fmla="*/ 4334 h 10000"/>
              <a:gd name="connsiteX60" fmla="*/ 1855 w 9531"/>
              <a:gd name="connsiteY60" fmla="*/ 4250 h 10000"/>
              <a:gd name="connsiteX61" fmla="*/ 1552 w 9531"/>
              <a:gd name="connsiteY61" fmla="*/ 4498 h 10000"/>
              <a:gd name="connsiteX62" fmla="*/ 1702 w 9531"/>
              <a:gd name="connsiteY62" fmla="*/ 4833 h 10000"/>
              <a:gd name="connsiteX63" fmla="*/ 1236 w 9531"/>
              <a:gd name="connsiteY63" fmla="*/ 4666 h 10000"/>
              <a:gd name="connsiteX64" fmla="*/ 1162 w 9531"/>
              <a:gd name="connsiteY64" fmla="*/ 4748 h 10000"/>
              <a:gd name="connsiteX65" fmla="*/ 1319 w 9531"/>
              <a:gd name="connsiteY65" fmla="*/ 4999 h 10000"/>
              <a:gd name="connsiteX66" fmla="*/ 1162 w 9531"/>
              <a:gd name="connsiteY66" fmla="*/ 4999 h 10000"/>
              <a:gd name="connsiteX67" fmla="*/ 933 w 9531"/>
              <a:gd name="connsiteY67" fmla="*/ 4833 h 10000"/>
              <a:gd name="connsiteX68" fmla="*/ 933 w 9531"/>
              <a:gd name="connsiteY68" fmla="*/ 4334 h 10000"/>
              <a:gd name="connsiteX69" fmla="*/ 701 w 9531"/>
              <a:gd name="connsiteY69" fmla="*/ 4167 h 10000"/>
              <a:gd name="connsiteX70" fmla="*/ 619 w 9531"/>
              <a:gd name="connsiteY70" fmla="*/ 3998 h 10000"/>
              <a:gd name="connsiteX71" fmla="*/ 772 w 9531"/>
              <a:gd name="connsiteY71" fmla="*/ 4082 h 10000"/>
              <a:gd name="connsiteX72" fmla="*/ 1390 w 9531"/>
              <a:gd name="connsiteY72" fmla="*/ 4334 h 10000"/>
              <a:gd name="connsiteX73" fmla="*/ 1775 w 9531"/>
              <a:gd name="connsiteY73" fmla="*/ 4082 h 10000"/>
              <a:gd name="connsiteX74" fmla="*/ 1702 w 9531"/>
              <a:gd name="connsiteY74" fmla="*/ 3832 h 10000"/>
              <a:gd name="connsiteX75" fmla="*/ 1236 w 9531"/>
              <a:gd name="connsiteY75" fmla="*/ 3333 h 10000"/>
              <a:gd name="connsiteX76" fmla="*/ 772 w 9531"/>
              <a:gd name="connsiteY76" fmla="*/ 3166 h 10000"/>
              <a:gd name="connsiteX77" fmla="*/ 772 w 9531"/>
              <a:gd name="connsiteY77" fmla="*/ 3083 h 10000"/>
              <a:gd name="connsiteX78" fmla="*/ 619 w 9531"/>
              <a:gd name="connsiteY78" fmla="*/ 2997 h 10000"/>
              <a:gd name="connsiteX79" fmla="*/ 461 w 9531"/>
              <a:gd name="connsiteY79" fmla="*/ 3083 h 10000"/>
              <a:gd name="connsiteX80" fmla="*/ 461 w 9531"/>
              <a:gd name="connsiteY80" fmla="*/ 3166 h 10000"/>
              <a:gd name="connsiteX81" fmla="*/ 386 w 9531"/>
              <a:gd name="connsiteY81" fmla="*/ 3166 h 10000"/>
              <a:gd name="connsiteX82" fmla="*/ 233 w 9531"/>
              <a:gd name="connsiteY82" fmla="*/ 3333 h 10000"/>
              <a:gd name="connsiteX83" fmla="*/ 233 w 9531"/>
              <a:gd name="connsiteY83" fmla="*/ 3582 h 10000"/>
              <a:gd name="connsiteX84" fmla="*/ 386 w 9531"/>
              <a:gd name="connsiteY84" fmla="*/ 3748 h 10000"/>
              <a:gd name="connsiteX85" fmla="*/ 312 w 9531"/>
              <a:gd name="connsiteY85" fmla="*/ 3998 h 10000"/>
              <a:gd name="connsiteX86" fmla="*/ 386 w 9531"/>
              <a:gd name="connsiteY86" fmla="*/ 4417 h 10000"/>
              <a:gd name="connsiteX87" fmla="*/ 312 w 9531"/>
              <a:gd name="connsiteY87" fmla="*/ 4666 h 10000"/>
              <a:gd name="connsiteX88" fmla="*/ 461 w 9531"/>
              <a:gd name="connsiteY88" fmla="*/ 4916 h 10000"/>
              <a:gd name="connsiteX89" fmla="*/ 386 w 9531"/>
              <a:gd name="connsiteY89" fmla="*/ 5083 h 10000"/>
              <a:gd name="connsiteX90" fmla="*/ 540 w 9531"/>
              <a:gd name="connsiteY90" fmla="*/ 5250 h 10000"/>
              <a:gd name="connsiteX91" fmla="*/ 540 w 9531"/>
              <a:gd name="connsiteY91" fmla="*/ 5333 h 10000"/>
              <a:gd name="connsiteX92" fmla="*/ 312 w 9531"/>
              <a:gd name="connsiteY92" fmla="*/ 5750 h 10000"/>
              <a:gd name="connsiteX93" fmla="*/ 71 w 9531"/>
              <a:gd name="connsiteY93" fmla="*/ 5917 h 10000"/>
              <a:gd name="connsiteX94" fmla="*/ 152 w 9531"/>
              <a:gd name="connsiteY94" fmla="*/ 5917 h 10000"/>
              <a:gd name="connsiteX95" fmla="*/ 312 w 9531"/>
              <a:gd name="connsiteY95" fmla="*/ 6083 h 10000"/>
              <a:gd name="connsiteX96" fmla="*/ 152 w 9531"/>
              <a:gd name="connsiteY96" fmla="*/ 6249 h 10000"/>
              <a:gd name="connsiteX97" fmla="*/ 71 w 9531"/>
              <a:gd name="connsiteY97" fmla="*/ 6334 h 10000"/>
              <a:gd name="connsiteX98" fmla="*/ 0 w 9531"/>
              <a:gd name="connsiteY98" fmla="*/ 6334 h 10000"/>
              <a:gd name="connsiteX99" fmla="*/ 71 w 9531"/>
              <a:gd name="connsiteY99" fmla="*/ 6584 h 10000"/>
              <a:gd name="connsiteX100" fmla="*/ 71 w 9531"/>
              <a:gd name="connsiteY100" fmla="*/ 6667 h 10000"/>
              <a:gd name="connsiteX101" fmla="*/ 71 w 9531"/>
              <a:gd name="connsiteY101" fmla="*/ 6749 h 10000"/>
              <a:gd name="connsiteX102" fmla="*/ 71 w 9531"/>
              <a:gd name="connsiteY102" fmla="*/ 6834 h 10000"/>
              <a:gd name="connsiteX103" fmla="*/ 152 w 9531"/>
              <a:gd name="connsiteY103" fmla="*/ 6998 h 10000"/>
              <a:gd name="connsiteX104" fmla="*/ 386 w 9531"/>
              <a:gd name="connsiteY104" fmla="*/ 7083 h 10000"/>
              <a:gd name="connsiteX105" fmla="*/ 461 w 9531"/>
              <a:gd name="connsiteY105" fmla="*/ 7165 h 10000"/>
              <a:gd name="connsiteX106" fmla="*/ 461 w 9531"/>
              <a:gd name="connsiteY106" fmla="*/ 7334 h 10000"/>
              <a:gd name="connsiteX107" fmla="*/ 619 w 9531"/>
              <a:gd name="connsiteY107" fmla="*/ 7584 h 10000"/>
              <a:gd name="connsiteX108" fmla="*/ 701 w 9531"/>
              <a:gd name="connsiteY108" fmla="*/ 7584 h 10000"/>
              <a:gd name="connsiteX109" fmla="*/ 619 w 9531"/>
              <a:gd name="connsiteY109" fmla="*/ 7750 h 10000"/>
              <a:gd name="connsiteX110" fmla="*/ 540 w 9531"/>
              <a:gd name="connsiteY110" fmla="*/ 7668 h 10000"/>
              <a:gd name="connsiteX111" fmla="*/ 540 w 9531"/>
              <a:gd name="connsiteY111" fmla="*/ 7750 h 10000"/>
              <a:gd name="connsiteX112" fmla="*/ 619 w 9531"/>
              <a:gd name="connsiteY112" fmla="*/ 7916 h 10000"/>
              <a:gd name="connsiteX113" fmla="*/ 857 w 9531"/>
              <a:gd name="connsiteY113" fmla="*/ 7916 h 10000"/>
              <a:gd name="connsiteX114" fmla="*/ 933 w 9531"/>
              <a:gd name="connsiteY114" fmla="*/ 8000 h 10000"/>
              <a:gd name="connsiteX115" fmla="*/ 857 w 9531"/>
              <a:gd name="connsiteY115" fmla="*/ 8000 h 10000"/>
              <a:gd name="connsiteX116" fmla="*/ 933 w 9531"/>
              <a:gd name="connsiteY116" fmla="*/ 8082 h 10000"/>
              <a:gd name="connsiteX117" fmla="*/ 1006 w 9531"/>
              <a:gd name="connsiteY117" fmla="*/ 8082 h 10000"/>
              <a:gd name="connsiteX118" fmla="*/ 1081 w 9531"/>
              <a:gd name="connsiteY118" fmla="*/ 8249 h 10000"/>
              <a:gd name="connsiteX119" fmla="*/ 1162 w 9531"/>
              <a:gd name="connsiteY119" fmla="*/ 8332 h 10000"/>
              <a:gd name="connsiteX120" fmla="*/ 1236 w 9531"/>
              <a:gd name="connsiteY120" fmla="*/ 8249 h 10000"/>
              <a:gd name="connsiteX121" fmla="*/ 1628 w 9531"/>
              <a:gd name="connsiteY121" fmla="*/ 8500 h 10000"/>
              <a:gd name="connsiteX122" fmla="*/ 1552 w 9531"/>
              <a:gd name="connsiteY122" fmla="*/ 8833 h 10000"/>
              <a:gd name="connsiteX123" fmla="*/ 1473 w 9531"/>
              <a:gd name="connsiteY123" fmla="*/ 8750 h 10000"/>
              <a:gd name="connsiteX124" fmla="*/ 1390 w 9531"/>
              <a:gd name="connsiteY124" fmla="*/ 8833 h 10000"/>
              <a:gd name="connsiteX125" fmla="*/ 1390 w 9531"/>
              <a:gd name="connsiteY125" fmla="*/ 8999 h 10000"/>
              <a:gd name="connsiteX126" fmla="*/ 1473 w 9531"/>
              <a:gd name="connsiteY126" fmla="*/ 8917 h 10000"/>
              <a:gd name="connsiteX127" fmla="*/ 1552 w 9531"/>
              <a:gd name="connsiteY127" fmla="*/ 8999 h 10000"/>
              <a:gd name="connsiteX128" fmla="*/ 1319 w 9531"/>
              <a:gd name="connsiteY128" fmla="*/ 9083 h 10000"/>
              <a:gd name="connsiteX129" fmla="*/ 1390 w 9531"/>
              <a:gd name="connsiteY129" fmla="*/ 9167 h 10000"/>
              <a:gd name="connsiteX130" fmla="*/ 1236 w 9531"/>
              <a:gd name="connsiteY130" fmla="*/ 9333 h 10000"/>
              <a:gd name="connsiteX131" fmla="*/ 1162 w 9531"/>
              <a:gd name="connsiteY131" fmla="*/ 9333 h 10000"/>
              <a:gd name="connsiteX132" fmla="*/ 1236 w 9531"/>
              <a:gd name="connsiteY132" fmla="*/ 9333 h 10000"/>
              <a:gd name="connsiteX133" fmla="*/ 1552 w 9531"/>
              <a:gd name="connsiteY133" fmla="*/ 9668 h 10000"/>
              <a:gd name="connsiteX134" fmla="*/ 1938 w 9531"/>
              <a:gd name="connsiteY134" fmla="*/ 9668 h 10000"/>
              <a:gd name="connsiteX135" fmla="*/ 2093 w 9531"/>
              <a:gd name="connsiteY135" fmla="*/ 9750 h 10000"/>
              <a:gd name="connsiteX136" fmla="*/ 2246 w 9531"/>
              <a:gd name="connsiteY136" fmla="*/ 9750 h 10000"/>
              <a:gd name="connsiteX137" fmla="*/ 2403 w 9531"/>
              <a:gd name="connsiteY137" fmla="*/ 9918 h 10000"/>
              <a:gd name="connsiteX138" fmla="*/ 2480 w 9531"/>
              <a:gd name="connsiteY138" fmla="*/ 10000 h 10000"/>
              <a:gd name="connsiteX139" fmla="*/ 2553 w 9531"/>
              <a:gd name="connsiteY139" fmla="*/ 10000 h 10000"/>
              <a:gd name="connsiteX140" fmla="*/ 2635 w 9531"/>
              <a:gd name="connsiteY140" fmla="*/ 9918 h 10000"/>
              <a:gd name="connsiteX141" fmla="*/ 2480 w 9531"/>
              <a:gd name="connsiteY141" fmla="*/ 9750 h 10000"/>
              <a:gd name="connsiteX142" fmla="*/ 2480 w 9531"/>
              <a:gd name="connsiteY142" fmla="*/ 9584 h 10000"/>
              <a:gd name="connsiteX143" fmla="*/ 2403 w 9531"/>
              <a:gd name="connsiteY143" fmla="*/ 9416 h 10000"/>
              <a:gd name="connsiteX144" fmla="*/ 2553 w 9531"/>
              <a:gd name="connsiteY144" fmla="*/ 9167 h 10000"/>
              <a:gd name="connsiteX145" fmla="*/ 2635 w 9531"/>
              <a:gd name="connsiteY145" fmla="*/ 9250 h 10000"/>
              <a:gd name="connsiteX146" fmla="*/ 2711 w 9531"/>
              <a:gd name="connsiteY146" fmla="*/ 9167 h 10000"/>
              <a:gd name="connsiteX147" fmla="*/ 2711 w 9531"/>
              <a:gd name="connsiteY147" fmla="*/ 9083 h 10000"/>
              <a:gd name="connsiteX148" fmla="*/ 2635 w 9531"/>
              <a:gd name="connsiteY148" fmla="*/ 9083 h 10000"/>
              <a:gd name="connsiteX149" fmla="*/ 2711 w 9531"/>
              <a:gd name="connsiteY149" fmla="*/ 8999 h 10000"/>
              <a:gd name="connsiteX150" fmla="*/ 2635 w 9531"/>
              <a:gd name="connsiteY150" fmla="*/ 8833 h 10000"/>
              <a:gd name="connsiteX151" fmla="*/ 2480 w 9531"/>
              <a:gd name="connsiteY151" fmla="*/ 8833 h 10000"/>
              <a:gd name="connsiteX152" fmla="*/ 2403 w 9531"/>
              <a:gd name="connsiteY152" fmla="*/ 8667 h 10000"/>
              <a:gd name="connsiteX153" fmla="*/ 2480 w 9531"/>
              <a:gd name="connsiteY153" fmla="*/ 8249 h 10000"/>
              <a:gd name="connsiteX154" fmla="*/ 2635 w 9531"/>
              <a:gd name="connsiteY154" fmla="*/ 8418 h 10000"/>
              <a:gd name="connsiteX155" fmla="*/ 2711 w 9531"/>
              <a:gd name="connsiteY155" fmla="*/ 8418 h 10000"/>
              <a:gd name="connsiteX156" fmla="*/ 2635 w 9531"/>
              <a:gd name="connsiteY156" fmla="*/ 8249 h 10000"/>
              <a:gd name="connsiteX157" fmla="*/ 2869 w 9531"/>
              <a:gd name="connsiteY157" fmla="*/ 8000 h 10000"/>
              <a:gd name="connsiteX158" fmla="*/ 3025 w 9531"/>
              <a:gd name="connsiteY158" fmla="*/ 8082 h 10000"/>
              <a:gd name="connsiteX159" fmla="*/ 3100 w 9531"/>
              <a:gd name="connsiteY159" fmla="*/ 8000 h 10000"/>
              <a:gd name="connsiteX160" fmla="*/ 3249 w 9531"/>
              <a:gd name="connsiteY160" fmla="*/ 8082 h 10000"/>
              <a:gd name="connsiteX161" fmla="*/ 3491 w 9531"/>
              <a:gd name="connsiteY161" fmla="*/ 8249 h 10000"/>
              <a:gd name="connsiteX162" fmla="*/ 3640 w 9531"/>
              <a:gd name="connsiteY162" fmla="*/ 8167 h 10000"/>
              <a:gd name="connsiteX163" fmla="*/ 3798 w 9531"/>
              <a:gd name="connsiteY163" fmla="*/ 8167 h 10000"/>
              <a:gd name="connsiteX164" fmla="*/ 3876 w 9531"/>
              <a:gd name="connsiteY164" fmla="*/ 8249 h 10000"/>
              <a:gd name="connsiteX165" fmla="*/ 4186 w 9531"/>
              <a:gd name="connsiteY165" fmla="*/ 8249 h 10000"/>
              <a:gd name="connsiteX166" fmla="*/ 4259 w 9531"/>
              <a:gd name="connsiteY166" fmla="*/ 8082 h 10000"/>
              <a:gd name="connsiteX167" fmla="*/ 4025 w 9531"/>
              <a:gd name="connsiteY167" fmla="*/ 8000 h 10000"/>
              <a:gd name="connsiteX168" fmla="*/ 4186 w 9531"/>
              <a:gd name="connsiteY168" fmla="*/ 7916 h 10000"/>
              <a:gd name="connsiteX169" fmla="*/ 4104 w 9531"/>
              <a:gd name="connsiteY169" fmla="*/ 7833 h 10000"/>
              <a:gd name="connsiteX170" fmla="*/ 4186 w 9531"/>
              <a:gd name="connsiteY170" fmla="*/ 7750 h 10000"/>
              <a:gd name="connsiteX171" fmla="*/ 4186 w 9531"/>
              <a:gd name="connsiteY171" fmla="*/ 7500 h 10000"/>
              <a:gd name="connsiteX172" fmla="*/ 4336 w 9531"/>
              <a:gd name="connsiteY172" fmla="*/ 7584 h 10000"/>
              <a:gd name="connsiteX173" fmla="*/ 5035 w 9531"/>
              <a:gd name="connsiteY173" fmla="*/ 7334 h 10000"/>
              <a:gd name="connsiteX174" fmla="*/ 5035 w 9531"/>
              <a:gd name="connsiteY174" fmla="*/ 7250 h 10000"/>
              <a:gd name="connsiteX175" fmla="*/ 5116 w 9531"/>
              <a:gd name="connsiteY175" fmla="*/ 7250 h 10000"/>
              <a:gd name="connsiteX176" fmla="*/ 5339 w 9531"/>
              <a:gd name="connsiteY176" fmla="*/ 7250 h 10000"/>
              <a:gd name="connsiteX177" fmla="*/ 5427 w 9531"/>
              <a:gd name="connsiteY177" fmla="*/ 7417 h 10000"/>
              <a:gd name="connsiteX178" fmla="*/ 5427 w 9531"/>
              <a:gd name="connsiteY178" fmla="*/ 7500 h 10000"/>
              <a:gd name="connsiteX179" fmla="*/ 5499 w 9531"/>
              <a:gd name="connsiteY179" fmla="*/ 7500 h 10000"/>
              <a:gd name="connsiteX180" fmla="*/ 5654 w 9531"/>
              <a:gd name="connsiteY180" fmla="*/ 7584 h 10000"/>
              <a:gd name="connsiteX181" fmla="*/ 5654 w 9531"/>
              <a:gd name="connsiteY181" fmla="*/ 7668 h 10000"/>
              <a:gd name="connsiteX182" fmla="*/ 5809 w 9531"/>
              <a:gd name="connsiteY182" fmla="*/ 7668 h 10000"/>
              <a:gd name="connsiteX183" fmla="*/ 5964 w 9531"/>
              <a:gd name="connsiteY183" fmla="*/ 7500 h 10000"/>
              <a:gd name="connsiteX184" fmla="*/ 6118 w 9531"/>
              <a:gd name="connsiteY184" fmla="*/ 7417 h 10000"/>
              <a:gd name="connsiteX185" fmla="*/ 6208 w 9531"/>
              <a:gd name="connsiteY185" fmla="*/ 7668 h 10000"/>
              <a:gd name="connsiteX186" fmla="*/ 6508 w 9531"/>
              <a:gd name="connsiteY186" fmla="*/ 8249 h 10000"/>
              <a:gd name="connsiteX187" fmla="*/ 6589 w 9531"/>
              <a:gd name="connsiteY187" fmla="*/ 8082 h 10000"/>
              <a:gd name="connsiteX188" fmla="*/ 6666 w 9531"/>
              <a:gd name="connsiteY188" fmla="*/ 8249 h 10000"/>
              <a:gd name="connsiteX189" fmla="*/ 6898 w 9531"/>
              <a:gd name="connsiteY189" fmla="*/ 8167 h 10000"/>
              <a:gd name="connsiteX190" fmla="*/ 7131 w 9531"/>
              <a:gd name="connsiteY190" fmla="*/ 8418 h 10000"/>
              <a:gd name="connsiteX191" fmla="*/ 7282 w 9531"/>
              <a:gd name="connsiteY191" fmla="*/ 8500 h 10000"/>
              <a:gd name="connsiteX192" fmla="*/ 7282 w 9531"/>
              <a:gd name="connsiteY192" fmla="*/ 8418 h 10000"/>
              <a:gd name="connsiteX193" fmla="*/ 7364 w 9531"/>
              <a:gd name="connsiteY193" fmla="*/ 8584 h 10000"/>
              <a:gd name="connsiteX194" fmla="*/ 7282 w 9531"/>
              <a:gd name="connsiteY194" fmla="*/ 8667 h 10000"/>
              <a:gd name="connsiteX195" fmla="*/ 7441 w 9531"/>
              <a:gd name="connsiteY195" fmla="*/ 8584 h 10000"/>
              <a:gd name="connsiteX196" fmla="*/ 7515 w 9531"/>
              <a:gd name="connsiteY196" fmla="*/ 8500 h 10000"/>
              <a:gd name="connsiteX197" fmla="*/ 7899 w 9531"/>
              <a:gd name="connsiteY197" fmla="*/ 8249 h 10000"/>
              <a:gd name="connsiteX198" fmla="*/ 8213 w 9531"/>
              <a:gd name="connsiteY198" fmla="*/ 8332 h 10000"/>
              <a:gd name="connsiteX199" fmla="*/ 8366 w 9531"/>
              <a:gd name="connsiteY199" fmla="*/ 8418 h 10000"/>
              <a:gd name="connsiteX200" fmla="*/ 8675 w 9531"/>
              <a:gd name="connsiteY200" fmla="*/ 8418 h 10000"/>
              <a:gd name="connsiteX201" fmla="*/ 8675 w 9531"/>
              <a:gd name="connsiteY201" fmla="*/ 8249 h 10000"/>
              <a:gd name="connsiteX202" fmla="*/ 8675 w 9531"/>
              <a:gd name="connsiteY202" fmla="*/ 8082 h 10000"/>
              <a:gd name="connsiteX203" fmla="*/ 8831 w 9531"/>
              <a:gd name="connsiteY203" fmla="*/ 8000 h 10000"/>
              <a:gd name="connsiteX204" fmla="*/ 9137 w 9531"/>
              <a:gd name="connsiteY204" fmla="*/ 8082 h 10000"/>
              <a:gd name="connsiteX205" fmla="*/ 9297 w 9531"/>
              <a:gd name="connsiteY205" fmla="*/ 8332 h 10000"/>
              <a:gd name="connsiteX206" fmla="*/ 9376 w 9531"/>
              <a:gd name="connsiteY206" fmla="*/ 8332 h 10000"/>
              <a:gd name="connsiteX207" fmla="*/ 9531 w 9531"/>
              <a:gd name="connsiteY207" fmla="*/ 8249 h 10000"/>
              <a:gd name="connsiteX0" fmla="*/ 9266 w 9837"/>
              <a:gd name="connsiteY0" fmla="*/ 0 h 10000"/>
              <a:gd name="connsiteX1" fmla="*/ 8537 w 9837"/>
              <a:gd name="connsiteY1" fmla="*/ 165 h 10000"/>
              <a:gd name="connsiteX2" fmla="*/ 7885 w 9837"/>
              <a:gd name="connsiteY2" fmla="*/ 582 h 10000"/>
              <a:gd name="connsiteX3" fmla="*/ 7640 w 9837"/>
              <a:gd name="connsiteY3" fmla="*/ 916 h 10000"/>
              <a:gd name="connsiteX4" fmla="*/ 7726 w 9837"/>
              <a:gd name="connsiteY4" fmla="*/ 1332 h 10000"/>
              <a:gd name="connsiteX5" fmla="*/ 6828 w 9837"/>
              <a:gd name="connsiteY5" fmla="*/ 1500 h 10000"/>
              <a:gd name="connsiteX6" fmla="*/ 6913 w 9837"/>
              <a:gd name="connsiteY6" fmla="*/ 2000 h 10000"/>
              <a:gd name="connsiteX7" fmla="*/ 7155 w 9837"/>
              <a:gd name="connsiteY7" fmla="*/ 2250 h 10000"/>
              <a:gd name="connsiteX8" fmla="*/ 6994 w 9837"/>
              <a:gd name="connsiteY8" fmla="*/ 2332 h 10000"/>
              <a:gd name="connsiteX9" fmla="*/ 6751 w 9837"/>
              <a:gd name="connsiteY9" fmla="*/ 2000 h 10000"/>
              <a:gd name="connsiteX10" fmla="*/ 6513 w 9837"/>
              <a:gd name="connsiteY10" fmla="*/ 1915 h 10000"/>
              <a:gd name="connsiteX11" fmla="*/ 6419 w 9837"/>
              <a:gd name="connsiteY11" fmla="*/ 2000 h 10000"/>
              <a:gd name="connsiteX12" fmla="*/ 6257 w 9837"/>
              <a:gd name="connsiteY12" fmla="*/ 1831 h 10000"/>
              <a:gd name="connsiteX13" fmla="*/ 6095 w 9837"/>
              <a:gd name="connsiteY13" fmla="*/ 1665 h 10000"/>
              <a:gd name="connsiteX14" fmla="*/ 6095 w 9837"/>
              <a:gd name="connsiteY14" fmla="*/ 1749 h 10000"/>
              <a:gd name="connsiteX15" fmla="*/ 6185 w 9837"/>
              <a:gd name="connsiteY15" fmla="*/ 2000 h 10000"/>
              <a:gd name="connsiteX16" fmla="*/ 5932 w 9837"/>
              <a:gd name="connsiteY16" fmla="*/ 2416 h 10000"/>
              <a:gd name="connsiteX17" fmla="*/ 6095 w 9837"/>
              <a:gd name="connsiteY17" fmla="*/ 2748 h 10000"/>
              <a:gd name="connsiteX18" fmla="*/ 6013 w 9837"/>
              <a:gd name="connsiteY18" fmla="*/ 3083 h 10000"/>
              <a:gd name="connsiteX19" fmla="*/ 6013 w 9837"/>
              <a:gd name="connsiteY19" fmla="*/ 3333 h 10000"/>
              <a:gd name="connsiteX20" fmla="*/ 6257 w 9837"/>
              <a:gd name="connsiteY20" fmla="*/ 3333 h 10000"/>
              <a:gd name="connsiteX21" fmla="*/ 6095 w 9837"/>
              <a:gd name="connsiteY21" fmla="*/ 3416 h 10000"/>
              <a:gd name="connsiteX22" fmla="*/ 6185 w 9837"/>
              <a:gd name="connsiteY22" fmla="*/ 3832 h 10000"/>
              <a:gd name="connsiteX23" fmla="*/ 5694 w 9837"/>
              <a:gd name="connsiteY23" fmla="*/ 4250 h 10000"/>
              <a:gd name="connsiteX24" fmla="*/ 5602 w 9837"/>
              <a:gd name="connsiteY24" fmla="*/ 4167 h 10000"/>
              <a:gd name="connsiteX25" fmla="*/ 5932 w 9837"/>
              <a:gd name="connsiteY25" fmla="*/ 3748 h 10000"/>
              <a:gd name="connsiteX26" fmla="*/ 6013 w 9837"/>
              <a:gd name="connsiteY26" fmla="*/ 3500 h 10000"/>
              <a:gd name="connsiteX27" fmla="*/ 5843 w 9837"/>
              <a:gd name="connsiteY27" fmla="*/ 3333 h 10000"/>
              <a:gd name="connsiteX28" fmla="*/ 5843 w 9837"/>
              <a:gd name="connsiteY28" fmla="*/ 2498 h 10000"/>
              <a:gd name="connsiteX29" fmla="*/ 5770 w 9837"/>
              <a:gd name="connsiteY29" fmla="*/ 2332 h 10000"/>
              <a:gd name="connsiteX30" fmla="*/ 5843 w 9837"/>
              <a:gd name="connsiteY30" fmla="*/ 1831 h 10000"/>
              <a:gd name="connsiteX31" fmla="*/ 5694 w 9837"/>
              <a:gd name="connsiteY31" fmla="*/ 1749 h 10000"/>
              <a:gd name="connsiteX32" fmla="*/ 5770 w 9837"/>
              <a:gd name="connsiteY32" fmla="*/ 1665 h 10000"/>
              <a:gd name="connsiteX33" fmla="*/ 5694 w 9837"/>
              <a:gd name="connsiteY33" fmla="*/ 1500 h 10000"/>
              <a:gd name="connsiteX34" fmla="*/ 5523 w 9837"/>
              <a:gd name="connsiteY34" fmla="*/ 1582 h 10000"/>
              <a:gd name="connsiteX35" fmla="*/ 5123 w 9837"/>
              <a:gd name="connsiteY35" fmla="*/ 2666 h 10000"/>
              <a:gd name="connsiteX36" fmla="*/ 5123 w 9837"/>
              <a:gd name="connsiteY36" fmla="*/ 3083 h 10000"/>
              <a:gd name="connsiteX37" fmla="*/ 5368 w 9837"/>
              <a:gd name="connsiteY37" fmla="*/ 3416 h 10000"/>
              <a:gd name="connsiteX38" fmla="*/ 5368 w 9837"/>
              <a:gd name="connsiteY38" fmla="*/ 3582 h 10000"/>
              <a:gd name="connsiteX39" fmla="*/ 5123 w 9837"/>
              <a:gd name="connsiteY39" fmla="*/ 3416 h 10000"/>
              <a:gd name="connsiteX40" fmla="*/ 4151 w 9837"/>
              <a:gd name="connsiteY40" fmla="*/ 2748 h 10000"/>
              <a:gd name="connsiteX41" fmla="*/ 4067 w 9837"/>
              <a:gd name="connsiteY41" fmla="*/ 2915 h 10000"/>
              <a:gd name="connsiteX42" fmla="*/ 4392 w 9837"/>
              <a:gd name="connsiteY42" fmla="*/ 3333 h 10000"/>
              <a:gd name="connsiteX43" fmla="*/ 4223 w 9837"/>
              <a:gd name="connsiteY43" fmla="*/ 3416 h 10000"/>
              <a:gd name="connsiteX44" fmla="*/ 4151 w 9837"/>
              <a:gd name="connsiteY44" fmla="*/ 3333 h 10000"/>
              <a:gd name="connsiteX45" fmla="*/ 3663 w 9837"/>
              <a:gd name="connsiteY45" fmla="*/ 3500 h 10000"/>
              <a:gd name="connsiteX46" fmla="*/ 3582 w 9837"/>
              <a:gd name="connsiteY46" fmla="*/ 3665 h 10000"/>
              <a:gd name="connsiteX47" fmla="*/ 3500 w 9837"/>
              <a:gd name="connsiteY47" fmla="*/ 3500 h 10000"/>
              <a:gd name="connsiteX48" fmla="*/ 3500 w 9837"/>
              <a:gd name="connsiteY48" fmla="*/ 3333 h 10000"/>
              <a:gd name="connsiteX49" fmla="*/ 2679 w 9837"/>
              <a:gd name="connsiteY49" fmla="*/ 3832 h 10000"/>
              <a:gd name="connsiteX50" fmla="*/ 2679 w 9837"/>
              <a:gd name="connsiteY50" fmla="*/ 3998 h 10000"/>
              <a:gd name="connsiteX51" fmla="*/ 2521 w 9837"/>
              <a:gd name="connsiteY51" fmla="*/ 4082 h 10000"/>
              <a:gd name="connsiteX52" fmla="*/ 2277 w 9837"/>
              <a:gd name="connsiteY52" fmla="*/ 3916 h 10000"/>
              <a:gd name="connsiteX53" fmla="*/ 2521 w 9837"/>
              <a:gd name="connsiteY53" fmla="*/ 3748 h 10000"/>
              <a:gd name="connsiteX54" fmla="*/ 2435 w 9837"/>
              <a:gd name="connsiteY54" fmla="*/ 3500 h 10000"/>
              <a:gd name="connsiteX55" fmla="*/ 2114 w 9837"/>
              <a:gd name="connsiteY55" fmla="*/ 3416 h 10000"/>
              <a:gd name="connsiteX56" fmla="*/ 2196 w 9837"/>
              <a:gd name="connsiteY56" fmla="*/ 3582 h 10000"/>
              <a:gd name="connsiteX57" fmla="*/ 2196 w 9837"/>
              <a:gd name="connsiteY57" fmla="*/ 3998 h 10000"/>
              <a:gd name="connsiteX58" fmla="*/ 2277 w 9837"/>
              <a:gd name="connsiteY58" fmla="*/ 4167 h 10000"/>
              <a:gd name="connsiteX59" fmla="*/ 2196 w 9837"/>
              <a:gd name="connsiteY59" fmla="*/ 4334 h 10000"/>
              <a:gd name="connsiteX60" fmla="*/ 1946 w 9837"/>
              <a:gd name="connsiteY60" fmla="*/ 4250 h 10000"/>
              <a:gd name="connsiteX61" fmla="*/ 1628 w 9837"/>
              <a:gd name="connsiteY61" fmla="*/ 4498 h 10000"/>
              <a:gd name="connsiteX62" fmla="*/ 1786 w 9837"/>
              <a:gd name="connsiteY62" fmla="*/ 4833 h 10000"/>
              <a:gd name="connsiteX63" fmla="*/ 1297 w 9837"/>
              <a:gd name="connsiteY63" fmla="*/ 4666 h 10000"/>
              <a:gd name="connsiteX64" fmla="*/ 1219 w 9837"/>
              <a:gd name="connsiteY64" fmla="*/ 4748 h 10000"/>
              <a:gd name="connsiteX65" fmla="*/ 1384 w 9837"/>
              <a:gd name="connsiteY65" fmla="*/ 4999 h 10000"/>
              <a:gd name="connsiteX66" fmla="*/ 1219 w 9837"/>
              <a:gd name="connsiteY66" fmla="*/ 4999 h 10000"/>
              <a:gd name="connsiteX67" fmla="*/ 979 w 9837"/>
              <a:gd name="connsiteY67" fmla="*/ 4833 h 10000"/>
              <a:gd name="connsiteX68" fmla="*/ 979 w 9837"/>
              <a:gd name="connsiteY68" fmla="*/ 4334 h 10000"/>
              <a:gd name="connsiteX69" fmla="*/ 735 w 9837"/>
              <a:gd name="connsiteY69" fmla="*/ 4167 h 10000"/>
              <a:gd name="connsiteX70" fmla="*/ 649 w 9837"/>
              <a:gd name="connsiteY70" fmla="*/ 3998 h 10000"/>
              <a:gd name="connsiteX71" fmla="*/ 810 w 9837"/>
              <a:gd name="connsiteY71" fmla="*/ 4082 h 10000"/>
              <a:gd name="connsiteX72" fmla="*/ 1458 w 9837"/>
              <a:gd name="connsiteY72" fmla="*/ 4334 h 10000"/>
              <a:gd name="connsiteX73" fmla="*/ 1862 w 9837"/>
              <a:gd name="connsiteY73" fmla="*/ 4082 h 10000"/>
              <a:gd name="connsiteX74" fmla="*/ 1786 w 9837"/>
              <a:gd name="connsiteY74" fmla="*/ 3832 h 10000"/>
              <a:gd name="connsiteX75" fmla="*/ 1297 w 9837"/>
              <a:gd name="connsiteY75" fmla="*/ 3333 h 10000"/>
              <a:gd name="connsiteX76" fmla="*/ 810 w 9837"/>
              <a:gd name="connsiteY76" fmla="*/ 3166 h 10000"/>
              <a:gd name="connsiteX77" fmla="*/ 810 w 9837"/>
              <a:gd name="connsiteY77" fmla="*/ 3083 h 10000"/>
              <a:gd name="connsiteX78" fmla="*/ 649 w 9837"/>
              <a:gd name="connsiteY78" fmla="*/ 2997 h 10000"/>
              <a:gd name="connsiteX79" fmla="*/ 484 w 9837"/>
              <a:gd name="connsiteY79" fmla="*/ 3083 h 10000"/>
              <a:gd name="connsiteX80" fmla="*/ 484 w 9837"/>
              <a:gd name="connsiteY80" fmla="*/ 3166 h 10000"/>
              <a:gd name="connsiteX81" fmla="*/ 405 w 9837"/>
              <a:gd name="connsiteY81" fmla="*/ 3166 h 10000"/>
              <a:gd name="connsiteX82" fmla="*/ 244 w 9837"/>
              <a:gd name="connsiteY82" fmla="*/ 3333 h 10000"/>
              <a:gd name="connsiteX83" fmla="*/ 244 w 9837"/>
              <a:gd name="connsiteY83" fmla="*/ 3582 h 10000"/>
              <a:gd name="connsiteX84" fmla="*/ 405 w 9837"/>
              <a:gd name="connsiteY84" fmla="*/ 3748 h 10000"/>
              <a:gd name="connsiteX85" fmla="*/ 327 w 9837"/>
              <a:gd name="connsiteY85" fmla="*/ 3998 h 10000"/>
              <a:gd name="connsiteX86" fmla="*/ 405 w 9837"/>
              <a:gd name="connsiteY86" fmla="*/ 4417 h 10000"/>
              <a:gd name="connsiteX87" fmla="*/ 327 w 9837"/>
              <a:gd name="connsiteY87" fmla="*/ 4666 h 10000"/>
              <a:gd name="connsiteX88" fmla="*/ 484 w 9837"/>
              <a:gd name="connsiteY88" fmla="*/ 4916 h 10000"/>
              <a:gd name="connsiteX89" fmla="*/ 405 w 9837"/>
              <a:gd name="connsiteY89" fmla="*/ 5083 h 10000"/>
              <a:gd name="connsiteX90" fmla="*/ 567 w 9837"/>
              <a:gd name="connsiteY90" fmla="*/ 5250 h 10000"/>
              <a:gd name="connsiteX91" fmla="*/ 567 w 9837"/>
              <a:gd name="connsiteY91" fmla="*/ 5333 h 10000"/>
              <a:gd name="connsiteX92" fmla="*/ 327 w 9837"/>
              <a:gd name="connsiteY92" fmla="*/ 5750 h 10000"/>
              <a:gd name="connsiteX93" fmla="*/ 74 w 9837"/>
              <a:gd name="connsiteY93" fmla="*/ 5917 h 10000"/>
              <a:gd name="connsiteX94" fmla="*/ 159 w 9837"/>
              <a:gd name="connsiteY94" fmla="*/ 5917 h 10000"/>
              <a:gd name="connsiteX95" fmla="*/ 327 w 9837"/>
              <a:gd name="connsiteY95" fmla="*/ 6083 h 10000"/>
              <a:gd name="connsiteX96" fmla="*/ 159 w 9837"/>
              <a:gd name="connsiteY96" fmla="*/ 6249 h 10000"/>
              <a:gd name="connsiteX97" fmla="*/ 74 w 9837"/>
              <a:gd name="connsiteY97" fmla="*/ 6334 h 10000"/>
              <a:gd name="connsiteX98" fmla="*/ 0 w 9837"/>
              <a:gd name="connsiteY98" fmla="*/ 6334 h 10000"/>
              <a:gd name="connsiteX99" fmla="*/ 74 w 9837"/>
              <a:gd name="connsiteY99" fmla="*/ 6584 h 10000"/>
              <a:gd name="connsiteX100" fmla="*/ 74 w 9837"/>
              <a:gd name="connsiteY100" fmla="*/ 6667 h 10000"/>
              <a:gd name="connsiteX101" fmla="*/ 74 w 9837"/>
              <a:gd name="connsiteY101" fmla="*/ 6749 h 10000"/>
              <a:gd name="connsiteX102" fmla="*/ 74 w 9837"/>
              <a:gd name="connsiteY102" fmla="*/ 6834 h 10000"/>
              <a:gd name="connsiteX103" fmla="*/ 159 w 9837"/>
              <a:gd name="connsiteY103" fmla="*/ 6998 h 10000"/>
              <a:gd name="connsiteX104" fmla="*/ 405 w 9837"/>
              <a:gd name="connsiteY104" fmla="*/ 7083 h 10000"/>
              <a:gd name="connsiteX105" fmla="*/ 484 w 9837"/>
              <a:gd name="connsiteY105" fmla="*/ 7165 h 10000"/>
              <a:gd name="connsiteX106" fmla="*/ 484 w 9837"/>
              <a:gd name="connsiteY106" fmla="*/ 7334 h 10000"/>
              <a:gd name="connsiteX107" fmla="*/ 649 w 9837"/>
              <a:gd name="connsiteY107" fmla="*/ 7584 h 10000"/>
              <a:gd name="connsiteX108" fmla="*/ 735 w 9837"/>
              <a:gd name="connsiteY108" fmla="*/ 7584 h 10000"/>
              <a:gd name="connsiteX109" fmla="*/ 649 w 9837"/>
              <a:gd name="connsiteY109" fmla="*/ 7750 h 10000"/>
              <a:gd name="connsiteX110" fmla="*/ 567 w 9837"/>
              <a:gd name="connsiteY110" fmla="*/ 7668 h 10000"/>
              <a:gd name="connsiteX111" fmla="*/ 567 w 9837"/>
              <a:gd name="connsiteY111" fmla="*/ 7750 h 10000"/>
              <a:gd name="connsiteX112" fmla="*/ 649 w 9837"/>
              <a:gd name="connsiteY112" fmla="*/ 7916 h 10000"/>
              <a:gd name="connsiteX113" fmla="*/ 899 w 9837"/>
              <a:gd name="connsiteY113" fmla="*/ 7916 h 10000"/>
              <a:gd name="connsiteX114" fmla="*/ 979 w 9837"/>
              <a:gd name="connsiteY114" fmla="*/ 8000 h 10000"/>
              <a:gd name="connsiteX115" fmla="*/ 899 w 9837"/>
              <a:gd name="connsiteY115" fmla="*/ 8000 h 10000"/>
              <a:gd name="connsiteX116" fmla="*/ 979 w 9837"/>
              <a:gd name="connsiteY116" fmla="*/ 8082 h 10000"/>
              <a:gd name="connsiteX117" fmla="*/ 1056 w 9837"/>
              <a:gd name="connsiteY117" fmla="*/ 8082 h 10000"/>
              <a:gd name="connsiteX118" fmla="*/ 1134 w 9837"/>
              <a:gd name="connsiteY118" fmla="*/ 8249 h 10000"/>
              <a:gd name="connsiteX119" fmla="*/ 1219 w 9837"/>
              <a:gd name="connsiteY119" fmla="*/ 8332 h 10000"/>
              <a:gd name="connsiteX120" fmla="*/ 1297 w 9837"/>
              <a:gd name="connsiteY120" fmla="*/ 8249 h 10000"/>
              <a:gd name="connsiteX121" fmla="*/ 1708 w 9837"/>
              <a:gd name="connsiteY121" fmla="*/ 8500 h 10000"/>
              <a:gd name="connsiteX122" fmla="*/ 1628 w 9837"/>
              <a:gd name="connsiteY122" fmla="*/ 8833 h 10000"/>
              <a:gd name="connsiteX123" fmla="*/ 1545 w 9837"/>
              <a:gd name="connsiteY123" fmla="*/ 8750 h 10000"/>
              <a:gd name="connsiteX124" fmla="*/ 1458 w 9837"/>
              <a:gd name="connsiteY124" fmla="*/ 8833 h 10000"/>
              <a:gd name="connsiteX125" fmla="*/ 1458 w 9837"/>
              <a:gd name="connsiteY125" fmla="*/ 8999 h 10000"/>
              <a:gd name="connsiteX126" fmla="*/ 1545 w 9837"/>
              <a:gd name="connsiteY126" fmla="*/ 8917 h 10000"/>
              <a:gd name="connsiteX127" fmla="*/ 1628 w 9837"/>
              <a:gd name="connsiteY127" fmla="*/ 8999 h 10000"/>
              <a:gd name="connsiteX128" fmla="*/ 1384 w 9837"/>
              <a:gd name="connsiteY128" fmla="*/ 9083 h 10000"/>
              <a:gd name="connsiteX129" fmla="*/ 1458 w 9837"/>
              <a:gd name="connsiteY129" fmla="*/ 9167 h 10000"/>
              <a:gd name="connsiteX130" fmla="*/ 1297 w 9837"/>
              <a:gd name="connsiteY130" fmla="*/ 9333 h 10000"/>
              <a:gd name="connsiteX131" fmla="*/ 1219 w 9837"/>
              <a:gd name="connsiteY131" fmla="*/ 9333 h 10000"/>
              <a:gd name="connsiteX132" fmla="*/ 1297 w 9837"/>
              <a:gd name="connsiteY132" fmla="*/ 9333 h 10000"/>
              <a:gd name="connsiteX133" fmla="*/ 1628 w 9837"/>
              <a:gd name="connsiteY133" fmla="*/ 9668 h 10000"/>
              <a:gd name="connsiteX134" fmla="*/ 2033 w 9837"/>
              <a:gd name="connsiteY134" fmla="*/ 9668 h 10000"/>
              <a:gd name="connsiteX135" fmla="*/ 2196 w 9837"/>
              <a:gd name="connsiteY135" fmla="*/ 9750 h 10000"/>
              <a:gd name="connsiteX136" fmla="*/ 2357 w 9837"/>
              <a:gd name="connsiteY136" fmla="*/ 9750 h 10000"/>
              <a:gd name="connsiteX137" fmla="*/ 2521 w 9837"/>
              <a:gd name="connsiteY137" fmla="*/ 9918 h 10000"/>
              <a:gd name="connsiteX138" fmla="*/ 2602 w 9837"/>
              <a:gd name="connsiteY138" fmla="*/ 10000 h 10000"/>
              <a:gd name="connsiteX139" fmla="*/ 2679 w 9837"/>
              <a:gd name="connsiteY139" fmla="*/ 10000 h 10000"/>
              <a:gd name="connsiteX140" fmla="*/ 2765 w 9837"/>
              <a:gd name="connsiteY140" fmla="*/ 9918 h 10000"/>
              <a:gd name="connsiteX141" fmla="*/ 2602 w 9837"/>
              <a:gd name="connsiteY141" fmla="*/ 9750 h 10000"/>
              <a:gd name="connsiteX142" fmla="*/ 2602 w 9837"/>
              <a:gd name="connsiteY142" fmla="*/ 9584 h 10000"/>
              <a:gd name="connsiteX143" fmla="*/ 2521 w 9837"/>
              <a:gd name="connsiteY143" fmla="*/ 9416 h 10000"/>
              <a:gd name="connsiteX144" fmla="*/ 2679 w 9837"/>
              <a:gd name="connsiteY144" fmla="*/ 9167 h 10000"/>
              <a:gd name="connsiteX145" fmla="*/ 2765 w 9837"/>
              <a:gd name="connsiteY145" fmla="*/ 9250 h 10000"/>
              <a:gd name="connsiteX146" fmla="*/ 2844 w 9837"/>
              <a:gd name="connsiteY146" fmla="*/ 9167 h 10000"/>
              <a:gd name="connsiteX147" fmla="*/ 2844 w 9837"/>
              <a:gd name="connsiteY147" fmla="*/ 9083 h 10000"/>
              <a:gd name="connsiteX148" fmla="*/ 2765 w 9837"/>
              <a:gd name="connsiteY148" fmla="*/ 9083 h 10000"/>
              <a:gd name="connsiteX149" fmla="*/ 2844 w 9837"/>
              <a:gd name="connsiteY149" fmla="*/ 8999 h 10000"/>
              <a:gd name="connsiteX150" fmla="*/ 2765 w 9837"/>
              <a:gd name="connsiteY150" fmla="*/ 8833 h 10000"/>
              <a:gd name="connsiteX151" fmla="*/ 2602 w 9837"/>
              <a:gd name="connsiteY151" fmla="*/ 8833 h 10000"/>
              <a:gd name="connsiteX152" fmla="*/ 2521 w 9837"/>
              <a:gd name="connsiteY152" fmla="*/ 8667 h 10000"/>
              <a:gd name="connsiteX153" fmla="*/ 2602 w 9837"/>
              <a:gd name="connsiteY153" fmla="*/ 8249 h 10000"/>
              <a:gd name="connsiteX154" fmla="*/ 2765 w 9837"/>
              <a:gd name="connsiteY154" fmla="*/ 8418 h 10000"/>
              <a:gd name="connsiteX155" fmla="*/ 2844 w 9837"/>
              <a:gd name="connsiteY155" fmla="*/ 8418 h 10000"/>
              <a:gd name="connsiteX156" fmla="*/ 2765 w 9837"/>
              <a:gd name="connsiteY156" fmla="*/ 8249 h 10000"/>
              <a:gd name="connsiteX157" fmla="*/ 3010 w 9837"/>
              <a:gd name="connsiteY157" fmla="*/ 8000 h 10000"/>
              <a:gd name="connsiteX158" fmla="*/ 3174 w 9837"/>
              <a:gd name="connsiteY158" fmla="*/ 8082 h 10000"/>
              <a:gd name="connsiteX159" fmla="*/ 3253 w 9837"/>
              <a:gd name="connsiteY159" fmla="*/ 8000 h 10000"/>
              <a:gd name="connsiteX160" fmla="*/ 3409 w 9837"/>
              <a:gd name="connsiteY160" fmla="*/ 8082 h 10000"/>
              <a:gd name="connsiteX161" fmla="*/ 3663 w 9837"/>
              <a:gd name="connsiteY161" fmla="*/ 8249 h 10000"/>
              <a:gd name="connsiteX162" fmla="*/ 3819 w 9837"/>
              <a:gd name="connsiteY162" fmla="*/ 8167 h 10000"/>
              <a:gd name="connsiteX163" fmla="*/ 3985 w 9837"/>
              <a:gd name="connsiteY163" fmla="*/ 8167 h 10000"/>
              <a:gd name="connsiteX164" fmla="*/ 4067 w 9837"/>
              <a:gd name="connsiteY164" fmla="*/ 8249 h 10000"/>
              <a:gd name="connsiteX165" fmla="*/ 4392 w 9837"/>
              <a:gd name="connsiteY165" fmla="*/ 8249 h 10000"/>
              <a:gd name="connsiteX166" fmla="*/ 4469 w 9837"/>
              <a:gd name="connsiteY166" fmla="*/ 8082 h 10000"/>
              <a:gd name="connsiteX167" fmla="*/ 4223 w 9837"/>
              <a:gd name="connsiteY167" fmla="*/ 8000 h 10000"/>
              <a:gd name="connsiteX168" fmla="*/ 4392 w 9837"/>
              <a:gd name="connsiteY168" fmla="*/ 7916 h 10000"/>
              <a:gd name="connsiteX169" fmla="*/ 4306 w 9837"/>
              <a:gd name="connsiteY169" fmla="*/ 7833 h 10000"/>
              <a:gd name="connsiteX170" fmla="*/ 4392 w 9837"/>
              <a:gd name="connsiteY170" fmla="*/ 7750 h 10000"/>
              <a:gd name="connsiteX171" fmla="*/ 4392 w 9837"/>
              <a:gd name="connsiteY171" fmla="*/ 7500 h 10000"/>
              <a:gd name="connsiteX172" fmla="*/ 4549 w 9837"/>
              <a:gd name="connsiteY172" fmla="*/ 7584 h 10000"/>
              <a:gd name="connsiteX173" fmla="*/ 5283 w 9837"/>
              <a:gd name="connsiteY173" fmla="*/ 7334 h 10000"/>
              <a:gd name="connsiteX174" fmla="*/ 5283 w 9837"/>
              <a:gd name="connsiteY174" fmla="*/ 7250 h 10000"/>
              <a:gd name="connsiteX175" fmla="*/ 5368 w 9837"/>
              <a:gd name="connsiteY175" fmla="*/ 7250 h 10000"/>
              <a:gd name="connsiteX176" fmla="*/ 5602 w 9837"/>
              <a:gd name="connsiteY176" fmla="*/ 7250 h 10000"/>
              <a:gd name="connsiteX177" fmla="*/ 5694 w 9837"/>
              <a:gd name="connsiteY177" fmla="*/ 7417 h 10000"/>
              <a:gd name="connsiteX178" fmla="*/ 5694 w 9837"/>
              <a:gd name="connsiteY178" fmla="*/ 7500 h 10000"/>
              <a:gd name="connsiteX179" fmla="*/ 5770 w 9837"/>
              <a:gd name="connsiteY179" fmla="*/ 7500 h 10000"/>
              <a:gd name="connsiteX180" fmla="*/ 5932 w 9837"/>
              <a:gd name="connsiteY180" fmla="*/ 7584 h 10000"/>
              <a:gd name="connsiteX181" fmla="*/ 5932 w 9837"/>
              <a:gd name="connsiteY181" fmla="*/ 7668 h 10000"/>
              <a:gd name="connsiteX182" fmla="*/ 6095 w 9837"/>
              <a:gd name="connsiteY182" fmla="*/ 7668 h 10000"/>
              <a:gd name="connsiteX183" fmla="*/ 6257 w 9837"/>
              <a:gd name="connsiteY183" fmla="*/ 7500 h 10000"/>
              <a:gd name="connsiteX184" fmla="*/ 6419 w 9837"/>
              <a:gd name="connsiteY184" fmla="*/ 7417 h 10000"/>
              <a:gd name="connsiteX185" fmla="*/ 6513 w 9837"/>
              <a:gd name="connsiteY185" fmla="*/ 7668 h 10000"/>
              <a:gd name="connsiteX186" fmla="*/ 6828 w 9837"/>
              <a:gd name="connsiteY186" fmla="*/ 8249 h 10000"/>
              <a:gd name="connsiteX187" fmla="*/ 6913 w 9837"/>
              <a:gd name="connsiteY187" fmla="*/ 8082 h 10000"/>
              <a:gd name="connsiteX188" fmla="*/ 6994 w 9837"/>
              <a:gd name="connsiteY188" fmla="*/ 8249 h 10000"/>
              <a:gd name="connsiteX189" fmla="*/ 7237 w 9837"/>
              <a:gd name="connsiteY189" fmla="*/ 8167 h 10000"/>
              <a:gd name="connsiteX190" fmla="*/ 7482 w 9837"/>
              <a:gd name="connsiteY190" fmla="*/ 8418 h 10000"/>
              <a:gd name="connsiteX191" fmla="*/ 7640 w 9837"/>
              <a:gd name="connsiteY191" fmla="*/ 8500 h 10000"/>
              <a:gd name="connsiteX192" fmla="*/ 7640 w 9837"/>
              <a:gd name="connsiteY192" fmla="*/ 8418 h 10000"/>
              <a:gd name="connsiteX193" fmla="*/ 7726 w 9837"/>
              <a:gd name="connsiteY193" fmla="*/ 8584 h 10000"/>
              <a:gd name="connsiteX194" fmla="*/ 7640 w 9837"/>
              <a:gd name="connsiteY194" fmla="*/ 8667 h 10000"/>
              <a:gd name="connsiteX195" fmla="*/ 7807 w 9837"/>
              <a:gd name="connsiteY195" fmla="*/ 8584 h 10000"/>
              <a:gd name="connsiteX196" fmla="*/ 7885 w 9837"/>
              <a:gd name="connsiteY196" fmla="*/ 8500 h 10000"/>
              <a:gd name="connsiteX197" fmla="*/ 8288 w 9837"/>
              <a:gd name="connsiteY197" fmla="*/ 8249 h 10000"/>
              <a:gd name="connsiteX198" fmla="*/ 8617 w 9837"/>
              <a:gd name="connsiteY198" fmla="*/ 8332 h 10000"/>
              <a:gd name="connsiteX199" fmla="*/ 8778 w 9837"/>
              <a:gd name="connsiteY199" fmla="*/ 8418 h 10000"/>
              <a:gd name="connsiteX200" fmla="*/ 9102 w 9837"/>
              <a:gd name="connsiteY200" fmla="*/ 8418 h 10000"/>
              <a:gd name="connsiteX201" fmla="*/ 9102 w 9837"/>
              <a:gd name="connsiteY201" fmla="*/ 8249 h 10000"/>
              <a:gd name="connsiteX202" fmla="*/ 9102 w 9837"/>
              <a:gd name="connsiteY202" fmla="*/ 8082 h 10000"/>
              <a:gd name="connsiteX203" fmla="*/ 9266 w 9837"/>
              <a:gd name="connsiteY203" fmla="*/ 8000 h 10000"/>
              <a:gd name="connsiteX204" fmla="*/ 9587 w 9837"/>
              <a:gd name="connsiteY204" fmla="*/ 8082 h 10000"/>
              <a:gd name="connsiteX205" fmla="*/ 9754 w 9837"/>
              <a:gd name="connsiteY205" fmla="*/ 8332 h 10000"/>
              <a:gd name="connsiteX206" fmla="*/ 9837 w 9837"/>
              <a:gd name="connsiteY206" fmla="*/ 8332 h 10000"/>
              <a:gd name="connsiteX0" fmla="*/ 9420 w 9916"/>
              <a:gd name="connsiteY0" fmla="*/ 0 h 10000"/>
              <a:gd name="connsiteX1" fmla="*/ 8678 w 9916"/>
              <a:gd name="connsiteY1" fmla="*/ 165 h 10000"/>
              <a:gd name="connsiteX2" fmla="*/ 8016 w 9916"/>
              <a:gd name="connsiteY2" fmla="*/ 582 h 10000"/>
              <a:gd name="connsiteX3" fmla="*/ 7767 w 9916"/>
              <a:gd name="connsiteY3" fmla="*/ 916 h 10000"/>
              <a:gd name="connsiteX4" fmla="*/ 7854 w 9916"/>
              <a:gd name="connsiteY4" fmla="*/ 1332 h 10000"/>
              <a:gd name="connsiteX5" fmla="*/ 6941 w 9916"/>
              <a:gd name="connsiteY5" fmla="*/ 1500 h 10000"/>
              <a:gd name="connsiteX6" fmla="*/ 7028 w 9916"/>
              <a:gd name="connsiteY6" fmla="*/ 2000 h 10000"/>
              <a:gd name="connsiteX7" fmla="*/ 7274 w 9916"/>
              <a:gd name="connsiteY7" fmla="*/ 2250 h 10000"/>
              <a:gd name="connsiteX8" fmla="*/ 7110 w 9916"/>
              <a:gd name="connsiteY8" fmla="*/ 2332 h 10000"/>
              <a:gd name="connsiteX9" fmla="*/ 6863 w 9916"/>
              <a:gd name="connsiteY9" fmla="*/ 2000 h 10000"/>
              <a:gd name="connsiteX10" fmla="*/ 6621 w 9916"/>
              <a:gd name="connsiteY10" fmla="*/ 1915 h 10000"/>
              <a:gd name="connsiteX11" fmla="*/ 6525 w 9916"/>
              <a:gd name="connsiteY11" fmla="*/ 2000 h 10000"/>
              <a:gd name="connsiteX12" fmla="*/ 6361 w 9916"/>
              <a:gd name="connsiteY12" fmla="*/ 1831 h 10000"/>
              <a:gd name="connsiteX13" fmla="*/ 6196 w 9916"/>
              <a:gd name="connsiteY13" fmla="*/ 1665 h 10000"/>
              <a:gd name="connsiteX14" fmla="*/ 6196 w 9916"/>
              <a:gd name="connsiteY14" fmla="*/ 1749 h 10000"/>
              <a:gd name="connsiteX15" fmla="*/ 6287 w 9916"/>
              <a:gd name="connsiteY15" fmla="*/ 2000 h 10000"/>
              <a:gd name="connsiteX16" fmla="*/ 6030 w 9916"/>
              <a:gd name="connsiteY16" fmla="*/ 2416 h 10000"/>
              <a:gd name="connsiteX17" fmla="*/ 6196 w 9916"/>
              <a:gd name="connsiteY17" fmla="*/ 2748 h 10000"/>
              <a:gd name="connsiteX18" fmla="*/ 6113 w 9916"/>
              <a:gd name="connsiteY18" fmla="*/ 3083 h 10000"/>
              <a:gd name="connsiteX19" fmla="*/ 6113 w 9916"/>
              <a:gd name="connsiteY19" fmla="*/ 3333 h 10000"/>
              <a:gd name="connsiteX20" fmla="*/ 6361 w 9916"/>
              <a:gd name="connsiteY20" fmla="*/ 3333 h 10000"/>
              <a:gd name="connsiteX21" fmla="*/ 6196 w 9916"/>
              <a:gd name="connsiteY21" fmla="*/ 3416 h 10000"/>
              <a:gd name="connsiteX22" fmla="*/ 6287 w 9916"/>
              <a:gd name="connsiteY22" fmla="*/ 3832 h 10000"/>
              <a:gd name="connsiteX23" fmla="*/ 5788 w 9916"/>
              <a:gd name="connsiteY23" fmla="*/ 4250 h 10000"/>
              <a:gd name="connsiteX24" fmla="*/ 5695 w 9916"/>
              <a:gd name="connsiteY24" fmla="*/ 4167 h 10000"/>
              <a:gd name="connsiteX25" fmla="*/ 6030 w 9916"/>
              <a:gd name="connsiteY25" fmla="*/ 3748 h 10000"/>
              <a:gd name="connsiteX26" fmla="*/ 6113 w 9916"/>
              <a:gd name="connsiteY26" fmla="*/ 3500 h 10000"/>
              <a:gd name="connsiteX27" fmla="*/ 5940 w 9916"/>
              <a:gd name="connsiteY27" fmla="*/ 3333 h 10000"/>
              <a:gd name="connsiteX28" fmla="*/ 5940 w 9916"/>
              <a:gd name="connsiteY28" fmla="*/ 2498 h 10000"/>
              <a:gd name="connsiteX29" fmla="*/ 5866 w 9916"/>
              <a:gd name="connsiteY29" fmla="*/ 2332 h 10000"/>
              <a:gd name="connsiteX30" fmla="*/ 5940 w 9916"/>
              <a:gd name="connsiteY30" fmla="*/ 1831 h 10000"/>
              <a:gd name="connsiteX31" fmla="*/ 5788 w 9916"/>
              <a:gd name="connsiteY31" fmla="*/ 1749 h 10000"/>
              <a:gd name="connsiteX32" fmla="*/ 5866 w 9916"/>
              <a:gd name="connsiteY32" fmla="*/ 1665 h 10000"/>
              <a:gd name="connsiteX33" fmla="*/ 5788 w 9916"/>
              <a:gd name="connsiteY33" fmla="*/ 1500 h 10000"/>
              <a:gd name="connsiteX34" fmla="*/ 5615 w 9916"/>
              <a:gd name="connsiteY34" fmla="*/ 1582 h 10000"/>
              <a:gd name="connsiteX35" fmla="*/ 5208 w 9916"/>
              <a:gd name="connsiteY35" fmla="*/ 2666 h 10000"/>
              <a:gd name="connsiteX36" fmla="*/ 5208 w 9916"/>
              <a:gd name="connsiteY36" fmla="*/ 3083 h 10000"/>
              <a:gd name="connsiteX37" fmla="*/ 5457 w 9916"/>
              <a:gd name="connsiteY37" fmla="*/ 3416 h 10000"/>
              <a:gd name="connsiteX38" fmla="*/ 5457 w 9916"/>
              <a:gd name="connsiteY38" fmla="*/ 3582 h 10000"/>
              <a:gd name="connsiteX39" fmla="*/ 5208 w 9916"/>
              <a:gd name="connsiteY39" fmla="*/ 3416 h 10000"/>
              <a:gd name="connsiteX40" fmla="*/ 4220 w 9916"/>
              <a:gd name="connsiteY40" fmla="*/ 2748 h 10000"/>
              <a:gd name="connsiteX41" fmla="*/ 4134 w 9916"/>
              <a:gd name="connsiteY41" fmla="*/ 2915 h 10000"/>
              <a:gd name="connsiteX42" fmla="*/ 4465 w 9916"/>
              <a:gd name="connsiteY42" fmla="*/ 3333 h 10000"/>
              <a:gd name="connsiteX43" fmla="*/ 4293 w 9916"/>
              <a:gd name="connsiteY43" fmla="*/ 3416 h 10000"/>
              <a:gd name="connsiteX44" fmla="*/ 4220 w 9916"/>
              <a:gd name="connsiteY44" fmla="*/ 3333 h 10000"/>
              <a:gd name="connsiteX45" fmla="*/ 3724 w 9916"/>
              <a:gd name="connsiteY45" fmla="*/ 3500 h 10000"/>
              <a:gd name="connsiteX46" fmla="*/ 3641 w 9916"/>
              <a:gd name="connsiteY46" fmla="*/ 3665 h 10000"/>
              <a:gd name="connsiteX47" fmla="*/ 3558 w 9916"/>
              <a:gd name="connsiteY47" fmla="*/ 3500 h 10000"/>
              <a:gd name="connsiteX48" fmla="*/ 3558 w 9916"/>
              <a:gd name="connsiteY48" fmla="*/ 3333 h 10000"/>
              <a:gd name="connsiteX49" fmla="*/ 2723 w 9916"/>
              <a:gd name="connsiteY49" fmla="*/ 3832 h 10000"/>
              <a:gd name="connsiteX50" fmla="*/ 2723 w 9916"/>
              <a:gd name="connsiteY50" fmla="*/ 3998 h 10000"/>
              <a:gd name="connsiteX51" fmla="*/ 2563 w 9916"/>
              <a:gd name="connsiteY51" fmla="*/ 4082 h 10000"/>
              <a:gd name="connsiteX52" fmla="*/ 2315 w 9916"/>
              <a:gd name="connsiteY52" fmla="*/ 3916 h 10000"/>
              <a:gd name="connsiteX53" fmla="*/ 2563 w 9916"/>
              <a:gd name="connsiteY53" fmla="*/ 3748 h 10000"/>
              <a:gd name="connsiteX54" fmla="*/ 2475 w 9916"/>
              <a:gd name="connsiteY54" fmla="*/ 3500 h 10000"/>
              <a:gd name="connsiteX55" fmla="*/ 2149 w 9916"/>
              <a:gd name="connsiteY55" fmla="*/ 3416 h 10000"/>
              <a:gd name="connsiteX56" fmla="*/ 2232 w 9916"/>
              <a:gd name="connsiteY56" fmla="*/ 3582 h 10000"/>
              <a:gd name="connsiteX57" fmla="*/ 2232 w 9916"/>
              <a:gd name="connsiteY57" fmla="*/ 3998 h 10000"/>
              <a:gd name="connsiteX58" fmla="*/ 2315 w 9916"/>
              <a:gd name="connsiteY58" fmla="*/ 4167 h 10000"/>
              <a:gd name="connsiteX59" fmla="*/ 2232 w 9916"/>
              <a:gd name="connsiteY59" fmla="*/ 4334 h 10000"/>
              <a:gd name="connsiteX60" fmla="*/ 1978 w 9916"/>
              <a:gd name="connsiteY60" fmla="*/ 4250 h 10000"/>
              <a:gd name="connsiteX61" fmla="*/ 1655 w 9916"/>
              <a:gd name="connsiteY61" fmla="*/ 4498 h 10000"/>
              <a:gd name="connsiteX62" fmla="*/ 1816 w 9916"/>
              <a:gd name="connsiteY62" fmla="*/ 4833 h 10000"/>
              <a:gd name="connsiteX63" fmla="*/ 1318 w 9916"/>
              <a:gd name="connsiteY63" fmla="*/ 4666 h 10000"/>
              <a:gd name="connsiteX64" fmla="*/ 1239 w 9916"/>
              <a:gd name="connsiteY64" fmla="*/ 4748 h 10000"/>
              <a:gd name="connsiteX65" fmla="*/ 1407 w 9916"/>
              <a:gd name="connsiteY65" fmla="*/ 4999 h 10000"/>
              <a:gd name="connsiteX66" fmla="*/ 1239 w 9916"/>
              <a:gd name="connsiteY66" fmla="*/ 4999 h 10000"/>
              <a:gd name="connsiteX67" fmla="*/ 995 w 9916"/>
              <a:gd name="connsiteY67" fmla="*/ 4833 h 10000"/>
              <a:gd name="connsiteX68" fmla="*/ 995 w 9916"/>
              <a:gd name="connsiteY68" fmla="*/ 4334 h 10000"/>
              <a:gd name="connsiteX69" fmla="*/ 747 w 9916"/>
              <a:gd name="connsiteY69" fmla="*/ 4167 h 10000"/>
              <a:gd name="connsiteX70" fmla="*/ 660 w 9916"/>
              <a:gd name="connsiteY70" fmla="*/ 3998 h 10000"/>
              <a:gd name="connsiteX71" fmla="*/ 823 w 9916"/>
              <a:gd name="connsiteY71" fmla="*/ 4082 h 10000"/>
              <a:gd name="connsiteX72" fmla="*/ 1482 w 9916"/>
              <a:gd name="connsiteY72" fmla="*/ 4334 h 10000"/>
              <a:gd name="connsiteX73" fmla="*/ 1893 w 9916"/>
              <a:gd name="connsiteY73" fmla="*/ 4082 h 10000"/>
              <a:gd name="connsiteX74" fmla="*/ 1816 w 9916"/>
              <a:gd name="connsiteY74" fmla="*/ 3832 h 10000"/>
              <a:gd name="connsiteX75" fmla="*/ 1318 w 9916"/>
              <a:gd name="connsiteY75" fmla="*/ 3333 h 10000"/>
              <a:gd name="connsiteX76" fmla="*/ 823 w 9916"/>
              <a:gd name="connsiteY76" fmla="*/ 3166 h 10000"/>
              <a:gd name="connsiteX77" fmla="*/ 823 w 9916"/>
              <a:gd name="connsiteY77" fmla="*/ 3083 h 10000"/>
              <a:gd name="connsiteX78" fmla="*/ 660 w 9916"/>
              <a:gd name="connsiteY78" fmla="*/ 2997 h 10000"/>
              <a:gd name="connsiteX79" fmla="*/ 492 w 9916"/>
              <a:gd name="connsiteY79" fmla="*/ 3083 h 10000"/>
              <a:gd name="connsiteX80" fmla="*/ 492 w 9916"/>
              <a:gd name="connsiteY80" fmla="*/ 3166 h 10000"/>
              <a:gd name="connsiteX81" fmla="*/ 412 w 9916"/>
              <a:gd name="connsiteY81" fmla="*/ 3166 h 10000"/>
              <a:gd name="connsiteX82" fmla="*/ 248 w 9916"/>
              <a:gd name="connsiteY82" fmla="*/ 3333 h 10000"/>
              <a:gd name="connsiteX83" fmla="*/ 248 w 9916"/>
              <a:gd name="connsiteY83" fmla="*/ 3582 h 10000"/>
              <a:gd name="connsiteX84" fmla="*/ 412 w 9916"/>
              <a:gd name="connsiteY84" fmla="*/ 3748 h 10000"/>
              <a:gd name="connsiteX85" fmla="*/ 332 w 9916"/>
              <a:gd name="connsiteY85" fmla="*/ 3998 h 10000"/>
              <a:gd name="connsiteX86" fmla="*/ 412 w 9916"/>
              <a:gd name="connsiteY86" fmla="*/ 4417 h 10000"/>
              <a:gd name="connsiteX87" fmla="*/ 332 w 9916"/>
              <a:gd name="connsiteY87" fmla="*/ 4666 h 10000"/>
              <a:gd name="connsiteX88" fmla="*/ 492 w 9916"/>
              <a:gd name="connsiteY88" fmla="*/ 4916 h 10000"/>
              <a:gd name="connsiteX89" fmla="*/ 412 w 9916"/>
              <a:gd name="connsiteY89" fmla="*/ 5083 h 10000"/>
              <a:gd name="connsiteX90" fmla="*/ 576 w 9916"/>
              <a:gd name="connsiteY90" fmla="*/ 5250 h 10000"/>
              <a:gd name="connsiteX91" fmla="*/ 576 w 9916"/>
              <a:gd name="connsiteY91" fmla="*/ 5333 h 10000"/>
              <a:gd name="connsiteX92" fmla="*/ 332 w 9916"/>
              <a:gd name="connsiteY92" fmla="*/ 5750 h 10000"/>
              <a:gd name="connsiteX93" fmla="*/ 75 w 9916"/>
              <a:gd name="connsiteY93" fmla="*/ 5917 h 10000"/>
              <a:gd name="connsiteX94" fmla="*/ 162 w 9916"/>
              <a:gd name="connsiteY94" fmla="*/ 5917 h 10000"/>
              <a:gd name="connsiteX95" fmla="*/ 332 w 9916"/>
              <a:gd name="connsiteY95" fmla="*/ 6083 h 10000"/>
              <a:gd name="connsiteX96" fmla="*/ 162 w 9916"/>
              <a:gd name="connsiteY96" fmla="*/ 6249 h 10000"/>
              <a:gd name="connsiteX97" fmla="*/ 75 w 9916"/>
              <a:gd name="connsiteY97" fmla="*/ 6334 h 10000"/>
              <a:gd name="connsiteX98" fmla="*/ 0 w 9916"/>
              <a:gd name="connsiteY98" fmla="*/ 6334 h 10000"/>
              <a:gd name="connsiteX99" fmla="*/ 75 w 9916"/>
              <a:gd name="connsiteY99" fmla="*/ 6584 h 10000"/>
              <a:gd name="connsiteX100" fmla="*/ 75 w 9916"/>
              <a:gd name="connsiteY100" fmla="*/ 6667 h 10000"/>
              <a:gd name="connsiteX101" fmla="*/ 75 w 9916"/>
              <a:gd name="connsiteY101" fmla="*/ 6749 h 10000"/>
              <a:gd name="connsiteX102" fmla="*/ 75 w 9916"/>
              <a:gd name="connsiteY102" fmla="*/ 6834 h 10000"/>
              <a:gd name="connsiteX103" fmla="*/ 162 w 9916"/>
              <a:gd name="connsiteY103" fmla="*/ 6998 h 10000"/>
              <a:gd name="connsiteX104" fmla="*/ 412 w 9916"/>
              <a:gd name="connsiteY104" fmla="*/ 7083 h 10000"/>
              <a:gd name="connsiteX105" fmla="*/ 492 w 9916"/>
              <a:gd name="connsiteY105" fmla="*/ 7165 h 10000"/>
              <a:gd name="connsiteX106" fmla="*/ 492 w 9916"/>
              <a:gd name="connsiteY106" fmla="*/ 7334 h 10000"/>
              <a:gd name="connsiteX107" fmla="*/ 660 w 9916"/>
              <a:gd name="connsiteY107" fmla="*/ 7584 h 10000"/>
              <a:gd name="connsiteX108" fmla="*/ 747 w 9916"/>
              <a:gd name="connsiteY108" fmla="*/ 7584 h 10000"/>
              <a:gd name="connsiteX109" fmla="*/ 660 w 9916"/>
              <a:gd name="connsiteY109" fmla="*/ 7750 h 10000"/>
              <a:gd name="connsiteX110" fmla="*/ 576 w 9916"/>
              <a:gd name="connsiteY110" fmla="*/ 7668 h 10000"/>
              <a:gd name="connsiteX111" fmla="*/ 576 w 9916"/>
              <a:gd name="connsiteY111" fmla="*/ 7750 h 10000"/>
              <a:gd name="connsiteX112" fmla="*/ 660 w 9916"/>
              <a:gd name="connsiteY112" fmla="*/ 7916 h 10000"/>
              <a:gd name="connsiteX113" fmla="*/ 914 w 9916"/>
              <a:gd name="connsiteY113" fmla="*/ 7916 h 10000"/>
              <a:gd name="connsiteX114" fmla="*/ 995 w 9916"/>
              <a:gd name="connsiteY114" fmla="*/ 8000 h 10000"/>
              <a:gd name="connsiteX115" fmla="*/ 914 w 9916"/>
              <a:gd name="connsiteY115" fmla="*/ 8000 h 10000"/>
              <a:gd name="connsiteX116" fmla="*/ 995 w 9916"/>
              <a:gd name="connsiteY116" fmla="*/ 8082 h 10000"/>
              <a:gd name="connsiteX117" fmla="*/ 1073 w 9916"/>
              <a:gd name="connsiteY117" fmla="*/ 8082 h 10000"/>
              <a:gd name="connsiteX118" fmla="*/ 1153 w 9916"/>
              <a:gd name="connsiteY118" fmla="*/ 8249 h 10000"/>
              <a:gd name="connsiteX119" fmla="*/ 1239 w 9916"/>
              <a:gd name="connsiteY119" fmla="*/ 8332 h 10000"/>
              <a:gd name="connsiteX120" fmla="*/ 1318 w 9916"/>
              <a:gd name="connsiteY120" fmla="*/ 8249 h 10000"/>
              <a:gd name="connsiteX121" fmla="*/ 1736 w 9916"/>
              <a:gd name="connsiteY121" fmla="*/ 8500 h 10000"/>
              <a:gd name="connsiteX122" fmla="*/ 1655 w 9916"/>
              <a:gd name="connsiteY122" fmla="*/ 8833 h 10000"/>
              <a:gd name="connsiteX123" fmla="*/ 1571 w 9916"/>
              <a:gd name="connsiteY123" fmla="*/ 8750 h 10000"/>
              <a:gd name="connsiteX124" fmla="*/ 1482 w 9916"/>
              <a:gd name="connsiteY124" fmla="*/ 8833 h 10000"/>
              <a:gd name="connsiteX125" fmla="*/ 1482 w 9916"/>
              <a:gd name="connsiteY125" fmla="*/ 8999 h 10000"/>
              <a:gd name="connsiteX126" fmla="*/ 1571 w 9916"/>
              <a:gd name="connsiteY126" fmla="*/ 8917 h 10000"/>
              <a:gd name="connsiteX127" fmla="*/ 1655 w 9916"/>
              <a:gd name="connsiteY127" fmla="*/ 8999 h 10000"/>
              <a:gd name="connsiteX128" fmla="*/ 1407 w 9916"/>
              <a:gd name="connsiteY128" fmla="*/ 9083 h 10000"/>
              <a:gd name="connsiteX129" fmla="*/ 1482 w 9916"/>
              <a:gd name="connsiteY129" fmla="*/ 9167 h 10000"/>
              <a:gd name="connsiteX130" fmla="*/ 1318 w 9916"/>
              <a:gd name="connsiteY130" fmla="*/ 9333 h 10000"/>
              <a:gd name="connsiteX131" fmla="*/ 1239 w 9916"/>
              <a:gd name="connsiteY131" fmla="*/ 9333 h 10000"/>
              <a:gd name="connsiteX132" fmla="*/ 1318 w 9916"/>
              <a:gd name="connsiteY132" fmla="*/ 9333 h 10000"/>
              <a:gd name="connsiteX133" fmla="*/ 1655 w 9916"/>
              <a:gd name="connsiteY133" fmla="*/ 9668 h 10000"/>
              <a:gd name="connsiteX134" fmla="*/ 2067 w 9916"/>
              <a:gd name="connsiteY134" fmla="*/ 9668 h 10000"/>
              <a:gd name="connsiteX135" fmla="*/ 2232 w 9916"/>
              <a:gd name="connsiteY135" fmla="*/ 9750 h 10000"/>
              <a:gd name="connsiteX136" fmla="*/ 2396 w 9916"/>
              <a:gd name="connsiteY136" fmla="*/ 9750 h 10000"/>
              <a:gd name="connsiteX137" fmla="*/ 2563 w 9916"/>
              <a:gd name="connsiteY137" fmla="*/ 9918 h 10000"/>
              <a:gd name="connsiteX138" fmla="*/ 2645 w 9916"/>
              <a:gd name="connsiteY138" fmla="*/ 10000 h 10000"/>
              <a:gd name="connsiteX139" fmla="*/ 2723 w 9916"/>
              <a:gd name="connsiteY139" fmla="*/ 10000 h 10000"/>
              <a:gd name="connsiteX140" fmla="*/ 2811 w 9916"/>
              <a:gd name="connsiteY140" fmla="*/ 9918 h 10000"/>
              <a:gd name="connsiteX141" fmla="*/ 2645 w 9916"/>
              <a:gd name="connsiteY141" fmla="*/ 9750 h 10000"/>
              <a:gd name="connsiteX142" fmla="*/ 2645 w 9916"/>
              <a:gd name="connsiteY142" fmla="*/ 9584 h 10000"/>
              <a:gd name="connsiteX143" fmla="*/ 2563 w 9916"/>
              <a:gd name="connsiteY143" fmla="*/ 9416 h 10000"/>
              <a:gd name="connsiteX144" fmla="*/ 2723 w 9916"/>
              <a:gd name="connsiteY144" fmla="*/ 9167 h 10000"/>
              <a:gd name="connsiteX145" fmla="*/ 2811 w 9916"/>
              <a:gd name="connsiteY145" fmla="*/ 9250 h 10000"/>
              <a:gd name="connsiteX146" fmla="*/ 2891 w 9916"/>
              <a:gd name="connsiteY146" fmla="*/ 9167 h 10000"/>
              <a:gd name="connsiteX147" fmla="*/ 2891 w 9916"/>
              <a:gd name="connsiteY147" fmla="*/ 9083 h 10000"/>
              <a:gd name="connsiteX148" fmla="*/ 2811 w 9916"/>
              <a:gd name="connsiteY148" fmla="*/ 9083 h 10000"/>
              <a:gd name="connsiteX149" fmla="*/ 2891 w 9916"/>
              <a:gd name="connsiteY149" fmla="*/ 8999 h 10000"/>
              <a:gd name="connsiteX150" fmla="*/ 2811 w 9916"/>
              <a:gd name="connsiteY150" fmla="*/ 8833 h 10000"/>
              <a:gd name="connsiteX151" fmla="*/ 2645 w 9916"/>
              <a:gd name="connsiteY151" fmla="*/ 8833 h 10000"/>
              <a:gd name="connsiteX152" fmla="*/ 2563 w 9916"/>
              <a:gd name="connsiteY152" fmla="*/ 8667 h 10000"/>
              <a:gd name="connsiteX153" fmla="*/ 2645 w 9916"/>
              <a:gd name="connsiteY153" fmla="*/ 8249 h 10000"/>
              <a:gd name="connsiteX154" fmla="*/ 2811 w 9916"/>
              <a:gd name="connsiteY154" fmla="*/ 8418 h 10000"/>
              <a:gd name="connsiteX155" fmla="*/ 2891 w 9916"/>
              <a:gd name="connsiteY155" fmla="*/ 8418 h 10000"/>
              <a:gd name="connsiteX156" fmla="*/ 2811 w 9916"/>
              <a:gd name="connsiteY156" fmla="*/ 8249 h 10000"/>
              <a:gd name="connsiteX157" fmla="*/ 3060 w 9916"/>
              <a:gd name="connsiteY157" fmla="*/ 8000 h 10000"/>
              <a:gd name="connsiteX158" fmla="*/ 3227 w 9916"/>
              <a:gd name="connsiteY158" fmla="*/ 8082 h 10000"/>
              <a:gd name="connsiteX159" fmla="*/ 3307 w 9916"/>
              <a:gd name="connsiteY159" fmla="*/ 8000 h 10000"/>
              <a:gd name="connsiteX160" fmla="*/ 3465 w 9916"/>
              <a:gd name="connsiteY160" fmla="*/ 8082 h 10000"/>
              <a:gd name="connsiteX161" fmla="*/ 3724 w 9916"/>
              <a:gd name="connsiteY161" fmla="*/ 8249 h 10000"/>
              <a:gd name="connsiteX162" fmla="*/ 3882 w 9916"/>
              <a:gd name="connsiteY162" fmla="*/ 8167 h 10000"/>
              <a:gd name="connsiteX163" fmla="*/ 4051 w 9916"/>
              <a:gd name="connsiteY163" fmla="*/ 8167 h 10000"/>
              <a:gd name="connsiteX164" fmla="*/ 4134 w 9916"/>
              <a:gd name="connsiteY164" fmla="*/ 8249 h 10000"/>
              <a:gd name="connsiteX165" fmla="*/ 4465 w 9916"/>
              <a:gd name="connsiteY165" fmla="*/ 8249 h 10000"/>
              <a:gd name="connsiteX166" fmla="*/ 4543 w 9916"/>
              <a:gd name="connsiteY166" fmla="*/ 8082 h 10000"/>
              <a:gd name="connsiteX167" fmla="*/ 4293 w 9916"/>
              <a:gd name="connsiteY167" fmla="*/ 8000 h 10000"/>
              <a:gd name="connsiteX168" fmla="*/ 4465 w 9916"/>
              <a:gd name="connsiteY168" fmla="*/ 7916 h 10000"/>
              <a:gd name="connsiteX169" fmla="*/ 4377 w 9916"/>
              <a:gd name="connsiteY169" fmla="*/ 7833 h 10000"/>
              <a:gd name="connsiteX170" fmla="*/ 4465 w 9916"/>
              <a:gd name="connsiteY170" fmla="*/ 7750 h 10000"/>
              <a:gd name="connsiteX171" fmla="*/ 4465 w 9916"/>
              <a:gd name="connsiteY171" fmla="*/ 7500 h 10000"/>
              <a:gd name="connsiteX172" fmla="*/ 4624 w 9916"/>
              <a:gd name="connsiteY172" fmla="*/ 7584 h 10000"/>
              <a:gd name="connsiteX173" fmla="*/ 5371 w 9916"/>
              <a:gd name="connsiteY173" fmla="*/ 7334 h 10000"/>
              <a:gd name="connsiteX174" fmla="*/ 5371 w 9916"/>
              <a:gd name="connsiteY174" fmla="*/ 7250 h 10000"/>
              <a:gd name="connsiteX175" fmla="*/ 5457 w 9916"/>
              <a:gd name="connsiteY175" fmla="*/ 7250 h 10000"/>
              <a:gd name="connsiteX176" fmla="*/ 5695 w 9916"/>
              <a:gd name="connsiteY176" fmla="*/ 7250 h 10000"/>
              <a:gd name="connsiteX177" fmla="*/ 5788 w 9916"/>
              <a:gd name="connsiteY177" fmla="*/ 7417 h 10000"/>
              <a:gd name="connsiteX178" fmla="*/ 5788 w 9916"/>
              <a:gd name="connsiteY178" fmla="*/ 7500 h 10000"/>
              <a:gd name="connsiteX179" fmla="*/ 5866 w 9916"/>
              <a:gd name="connsiteY179" fmla="*/ 7500 h 10000"/>
              <a:gd name="connsiteX180" fmla="*/ 6030 w 9916"/>
              <a:gd name="connsiteY180" fmla="*/ 7584 h 10000"/>
              <a:gd name="connsiteX181" fmla="*/ 6030 w 9916"/>
              <a:gd name="connsiteY181" fmla="*/ 7668 h 10000"/>
              <a:gd name="connsiteX182" fmla="*/ 6196 w 9916"/>
              <a:gd name="connsiteY182" fmla="*/ 7668 h 10000"/>
              <a:gd name="connsiteX183" fmla="*/ 6361 w 9916"/>
              <a:gd name="connsiteY183" fmla="*/ 7500 h 10000"/>
              <a:gd name="connsiteX184" fmla="*/ 6525 w 9916"/>
              <a:gd name="connsiteY184" fmla="*/ 7417 h 10000"/>
              <a:gd name="connsiteX185" fmla="*/ 6621 w 9916"/>
              <a:gd name="connsiteY185" fmla="*/ 7668 h 10000"/>
              <a:gd name="connsiteX186" fmla="*/ 6941 w 9916"/>
              <a:gd name="connsiteY186" fmla="*/ 8249 h 10000"/>
              <a:gd name="connsiteX187" fmla="*/ 7028 w 9916"/>
              <a:gd name="connsiteY187" fmla="*/ 8082 h 10000"/>
              <a:gd name="connsiteX188" fmla="*/ 7110 w 9916"/>
              <a:gd name="connsiteY188" fmla="*/ 8249 h 10000"/>
              <a:gd name="connsiteX189" fmla="*/ 7357 w 9916"/>
              <a:gd name="connsiteY189" fmla="*/ 8167 h 10000"/>
              <a:gd name="connsiteX190" fmla="*/ 7606 w 9916"/>
              <a:gd name="connsiteY190" fmla="*/ 8418 h 10000"/>
              <a:gd name="connsiteX191" fmla="*/ 7767 w 9916"/>
              <a:gd name="connsiteY191" fmla="*/ 8500 h 10000"/>
              <a:gd name="connsiteX192" fmla="*/ 7767 w 9916"/>
              <a:gd name="connsiteY192" fmla="*/ 8418 h 10000"/>
              <a:gd name="connsiteX193" fmla="*/ 7854 w 9916"/>
              <a:gd name="connsiteY193" fmla="*/ 8584 h 10000"/>
              <a:gd name="connsiteX194" fmla="*/ 7767 w 9916"/>
              <a:gd name="connsiteY194" fmla="*/ 8667 h 10000"/>
              <a:gd name="connsiteX195" fmla="*/ 7936 w 9916"/>
              <a:gd name="connsiteY195" fmla="*/ 8584 h 10000"/>
              <a:gd name="connsiteX196" fmla="*/ 8016 w 9916"/>
              <a:gd name="connsiteY196" fmla="*/ 8500 h 10000"/>
              <a:gd name="connsiteX197" fmla="*/ 8425 w 9916"/>
              <a:gd name="connsiteY197" fmla="*/ 8249 h 10000"/>
              <a:gd name="connsiteX198" fmla="*/ 8760 w 9916"/>
              <a:gd name="connsiteY198" fmla="*/ 8332 h 10000"/>
              <a:gd name="connsiteX199" fmla="*/ 8923 w 9916"/>
              <a:gd name="connsiteY199" fmla="*/ 8418 h 10000"/>
              <a:gd name="connsiteX200" fmla="*/ 9253 w 9916"/>
              <a:gd name="connsiteY200" fmla="*/ 8418 h 10000"/>
              <a:gd name="connsiteX201" fmla="*/ 9253 w 9916"/>
              <a:gd name="connsiteY201" fmla="*/ 8249 h 10000"/>
              <a:gd name="connsiteX202" fmla="*/ 9253 w 9916"/>
              <a:gd name="connsiteY202" fmla="*/ 8082 h 10000"/>
              <a:gd name="connsiteX203" fmla="*/ 9420 w 9916"/>
              <a:gd name="connsiteY203" fmla="*/ 8000 h 10000"/>
              <a:gd name="connsiteX204" fmla="*/ 9746 w 9916"/>
              <a:gd name="connsiteY204" fmla="*/ 8082 h 10000"/>
              <a:gd name="connsiteX205" fmla="*/ 9916 w 9916"/>
              <a:gd name="connsiteY205" fmla="*/ 8332 h 10000"/>
              <a:gd name="connsiteX0" fmla="*/ 9500 w 9829"/>
              <a:gd name="connsiteY0" fmla="*/ 0 h 10000"/>
              <a:gd name="connsiteX1" fmla="*/ 8752 w 9829"/>
              <a:gd name="connsiteY1" fmla="*/ 165 h 10000"/>
              <a:gd name="connsiteX2" fmla="*/ 8084 w 9829"/>
              <a:gd name="connsiteY2" fmla="*/ 582 h 10000"/>
              <a:gd name="connsiteX3" fmla="*/ 7833 w 9829"/>
              <a:gd name="connsiteY3" fmla="*/ 916 h 10000"/>
              <a:gd name="connsiteX4" fmla="*/ 7921 w 9829"/>
              <a:gd name="connsiteY4" fmla="*/ 1332 h 10000"/>
              <a:gd name="connsiteX5" fmla="*/ 7000 w 9829"/>
              <a:gd name="connsiteY5" fmla="*/ 1500 h 10000"/>
              <a:gd name="connsiteX6" fmla="*/ 7088 w 9829"/>
              <a:gd name="connsiteY6" fmla="*/ 2000 h 10000"/>
              <a:gd name="connsiteX7" fmla="*/ 7336 w 9829"/>
              <a:gd name="connsiteY7" fmla="*/ 2250 h 10000"/>
              <a:gd name="connsiteX8" fmla="*/ 7170 w 9829"/>
              <a:gd name="connsiteY8" fmla="*/ 2332 h 10000"/>
              <a:gd name="connsiteX9" fmla="*/ 6921 w 9829"/>
              <a:gd name="connsiteY9" fmla="*/ 2000 h 10000"/>
              <a:gd name="connsiteX10" fmla="*/ 6677 w 9829"/>
              <a:gd name="connsiteY10" fmla="*/ 1915 h 10000"/>
              <a:gd name="connsiteX11" fmla="*/ 6580 w 9829"/>
              <a:gd name="connsiteY11" fmla="*/ 2000 h 10000"/>
              <a:gd name="connsiteX12" fmla="*/ 6415 w 9829"/>
              <a:gd name="connsiteY12" fmla="*/ 1831 h 10000"/>
              <a:gd name="connsiteX13" fmla="*/ 6248 w 9829"/>
              <a:gd name="connsiteY13" fmla="*/ 1665 h 10000"/>
              <a:gd name="connsiteX14" fmla="*/ 6248 w 9829"/>
              <a:gd name="connsiteY14" fmla="*/ 1749 h 10000"/>
              <a:gd name="connsiteX15" fmla="*/ 6340 w 9829"/>
              <a:gd name="connsiteY15" fmla="*/ 2000 h 10000"/>
              <a:gd name="connsiteX16" fmla="*/ 6081 w 9829"/>
              <a:gd name="connsiteY16" fmla="*/ 2416 h 10000"/>
              <a:gd name="connsiteX17" fmla="*/ 6248 w 9829"/>
              <a:gd name="connsiteY17" fmla="*/ 2748 h 10000"/>
              <a:gd name="connsiteX18" fmla="*/ 6165 w 9829"/>
              <a:gd name="connsiteY18" fmla="*/ 3083 h 10000"/>
              <a:gd name="connsiteX19" fmla="*/ 6165 w 9829"/>
              <a:gd name="connsiteY19" fmla="*/ 3333 h 10000"/>
              <a:gd name="connsiteX20" fmla="*/ 6415 w 9829"/>
              <a:gd name="connsiteY20" fmla="*/ 3333 h 10000"/>
              <a:gd name="connsiteX21" fmla="*/ 6248 w 9829"/>
              <a:gd name="connsiteY21" fmla="*/ 3416 h 10000"/>
              <a:gd name="connsiteX22" fmla="*/ 6340 w 9829"/>
              <a:gd name="connsiteY22" fmla="*/ 3832 h 10000"/>
              <a:gd name="connsiteX23" fmla="*/ 5837 w 9829"/>
              <a:gd name="connsiteY23" fmla="*/ 4250 h 10000"/>
              <a:gd name="connsiteX24" fmla="*/ 5743 w 9829"/>
              <a:gd name="connsiteY24" fmla="*/ 4167 h 10000"/>
              <a:gd name="connsiteX25" fmla="*/ 6081 w 9829"/>
              <a:gd name="connsiteY25" fmla="*/ 3748 h 10000"/>
              <a:gd name="connsiteX26" fmla="*/ 6165 w 9829"/>
              <a:gd name="connsiteY26" fmla="*/ 3500 h 10000"/>
              <a:gd name="connsiteX27" fmla="*/ 5990 w 9829"/>
              <a:gd name="connsiteY27" fmla="*/ 3333 h 10000"/>
              <a:gd name="connsiteX28" fmla="*/ 5990 w 9829"/>
              <a:gd name="connsiteY28" fmla="*/ 2498 h 10000"/>
              <a:gd name="connsiteX29" fmla="*/ 5916 w 9829"/>
              <a:gd name="connsiteY29" fmla="*/ 2332 h 10000"/>
              <a:gd name="connsiteX30" fmla="*/ 5990 w 9829"/>
              <a:gd name="connsiteY30" fmla="*/ 1831 h 10000"/>
              <a:gd name="connsiteX31" fmla="*/ 5837 w 9829"/>
              <a:gd name="connsiteY31" fmla="*/ 1749 h 10000"/>
              <a:gd name="connsiteX32" fmla="*/ 5916 w 9829"/>
              <a:gd name="connsiteY32" fmla="*/ 1665 h 10000"/>
              <a:gd name="connsiteX33" fmla="*/ 5837 w 9829"/>
              <a:gd name="connsiteY33" fmla="*/ 1500 h 10000"/>
              <a:gd name="connsiteX34" fmla="*/ 5663 w 9829"/>
              <a:gd name="connsiteY34" fmla="*/ 1582 h 10000"/>
              <a:gd name="connsiteX35" fmla="*/ 5252 w 9829"/>
              <a:gd name="connsiteY35" fmla="*/ 2666 h 10000"/>
              <a:gd name="connsiteX36" fmla="*/ 5252 w 9829"/>
              <a:gd name="connsiteY36" fmla="*/ 3083 h 10000"/>
              <a:gd name="connsiteX37" fmla="*/ 5503 w 9829"/>
              <a:gd name="connsiteY37" fmla="*/ 3416 h 10000"/>
              <a:gd name="connsiteX38" fmla="*/ 5503 w 9829"/>
              <a:gd name="connsiteY38" fmla="*/ 3582 h 10000"/>
              <a:gd name="connsiteX39" fmla="*/ 5252 w 9829"/>
              <a:gd name="connsiteY39" fmla="*/ 3416 h 10000"/>
              <a:gd name="connsiteX40" fmla="*/ 4256 w 9829"/>
              <a:gd name="connsiteY40" fmla="*/ 2748 h 10000"/>
              <a:gd name="connsiteX41" fmla="*/ 4169 w 9829"/>
              <a:gd name="connsiteY41" fmla="*/ 2915 h 10000"/>
              <a:gd name="connsiteX42" fmla="*/ 4503 w 9829"/>
              <a:gd name="connsiteY42" fmla="*/ 3333 h 10000"/>
              <a:gd name="connsiteX43" fmla="*/ 4329 w 9829"/>
              <a:gd name="connsiteY43" fmla="*/ 3416 h 10000"/>
              <a:gd name="connsiteX44" fmla="*/ 4256 w 9829"/>
              <a:gd name="connsiteY44" fmla="*/ 3333 h 10000"/>
              <a:gd name="connsiteX45" fmla="*/ 3756 w 9829"/>
              <a:gd name="connsiteY45" fmla="*/ 3500 h 10000"/>
              <a:gd name="connsiteX46" fmla="*/ 3672 w 9829"/>
              <a:gd name="connsiteY46" fmla="*/ 3665 h 10000"/>
              <a:gd name="connsiteX47" fmla="*/ 3588 w 9829"/>
              <a:gd name="connsiteY47" fmla="*/ 3500 h 10000"/>
              <a:gd name="connsiteX48" fmla="*/ 3588 w 9829"/>
              <a:gd name="connsiteY48" fmla="*/ 3333 h 10000"/>
              <a:gd name="connsiteX49" fmla="*/ 2746 w 9829"/>
              <a:gd name="connsiteY49" fmla="*/ 3832 h 10000"/>
              <a:gd name="connsiteX50" fmla="*/ 2746 w 9829"/>
              <a:gd name="connsiteY50" fmla="*/ 3998 h 10000"/>
              <a:gd name="connsiteX51" fmla="*/ 2585 w 9829"/>
              <a:gd name="connsiteY51" fmla="*/ 4082 h 10000"/>
              <a:gd name="connsiteX52" fmla="*/ 2335 w 9829"/>
              <a:gd name="connsiteY52" fmla="*/ 3916 h 10000"/>
              <a:gd name="connsiteX53" fmla="*/ 2585 w 9829"/>
              <a:gd name="connsiteY53" fmla="*/ 3748 h 10000"/>
              <a:gd name="connsiteX54" fmla="*/ 2496 w 9829"/>
              <a:gd name="connsiteY54" fmla="*/ 3500 h 10000"/>
              <a:gd name="connsiteX55" fmla="*/ 2167 w 9829"/>
              <a:gd name="connsiteY55" fmla="*/ 3416 h 10000"/>
              <a:gd name="connsiteX56" fmla="*/ 2251 w 9829"/>
              <a:gd name="connsiteY56" fmla="*/ 3582 h 10000"/>
              <a:gd name="connsiteX57" fmla="*/ 2251 w 9829"/>
              <a:gd name="connsiteY57" fmla="*/ 3998 h 10000"/>
              <a:gd name="connsiteX58" fmla="*/ 2335 w 9829"/>
              <a:gd name="connsiteY58" fmla="*/ 4167 h 10000"/>
              <a:gd name="connsiteX59" fmla="*/ 2251 w 9829"/>
              <a:gd name="connsiteY59" fmla="*/ 4334 h 10000"/>
              <a:gd name="connsiteX60" fmla="*/ 1995 w 9829"/>
              <a:gd name="connsiteY60" fmla="*/ 4250 h 10000"/>
              <a:gd name="connsiteX61" fmla="*/ 1669 w 9829"/>
              <a:gd name="connsiteY61" fmla="*/ 4498 h 10000"/>
              <a:gd name="connsiteX62" fmla="*/ 1831 w 9829"/>
              <a:gd name="connsiteY62" fmla="*/ 4833 h 10000"/>
              <a:gd name="connsiteX63" fmla="*/ 1329 w 9829"/>
              <a:gd name="connsiteY63" fmla="*/ 4666 h 10000"/>
              <a:gd name="connsiteX64" fmla="*/ 1249 w 9829"/>
              <a:gd name="connsiteY64" fmla="*/ 4748 h 10000"/>
              <a:gd name="connsiteX65" fmla="*/ 1419 w 9829"/>
              <a:gd name="connsiteY65" fmla="*/ 4999 h 10000"/>
              <a:gd name="connsiteX66" fmla="*/ 1249 w 9829"/>
              <a:gd name="connsiteY66" fmla="*/ 4999 h 10000"/>
              <a:gd name="connsiteX67" fmla="*/ 1003 w 9829"/>
              <a:gd name="connsiteY67" fmla="*/ 4833 h 10000"/>
              <a:gd name="connsiteX68" fmla="*/ 1003 w 9829"/>
              <a:gd name="connsiteY68" fmla="*/ 4334 h 10000"/>
              <a:gd name="connsiteX69" fmla="*/ 753 w 9829"/>
              <a:gd name="connsiteY69" fmla="*/ 4167 h 10000"/>
              <a:gd name="connsiteX70" fmla="*/ 666 w 9829"/>
              <a:gd name="connsiteY70" fmla="*/ 3998 h 10000"/>
              <a:gd name="connsiteX71" fmla="*/ 830 w 9829"/>
              <a:gd name="connsiteY71" fmla="*/ 4082 h 10000"/>
              <a:gd name="connsiteX72" fmla="*/ 1495 w 9829"/>
              <a:gd name="connsiteY72" fmla="*/ 4334 h 10000"/>
              <a:gd name="connsiteX73" fmla="*/ 1909 w 9829"/>
              <a:gd name="connsiteY73" fmla="*/ 4082 h 10000"/>
              <a:gd name="connsiteX74" fmla="*/ 1831 w 9829"/>
              <a:gd name="connsiteY74" fmla="*/ 3832 h 10000"/>
              <a:gd name="connsiteX75" fmla="*/ 1329 w 9829"/>
              <a:gd name="connsiteY75" fmla="*/ 3333 h 10000"/>
              <a:gd name="connsiteX76" fmla="*/ 830 w 9829"/>
              <a:gd name="connsiteY76" fmla="*/ 3166 h 10000"/>
              <a:gd name="connsiteX77" fmla="*/ 830 w 9829"/>
              <a:gd name="connsiteY77" fmla="*/ 3083 h 10000"/>
              <a:gd name="connsiteX78" fmla="*/ 666 w 9829"/>
              <a:gd name="connsiteY78" fmla="*/ 2997 h 10000"/>
              <a:gd name="connsiteX79" fmla="*/ 496 w 9829"/>
              <a:gd name="connsiteY79" fmla="*/ 3083 h 10000"/>
              <a:gd name="connsiteX80" fmla="*/ 496 w 9829"/>
              <a:gd name="connsiteY80" fmla="*/ 3166 h 10000"/>
              <a:gd name="connsiteX81" fmla="*/ 415 w 9829"/>
              <a:gd name="connsiteY81" fmla="*/ 3166 h 10000"/>
              <a:gd name="connsiteX82" fmla="*/ 250 w 9829"/>
              <a:gd name="connsiteY82" fmla="*/ 3333 h 10000"/>
              <a:gd name="connsiteX83" fmla="*/ 250 w 9829"/>
              <a:gd name="connsiteY83" fmla="*/ 3582 h 10000"/>
              <a:gd name="connsiteX84" fmla="*/ 415 w 9829"/>
              <a:gd name="connsiteY84" fmla="*/ 3748 h 10000"/>
              <a:gd name="connsiteX85" fmla="*/ 335 w 9829"/>
              <a:gd name="connsiteY85" fmla="*/ 3998 h 10000"/>
              <a:gd name="connsiteX86" fmla="*/ 415 w 9829"/>
              <a:gd name="connsiteY86" fmla="*/ 4417 h 10000"/>
              <a:gd name="connsiteX87" fmla="*/ 335 w 9829"/>
              <a:gd name="connsiteY87" fmla="*/ 4666 h 10000"/>
              <a:gd name="connsiteX88" fmla="*/ 496 w 9829"/>
              <a:gd name="connsiteY88" fmla="*/ 4916 h 10000"/>
              <a:gd name="connsiteX89" fmla="*/ 415 w 9829"/>
              <a:gd name="connsiteY89" fmla="*/ 5083 h 10000"/>
              <a:gd name="connsiteX90" fmla="*/ 581 w 9829"/>
              <a:gd name="connsiteY90" fmla="*/ 5250 h 10000"/>
              <a:gd name="connsiteX91" fmla="*/ 581 w 9829"/>
              <a:gd name="connsiteY91" fmla="*/ 5333 h 10000"/>
              <a:gd name="connsiteX92" fmla="*/ 335 w 9829"/>
              <a:gd name="connsiteY92" fmla="*/ 5750 h 10000"/>
              <a:gd name="connsiteX93" fmla="*/ 76 w 9829"/>
              <a:gd name="connsiteY93" fmla="*/ 5917 h 10000"/>
              <a:gd name="connsiteX94" fmla="*/ 163 w 9829"/>
              <a:gd name="connsiteY94" fmla="*/ 5917 h 10000"/>
              <a:gd name="connsiteX95" fmla="*/ 335 w 9829"/>
              <a:gd name="connsiteY95" fmla="*/ 6083 h 10000"/>
              <a:gd name="connsiteX96" fmla="*/ 163 w 9829"/>
              <a:gd name="connsiteY96" fmla="*/ 6249 h 10000"/>
              <a:gd name="connsiteX97" fmla="*/ 76 w 9829"/>
              <a:gd name="connsiteY97" fmla="*/ 6334 h 10000"/>
              <a:gd name="connsiteX98" fmla="*/ 0 w 9829"/>
              <a:gd name="connsiteY98" fmla="*/ 6334 h 10000"/>
              <a:gd name="connsiteX99" fmla="*/ 76 w 9829"/>
              <a:gd name="connsiteY99" fmla="*/ 6584 h 10000"/>
              <a:gd name="connsiteX100" fmla="*/ 76 w 9829"/>
              <a:gd name="connsiteY100" fmla="*/ 6667 h 10000"/>
              <a:gd name="connsiteX101" fmla="*/ 76 w 9829"/>
              <a:gd name="connsiteY101" fmla="*/ 6749 h 10000"/>
              <a:gd name="connsiteX102" fmla="*/ 76 w 9829"/>
              <a:gd name="connsiteY102" fmla="*/ 6834 h 10000"/>
              <a:gd name="connsiteX103" fmla="*/ 163 w 9829"/>
              <a:gd name="connsiteY103" fmla="*/ 6998 h 10000"/>
              <a:gd name="connsiteX104" fmla="*/ 415 w 9829"/>
              <a:gd name="connsiteY104" fmla="*/ 7083 h 10000"/>
              <a:gd name="connsiteX105" fmla="*/ 496 w 9829"/>
              <a:gd name="connsiteY105" fmla="*/ 7165 h 10000"/>
              <a:gd name="connsiteX106" fmla="*/ 496 w 9829"/>
              <a:gd name="connsiteY106" fmla="*/ 7334 h 10000"/>
              <a:gd name="connsiteX107" fmla="*/ 666 w 9829"/>
              <a:gd name="connsiteY107" fmla="*/ 7584 h 10000"/>
              <a:gd name="connsiteX108" fmla="*/ 753 w 9829"/>
              <a:gd name="connsiteY108" fmla="*/ 7584 h 10000"/>
              <a:gd name="connsiteX109" fmla="*/ 666 w 9829"/>
              <a:gd name="connsiteY109" fmla="*/ 7750 h 10000"/>
              <a:gd name="connsiteX110" fmla="*/ 581 w 9829"/>
              <a:gd name="connsiteY110" fmla="*/ 7668 h 10000"/>
              <a:gd name="connsiteX111" fmla="*/ 581 w 9829"/>
              <a:gd name="connsiteY111" fmla="*/ 7750 h 10000"/>
              <a:gd name="connsiteX112" fmla="*/ 666 w 9829"/>
              <a:gd name="connsiteY112" fmla="*/ 7916 h 10000"/>
              <a:gd name="connsiteX113" fmla="*/ 922 w 9829"/>
              <a:gd name="connsiteY113" fmla="*/ 7916 h 10000"/>
              <a:gd name="connsiteX114" fmla="*/ 1003 w 9829"/>
              <a:gd name="connsiteY114" fmla="*/ 8000 h 10000"/>
              <a:gd name="connsiteX115" fmla="*/ 922 w 9829"/>
              <a:gd name="connsiteY115" fmla="*/ 8000 h 10000"/>
              <a:gd name="connsiteX116" fmla="*/ 1003 w 9829"/>
              <a:gd name="connsiteY116" fmla="*/ 8082 h 10000"/>
              <a:gd name="connsiteX117" fmla="*/ 1082 w 9829"/>
              <a:gd name="connsiteY117" fmla="*/ 8082 h 10000"/>
              <a:gd name="connsiteX118" fmla="*/ 1163 w 9829"/>
              <a:gd name="connsiteY118" fmla="*/ 8249 h 10000"/>
              <a:gd name="connsiteX119" fmla="*/ 1249 w 9829"/>
              <a:gd name="connsiteY119" fmla="*/ 8332 h 10000"/>
              <a:gd name="connsiteX120" fmla="*/ 1329 w 9829"/>
              <a:gd name="connsiteY120" fmla="*/ 8249 h 10000"/>
              <a:gd name="connsiteX121" fmla="*/ 1751 w 9829"/>
              <a:gd name="connsiteY121" fmla="*/ 8500 h 10000"/>
              <a:gd name="connsiteX122" fmla="*/ 1669 w 9829"/>
              <a:gd name="connsiteY122" fmla="*/ 8833 h 10000"/>
              <a:gd name="connsiteX123" fmla="*/ 1584 w 9829"/>
              <a:gd name="connsiteY123" fmla="*/ 8750 h 10000"/>
              <a:gd name="connsiteX124" fmla="*/ 1495 w 9829"/>
              <a:gd name="connsiteY124" fmla="*/ 8833 h 10000"/>
              <a:gd name="connsiteX125" fmla="*/ 1495 w 9829"/>
              <a:gd name="connsiteY125" fmla="*/ 8999 h 10000"/>
              <a:gd name="connsiteX126" fmla="*/ 1584 w 9829"/>
              <a:gd name="connsiteY126" fmla="*/ 8917 h 10000"/>
              <a:gd name="connsiteX127" fmla="*/ 1669 w 9829"/>
              <a:gd name="connsiteY127" fmla="*/ 8999 h 10000"/>
              <a:gd name="connsiteX128" fmla="*/ 1419 w 9829"/>
              <a:gd name="connsiteY128" fmla="*/ 9083 h 10000"/>
              <a:gd name="connsiteX129" fmla="*/ 1495 w 9829"/>
              <a:gd name="connsiteY129" fmla="*/ 9167 h 10000"/>
              <a:gd name="connsiteX130" fmla="*/ 1329 w 9829"/>
              <a:gd name="connsiteY130" fmla="*/ 9333 h 10000"/>
              <a:gd name="connsiteX131" fmla="*/ 1249 w 9829"/>
              <a:gd name="connsiteY131" fmla="*/ 9333 h 10000"/>
              <a:gd name="connsiteX132" fmla="*/ 1329 w 9829"/>
              <a:gd name="connsiteY132" fmla="*/ 9333 h 10000"/>
              <a:gd name="connsiteX133" fmla="*/ 1669 w 9829"/>
              <a:gd name="connsiteY133" fmla="*/ 9668 h 10000"/>
              <a:gd name="connsiteX134" fmla="*/ 2085 w 9829"/>
              <a:gd name="connsiteY134" fmla="*/ 9668 h 10000"/>
              <a:gd name="connsiteX135" fmla="*/ 2251 w 9829"/>
              <a:gd name="connsiteY135" fmla="*/ 9750 h 10000"/>
              <a:gd name="connsiteX136" fmla="*/ 2416 w 9829"/>
              <a:gd name="connsiteY136" fmla="*/ 9750 h 10000"/>
              <a:gd name="connsiteX137" fmla="*/ 2585 w 9829"/>
              <a:gd name="connsiteY137" fmla="*/ 9918 h 10000"/>
              <a:gd name="connsiteX138" fmla="*/ 2667 w 9829"/>
              <a:gd name="connsiteY138" fmla="*/ 10000 h 10000"/>
              <a:gd name="connsiteX139" fmla="*/ 2746 w 9829"/>
              <a:gd name="connsiteY139" fmla="*/ 10000 h 10000"/>
              <a:gd name="connsiteX140" fmla="*/ 2835 w 9829"/>
              <a:gd name="connsiteY140" fmla="*/ 9918 h 10000"/>
              <a:gd name="connsiteX141" fmla="*/ 2667 w 9829"/>
              <a:gd name="connsiteY141" fmla="*/ 9750 h 10000"/>
              <a:gd name="connsiteX142" fmla="*/ 2667 w 9829"/>
              <a:gd name="connsiteY142" fmla="*/ 9584 h 10000"/>
              <a:gd name="connsiteX143" fmla="*/ 2585 w 9829"/>
              <a:gd name="connsiteY143" fmla="*/ 9416 h 10000"/>
              <a:gd name="connsiteX144" fmla="*/ 2746 w 9829"/>
              <a:gd name="connsiteY144" fmla="*/ 9167 h 10000"/>
              <a:gd name="connsiteX145" fmla="*/ 2835 w 9829"/>
              <a:gd name="connsiteY145" fmla="*/ 9250 h 10000"/>
              <a:gd name="connsiteX146" fmla="*/ 2915 w 9829"/>
              <a:gd name="connsiteY146" fmla="*/ 9167 h 10000"/>
              <a:gd name="connsiteX147" fmla="*/ 2915 w 9829"/>
              <a:gd name="connsiteY147" fmla="*/ 9083 h 10000"/>
              <a:gd name="connsiteX148" fmla="*/ 2835 w 9829"/>
              <a:gd name="connsiteY148" fmla="*/ 9083 h 10000"/>
              <a:gd name="connsiteX149" fmla="*/ 2915 w 9829"/>
              <a:gd name="connsiteY149" fmla="*/ 8999 h 10000"/>
              <a:gd name="connsiteX150" fmla="*/ 2835 w 9829"/>
              <a:gd name="connsiteY150" fmla="*/ 8833 h 10000"/>
              <a:gd name="connsiteX151" fmla="*/ 2667 w 9829"/>
              <a:gd name="connsiteY151" fmla="*/ 8833 h 10000"/>
              <a:gd name="connsiteX152" fmla="*/ 2585 w 9829"/>
              <a:gd name="connsiteY152" fmla="*/ 8667 h 10000"/>
              <a:gd name="connsiteX153" fmla="*/ 2667 w 9829"/>
              <a:gd name="connsiteY153" fmla="*/ 8249 h 10000"/>
              <a:gd name="connsiteX154" fmla="*/ 2835 w 9829"/>
              <a:gd name="connsiteY154" fmla="*/ 8418 h 10000"/>
              <a:gd name="connsiteX155" fmla="*/ 2915 w 9829"/>
              <a:gd name="connsiteY155" fmla="*/ 8418 h 10000"/>
              <a:gd name="connsiteX156" fmla="*/ 2835 w 9829"/>
              <a:gd name="connsiteY156" fmla="*/ 8249 h 10000"/>
              <a:gd name="connsiteX157" fmla="*/ 3086 w 9829"/>
              <a:gd name="connsiteY157" fmla="*/ 8000 h 10000"/>
              <a:gd name="connsiteX158" fmla="*/ 3254 w 9829"/>
              <a:gd name="connsiteY158" fmla="*/ 8082 h 10000"/>
              <a:gd name="connsiteX159" fmla="*/ 3335 w 9829"/>
              <a:gd name="connsiteY159" fmla="*/ 8000 h 10000"/>
              <a:gd name="connsiteX160" fmla="*/ 3494 w 9829"/>
              <a:gd name="connsiteY160" fmla="*/ 8082 h 10000"/>
              <a:gd name="connsiteX161" fmla="*/ 3756 w 9829"/>
              <a:gd name="connsiteY161" fmla="*/ 8249 h 10000"/>
              <a:gd name="connsiteX162" fmla="*/ 3915 w 9829"/>
              <a:gd name="connsiteY162" fmla="*/ 8167 h 10000"/>
              <a:gd name="connsiteX163" fmla="*/ 4085 w 9829"/>
              <a:gd name="connsiteY163" fmla="*/ 8167 h 10000"/>
              <a:gd name="connsiteX164" fmla="*/ 4169 w 9829"/>
              <a:gd name="connsiteY164" fmla="*/ 8249 h 10000"/>
              <a:gd name="connsiteX165" fmla="*/ 4503 w 9829"/>
              <a:gd name="connsiteY165" fmla="*/ 8249 h 10000"/>
              <a:gd name="connsiteX166" fmla="*/ 4581 w 9829"/>
              <a:gd name="connsiteY166" fmla="*/ 8082 h 10000"/>
              <a:gd name="connsiteX167" fmla="*/ 4329 w 9829"/>
              <a:gd name="connsiteY167" fmla="*/ 8000 h 10000"/>
              <a:gd name="connsiteX168" fmla="*/ 4503 w 9829"/>
              <a:gd name="connsiteY168" fmla="*/ 7916 h 10000"/>
              <a:gd name="connsiteX169" fmla="*/ 4414 w 9829"/>
              <a:gd name="connsiteY169" fmla="*/ 7833 h 10000"/>
              <a:gd name="connsiteX170" fmla="*/ 4503 w 9829"/>
              <a:gd name="connsiteY170" fmla="*/ 7750 h 10000"/>
              <a:gd name="connsiteX171" fmla="*/ 4503 w 9829"/>
              <a:gd name="connsiteY171" fmla="*/ 7500 h 10000"/>
              <a:gd name="connsiteX172" fmla="*/ 4663 w 9829"/>
              <a:gd name="connsiteY172" fmla="*/ 7584 h 10000"/>
              <a:gd name="connsiteX173" fmla="*/ 5416 w 9829"/>
              <a:gd name="connsiteY173" fmla="*/ 7334 h 10000"/>
              <a:gd name="connsiteX174" fmla="*/ 5416 w 9829"/>
              <a:gd name="connsiteY174" fmla="*/ 7250 h 10000"/>
              <a:gd name="connsiteX175" fmla="*/ 5503 w 9829"/>
              <a:gd name="connsiteY175" fmla="*/ 7250 h 10000"/>
              <a:gd name="connsiteX176" fmla="*/ 5743 w 9829"/>
              <a:gd name="connsiteY176" fmla="*/ 7250 h 10000"/>
              <a:gd name="connsiteX177" fmla="*/ 5837 w 9829"/>
              <a:gd name="connsiteY177" fmla="*/ 7417 h 10000"/>
              <a:gd name="connsiteX178" fmla="*/ 5837 w 9829"/>
              <a:gd name="connsiteY178" fmla="*/ 7500 h 10000"/>
              <a:gd name="connsiteX179" fmla="*/ 5916 w 9829"/>
              <a:gd name="connsiteY179" fmla="*/ 7500 h 10000"/>
              <a:gd name="connsiteX180" fmla="*/ 6081 w 9829"/>
              <a:gd name="connsiteY180" fmla="*/ 7584 h 10000"/>
              <a:gd name="connsiteX181" fmla="*/ 6081 w 9829"/>
              <a:gd name="connsiteY181" fmla="*/ 7668 h 10000"/>
              <a:gd name="connsiteX182" fmla="*/ 6248 w 9829"/>
              <a:gd name="connsiteY182" fmla="*/ 7668 h 10000"/>
              <a:gd name="connsiteX183" fmla="*/ 6415 w 9829"/>
              <a:gd name="connsiteY183" fmla="*/ 7500 h 10000"/>
              <a:gd name="connsiteX184" fmla="*/ 6580 w 9829"/>
              <a:gd name="connsiteY184" fmla="*/ 7417 h 10000"/>
              <a:gd name="connsiteX185" fmla="*/ 6677 w 9829"/>
              <a:gd name="connsiteY185" fmla="*/ 7668 h 10000"/>
              <a:gd name="connsiteX186" fmla="*/ 7000 w 9829"/>
              <a:gd name="connsiteY186" fmla="*/ 8249 h 10000"/>
              <a:gd name="connsiteX187" fmla="*/ 7088 w 9829"/>
              <a:gd name="connsiteY187" fmla="*/ 8082 h 10000"/>
              <a:gd name="connsiteX188" fmla="*/ 7170 w 9829"/>
              <a:gd name="connsiteY188" fmla="*/ 8249 h 10000"/>
              <a:gd name="connsiteX189" fmla="*/ 7419 w 9829"/>
              <a:gd name="connsiteY189" fmla="*/ 8167 h 10000"/>
              <a:gd name="connsiteX190" fmla="*/ 7670 w 9829"/>
              <a:gd name="connsiteY190" fmla="*/ 8418 h 10000"/>
              <a:gd name="connsiteX191" fmla="*/ 7833 w 9829"/>
              <a:gd name="connsiteY191" fmla="*/ 8500 h 10000"/>
              <a:gd name="connsiteX192" fmla="*/ 7833 w 9829"/>
              <a:gd name="connsiteY192" fmla="*/ 8418 h 10000"/>
              <a:gd name="connsiteX193" fmla="*/ 7921 w 9829"/>
              <a:gd name="connsiteY193" fmla="*/ 8584 h 10000"/>
              <a:gd name="connsiteX194" fmla="*/ 7833 w 9829"/>
              <a:gd name="connsiteY194" fmla="*/ 8667 h 10000"/>
              <a:gd name="connsiteX195" fmla="*/ 8003 w 9829"/>
              <a:gd name="connsiteY195" fmla="*/ 8584 h 10000"/>
              <a:gd name="connsiteX196" fmla="*/ 8084 w 9829"/>
              <a:gd name="connsiteY196" fmla="*/ 8500 h 10000"/>
              <a:gd name="connsiteX197" fmla="*/ 8496 w 9829"/>
              <a:gd name="connsiteY197" fmla="*/ 8249 h 10000"/>
              <a:gd name="connsiteX198" fmla="*/ 8834 w 9829"/>
              <a:gd name="connsiteY198" fmla="*/ 8332 h 10000"/>
              <a:gd name="connsiteX199" fmla="*/ 8999 w 9829"/>
              <a:gd name="connsiteY199" fmla="*/ 8418 h 10000"/>
              <a:gd name="connsiteX200" fmla="*/ 9331 w 9829"/>
              <a:gd name="connsiteY200" fmla="*/ 8418 h 10000"/>
              <a:gd name="connsiteX201" fmla="*/ 9331 w 9829"/>
              <a:gd name="connsiteY201" fmla="*/ 8249 h 10000"/>
              <a:gd name="connsiteX202" fmla="*/ 9331 w 9829"/>
              <a:gd name="connsiteY202" fmla="*/ 8082 h 10000"/>
              <a:gd name="connsiteX203" fmla="*/ 9500 w 9829"/>
              <a:gd name="connsiteY203" fmla="*/ 8000 h 10000"/>
              <a:gd name="connsiteX204" fmla="*/ 9829 w 9829"/>
              <a:gd name="connsiteY204" fmla="*/ 8082 h 10000"/>
              <a:gd name="connsiteX0" fmla="*/ 9665 w 9665"/>
              <a:gd name="connsiteY0" fmla="*/ 0 h 10000"/>
              <a:gd name="connsiteX1" fmla="*/ 8904 w 9665"/>
              <a:gd name="connsiteY1" fmla="*/ 165 h 10000"/>
              <a:gd name="connsiteX2" fmla="*/ 8225 w 9665"/>
              <a:gd name="connsiteY2" fmla="*/ 582 h 10000"/>
              <a:gd name="connsiteX3" fmla="*/ 7969 w 9665"/>
              <a:gd name="connsiteY3" fmla="*/ 916 h 10000"/>
              <a:gd name="connsiteX4" fmla="*/ 8059 w 9665"/>
              <a:gd name="connsiteY4" fmla="*/ 1332 h 10000"/>
              <a:gd name="connsiteX5" fmla="*/ 7122 w 9665"/>
              <a:gd name="connsiteY5" fmla="*/ 1500 h 10000"/>
              <a:gd name="connsiteX6" fmla="*/ 7211 w 9665"/>
              <a:gd name="connsiteY6" fmla="*/ 2000 h 10000"/>
              <a:gd name="connsiteX7" fmla="*/ 7464 w 9665"/>
              <a:gd name="connsiteY7" fmla="*/ 2250 h 10000"/>
              <a:gd name="connsiteX8" fmla="*/ 7295 w 9665"/>
              <a:gd name="connsiteY8" fmla="*/ 2332 h 10000"/>
              <a:gd name="connsiteX9" fmla="*/ 7041 w 9665"/>
              <a:gd name="connsiteY9" fmla="*/ 2000 h 10000"/>
              <a:gd name="connsiteX10" fmla="*/ 6793 w 9665"/>
              <a:gd name="connsiteY10" fmla="*/ 1915 h 10000"/>
              <a:gd name="connsiteX11" fmla="*/ 6694 w 9665"/>
              <a:gd name="connsiteY11" fmla="*/ 2000 h 10000"/>
              <a:gd name="connsiteX12" fmla="*/ 6527 w 9665"/>
              <a:gd name="connsiteY12" fmla="*/ 1831 h 10000"/>
              <a:gd name="connsiteX13" fmla="*/ 6357 w 9665"/>
              <a:gd name="connsiteY13" fmla="*/ 1665 h 10000"/>
              <a:gd name="connsiteX14" fmla="*/ 6357 w 9665"/>
              <a:gd name="connsiteY14" fmla="*/ 1749 h 10000"/>
              <a:gd name="connsiteX15" fmla="*/ 6450 w 9665"/>
              <a:gd name="connsiteY15" fmla="*/ 2000 h 10000"/>
              <a:gd name="connsiteX16" fmla="*/ 6187 w 9665"/>
              <a:gd name="connsiteY16" fmla="*/ 2416 h 10000"/>
              <a:gd name="connsiteX17" fmla="*/ 6357 w 9665"/>
              <a:gd name="connsiteY17" fmla="*/ 2748 h 10000"/>
              <a:gd name="connsiteX18" fmla="*/ 6272 w 9665"/>
              <a:gd name="connsiteY18" fmla="*/ 3083 h 10000"/>
              <a:gd name="connsiteX19" fmla="*/ 6272 w 9665"/>
              <a:gd name="connsiteY19" fmla="*/ 3333 h 10000"/>
              <a:gd name="connsiteX20" fmla="*/ 6527 w 9665"/>
              <a:gd name="connsiteY20" fmla="*/ 3333 h 10000"/>
              <a:gd name="connsiteX21" fmla="*/ 6357 w 9665"/>
              <a:gd name="connsiteY21" fmla="*/ 3416 h 10000"/>
              <a:gd name="connsiteX22" fmla="*/ 6450 w 9665"/>
              <a:gd name="connsiteY22" fmla="*/ 3832 h 10000"/>
              <a:gd name="connsiteX23" fmla="*/ 5939 w 9665"/>
              <a:gd name="connsiteY23" fmla="*/ 4250 h 10000"/>
              <a:gd name="connsiteX24" fmla="*/ 5843 w 9665"/>
              <a:gd name="connsiteY24" fmla="*/ 4167 h 10000"/>
              <a:gd name="connsiteX25" fmla="*/ 6187 w 9665"/>
              <a:gd name="connsiteY25" fmla="*/ 3748 h 10000"/>
              <a:gd name="connsiteX26" fmla="*/ 6272 w 9665"/>
              <a:gd name="connsiteY26" fmla="*/ 3500 h 10000"/>
              <a:gd name="connsiteX27" fmla="*/ 6094 w 9665"/>
              <a:gd name="connsiteY27" fmla="*/ 3333 h 10000"/>
              <a:gd name="connsiteX28" fmla="*/ 6094 w 9665"/>
              <a:gd name="connsiteY28" fmla="*/ 2498 h 10000"/>
              <a:gd name="connsiteX29" fmla="*/ 6019 w 9665"/>
              <a:gd name="connsiteY29" fmla="*/ 2332 h 10000"/>
              <a:gd name="connsiteX30" fmla="*/ 6094 w 9665"/>
              <a:gd name="connsiteY30" fmla="*/ 1831 h 10000"/>
              <a:gd name="connsiteX31" fmla="*/ 5939 w 9665"/>
              <a:gd name="connsiteY31" fmla="*/ 1749 h 10000"/>
              <a:gd name="connsiteX32" fmla="*/ 6019 w 9665"/>
              <a:gd name="connsiteY32" fmla="*/ 1665 h 10000"/>
              <a:gd name="connsiteX33" fmla="*/ 5939 w 9665"/>
              <a:gd name="connsiteY33" fmla="*/ 1500 h 10000"/>
              <a:gd name="connsiteX34" fmla="*/ 5762 w 9665"/>
              <a:gd name="connsiteY34" fmla="*/ 1582 h 10000"/>
              <a:gd name="connsiteX35" fmla="*/ 5343 w 9665"/>
              <a:gd name="connsiteY35" fmla="*/ 2666 h 10000"/>
              <a:gd name="connsiteX36" fmla="*/ 5343 w 9665"/>
              <a:gd name="connsiteY36" fmla="*/ 3083 h 10000"/>
              <a:gd name="connsiteX37" fmla="*/ 5599 w 9665"/>
              <a:gd name="connsiteY37" fmla="*/ 3416 h 10000"/>
              <a:gd name="connsiteX38" fmla="*/ 5599 w 9665"/>
              <a:gd name="connsiteY38" fmla="*/ 3582 h 10000"/>
              <a:gd name="connsiteX39" fmla="*/ 5343 w 9665"/>
              <a:gd name="connsiteY39" fmla="*/ 3416 h 10000"/>
              <a:gd name="connsiteX40" fmla="*/ 4330 w 9665"/>
              <a:gd name="connsiteY40" fmla="*/ 2748 h 10000"/>
              <a:gd name="connsiteX41" fmla="*/ 4242 w 9665"/>
              <a:gd name="connsiteY41" fmla="*/ 2915 h 10000"/>
              <a:gd name="connsiteX42" fmla="*/ 4581 w 9665"/>
              <a:gd name="connsiteY42" fmla="*/ 3333 h 10000"/>
              <a:gd name="connsiteX43" fmla="*/ 4404 w 9665"/>
              <a:gd name="connsiteY43" fmla="*/ 3416 h 10000"/>
              <a:gd name="connsiteX44" fmla="*/ 4330 w 9665"/>
              <a:gd name="connsiteY44" fmla="*/ 3333 h 10000"/>
              <a:gd name="connsiteX45" fmla="*/ 3821 w 9665"/>
              <a:gd name="connsiteY45" fmla="*/ 3500 h 10000"/>
              <a:gd name="connsiteX46" fmla="*/ 3736 w 9665"/>
              <a:gd name="connsiteY46" fmla="*/ 3665 h 10000"/>
              <a:gd name="connsiteX47" fmla="*/ 3650 w 9665"/>
              <a:gd name="connsiteY47" fmla="*/ 3500 h 10000"/>
              <a:gd name="connsiteX48" fmla="*/ 3650 w 9665"/>
              <a:gd name="connsiteY48" fmla="*/ 3333 h 10000"/>
              <a:gd name="connsiteX49" fmla="*/ 2794 w 9665"/>
              <a:gd name="connsiteY49" fmla="*/ 3832 h 10000"/>
              <a:gd name="connsiteX50" fmla="*/ 2794 w 9665"/>
              <a:gd name="connsiteY50" fmla="*/ 3998 h 10000"/>
              <a:gd name="connsiteX51" fmla="*/ 2630 w 9665"/>
              <a:gd name="connsiteY51" fmla="*/ 4082 h 10000"/>
              <a:gd name="connsiteX52" fmla="*/ 2376 w 9665"/>
              <a:gd name="connsiteY52" fmla="*/ 3916 h 10000"/>
              <a:gd name="connsiteX53" fmla="*/ 2630 w 9665"/>
              <a:gd name="connsiteY53" fmla="*/ 3748 h 10000"/>
              <a:gd name="connsiteX54" fmla="*/ 2539 w 9665"/>
              <a:gd name="connsiteY54" fmla="*/ 3500 h 10000"/>
              <a:gd name="connsiteX55" fmla="*/ 2205 w 9665"/>
              <a:gd name="connsiteY55" fmla="*/ 3416 h 10000"/>
              <a:gd name="connsiteX56" fmla="*/ 2290 w 9665"/>
              <a:gd name="connsiteY56" fmla="*/ 3582 h 10000"/>
              <a:gd name="connsiteX57" fmla="*/ 2290 w 9665"/>
              <a:gd name="connsiteY57" fmla="*/ 3998 h 10000"/>
              <a:gd name="connsiteX58" fmla="*/ 2376 w 9665"/>
              <a:gd name="connsiteY58" fmla="*/ 4167 h 10000"/>
              <a:gd name="connsiteX59" fmla="*/ 2290 w 9665"/>
              <a:gd name="connsiteY59" fmla="*/ 4334 h 10000"/>
              <a:gd name="connsiteX60" fmla="*/ 2030 w 9665"/>
              <a:gd name="connsiteY60" fmla="*/ 4250 h 10000"/>
              <a:gd name="connsiteX61" fmla="*/ 1698 w 9665"/>
              <a:gd name="connsiteY61" fmla="*/ 4498 h 10000"/>
              <a:gd name="connsiteX62" fmla="*/ 1863 w 9665"/>
              <a:gd name="connsiteY62" fmla="*/ 4833 h 10000"/>
              <a:gd name="connsiteX63" fmla="*/ 1352 w 9665"/>
              <a:gd name="connsiteY63" fmla="*/ 4666 h 10000"/>
              <a:gd name="connsiteX64" fmla="*/ 1271 w 9665"/>
              <a:gd name="connsiteY64" fmla="*/ 4748 h 10000"/>
              <a:gd name="connsiteX65" fmla="*/ 1444 w 9665"/>
              <a:gd name="connsiteY65" fmla="*/ 4999 h 10000"/>
              <a:gd name="connsiteX66" fmla="*/ 1271 w 9665"/>
              <a:gd name="connsiteY66" fmla="*/ 4999 h 10000"/>
              <a:gd name="connsiteX67" fmla="*/ 1020 w 9665"/>
              <a:gd name="connsiteY67" fmla="*/ 4833 h 10000"/>
              <a:gd name="connsiteX68" fmla="*/ 1020 w 9665"/>
              <a:gd name="connsiteY68" fmla="*/ 4334 h 10000"/>
              <a:gd name="connsiteX69" fmla="*/ 766 w 9665"/>
              <a:gd name="connsiteY69" fmla="*/ 4167 h 10000"/>
              <a:gd name="connsiteX70" fmla="*/ 678 w 9665"/>
              <a:gd name="connsiteY70" fmla="*/ 3998 h 10000"/>
              <a:gd name="connsiteX71" fmla="*/ 844 w 9665"/>
              <a:gd name="connsiteY71" fmla="*/ 4082 h 10000"/>
              <a:gd name="connsiteX72" fmla="*/ 1521 w 9665"/>
              <a:gd name="connsiteY72" fmla="*/ 4334 h 10000"/>
              <a:gd name="connsiteX73" fmla="*/ 1942 w 9665"/>
              <a:gd name="connsiteY73" fmla="*/ 4082 h 10000"/>
              <a:gd name="connsiteX74" fmla="*/ 1863 w 9665"/>
              <a:gd name="connsiteY74" fmla="*/ 3832 h 10000"/>
              <a:gd name="connsiteX75" fmla="*/ 1352 w 9665"/>
              <a:gd name="connsiteY75" fmla="*/ 3333 h 10000"/>
              <a:gd name="connsiteX76" fmla="*/ 844 w 9665"/>
              <a:gd name="connsiteY76" fmla="*/ 3166 h 10000"/>
              <a:gd name="connsiteX77" fmla="*/ 844 w 9665"/>
              <a:gd name="connsiteY77" fmla="*/ 3083 h 10000"/>
              <a:gd name="connsiteX78" fmla="*/ 678 w 9665"/>
              <a:gd name="connsiteY78" fmla="*/ 2997 h 10000"/>
              <a:gd name="connsiteX79" fmla="*/ 505 w 9665"/>
              <a:gd name="connsiteY79" fmla="*/ 3083 h 10000"/>
              <a:gd name="connsiteX80" fmla="*/ 505 w 9665"/>
              <a:gd name="connsiteY80" fmla="*/ 3166 h 10000"/>
              <a:gd name="connsiteX81" fmla="*/ 422 w 9665"/>
              <a:gd name="connsiteY81" fmla="*/ 3166 h 10000"/>
              <a:gd name="connsiteX82" fmla="*/ 254 w 9665"/>
              <a:gd name="connsiteY82" fmla="*/ 3333 h 10000"/>
              <a:gd name="connsiteX83" fmla="*/ 254 w 9665"/>
              <a:gd name="connsiteY83" fmla="*/ 3582 h 10000"/>
              <a:gd name="connsiteX84" fmla="*/ 422 w 9665"/>
              <a:gd name="connsiteY84" fmla="*/ 3748 h 10000"/>
              <a:gd name="connsiteX85" fmla="*/ 341 w 9665"/>
              <a:gd name="connsiteY85" fmla="*/ 3998 h 10000"/>
              <a:gd name="connsiteX86" fmla="*/ 422 w 9665"/>
              <a:gd name="connsiteY86" fmla="*/ 4417 h 10000"/>
              <a:gd name="connsiteX87" fmla="*/ 341 w 9665"/>
              <a:gd name="connsiteY87" fmla="*/ 4666 h 10000"/>
              <a:gd name="connsiteX88" fmla="*/ 505 w 9665"/>
              <a:gd name="connsiteY88" fmla="*/ 4916 h 10000"/>
              <a:gd name="connsiteX89" fmla="*/ 422 w 9665"/>
              <a:gd name="connsiteY89" fmla="*/ 5083 h 10000"/>
              <a:gd name="connsiteX90" fmla="*/ 591 w 9665"/>
              <a:gd name="connsiteY90" fmla="*/ 5250 h 10000"/>
              <a:gd name="connsiteX91" fmla="*/ 591 w 9665"/>
              <a:gd name="connsiteY91" fmla="*/ 5333 h 10000"/>
              <a:gd name="connsiteX92" fmla="*/ 341 w 9665"/>
              <a:gd name="connsiteY92" fmla="*/ 5750 h 10000"/>
              <a:gd name="connsiteX93" fmla="*/ 77 w 9665"/>
              <a:gd name="connsiteY93" fmla="*/ 5917 h 10000"/>
              <a:gd name="connsiteX94" fmla="*/ 166 w 9665"/>
              <a:gd name="connsiteY94" fmla="*/ 5917 h 10000"/>
              <a:gd name="connsiteX95" fmla="*/ 341 w 9665"/>
              <a:gd name="connsiteY95" fmla="*/ 6083 h 10000"/>
              <a:gd name="connsiteX96" fmla="*/ 166 w 9665"/>
              <a:gd name="connsiteY96" fmla="*/ 6249 h 10000"/>
              <a:gd name="connsiteX97" fmla="*/ 77 w 9665"/>
              <a:gd name="connsiteY97" fmla="*/ 6334 h 10000"/>
              <a:gd name="connsiteX98" fmla="*/ 0 w 9665"/>
              <a:gd name="connsiteY98" fmla="*/ 6334 h 10000"/>
              <a:gd name="connsiteX99" fmla="*/ 77 w 9665"/>
              <a:gd name="connsiteY99" fmla="*/ 6584 h 10000"/>
              <a:gd name="connsiteX100" fmla="*/ 77 w 9665"/>
              <a:gd name="connsiteY100" fmla="*/ 6667 h 10000"/>
              <a:gd name="connsiteX101" fmla="*/ 77 w 9665"/>
              <a:gd name="connsiteY101" fmla="*/ 6749 h 10000"/>
              <a:gd name="connsiteX102" fmla="*/ 77 w 9665"/>
              <a:gd name="connsiteY102" fmla="*/ 6834 h 10000"/>
              <a:gd name="connsiteX103" fmla="*/ 166 w 9665"/>
              <a:gd name="connsiteY103" fmla="*/ 6998 h 10000"/>
              <a:gd name="connsiteX104" fmla="*/ 422 w 9665"/>
              <a:gd name="connsiteY104" fmla="*/ 7083 h 10000"/>
              <a:gd name="connsiteX105" fmla="*/ 505 w 9665"/>
              <a:gd name="connsiteY105" fmla="*/ 7165 h 10000"/>
              <a:gd name="connsiteX106" fmla="*/ 505 w 9665"/>
              <a:gd name="connsiteY106" fmla="*/ 7334 h 10000"/>
              <a:gd name="connsiteX107" fmla="*/ 678 w 9665"/>
              <a:gd name="connsiteY107" fmla="*/ 7584 h 10000"/>
              <a:gd name="connsiteX108" fmla="*/ 766 w 9665"/>
              <a:gd name="connsiteY108" fmla="*/ 7584 h 10000"/>
              <a:gd name="connsiteX109" fmla="*/ 678 w 9665"/>
              <a:gd name="connsiteY109" fmla="*/ 7750 h 10000"/>
              <a:gd name="connsiteX110" fmla="*/ 591 w 9665"/>
              <a:gd name="connsiteY110" fmla="*/ 7668 h 10000"/>
              <a:gd name="connsiteX111" fmla="*/ 591 w 9665"/>
              <a:gd name="connsiteY111" fmla="*/ 7750 h 10000"/>
              <a:gd name="connsiteX112" fmla="*/ 678 w 9665"/>
              <a:gd name="connsiteY112" fmla="*/ 7916 h 10000"/>
              <a:gd name="connsiteX113" fmla="*/ 938 w 9665"/>
              <a:gd name="connsiteY113" fmla="*/ 7916 h 10000"/>
              <a:gd name="connsiteX114" fmla="*/ 1020 w 9665"/>
              <a:gd name="connsiteY114" fmla="*/ 8000 h 10000"/>
              <a:gd name="connsiteX115" fmla="*/ 938 w 9665"/>
              <a:gd name="connsiteY115" fmla="*/ 8000 h 10000"/>
              <a:gd name="connsiteX116" fmla="*/ 1020 w 9665"/>
              <a:gd name="connsiteY116" fmla="*/ 8082 h 10000"/>
              <a:gd name="connsiteX117" fmla="*/ 1101 w 9665"/>
              <a:gd name="connsiteY117" fmla="*/ 8082 h 10000"/>
              <a:gd name="connsiteX118" fmla="*/ 1183 w 9665"/>
              <a:gd name="connsiteY118" fmla="*/ 8249 h 10000"/>
              <a:gd name="connsiteX119" fmla="*/ 1271 w 9665"/>
              <a:gd name="connsiteY119" fmla="*/ 8332 h 10000"/>
              <a:gd name="connsiteX120" fmla="*/ 1352 w 9665"/>
              <a:gd name="connsiteY120" fmla="*/ 8249 h 10000"/>
              <a:gd name="connsiteX121" fmla="*/ 1781 w 9665"/>
              <a:gd name="connsiteY121" fmla="*/ 8500 h 10000"/>
              <a:gd name="connsiteX122" fmla="*/ 1698 w 9665"/>
              <a:gd name="connsiteY122" fmla="*/ 8833 h 10000"/>
              <a:gd name="connsiteX123" fmla="*/ 1612 w 9665"/>
              <a:gd name="connsiteY123" fmla="*/ 8750 h 10000"/>
              <a:gd name="connsiteX124" fmla="*/ 1521 w 9665"/>
              <a:gd name="connsiteY124" fmla="*/ 8833 h 10000"/>
              <a:gd name="connsiteX125" fmla="*/ 1521 w 9665"/>
              <a:gd name="connsiteY125" fmla="*/ 8999 h 10000"/>
              <a:gd name="connsiteX126" fmla="*/ 1612 w 9665"/>
              <a:gd name="connsiteY126" fmla="*/ 8917 h 10000"/>
              <a:gd name="connsiteX127" fmla="*/ 1698 w 9665"/>
              <a:gd name="connsiteY127" fmla="*/ 8999 h 10000"/>
              <a:gd name="connsiteX128" fmla="*/ 1444 w 9665"/>
              <a:gd name="connsiteY128" fmla="*/ 9083 h 10000"/>
              <a:gd name="connsiteX129" fmla="*/ 1521 w 9665"/>
              <a:gd name="connsiteY129" fmla="*/ 9167 h 10000"/>
              <a:gd name="connsiteX130" fmla="*/ 1352 w 9665"/>
              <a:gd name="connsiteY130" fmla="*/ 9333 h 10000"/>
              <a:gd name="connsiteX131" fmla="*/ 1271 w 9665"/>
              <a:gd name="connsiteY131" fmla="*/ 9333 h 10000"/>
              <a:gd name="connsiteX132" fmla="*/ 1352 w 9665"/>
              <a:gd name="connsiteY132" fmla="*/ 9333 h 10000"/>
              <a:gd name="connsiteX133" fmla="*/ 1698 w 9665"/>
              <a:gd name="connsiteY133" fmla="*/ 9668 h 10000"/>
              <a:gd name="connsiteX134" fmla="*/ 2121 w 9665"/>
              <a:gd name="connsiteY134" fmla="*/ 9668 h 10000"/>
              <a:gd name="connsiteX135" fmla="*/ 2290 w 9665"/>
              <a:gd name="connsiteY135" fmla="*/ 9750 h 10000"/>
              <a:gd name="connsiteX136" fmla="*/ 2458 w 9665"/>
              <a:gd name="connsiteY136" fmla="*/ 9750 h 10000"/>
              <a:gd name="connsiteX137" fmla="*/ 2630 w 9665"/>
              <a:gd name="connsiteY137" fmla="*/ 9918 h 10000"/>
              <a:gd name="connsiteX138" fmla="*/ 2713 w 9665"/>
              <a:gd name="connsiteY138" fmla="*/ 10000 h 10000"/>
              <a:gd name="connsiteX139" fmla="*/ 2794 w 9665"/>
              <a:gd name="connsiteY139" fmla="*/ 10000 h 10000"/>
              <a:gd name="connsiteX140" fmla="*/ 2884 w 9665"/>
              <a:gd name="connsiteY140" fmla="*/ 9918 h 10000"/>
              <a:gd name="connsiteX141" fmla="*/ 2713 w 9665"/>
              <a:gd name="connsiteY141" fmla="*/ 9750 h 10000"/>
              <a:gd name="connsiteX142" fmla="*/ 2713 w 9665"/>
              <a:gd name="connsiteY142" fmla="*/ 9584 h 10000"/>
              <a:gd name="connsiteX143" fmla="*/ 2630 w 9665"/>
              <a:gd name="connsiteY143" fmla="*/ 9416 h 10000"/>
              <a:gd name="connsiteX144" fmla="*/ 2794 w 9665"/>
              <a:gd name="connsiteY144" fmla="*/ 9167 h 10000"/>
              <a:gd name="connsiteX145" fmla="*/ 2884 w 9665"/>
              <a:gd name="connsiteY145" fmla="*/ 9250 h 10000"/>
              <a:gd name="connsiteX146" fmla="*/ 2966 w 9665"/>
              <a:gd name="connsiteY146" fmla="*/ 9167 h 10000"/>
              <a:gd name="connsiteX147" fmla="*/ 2966 w 9665"/>
              <a:gd name="connsiteY147" fmla="*/ 9083 h 10000"/>
              <a:gd name="connsiteX148" fmla="*/ 2884 w 9665"/>
              <a:gd name="connsiteY148" fmla="*/ 9083 h 10000"/>
              <a:gd name="connsiteX149" fmla="*/ 2966 w 9665"/>
              <a:gd name="connsiteY149" fmla="*/ 8999 h 10000"/>
              <a:gd name="connsiteX150" fmla="*/ 2884 w 9665"/>
              <a:gd name="connsiteY150" fmla="*/ 8833 h 10000"/>
              <a:gd name="connsiteX151" fmla="*/ 2713 w 9665"/>
              <a:gd name="connsiteY151" fmla="*/ 8833 h 10000"/>
              <a:gd name="connsiteX152" fmla="*/ 2630 w 9665"/>
              <a:gd name="connsiteY152" fmla="*/ 8667 h 10000"/>
              <a:gd name="connsiteX153" fmla="*/ 2713 w 9665"/>
              <a:gd name="connsiteY153" fmla="*/ 8249 h 10000"/>
              <a:gd name="connsiteX154" fmla="*/ 2884 w 9665"/>
              <a:gd name="connsiteY154" fmla="*/ 8418 h 10000"/>
              <a:gd name="connsiteX155" fmla="*/ 2966 w 9665"/>
              <a:gd name="connsiteY155" fmla="*/ 8418 h 10000"/>
              <a:gd name="connsiteX156" fmla="*/ 2884 w 9665"/>
              <a:gd name="connsiteY156" fmla="*/ 8249 h 10000"/>
              <a:gd name="connsiteX157" fmla="*/ 3140 w 9665"/>
              <a:gd name="connsiteY157" fmla="*/ 8000 h 10000"/>
              <a:gd name="connsiteX158" fmla="*/ 3311 w 9665"/>
              <a:gd name="connsiteY158" fmla="*/ 8082 h 10000"/>
              <a:gd name="connsiteX159" fmla="*/ 3393 w 9665"/>
              <a:gd name="connsiteY159" fmla="*/ 8000 h 10000"/>
              <a:gd name="connsiteX160" fmla="*/ 3555 w 9665"/>
              <a:gd name="connsiteY160" fmla="*/ 8082 h 10000"/>
              <a:gd name="connsiteX161" fmla="*/ 3821 w 9665"/>
              <a:gd name="connsiteY161" fmla="*/ 8249 h 10000"/>
              <a:gd name="connsiteX162" fmla="*/ 3983 w 9665"/>
              <a:gd name="connsiteY162" fmla="*/ 8167 h 10000"/>
              <a:gd name="connsiteX163" fmla="*/ 4156 w 9665"/>
              <a:gd name="connsiteY163" fmla="*/ 8167 h 10000"/>
              <a:gd name="connsiteX164" fmla="*/ 4242 w 9665"/>
              <a:gd name="connsiteY164" fmla="*/ 8249 h 10000"/>
              <a:gd name="connsiteX165" fmla="*/ 4581 w 9665"/>
              <a:gd name="connsiteY165" fmla="*/ 8249 h 10000"/>
              <a:gd name="connsiteX166" fmla="*/ 4661 w 9665"/>
              <a:gd name="connsiteY166" fmla="*/ 8082 h 10000"/>
              <a:gd name="connsiteX167" fmla="*/ 4404 w 9665"/>
              <a:gd name="connsiteY167" fmla="*/ 8000 h 10000"/>
              <a:gd name="connsiteX168" fmla="*/ 4581 w 9665"/>
              <a:gd name="connsiteY168" fmla="*/ 7916 h 10000"/>
              <a:gd name="connsiteX169" fmla="*/ 4491 w 9665"/>
              <a:gd name="connsiteY169" fmla="*/ 7833 h 10000"/>
              <a:gd name="connsiteX170" fmla="*/ 4581 w 9665"/>
              <a:gd name="connsiteY170" fmla="*/ 7750 h 10000"/>
              <a:gd name="connsiteX171" fmla="*/ 4581 w 9665"/>
              <a:gd name="connsiteY171" fmla="*/ 7500 h 10000"/>
              <a:gd name="connsiteX172" fmla="*/ 4744 w 9665"/>
              <a:gd name="connsiteY172" fmla="*/ 7584 h 10000"/>
              <a:gd name="connsiteX173" fmla="*/ 5510 w 9665"/>
              <a:gd name="connsiteY173" fmla="*/ 7334 h 10000"/>
              <a:gd name="connsiteX174" fmla="*/ 5510 w 9665"/>
              <a:gd name="connsiteY174" fmla="*/ 7250 h 10000"/>
              <a:gd name="connsiteX175" fmla="*/ 5599 w 9665"/>
              <a:gd name="connsiteY175" fmla="*/ 7250 h 10000"/>
              <a:gd name="connsiteX176" fmla="*/ 5843 w 9665"/>
              <a:gd name="connsiteY176" fmla="*/ 7250 h 10000"/>
              <a:gd name="connsiteX177" fmla="*/ 5939 w 9665"/>
              <a:gd name="connsiteY177" fmla="*/ 7417 h 10000"/>
              <a:gd name="connsiteX178" fmla="*/ 5939 w 9665"/>
              <a:gd name="connsiteY178" fmla="*/ 7500 h 10000"/>
              <a:gd name="connsiteX179" fmla="*/ 6019 w 9665"/>
              <a:gd name="connsiteY179" fmla="*/ 7500 h 10000"/>
              <a:gd name="connsiteX180" fmla="*/ 6187 w 9665"/>
              <a:gd name="connsiteY180" fmla="*/ 7584 h 10000"/>
              <a:gd name="connsiteX181" fmla="*/ 6187 w 9665"/>
              <a:gd name="connsiteY181" fmla="*/ 7668 h 10000"/>
              <a:gd name="connsiteX182" fmla="*/ 6357 w 9665"/>
              <a:gd name="connsiteY182" fmla="*/ 7668 h 10000"/>
              <a:gd name="connsiteX183" fmla="*/ 6527 w 9665"/>
              <a:gd name="connsiteY183" fmla="*/ 7500 h 10000"/>
              <a:gd name="connsiteX184" fmla="*/ 6694 w 9665"/>
              <a:gd name="connsiteY184" fmla="*/ 7417 h 10000"/>
              <a:gd name="connsiteX185" fmla="*/ 6793 w 9665"/>
              <a:gd name="connsiteY185" fmla="*/ 7668 h 10000"/>
              <a:gd name="connsiteX186" fmla="*/ 7122 w 9665"/>
              <a:gd name="connsiteY186" fmla="*/ 8249 h 10000"/>
              <a:gd name="connsiteX187" fmla="*/ 7211 w 9665"/>
              <a:gd name="connsiteY187" fmla="*/ 8082 h 10000"/>
              <a:gd name="connsiteX188" fmla="*/ 7295 w 9665"/>
              <a:gd name="connsiteY188" fmla="*/ 8249 h 10000"/>
              <a:gd name="connsiteX189" fmla="*/ 7548 w 9665"/>
              <a:gd name="connsiteY189" fmla="*/ 8167 h 10000"/>
              <a:gd name="connsiteX190" fmla="*/ 7803 w 9665"/>
              <a:gd name="connsiteY190" fmla="*/ 8418 h 10000"/>
              <a:gd name="connsiteX191" fmla="*/ 7969 w 9665"/>
              <a:gd name="connsiteY191" fmla="*/ 8500 h 10000"/>
              <a:gd name="connsiteX192" fmla="*/ 7969 w 9665"/>
              <a:gd name="connsiteY192" fmla="*/ 8418 h 10000"/>
              <a:gd name="connsiteX193" fmla="*/ 8059 w 9665"/>
              <a:gd name="connsiteY193" fmla="*/ 8584 h 10000"/>
              <a:gd name="connsiteX194" fmla="*/ 7969 w 9665"/>
              <a:gd name="connsiteY194" fmla="*/ 8667 h 10000"/>
              <a:gd name="connsiteX195" fmla="*/ 8142 w 9665"/>
              <a:gd name="connsiteY195" fmla="*/ 8584 h 10000"/>
              <a:gd name="connsiteX196" fmla="*/ 8225 w 9665"/>
              <a:gd name="connsiteY196" fmla="*/ 8500 h 10000"/>
              <a:gd name="connsiteX197" fmla="*/ 8644 w 9665"/>
              <a:gd name="connsiteY197" fmla="*/ 8249 h 10000"/>
              <a:gd name="connsiteX198" fmla="*/ 8988 w 9665"/>
              <a:gd name="connsiteY198" fmla="*/ 8332 h 10000"/>
              <a:gd name="connsiteX199" fmla="*/ 9156 w 9665"/>
              <a:gd name="connsiteY199" fmla="*/ 8418 h 10000"/>
              <a:gd name="connsiteX200" fmla="*/ 9493 w 9665"/>
              <a:gd name="connsiteY200" fmla="*/ 8418 h 10000"/>
              <a:gd name="connsiteX201" fmla="*/ 9493 w 9665"/>
              <a:gd name="connsiteY201" fmla="*/ 8249 h 10000"/>
              <a:gd name="connsiteX202" fmla="*/ 9493 w 9665"/>
              <a:gd name="connsiteY202" fmla="*/ 8082 h 10000"/>
              <a:gd name="connsiteX203" fmla="*/ 9665 w 9665"/>
              <a:gd name="connsiteY203" fmla="*/ 8000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424 w 10000"/>
              <a:gd name="connsiteY195" fmla="*/ 8584 h 10000"/>
              <a:gd name="connsiteX196" fmla="*/ 8510 w 10000"/>
              <a:gd name="connsiteY196" fmla="*/ 8500 h 10000"/>
              <a:gd name="connsiteX197" fmla="*/ 8944 w 10000"/>
              <a:gd name="connsiteY197" fmla="*/ 8249 h 10000"/>
              <a:gd name="connsiteX198" fmla="*/ 9300 w 10000"/>
              <a:gd name="connsiteY198" fmla="*/ 8332 h 10000"/>
              <a:gd name="connsiteX199" fmla="*/ 9473 w 10000"/>
              <a:gd name="connsiteY199" fmla="*/ 8418 h 10000"/>
              <a:gd name="connsiteX200" fmla="*/ 9822 w 10000"/>
              <a:gd name="connsiteY200" fmla="*/ 8418 h 10000"/>
              <a:gd name="connsiteX201" fmla="*/ 9822 w 10000"/>
              <a:gd name="connsiteY201" fmla="*/ 8249 h 10000"/>
              <a:gd name="connsiteX202" fmla="*/ 9822 w 10000"/>
              <a:gd name="connsiteY202" fmla="*/ 8082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424 w 10000"/>
              <a:gd name="connsiteY195" fmla="*/ 8584 h 10000"/>
              <a:gd name="connsiteX196" fmla="*/ 8510 w 10000"/>
              <a:gd name="connsiteY196" fmla="*/ 8500 h 10000"/>
              <a:gd name="connsiteX197" fmla="*/ 8944 w 10000"/>
              <a:gd name="connsiteY197" fmla="*/ 8249 h 10000"/>
              <a:gd name="connsiteX198" fmla="*/ 9300 w 10000"/>
              <a:gd name="connsiteY198" fmla="*/ 8332 h 10000"/>
              <a:gd name="connsiteX199" fmla="*/ 9473 w 10000"/>
              <a:gd name="connsiteY199" fmla="*/ 8418 h 10000"/>
              <a:gd name="connsiteX200" fmla="*/ 9822 w 10000"/>
              <a:gd name="connsiteY200" fmla="*/ 8418 h 10000"/>
              <a:gd name="connsiteX201" fmla="*/ 9822 w 10000"/>
              <a:gd name="connsiteY201" fmla="*/ 8249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424 w 10000"/>
              <a:gd name="connsiteY195" fmla="*/ 8584 h 10000"/>
              <a:gd name="connsiteX196" fmla="*/ 8510 w 10000"/>
              <a:gd name="connsiteY196" fmla="*/ 8500 h 10000"/>
              <a:gd name="connsiteX197" fmla="*/ 8944 w 10000"/>
              <a:gd name="connsiteY197" fmla="*/ 8249 h 10000"/>
              <a:gd name="connsiteX198" fmla="*/ 9300 w 10000"/>
              <a:gd name="connsiteY198" fmla="*/ 8332 h 10000"/>
              <a:gd name="connsiteX199" fmla="*/ 9473 w 10000"/>
              <a:gd name="connsiteY199" fmla="*/ 8418 h 10000"/>
              <a:gd name="connsiteX200" fmla="*/ 9822 w 10000"/>
              <a:gd name="connsiteY200" fmla="*/ 841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424 w 10000"/>
              <a:gd name="connsiteY195" fmla="*/ 8584 h 10000"/>
              <a:gd name="connsiteX196" fmla="*/ 8510 w 10000"/>
              <a:gd name="connsiteY196" fmla="*/ 8500 h 10000"/>
              <a:gd name="connsiteX197" fmla="*/ 8944 w 10000"/>
              <a:gd name="connsiteY197" fmla="*/ 8249 h 10000"/>
              <a:gd name="connsiteX198" fmla="*/ 9300 w 10000"/>
              <a:gd name="connsiteY198" fmla="*/ 8332 h 10000"/>
              <a:gd name="connsiteX199" fmla="*/ 9473 w 10000"/>
              <a:gd name="connsiteY199" fmla="*/ 841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424 w 10000"/>
              <a:gd name="connsiteY195" fmla="*/ 8584 h 10000"/>
              <a:gd name="connsiteX196" fmla="*/ 8510 w 10000"/>
              <a:gd name="connsiteY196" fmla="*/ 8500 h 10000"/>
              <a:gd name="connsiteX197" fmla="*/ 8944 w 10000"/>
              <a:gd name="connsiteY197" fmla="*/ 8249 h 10000"/>
              <a:gd name="connsiteX198" fmla="*/ 9300 w 10000"/>
              <a:gd name="connsiteY198" fmla="*/ 8332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424 w 10000"/>
              <a:gd name="connsiteY195" fmla="*/ 8584 h 10000"/>
              <a:gd name="connsiteX196" fmla="*/ 8510 w 10000"/>
              <a:gd name="connsiteY196" fmla="*/ 8500 h 10000"/>
              <a:gd name="connsiteX197" fmla="*/ 8944 w 10000"/>
              <a:gd name="connsiteY197" fmla="*/ 8249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424 w 10000"/>
              <a:gd name="connsiteY195" fmla="*/ 8584 h 10000"/>
              <a:gd name="connsiteX196" fmla="*/ 8510 w 10000"/>
              <a:gd name="connsiteY196" fmla="*/ 8500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338 w 10000"/>
              <a:gd name="connsiteY193" fmla="*/ 8584 h 10000"/>
              <a:gd name="connsiteX194" fmla="*/ 8245 w 10000"/>
              <a:gd name="connsiteY194" fmla="*/ 8667 h 10000"/>
              <a:gd name="connsiteX195" fmla="*/ 8510 w 10000"/>
              <a:gd name="connsiteY195" fmla="*/ 8500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245 w 10000"/>
              <a:gd name="connsiteY193" fmla="*/ 8667 h 10000"/>
              <a:gd name="connsiteX194" fmla="*/ 8510 w 10000"/>
              <a:gd name="connsiteY194" fmla="*/ 8500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193" fmla="*/ 8510 w 10000"/>
              <a:gd name="connsiteY193" fmla="*/ 8500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192" fmla="*/ 8245 w 10000"/>
              <a:gd name="connsiteY192" fmla="*/ 841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191" fmla="*/ 8245 w 10000"/>
              <a:gd name="connsiteY191" fmla="*/ 8500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190" fmla="*/ 8073 w 10000"/>
              <a:gd name="connsiteY190" fmla="*/ 841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189" fmla="*/ 7810 w 10000"/>
              <a:gd name="connsiteY189" fmla="*/ 8167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188" fmla="*/ 7548 w 10000"/>
              <a:gd name="connsiteY188" fmla="*/ 8249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187" fmla="*/ 7461 w 10000"/>
              <a:gd name="connsiteY187" fmla="*/ 8082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186" fmla="*/ 7369 w 10000"/>
              <a:gd name="connsiteY186" fmla="*/ 8249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185" fmla="*/ 7028 w 10000"/>
              <a:gd name="connsiteY185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184" fmla="*/ 6926 w 10000"/>
              <a:gd name="connsiteY184" fmla="*/ 7417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183" fmla="*/ 6753 w 10000"/>
              <a:gd name="connsiteY183" fmla="*/ 7500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740 w 10000"/>
              <a:gd name="connsiteY42" fmla="*/ 3333 h 10000"/>
              <a:gd name="connsiteX43" fmla="*/ 4557 w 10000"/>
              <a:gd name="connsiteY43" fmla="*/ 3416 h 10000"/>
              <a:gd name="connsiteX44" fmla="*/ 4480 w 10000"/>
              <a:gd name="connsiteY44" fmla="*/ 3333 h 10000"/>
              <a:gd name="connsiteX45" fmla="*/ 3953 w 10000"/>
              <a:gd name="connsiteY45" fmla="*/ 3500 h 10000"/>
              <a:gd name="connsiteX46" fmla="*/ 3865 w 10000"/>
              <a:gd name="connsiteY46" fmla="*/ 3665 h 10000"/>
              <a:gd name="connsiteX47" fmla="*/ 3777 w 10000"/>
              <a:gd name="connsiteY47" fmla="*/ 3500 h 10000"/>
              <a:gd name="connsiteX48" fmla="*/ 3777 w 10000"/>
              <a:gd name="connsiteY48" fmla="*/ 3333 h 10000"/>
              <a:gd name="connsiteX49" fmla="*/ 2891 w 10000"/>
              <a:gd name="connsiteY49" fmla="*/ 3832 h 10000"/>
              <a:gd name="connsiteX50" fmla="*/ 2891 w 10000"/>
              <a:gd name="connsiteY50" fmla="*/ 3998 h 10000"/>
              <a:gd name="connsiteX51" fmla="*/ 2721 w 10000"/>
              <a:gd name="connsiteY51" fmla="*/ 4082 h 10000"/>
              <a:gd name="connsiteX52" fmla="*/ 2458 w 10000"/>
              <a:gd name="connsiteY52" fmla="*/ 3916 h 10000"/>
              <a:gd name="connsiteX53" fmla="*/ 2721 w 10000"/>
              <a:gd name="connsiteY53" fmla="*/ 3748 h 10000"/>
              <a:gd name="connsiteX54" fmla="*/ 2627 w 10000"/>
              <a:gd name="connsiteY54" fmla="*/ 3500 h 10000"/>
              <a:gd name="connsiteX55" fmla="*/ 2281 w 10000"/>
              <a:gd name="connsiteY55" fmla="*/ 3416 h 10000"/>
              <a:gd name="connsiteX56" fmla="*/ 2369 w 10000"/>
              <a:gd name="connsiteY56" fmla="*/ 3582 h 10000"/>
              <a:gd name="connsiteX57" fmla="*/ 2369 w 10000"/>
              <a:gd name="connsiteY57" fmla="*/ 3998 h 10000"/>
              <a:gd name="connsiteX58" fmla="*/ 2458 w 10000"/>
              <a:gd name="connsiteY58" fmla="*/ 4167 h 10000"/>
              <a:gd name="connsiteX59" fmla="*/ 2369 w 10000"/>
              <a:gd name="connsiteY59" fmla="*/ 4334 h 10000"/>
              <a:gd name="connsiteX60" fmla="*/ 2100 w 10000"/>
              <a:gd name="connsiteY60" fmla="*/ 4250 h 10000"/>
              <a:gd name="connsiteX61" fmla="*/ 1757 w 10000"/>
              <a:gd name="connsiteY61" fmla="*/ 4498 h 10000"/>
              <a:gd name="connsiteX62" fmla="*/ 1928 w 10000"/>
              <a:gd name="connsiteY62" fmla="*/ 4833 h 10000"/>
              <a:gd name="connsiteX63" fmla="*/ 1399 w 10000"/>
              <a:gd name="connsiteY63" fmla="*/ 4666 h 10000"/>
              <a:gd name="connsiteX64" fmla="*/ 1315 w 10000"/>
              <a:gd name="connsiteY64" fmla="*/ 4748 h 10000"/>
              <a:gd name="connsiteX65" fmla="*/ 1494 w 10000"/>
              <a:gd name="connsiteY65" fmla="*/ 4999 h 10000"/>
              <a:gd name="connsiteX66" fmla="*/ 1315 w 10000"/>
              <a:gd name="connsiteY66" fmla="*/ 4999 h 10000"/>
              <a:gd name="connsiteX67" fmla="*/ 1055 w 10000"/>
              <a:gd name="connsiteY67" fmla="*/ 4833 h 10000"/>
              <a:gd name="connsiteX68" fmla="*/ 1055 w 10000"/>
              <a:gd name="connsiteY68" fmla="*/ 4334 h 10000"/>
              <a:gd name="connsiteX69" fmla="*/ 793 w 10000"/>
              <a:gd name="connsiteY69" fmla="*/ 4167 h 10000"/>
              <a:gd name="connsiteX70" fmla="*/ 702 w 10000"/>
              <a:gd name="connsiteY70" fmla="*/ 3998 h 10000"/>
              <a:gd name="connsiteX71" fmla="*/ 873 w 10000"/>
              <a:gd name="connsiteY71" fmla="*/ 4082 h 10000"/>
              <a:gd name="connsiteX72" fmla="*/ 1574 w 10000"/>
              <a:gd name="connsiteY72" fmla="*/ 4334 h 10000"/>
              <a:gd name="connsiteX73" fmla="*/ 2009 w 10000"/>
              <a:gd name="connsiteY73" fmla="*/ 4082 h 10000"/>
              <a:gd name="connsiteX74" fmla="*/ 1928 w 10000"/>
              <a:gd name="connsiteY74" fmla="*/ 3832 h 10000"/>
              <a:gd name="connsiteX75" fmla="*/ 1399 w 10000"/>
              <a:gd name="connsiteY75" fmla="*/ 3333 h 10000"/>
              <a:gd name="connsiteX76" fmla="*/ 873 w 10000"/>
              <a:gd name="connsiteY76" fmla="*/ 3166 h 10000"/>
              <a:gd name="connsiteX77" fmla="*/ 873 w 10000"/>
              <a:gd name="connsiteY77" fmla="*/ 3083 h 10000"/>
              <a:gd name="connsiteX78" fmla="*/ 702 w 10000"/>
              <a:gd name="connsiteY78" fmla="*/ 2997 h 10000"/>
              <a:gd name="connsiteX79" fmla="*/ 523 w 10000"/>
              <a:gd name="connsiteY79" fmla="*/ 3083 h 10000"/>
              <a:gd name="connsiteX80" fmla="*/ 523 w 10000"/>
              <a:gd name="connsiteY80" fmla="*/ 3166 h 10000"/>
              <a:gd name="connsiteX81" fmla="*/ 437 w 10000"/>
              <a:gd name="connsiteY81" fmla="*/ 3166 h 10000"/>
              <a:gd name="connsiteX82" fmla="*/ 263 w 10000"/>
              <a:gd name="connsiteY82" fmla="*/ 3333 h 10000"/>
              <a:gd name="connsiteX83" fmla="*/ 263 w 10000"/>
              <a:gd name="connsiteY83" fmla="*/ 3582 h 10000"/>
              <a:gd name="connsiteX84" fmla="*/ 437 w 10000"/>
              <a:gd name="connsiteY84" fmla="*/ 3748 h 10000"/>
              <a:gd name="connsiteX85" fmla="*/ 353 w 10000"/>
              <a:gd name="connsiteY85" fmla="*/ 3998 h 10000"/>
              <a:gd name="connsiteX86" fmla="*/ 437 w 10000"/>
              <a:gd name="connsiteY86" fmla="*/ 4417 h 10000"/>
              <a:gd name="connsiteX87" fmla="*/ 353 w 10000"/>
              <a:gd name="connsiteY87" fmla="*/ 4666 h 10000"/>
              <a:gd name="connsiteX88" fmla="*/ 523 w 10000"/>
              <a:gd name="connsiteY88" fmla="*/ 4916 h 10000"/>
              <a:gd name="connsiteX89" fmla="*/ 437 w 10000"/>
              <a:gd name="connsiteY89" fmla="*/ 5083 h 10000"/>
              <a:gd name="connsiteX90" fmla="*/ 611 w 10000"/>
              <a:gd name="connsiteY90" fmla="*/ 5250 h 10000"/>
              <a:gd name="connsiteX91" fmla="*/ 611 w 10000"/>
              <a:gd name="connsiteY91" fmla="*/ 5333 h 10000"/>
              <a:gd name="connsiteX92" fmla="*/ 353 w 10000"/>
              <a:gd name="connsiteY92" fmla="*/ 5750 h 10000"/>
              <a:gd name="connsiteX93" fmla="*/ 80 w 10000"/>
              <a:gd name="connsiteY93" fmla="*/ 5917 h 10000"/>
              <a:gd name="connsiteX94" fmla="*/ 172 w 10000"/>
              <a:gd name="connsiteY94" fmla="*/ 5917 h 10000"/>
              <a:gd name="connsiteX95" fmla="*/ 353 w 10000"/>
              <a:gd name="connsiteY95" fmla="*/ 6083 h 10000"/>
              <a:gd name="connsiteX96" fmla="*/ 172 w 10000"/>
              <a:gd name="connsiteY96" fmla="*/ 6249 h 10000"/>
              <a:gd name="connsiteX97" fmla="*/ 80 w 10000"/>
              <a:gd name="connsiteY97" fmla="*/ 6334 h 10000"/>
              <a:gd name="connsiteX98" fmla="*/ 0 w 10000"/>
              <a:gd name="connsiteY98" fmla="*/ 6334 h 10000"/>
              <a:gd name="connsiteX99" fmla="*/ 80 w 10000"/>
              <a:gd name="connsiteY99" fmla="*/ 6584 h 10000"/>
              <a:gd name="connsiteX100" fmla="*/ 80 w 10000"/>
              <a:gd name="connsiteY100" fmla="*/ 6667 h 10000"/>
              <a:gd name="connsiteX101" fmla="*/ 80 w 10000"/>
              <a:gd name="connsiteY101" fmla="*/ 6749 h 10000"/>
              <a:gd name="connsiteX102" fmla="*/ 80 w 10000"/>
              <a:gd name="connsiteY102" fmla="*/ 6834 h 10000"/>
              <a:gd name="connsiteX103" fmla="*/ 172 w 10000"/>
              <a:gd name="connsiteY103" fmla="*/ 6998 h 10000"/>
              <a:gd name="connsiteX104" fmla="*/ 437 w 10000"/>
              <a:gd name="connsiteY104" fmla="*/ 7083 h 10000"/>
              <a:gd name="connsiteX105" fmla="*/ 523 w 10000"/>
              <a:gd name="connsiteY105" fmla="*/ 7165 h 10000"/>
              <a:gd name="connsiteX106" fmla="*/ 523 w 10000"/>
              <a:gd name="connsiteY106" fmla="*/ 7334 h 10000"/>
              <a:gd name="connsiteX107" fmla="*/ 702 w 10000"/>
              <a:gd name="connsiteY107" fmla="*/ 7584 h 10000"/>
              <a:gd name="connsiteX108" fmla="*/ 793 w 10000"/>
              <a:gd name="connsiteY108" fmla="*/ 7584 h 10000"/>
              <a:gd name="connsiteX109" fmla="*/ 702 w 10000"/>
              <a:gd name="connsiteY109" fmla="*/ 7750 h 10000"/>
              <a:gd name="connsiteX110" fmla="*/ 611 w 10000"/>
              <a:gd name="connsiteY110" fmla="*/ 7668 h 10000"/>
              <a:gd name="connsiteX111" fmla="*/ 611 w 10000"/>
              <a:gd name="connsiteY111" fmla="*/ 7750 h 10000"/>
              <a:gd name="connsiteX112" fmla="*/ 702 w 10000"/>
              <a:gd name="connsiteY112" fmla="*/ 7916 h 10000"/>
              <a:gd name="connsiteX113" fmla="*/ 971 w 10000"/>
              <a:gd name="connsiteY113" fmla="*/ 7916 h 10000"/>
              <a:gd name="connsiteX114" fmla="*/ 1055 w 10000"/>
              <a:gd name="connsiteY114" fmla="*/ 8000 h 10000"/>
              <a:gd name="connsiteX115" fmla="*/ 971 w 10000"/>
              <a:gd name="connsiteY115" fmla="*/ 8000 h 10000"/>
              <a:gd name="connsiteX116" fmla="*/ 1055 w 10000"/>
              <a:gd name="connsiteY116" fmla="*/ 8082 h 10000"/>
              <a:gd name="connsiteX117" fmla="*/ 1139 w 10000"/>
              <a:gd name="connsiteY117" fmla="*/ 8082 h 10000"/>
              <a:gd name="connsiteX118" fmla="*/ 1224 w 10000"/>
              <a:gd name="connsiteY118" fmla="*/ 8249 h 10000"/>
              <a:gd name="connsiteX119" fmla="*/ 1315 w 10000"/>
              <a:gd name="connsiteY119" fmla="*/ 8332 h 10000"/>
              <a:gd name="connsiteX120" fmla="*/ 1399 w 10000"/>
              <a:gd name="connsiteY120" fmla="*/ 8249 h 10000"/>
              <a:gd name="connsiteX121" fmla="*/ 1843 w 10000"/>
              <a:gd name="connsiteY121" fmla="*/ 8500 h 10000"/>
              <a:gd name="connsiteX122" fmla="*/ 1757 w 10000"/>
              <a:gd name="connsiteY122" fmla="*/ 8833 h 10000"/>
              <a:gd name="connsiteX123" fmla="*/ 1668 w 10000"/>
              <a:gd name="connsiteY123" fmla="*/ 8750 h 10000"/>
              <a:gd name="connsiteX124" fmla="*/ 1574 w 10000"/>
              <a:gd name="connsiteY124" fmla="*/ 8833 h 10000"/>
              <a:gd name="connsiteX125" fmla="*/ 1574 w 10000"/>
              <a:gd name="connsiteY125" fmla="*/ 8999 h 10000"/>
              <a:gd name="connsiteX126" fmla="*/ 1668 w 10000"/>
              <a:gd name="connsiteY126" fmla="*/ 8917 h 10000"/>
              <a:gd name="connsiteX127" fmla="*/ 1757 w 10000"/>
              <a:gd name="connsiteY127" fmla="*/ 8999 h 10000"/>
              <a:gd name="connsiteX128" fmla="*/ 1494 w 10000"/>
              <a:gd name="connsiteY128" fmla="*/ 9083 h 10000"/>
              <a:gd name="connsiteX129" fmla="*/ 1574 w 10000"/>
              <a:gd name="connsiteY129" fmla="*/ 9167 h 10000"/>
              <a:gd name="connsiteX130" fmla="*/ 1399 w 10000"/>
              <a:gd name="connsiteY130" fmla="*/ 9333 h 10000"/>
              <a:gd name="connsiteX131" fmla="*/ 1315 w 10000"/>
              <a:gd name="connsiteY131" fmla="*/ 9333 h 10000"/>
              <a:gd name="connsiteX132" fmla="*/ 1399 w 10000"/>
              <a:gd name="connsiteY132" fmla="*/ 9333 h 10000"/>
              <a:gd name="connsiteX133" fmla="*/ 1757 w 10000"/>
              <a:gd name="connsiteY133" fmla="*/ 9668 h 10000"/>
              <a:gd name="connsiteX134" fmla="*/ 2195 w 10000"/>
              <a:gd name="connsiteY134" fmla="*/ 9668 h 10000"/>
              <a:gd name="connsiteX135" fmla="*/ 2369 w 10000"/>
              <a:gd name="connsiteY135" fmla="*/ 9750 h 10000"/>
              <a:gd name="connsiteX136" fmla="*/ 2543 w 10000"/>
              <a:gd name="connsiteY136" fmla="*/ 9750 h 10000"/>
              <a:gd name="connsiteX137" fmla="*/ 2721 w 10000"/>
              <a:gd name="connsiteY137" fmla="*/ 9918 h 10000"/>
              <a:gd name="connsiteX138" fmla="*/ 2807 w 10000"/>
              <a:gd name="connsiteY138" fmla="*/ 10000 h 10000"/>
              <a:gd name="connsiteX139" fmla="*/ 2891 w 10000"/>
              <a:gd name="connsiteY139" fmla="*/ 10000 h 10000"/>
              <a:gd name="connsiteX140" fmla="*/ 2984 w 10000"/>
              <a:gd name="connsiteY140" fmla="*/ 9918 h 10000"/>
              <a:gd name="connsiteX141" fmla="*/ 2807 w 10000"/>
              <a:gd name="connsiteY141" fmla="*/ 9750 h 10000"/>
              <a:gd name="connsiteX142" fmla="*/ 2807 w 10000"/>
              <a:gd name="connsiteY142" fmla="*/ 9584 h 10000"/>
              <a:gd name="connsiteX143" fmla="*/ 2721 w 10000"/>
              <a:gd name="connsiteY143" fmla="*/ 9416 h 10000"/>
              <a:gd name="connsiteX144" fmla="*/ 2891 w 10000"/>
              <a:gd name="connsiteY144" fmla="*/ 9167 h 10000"/>
              <a:gd name="connsiteX145" fmla="*/ 2984 w 10000"/>
              <a:gd name="connsiteY145" fmla="*/ 9250 h 10000"/>
              <a:gd name="connsiteX146" fmla="*/ 3069 w 10000"/>
              <a:gd name="connsiteY146" fmla="*/ 9167 h 10000"/>
              <a:gd name="connsiteX147" fmla="*/ 3069 w 10000"/>
              <a:gd name="connsiteY147" fmla="*/ 9083 h 10000"/>
              <a:gd name="connsiteX148" fmla="*/ 2984 w 10000"/>
              <a:gd name="connsiteY148" fmla="*/ 9083 h 10000"/>
              <a:gd name="connsiteX149" fmla="*/ 3069 w 10000"/>
              <a:gd name="connsiteY149" fmla="*/ 8999 h 10000"/>
              <a:gd name="connsiteX150" fmla="*/ 2984 w 10000"/>
              <a:gd name="connsiteY150" fmla="*/ 8833 h 10000"/>
              <a:gd name="connsiteX151" fmla="*/ 2807 w 10000"/>
              <a:gd name="connsiteY151" fmla="*/ 8833 h 10000"/>
              <a:gd name="connsiteX152" fmla="*/ 2721 w 10000"/>
              <a:gd name="connsiteY152" fmla="*/ 8667 h 10000"/>
              <a:gd name="connsiteX153" fmla="*/ 2807 w 10000"/>
              <a:gd name="connsiteY153" fmla="*/ 8249 h 10000"/>
              <a:gd name="connsiteX154" fmla="*/ 2984 w 10000"/>
              <a:gd name="connsiteY154" fmla="*/ 8418 h 10000"/>
              <a:gd name="connsiteX155" fmla="*/ 3069 w 10000"/>
              <a:gd name="connsiteY155" fmla="*/ 8418 h 10000"/>
              <a:gd name="connsiteX156" fmla="*/ 2984 w 10000"/>
              <a:gd name="connsiteY156" fmla="*/ 8249 h 10000"/>
              <a:gd name="connsiteX157" fmla="*/ 3249 w 10000"/>
              <a:gd name="connsiteY157" fmla="*/ 8000 h 10000"/>
              <a:gd name="connsiteX158" fmla="*/ 3426 w 10000"/>
              <a:gd name="connsiteY158" fmla="*/ 8082 h 10000"/>
              <a:gd name="connsiteX159" fmla="*/ 3511 w 10000"/>
              <a:gd name="connsiteY159" fmla="*/ 8000 h 10000"/>
              <a:gd name="connsiteX160" fmla="*/ 3678 w 10000"/>
              <a:gd name="connsiteY160" fmla="*/ 8082 h 10000"/>
              <a:gd name="connsiteX161" fmla="*/ 3953 w 10000"/>
              <a:gd name="connsiteY161" fmla="*/ 8249 h 10000"/>
              <a:gd name="connsiteX162" fmla="*/ 4121 w 10000"/>
              <a:gd name="connsiteY162" fmla="*/ 8167 h 10000"/>
              <a:gd name="connsiteX163" fmla="*/ 4300 w 10000"/>
              <a:gd name="connsiteY163" fmla="*/ 8167 h 10000"/>
              <a:gd name="connsiteX164" fmla="*/ 4389 w 10000"/>
              <a:gd name="connsiteY164" fmla="*/ 8249 h 10000"/>
              <a:gd name="connsiteX165" fmla="*/ 4740 w 10000"/>
              <a:gd name="connsiteY165" fmla="*/ 8249 h 10000"/>
              <a:gd name="connsiteX166" fmla="*/ 4823 w 10000"/>
              <a:gd name="connsiteY166" fmla="*/ 8082 h 10000"/>
              <a:gd name="connsiteX167" fmla="*/ 4557 w 10000"/>
              <a:gd name="connsiteY167" fmla="*/ 8000 h 10000"/>
              <a:gd name="connsiteX168" fmla="*/ 4740 w 10000"/>
              <a:gd name="connsiteY168" fmla="*/ 7916 h 10000"/>
              <a:gd name="connsiteX169" fmla="*/ 4647 w 10000"/>
              <a:gd name="connsiteY169" fmla="*/ 7833 h 10000"/>
              <a:gd name="connsiteX170" fmla="*/ 4740 w 10000"/>
              <a:gd name="connsiteY170" fmla="*/ 7750 h 10000"/>
              <a:gd name="connsiteX171" fmla="*/ 4740 w 10000"/>
              <a:gd name="connsiteY171" fmla="*/ 7500 h 10000"/>
              <a:gd name="connsiteX172" fmla="*/ 4908 w 10000"/>
              <a:gd name="connsiteY172" fmla="*/ 7584 h 10000"/>
              <a:gd name="connsiteX173" fmla="*/ 5701 w 10000"/>
              <a:gd name="connsiteY173" fmla="*/ 7334 h 10000"/>
              <a:gd name="connsiteX174" fmla="*/ 5701 w 10000"/>
              <a:gd name="connsiteY174" fmla="*/ 7250 h 10000"/>
              <a:gd name="connsiteX175" fmla="*/ 5793 w 10000"/>
              <a:gd name="connsiteY175" fmla="*/ 7250 h 10000"/>
              <a:gd name="connsiteX176" fmla="*/ 6046 w 10000"/>
              <a:gd name="connsiteY176" fmla="*/ 7250 h 10000"/>
              <a:gd name="connsiteX177" fmla="*/ 6145 w 10000"/>
              <a:gd name="connsiteY177" fmla="*/ 7417 h 10000"/>
              <a:gd name="connsiteX178" fmla="*/ 6145 w 10000"/>
              <a:gd name="connsiteY178" fmla="*/ 7500 h 10000"/>
              <a:gd name="connsiteX179" fmla="*/ 6228 w 10000"/>
              <a:gd name="connsiteY179" fmla="*/ 7500 h 10000"/>
              <a:gd name="connsiteX180" fmla="*/ 6401 w 10000"/>
              <a:gd name="connsiteY180" fmla="*/ 7584 h 10000"/>
              <a:gd name="connsiteX181" fmla="*/ 6401 w 10000"/>
              <a:gd name="connsiteY181" fmla="*/ 7668 h 10000"/>
              <a:gd name="connsiteX182" fmla="*/ 6577 w 10000"/>
              <a:gd name="connsiteY182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389 w 10000"/>
              <a:gd name="connsiteY41" fmla="*/ 2915 h 10000"/>
              <a:gd name="connsiteX42" fmla="*/ 4557 w 10000"/>
              <a:gd name="connsiteY42" fmla="*/ 3416 h 10000"/>
              <a:gd name="connsiteX43" fmla="*/ 4480 w 10000"/>
              <a:gd name="connsiteY43" fmla="*/ 3333 h 10000"/>
              <a:gd name="connsiteX44" fmla="*/ 3953 w 10000"/>
              <a:gd name="connsiteY44" fmla="*/ 3500 h 10000"/>
              <a:gd name="connsiteX45" fmla="*/ 3865 w 10000"/>
              <a:gd name="connsiteY45" fmla="*/ 3665 h 10000"/>
              <a:gd name="connsiteX46" fmla="*/ 3777 w 10000"/>
              <a:gd name="connsiteY46" fmla="*/ 3500 h 10000"/>
              <a:gd name="connsiteX47" fmla="*/ 3777 w 10000"/>
              <a:gd name="connsiteY47" fmla="*/ 3333 h 10000"/>
              <a:gd name="connsiteX48" fmla="*/ 2891 w 10000"/>
              <a:gd name="connsiteY48" fmla="*/ 3832 h 10000"/>
              <a:gd name="connsiteX49" fmla="*/ 2891 w 10000"/>
              <a:gd name="connsiteY49" fmla="*/ 3998 h 10000"/>
              <a:gd name="connsiteX50" fmla="*/ 2721 w 10000"/>
              <a:gd name="connsiteY50" fmla="*/ 4082 h 10000"/>
              <a:gd name="connsiteX51" fmla="*/ 2458 w 10000"/>
              <a:gd name="connsiteY51" fmla="*/ 3916 h 10000"/>
              <a:gd name="connsiteX52" fmla="*/ 2721 w 10000"/>
              <a:gd name="connsiteY52" fmla="*/ 3748 h 10000"/>
              <a:gd name="connsiteX53" fmla="*/ 2627 w 10000"/>
              <a:gd name="connsiteY53" fmla="*/ 3500 h 10000"/>
              <a:gd name="connsiteX54" fmla="*/ 2281 w 10000"/>
              <a:gd name="connsiteY54" fmla="*/ 3416 h 10000"/>
              <a:gd name="connsiteX55" fmla="*/ 2369 w 10000"/>
              <a:gd name="connsiteY55" fmla="*/ 3582 h 10000"/>
              <a:gd name="connsiteX56" fmla="*/ 2369 w 10000"/>
              <a:gd name="connsiteY56" fmla="*/ 3998 h 10000"/>
              <a:gd name="connsiteX57" fmla="*/ 2458 w 10000"/>
              <a:gd name="connsiteY57" fmla="*/ 4167 h 10000"/>
              <a:gd name="connsiteX58" fmla="*/ 2369 w 10000"/>
              <a:gd name="connsiteY58" fmla="*/ 4334 h 10000"/>
              <a:gd name="connsiteX59" fmla="*/ 2100 w 10000"/>
              <a:gd name="connsiteY59" fmla="*/ 4250 h 10000"/>
              <a:gd name="connsiteX60" fmla="*/ 1757 w 10000"/>
              <a:gd name="connsiteY60" fmla="*/ 4498 h 10000"/>
              <a:gd name="connsiteX61" fmla="*/ 1928 w 10000"/>
              <a:gd name="connsiteY61" fmla="*/ 4833 h 10000"/>
              <a:gd name="connsiteX62" fmla="*/ 1399 w 10000"/>
              <a:gd name="connsiteY62" fmla="*/ 4666 h 10000"/>
              <a:gd name="connsiteX63" fmla="*/ 1315 w 10000"/>
              <a:gd name="connsiteY63" fmla="*/ 4748 h 10000"/>
              <a:gd name="connsiteX64" fmla="*/ 1494 w 10000"/>
              <a:gd name="connsiteY64" fmla="*/ 4999 h 10000"/>
              <a:gd name="connsiteX65" fmla="*/ 1315 w 10000"/>
              <a:gd name="connsiteY65" fmla="*/ 4999 h 10000"/>
              <a:gd name="connsiteX66" fmla="*/ 1055 w 10000"/>
              <a:gd name="connsiteY66" fmla="*/ 4833 h 10000"/>
              <a:gd name="connsiteX67" fmla="*/ 1055 w 10000"/>
              <a:gd name="connsiteY67" fmla="*/ 4334 h 10000"/>
              <a:gd name="connsiteX68" fmla="*/ 793 w 10000"/>
              <a:gd name="connsiteY68" fmla="*/ 4167 h 10000"/>
              <a:gd name="connsiteX69" fmla="*/ 702 w 10000"/>
              <a:gd name="connsiteY69" fmla="*/ 3998 h 10000"/>
              <a:gd name="connsiteX70" fmla="*/ 873 w 10000"/>
              <a:gd name="connsiteY70" fmla="*/ 4082 h 10000"/>
              <a:gd name="connsiteX71" fmla="*/ 1574 w 10000"/>
              <a:gd name="connsiteY71" fmla="*/ 4334 h 10000"/>
              <a:gd name="connsiteX72" fmla="*/ 2009 w 10000"/>
              <a:gd name="connsiteY72" fmla="*/ 4082 h 10000"/>
              <a:gd name="connsiteX73" fmla="*/ 1928 w 10000"/>
              <a:gd name="connsiteY73" fmla="*/ 3832 h 10000"/>
              <a:gd name="connsiteX74" fmla="*/ 1399 w 10000"/>
              <a:gd name="connsiteY74" fmla="*/ 3333 h 10000"/>
              <a:gd name="connsiteX75" fmla="*/ 873 w 10000"/>
              <a:gd name="connsiteY75" fmla="*/ 3166 h 10000"/>
              <a:gd name="connsiteX76" fmla="*/ 873 w 10000"/>
              <a:gd name="connsiteY76" fmla="*/ 3083 h 10000"/>
              <a:gd name="connsiteX77" fmla="*/ 702 w 10000"/>
              <a:gd name="connsiteY77" fmla="*/ 2997 h 10000"/>
              <a:gd name="connsiteX78" fmla="*/ 523 w 10000"/>
              <a:gd name="connsiteY78" fmla="*/ 3083 h 10000"/>
              <a:gd name="connsiteX79" fmla="*/ 523 w 10000"/>
              <a:gd name="connsiteY79" fmla="*/ 3166 h 10000"/>
              <a:gd name="connsiteX80" fmla="*/ 437 w 10000"/>
              <a:gd name="connsiteY80" fmla="*/ 3166 h 10000"/>
              <a:gd name="connsiteX81" fmla="*/ 263 w 10000"/>
              <a:gd name="connsiteY81" fmla="*/ 3333 h 10000"/>
              <a:gd name="connsiteX82" fmla="*/ 263 w 10000"/>
              <a:gd name="connsiteY82" fmla="*/ 3582 h 10000"/>
              <a:gd name="connsiteX83" fmla="*/ 437 w 10000"/>
              <a:gd name="connsiteY83" fmla="*/ 3748 h 10000"/>
              <a:gd name="connsiteX84" fmla="*/ 353 w 10000"/>
              <a:gd name="connsiteY84" fmla="*/ 3998 h 10000"/>
              <a:gd name="connsiteX85" fmla="*/ 437 w 10000"/>
              <a:gd name="connsiteY85" fmla="*/ 4417 h 10000"/>
              <a:gd name="connsiteX86" fmla="*/ 353 w 10000"/>
              <a:gd name="connsiteY86" fmla="*/ 4666 h 10000"/>
              <a:gd name="connsiteX87" fmla="*/ 523 w 10000"/>
              <a:gd name="connsiteY87" fmla="*/ 4916 h 10000"/>
              <a:gd name="connsiteX88" fmla="*/ 437 w 10000"/>
              <a:gd name="connsiteY88" fmla="*/ 5083 h 10000"/>
              <a:gd name="connsiteX89" fmla="*/ 611 w 10000"/>
              <a:gd name="connsiteY89" fmla="*/ 5250 h 10000"/>
              <a:gd name="connsiteX90" fmla="*/ 611 w 10000"/>
              <a:gd name="connsiteY90" fmla="*/ 5333 h 10000"/>
              <a:gd name="connsiteX91" fmla="*/ 353 w 10000"/>
              <a:gd name="connsiteY91" fmla="*/ 5750 h 10000"/>
              <a:gd name="connsiteX92" fmla="*/ 80 w 10000"/>
              <a:gd name="connsiteY92" fmla="*/ 5917 h 10000"/>
              <a:gd name="connsiteX93" fmla="*/ 172 w 10000"/>
              <a:gd name="connsiteY93" fmla="*/ 5917 h 10000"/>
              <a:gd name="connsiteX94" fmla="*/ 353 w 10000"/>
              <a:gd name="connsiteY94" fmla="*/ 6083 h 10000"/>
              <a:gd name="connsiteX95" fmla="*/ 172 w 10000"/>
              <a:gd name="connsiteY95" fmla="*/ 6249 h 10000"/>
              <a:gd name="connsiteX96" fmla="*/ 80 w 10000"/>
              <a:gd name="connsiteY96" fmla="*/ 6334 h 10000"/>
              <a:gd name="connsiteX97" fmla="*/ 0 w 10000"/>
              <a:gd name="connsiteY97" fmla="*/ 6334 h 10000"/>
              <a:gd name="connsiteX98" fmla="*/ 80 w 10000"/>
              <a:gd name="connsiteY98" fmla="*/ 6584 h 10000"/>
              <a:gd name="connsiteX99" fmla="*/ 80 w 10000"/>
              <a:gd name="connsiteY99" fmla="*/ 6667 h 10000"/>
              <a:gd name="connsiteX100" fmla="*/ 80 w 10000"/>
              <a:gd name="connsiteY100" fmla="*/ 6749 h 10000"/>
              <a:gd name="connsiteX101" fmla="*/ 80 w 10000"/>
              <a:gd name="connsiteY101" fmla="*/ 6834 h 10000"/>
              <a:gd name="connsiteX102" fmla="*/ 172 w 10000"/>
              <a:gd name="connsiteY102" fmla="*/ 6998 h 10000"/>
              <a:gd name="connsiteX103" fmla="*/ 437 w 10000"/>
              <a:gd name="connsiteY103" fmla="*/ 7083 h 10000"/>
              <a:gd name="connsiteX104" fmla="*/ 523 w 10000"/>
              <a:gd name="connsiteY104" fmla="*/ 7165 h 10000"/>
              <a:gd name="connsiteX105" fmla="*/ 523 w 10000"/>
              <a:gd name="connsiteY105" fmla="*/ 7334 h 10000"/>
              <a:gd name="connsiteX106" fmla="*/ 702 w 10000"/>
              <a:gd name="connsiteY106" fmla="*/ 7584 h 10000"/>
              <a:gd name="connsiteX107" fmla="*/ 793 w 10000"/>
              <a:gd name="connsiteY107" fmla="*/ 7584 h 10000"/>
              <a:gd name="connsiteX108" fmla="*/ 702 w 10000"/>
              <a:gd name="connsiteY108" fmla="*/ 7750 h 10000"/>
              <a:gd name="connsiteX109" fmla="*/ 611 w 10000"/>
              <a:gd name="connsiteY109" fmla="*/ 7668 h 10000"/>
              <a:gd name="connsiteX110" fmla="*/ 611 w 10000"/>
              <a:gd name="connsiteY110" fmla="*/ 7750 h 10000"/>
              <a:gd name="connsiteX111" fmla="*/ 702 w 10000"/>
              <a:gd name="connsiteY111" fmla="*/ 7916 h 10000"/>
              <a:gd name="connsiteX112" fmla="*/ 971 w 10000"/>
              <a:gd name="connsiteY112" fmla="*/ 7916 h 10000"/>
              <a:gd name="connsiteX113" fmla="*/ 1055 w 10000"/>
              <a:gd name="connsiteY113" fmla="*/ 8000 h 10000"/>
              <a:gd name="connsiteX114" fmla="*/ 971 w 10000"/>
              <a:gd name="connsiteY114" fmla="*/ 8000 h 10000"/>
              <a:gd name="connsiteX115" fmla="*/ 1055 w 10000"/>
              <a:gd name="connsiteY115" fmla="*/ 8082 h 10000"/>
              <a:gd name="connsiteX116" fmla="*/ 1139 w 10000"/>
              <a:gd name="connsiteY116" fmla="*/ 8082 h 10000"/>
              <a:gd name="connsiteX117" fmla="*/ 1224 w 10000"/>
              <a:gd name="connsiteY117" fmla="*/ 8249 h 10000"/>
              <a:gd name="connsiteX118" fmla="*/ 1315 w 10000"/>
              <a:gd name="connsiteY118" fmla="*/ 8332 h 10000"/>
              <a:gd name="connsiteX119" fmla="*/ 1399 w 10000"/>
              <a:gd name="connsiteY119" fmla="*/ 8249 h 10000"/>
              <a:gd name="connsiteX120" fmla="*/ 1843 w 10000"/>
              <a:gd name="connsiteY120" fmla="*/ 8500 h 10000"/>
              <a:gd name="connsiteX121" fmla="*/ 1757 w 10000"/>
              <a:gd name="connsiteY121" fmla="*/ 8833 h 10000"/>
              <a:gd name="connsiteX122" fmla="*/ 1668 w 10000"/>
              <a:gd name="connsiteY122" fmla="*/ 8750 h 10000"/>
              <a:gd name="connsiteX123" fmla="*/ 1574 w 10000"/>
              <a:gd name="connsiteY123" fmla="*/ 8833 h 10000"/>
              <a:gd name="connsiteX124" fmla="*/ 1574 w 10000"/>
              <a:gd name="connsiteY124" fmla="*/ 8999 h 10000"/>
              <a:gd name="connsiteX125" fmla="*/ 1668 w 10000"/>
              <a:gd name="connsiteY125" fmla="*/ 8917 h 10000"/>
              <a:gd name="connsiteX126" fmla="*/ 1757 w 10000"/>
              <a:gd name="connsiteY126" fmla="*/ 8999 h 10000"/>
              <a:gd name="connsiteX127" fmla="*/ 1494 w 10000"/>
              <a:gd name="connsiteY127" fmla="*/ 9083 h 10000"/>
              <a:gd name="connsiteX128" fmla="*/ 1574 w 10000"/>
              <a:gd name="connsiteY128" fmla="*/ 9167 h 10000"/>
              <a:gd name="connsiteX129" fmla="*/ 1399 w 10000"/>
              <a:gd name="connsiteY129" fmla="*/ 9333 h 10000"/>
              <a:gd name="connsiteX130" fmla="*/ 1315 w 10000"/>
              <a:gd name="connsiteY130" fmla="*/ 9333 h 10000"/>
              <a:gd name="connsiteX131" fmla="*/ 1399 w 10000"/>
              <a:gd name="connsiteY131" fmla="*/ 9333 h 10000"/>
              <a:gd name="connsiteX132" fmla="*/ 1757 w 10000"/>
              <a:gd name="connsiteY132" fmla="*/ 9668 h 10000"/>
              <a:gd name="connsiteX133" fmla="*/ 2195 w 10000"/>
              <a:gd name="connsiteY133" fmla="*/ 9668 h 10000"/>
              <a:gd name="connsiteX134" fmla="*/ 2369 w 10000"/>
              <a:gd name="connsiteY134" fmla="*/ 9750 h 10000"/>
              <a:gd name="connsiteX135" fmla="*/ 2543 w 10000"/>
              <a:gd name="connsiteY135" fmla="*/ 9750 h 10000"/>
              <a:gd name="connsiteX136" fmla="*/ 2721 w 10000"/>
              <a:gd name="connsiteY136" fmla="*/ 9918 h 10000"/>
              <a:gd name="connsiteX137" fmla="*/ 2807 w 10000"/>
              <a:gd name="connsiteY137" fmla="*/ 10000 h 10000"/>
              <a:gd name="connsiteX138" fmla="*/ 2891 w 10000"/>
              <a:gd name="connsiteY138" fmla="*/ 10000 h 10000"/>
              <a:gd name="connsiteX139" fmla="*/ 2984 w 10000"/>
              <a:gd name="connsiteY139" fmla="*/ 9918 h 10000"/>
              <a:gd name="connsiteX140" fmla="*/ 2807 w 10000"/>
              <a:gd name="connsiteY140" fmla="*/ 9750 h 10000"/>
              <a:gd name="connsiteX141" fmla="*/ 2807 w 10000"/>
              <a:gd name="connsiteY141" fmla="*/ 9584 h 10000"/>
              <a:gd name="connsiteX142" fmla="*/ 2721 w 10000"/>
              <a:gd name="connsiteY142" fmla="*/ 9416 h 10000"/>
              <a:gd name="connsiteX143" fmla="*/ 2891 w 10000"/>
              <a:gd name="connsiteY143" fmla="*/ 9167 h 10000"/>
              <a:gd name="connsiteX144" fmla="*/ 2984 w 10000"/>
              <a:gd name="connsiteY144" fmla="*/ 9250 h 10000"/>
              <a:gd name="connsiteX145" fmla="*/ 3069 w 10000"/>
              <a:gd name="connsiteY145" fmla="*/ 9167 h 10000"/>
              <a:gd name="connsiteX146" fmla="*/ 3069 w 10000"/>
              <a:gd name="connsiteY146" fmla="*/ 9083 h 10000"/>
              <a:gd name="connsiteX147" fmla="*/ 2984 w 10000"/>
              <a:gd name="connsiteY147" fmla="*/ 9083 h 10000"/>
              <a:gd name="connsiteX148" fmla="*/ 3069 w 10000"/>
              <a:gd name="connsiteY148" fmla="*/ 8999 h 10000"/>
              <a:gd name="connsiteX149" fmla="*/ 2984 w 10000"/>
              <a:gd name="connsiteY149" fmla="*/ 8833 h 10000"/>
              <a:gd name="connsiteX150" fmla="*/ 2807 w 10000"/>
              <a:gd name="connsiteY150" fmla="*/ 8833 h 10000"/>
              <a:gd name="connsiteX151" fmla="*/ 2721 w 10000"/>
              <a:gd name="connsiteY151" fmla="*/ 8667 h 10000"/>
              <a:gd name="connsiteX152" fmla="*/ 2807 w 10000"/>
              <a:gd name="connsiteY152" fmla="*/ 8249 h 10000"/>
              <a:gd name="connsiteX153" fmla="*/ 2984 w 10000"/>
              <a:gd name="connsiteY153" fmla="*/ 8418 h 10000"/>
              <a:gd name="connsiteX154" fmla="*/ 3069 w 10000"/>
              <a:gd name="connsiteY154" fmla="*/ 8418 h 10000"/>
              <a:gd name="connsiteX155" fmla="*/ 2984 w 10000"/>
              <a:gd name="connsiteY155" fmla="*/ 8249 h 10000"/>
              <a:gd name="connsiteX156" fmla="*/ 3249 w 10000"/>
              <a:gd name="connsiteY156" fmla="*/ 8000 h 10000"/>
              <a:gd name="connsiteX157" fmla="*/ 3426 w 10000"/>
              <a:gd name="connsiteY157" fmla="*/ 8082 h 10000"/>
              <a:gd name="connsiteX158" fmla="*/ 3511 w 10000"/>
              <a:gd name="connsiteY158" fmla="*/ 8000 h 10000"/>
              <a:gd name="connsiteX159" fmla="*/ 3678 w 10000"/>
              <a:gd name="connsiteY159" fmla="*/ 8082 h 10000"/>
              <a:gd name="connsiteX160" fmla="*/ 3953 w 10000"/>
              <a:gd name="connsiteY160" fmla="*/ 8249 h 10000"/>
              <a:gd name="connsiteX161" fmla="*/ 4121 w 10000"/>
              <a:gd name="connsiteY161" fmla="*/ 8167 h 10000"/>
              <a:gd name="connsiteX162" fmla="*/ 4300 w 10000"/>
              <a:gd name="connsiteY162" fmla="*/ 8167 h 10000"/>
              <a:gd name="connsiteX163" fmla="*/ 4389 w 10000"/>
              <a:gd name="connsiteY163" fmla="*/ 8249 h 10000"/>
              <a:gd name="connsiteX164" fmla="*/ 4740 w 10000"/>
              <a:gd name="connsiteY164" fmla="*/ 8249 h 10000"/>
              <a:gd name="connsiteX165" fmla="*/ 4823 w 10000"/>
              <a:gd name="connsiteY165" fmla="*/ 8082 h 10000"/>
              <a:gd name="connsiteX166" fmla="*/ 4557 w 10000"/>
              <a:gd name="connsiteY166" fmla="*/ 8000 h 10000"/>
              <a:gd name="connsiteX167" fmla="*/ 4740 w 10000"/>
              <a:gd name="connsiteY167" fmla="*/ 7916 h 10000"/>
              <a:gd name="connsiteX168" fmla="*/ 4647 w 10000"/>
              <a:gd name="connsiteY168" fmla="*/ 7833 h 10000"/>
              <a:gd name="connsiteX169" fmla="*/ 4740 w 10000"/>
              <a:gd name="connsiteY169" fmla="*/ 7750 h 10000"/>
              <a:gd name="connsiteX170" fmla="*/ 4740 w 10000"/>
              <a:gd name="connsiteY170" fmla="*/ 7500 h 10000"/>
              <a:gd name="connsiteX171" fmla="*/ 4908 w 10000"/>
              <a:gd name="connsiteY171" fmla="*/ 7584 h 10000"/>
              <a:gd name="connsiteX172" fmla="*/ 5701 w 10000"/>
              <a:gd name="connsiteY172" fmla="*/ 7334 h 10000"/>
              <a:gd name="connsiteX173" fmla="*/ 5701 w 10000"/>
              <a:gd name="connsiteY173" fmla="*/ 7250 h 10000"/>
              <a:gd name="connsiteX174" fmla="*/ 5793 w 10000"/>
              <a:gd name="connsiteY174" fmla="*/ 7250 h 10000"/>
              <a:gd name="connsiteX175" fmla="*/ 6046 w 10000"/>
              <a:gd name="connsiteY175" fmla="*/ 7250 h 10000"/>
              <a:gd name="connsiteX176" fmla="*/ 6145 w 10000"/>
              <a:gd name="connsiteY176" fmla="*/ 7417 h 10000"/>
              <a:gd name="connsiteX177" fmla="*/ 6145 w 10000"/>
              <a:gd name="connsiteY177" fmla="*/ 7500 h 10000"/>
              <a:gd name="connsiteX178" fmla="*/ 6228 w 10000"/>
              <a:gd name="connsiteY178" fmla="*/ 7500 h 10000"/>
              <a:gd name="connsiteX179" fmla="*/ 6401 w 10000"/>
              <a:gd name="connsiteY179" fmla="*/ 7584 h 10000"/>
              <a:gd name="connsiteX180" fmla="*/ 6401 w 10000"/>
              <a:gd name="connsiteY180" fmla="*/ 7668 h 10000"/>
              <a:gd name="connsiteX181" fmla="*/ 6577 w 10000"/>
              <a:gd name="connsiteY181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480 w 10000"/>
              <a:gd name="connsiteY40" fmla="*/ 2748 h 10000"/>
              <a:gd name="connsiteX41" fmla="*/ 4557 w 10000"/>
              <a:gd name="connsiteY41" fmla="*/ 3416 h 10000"/>
              <a:gd name="connsiteX42" fmla="*/ 4480 w 10000"/>
              <a:gd name="connsiteY42" fmla="*/ 3333 h 10000"/>
              <a:gd name="connsiteX43" fmla="*/ 3953 w 10000"/>
              <a:gd name="connsiteY43" fmla="*/ 3500 h 10000"/>
              <a:gd name="connsiteX44" fmla="*/ 3865 w 10000"/>
              <a:gd name="connsiteY44" fmla="*/ 3665 h 10000"/>
              <a:gd name="connsiteX45" fmla="*/ 3777 w 10000"/>
              <a:gd name="connsiteY45" fmla="*/ 3500 h 10000"/>
              <a:gd name="connsiteX46" fmla="*/ 3777 w 10000"/>
              <a:gd name="connsiteY46" fmla="*/ 3333 h 10000"/>
              <a:gd name="connsiteX47" fmla="*/ 2891 w 10000"/>
              <a:gd name="connsiteY47" fmla="*/ 3832 h 10000"/>
              <a:gd name="connsiteX48" fmla="*/ 2891 w 10000"/>
              <a:gd name="connsiteY48" fmla="*/ 3998 h 10000"/>
              <a:gd name="connsiteX49" fmla="*/ 2721 w 10000"/>
              <a:gd name="connsiteY49" fmla="*/ 4082 h 10000"/>
              <a:gd name="connsiteX50" fmla="*/ 2458 w 10000"/>
              <a:gd name="connsiteY50" fmla="*/ 3916 h 10000"/>
              <a:gd name="connsiteX51" fmla="*/ 2721 w 10000"/>
              <a:gd name="connsiteY51" fmla="*/ 3748 h 10000"/>
              <a:gd name="connsiteX52" fmla="*/ 2627 w 10000"/>
              <a:gd name="connsiteY52" fmla="*/ 3500 h 10000"/>
              <a:gd name="connsiteX53" fmla="*/ 2281 w 10000"/>
              <a:gd name="connsiteY53" fmla="*/ 3416 h 10000"/>
              <a:gd name="connsiteX54" fmla="*/ 2369 w 10000"/>
              <a:gd name="connsiteY54" fmla="*/ 3582 h 10000"/>
              <a:gd name="connsiteX55" fmla="*/ 2369 w 10000"/>
              <a:gd name="connsiteY55" fmla="*/ 3998 h 10000"/>
              <a:gd name="connsiteX56" fmla="*/ 2458 w 10000"/>
              <a:gd name="connsiteY56" fmla="*/ 4167 h 10000"/>
              <a:gd name="connsiteX57" fmla="*/ 2369 w 10000"/>
              <a:gd name="connsiteY57" fmla="*/ 4334 h 10000"/>
              <a:gd name="connsiteX58" fmla="*/ 2100 w 10000"/>
              <a:gd name="connsiteY58" fmla="*/ 4250 h 10000"/>
              <a:gd name="connsiteX59" fmla="*/ 1757 w 10000"/>
              <a:gd name="connsiteY59" fmla="*/ 4498 h 10000"/>
              <a:gd name="connsiteX60" fmla="*/ 1928 w 10000"/>
              <a:gd name="connsiteY60" fmla="*/ 4833 h 10000"/>
              <a:gd name="connsiteX61" fmla="*/ 1399 w 10000"/>
              <a:gd name="connsiteY61" fmla="*/ 4666 h 10000"/>
              <a:gd name="connsiteX62" fmla="*/ 1315 w 10000"/>
              <a:gd name="connsiteY62" fmla="*/ 4748 h 10000"/>
              <a:gd name="connsiteX63" fmla="*/ 1494 w 10000"/>
              <a:gd name="connsiteY63" fmla="*/ 4999 h 10000"/>
              <a:gd name="connsiteX64" fmla="*/ 1315 w 10000"/>
              <a:gd name="connsiteY64" fmla="*/ 4999 h 10000"/>
              <a:gd name="connsiteX65" fmla="*/ 1055 w 10000"/>
              <a:gd name="connsiteY65" fmla="*/ 4833 h 10000"/>
              <a:gd name="connsiteX66" fmla="*/ 1055 w 10000"/>
              <a:gd name="connsiteY66" fmla="*/ 4334 h 10000"/>
              <a:gd name="connsiteX67" fmla="*/ 793 w 10000"/>
              <a:gd name="connsiteY67" fmla="*/ 4167 h 10000"/>
              <a:gd name="connsiteX68" fmla="*/ 702 w 10000"/>
              <a:gd name="connsiteY68" fmla="*/ 3998 h 10000"/>
              <a:gd name="connsiteX69" fmla="*/ 873 w 10000"/>
              <a:gd name="connsiteY69" fmla="*/ 4082 h 10000"/>
              <a:gd name="connsiteX70" fmla="*/ 1574 w 10000"/>
              <a:gd name="connsiteY70" fmla="*/ 4334 h 10000"/>
              <a:gd name="connsiteX71" fmla="*/ 2009 w 10000"/>
              <a:gd name="connsiteY71" fmla="*/ 4082 h 10000"/>
              <a:gd name="connsiteX72" fmla="*/ 1928 w 10000"/>
              <a:gd name="connsiteY72" fmla="*/ 3832 h 10000"/>
              <a:gd name="connsiteX73" fmla="*/ 1399 w 10000"/>
              <a:gd name="connsiteY73" fmla="*/ 3333 h 10000"/>
              <a:gd name="connsiteX74" fmla="*/ 873 w 10000"/>
              <a:gd name="connsiteY74" fmla="*/ 3166 h 10000"/>
              <a:gd name="connsiteX75" fmla="*/ 873 w 10000"/>
              <a:gd name="connsiteY75" fmla="*/ 3083 h 10000"/>
              <a:gd name="connsiteX76" fmla="*/ 702 w 10000"/>
              <a:gd name="connsiteY76" fmla="*/ 2997 h 10000"/>
              <a:gd name="connsiteX77" fmla="*/ 523 w 10000"/>
              <a:gd name="connsiteY77" fmla="*/ 3083 h 10000"/>
              <a:gd name="connsiteX78" fmla="*/ 523 w 10000"/>
              <a:gd name="connsiteY78" fmla="*/ 3166 h 10000"/>
              <a:gd name="connsiteX79" fmla="*/ 437 w 10000"/>
              <a:gd name="connsiteY79" fmla="*/ 3166 h 10000"/>
              <a:gd name="connsiteX80" fmla="*/ 263 w 10000"/>
              <a:gd name="connsiteY80" fmla="*/ 3333 h 10000"/>
              <a:gd name="connsiteX81" fmla="*/ 263 w 10000"/>
              <a:gd name="connsiteY81" fmla="*/ 3582 h 10000"/>
              <a:gd name="connsiteX82" fmla="*/ 437 w 10000"/>
              <a:gd name="connsiteY82" fmla="*/ 3748 h 10000"/>
              <a:gd name="connsiteX83" fmla="*/ 353 w 10000"/>
              <a:gd name="connsiteY83" fmla="*/ 3998 h 10000"/>
              <a:gd name="connsiteX84" fmla="*/ 437 w 10000"/>
              <a:gd name="connsiteY84" fmla="*/ 4417 h 10000"/>
              <a:gd name="connsiteX85" fmla="*/ 353 w 10000"/>
              <a:gd name="connsiteY85" fmla="*/ 4666 h 10000"/>
              <a:gd name="connsiteX86" fmla="*/ 523 w 10000"/>
              <a:gd name="connsiteY86" fmla="*/ 4916 h 10000"/>
              <a:gd name="connsiteX87" fmla="*/ 437 w 10000"/>
              <a:gd name="connsiteY87" fmla="*/ 5083 h 10000"/>
              <a:gd name="connsiteX88" fmla="*/ 611 w 10000"/>
              <a:gd name="connsiteY88" fmla="*/ 5250 h 10000"/>
              <a:gd name="connsiteX89" fmla="*/ 611 w 10000"/>
              <a:gd name="connsiteY89" fmla="*/ 5333 h 10000"/>
              <a:gd name="connsiteX90" fmla="*/ 353 w 10000"/>
              <a:gd name="connsiteY90" fmla="*/ 5750 h 10000"/>
              <a:gd name="connsiteX91" fmla="*/ 80 w 10000"/>
              <a:gd name="connsiteY91" fmla="*/ 5917 h 10000"/>
              <a:gd name="connsiteX92" fmla="*/ 172 w 10000"/>
              <a:gd name="connsiteY92" fmla="*/ 5917 h 10000"/>
              <a:gd name="connsiteX93" fmla="*/ 353 w 10000"/>
              <a:gd name="connsiteY93" fmla="*/ 6083 h 10000"/>
              <a:gd name="connsiteX94" fmla="*/ 172 w 10000"/>
              <a:gd name="connsiteY94" fmla="*/ 6249 h 10000"/>
              <a:gd name="connsiteX95" fmla="*/ 80 w 10000"/>
              <a:gd name="connsiteY95" fmla="*/ 6334 h 10000"/>
              <a:gd name="connsiteX96" fmla="*/ 0 w 10000"/>
              <a:gd name="connsiteY96" fmla="*/ 6334 h 10000"/>
              <a:gd name="connsiteX97" fmla="*/ 80 w 10000"/>
              <a:gd name="connsiteY97" fmla="*/ 6584 h 10000"/>
              <a:gd name="connsiteX98" fmla="*/ 80 w 10000"/>
              <a:gd name="connsiteY98" fmla="*/ 6667 h 10000"/>
              <a:gd name="connsiteX99" fmla="*/ 80 w 10000"/>
              <a:gd name="connsiteY99" fmla="*/ 6749 h 10000"/>
              <a:gd name="connsiteX100" fmla="*/ 80 w 10000"/>
              <a:gd name="connsiteY100" fmla="*/ 6834 h 10000"/>
              <a:gd name="connsiteX101" fmla="*/ 172 w 10000"/>
              <a:gd name="connsiteY101" fmla="*/ 6998 h 10000"/>
              <a:gd name="connsiteX102" fmla="*/ 437 w 10000"/>
              <a:gd name="connsiteY102" fmla="*/ 7083 h 10000"/>
              <a:gd name="connsiteX103" fmla="*/ 523 w 10000"/>
              <a:gd name="connsiteY103" fmla="*/ 7165 h 10000"/>
              <a:gd name="connsiteX104" fmla="*/ 523 w 10000"/>
              <a:gd name="connsiteY104" fmla="*/ 7334 h 10000"/>
              <a:gd name="connsiteX105" fmla="*/ 702 w 10000"/>
              <a:gd name="connsiteY105" fmla="*/ 7584 h 10000"/>
              <a:gd name="connsiteX106" fmla="*/ 793 w 10000"/>
              <a:gd name="connsiteY106" fmla="*/ 7584 h 10000"/>
              <a:gd name="connsiteX107" fmla="*/ 702 w 10000"/>
              <a:gd name="connsiteY107" fmla="*/ 7750 h 10000"/>
              <a:gd name="connsiteX108" fmla="*/ 611 w 10000"/>
              <a:gd name="connsiteY108" fmla="*/ 7668 h 10000"/>
              <a:gd name="connsiteX109" fmla="*/ 611 w 10000"/>
              <a:gd name="connsiteY109" fmla="*/ 7750 h 10000"/>
              <a:gd name="connsiteX110" fmla="*/ 702 w 10000"/>
              <a:gd name="connsiteY110" fmla="*/ 7916 h 10000"/>
              <a:gd name="connsiteX111" fmla="*/ 971 w 10000"/>
              <a:gd name="connsiteY111" fmla="*/ 7916 h 10000"/>
              <a:gd name="connsiteX112" fmla="*/ 1055 w 10000"/>
              <a:gd name="connsiteY112" fmla="*/ 8000 h 10000"/>
              <a:gd name="connsiteX113" fmla="*/ 971 w 10000"/>
              <a:gd name="connsiteY113" fmla="*/ 8000 h 10000"/>
              <a:gd name="connsiteX114" fmla="*/ 1055 w 10000"/>
              <a:gd name="connsiteY114" fmla="*/ 8082 h 10000"/>
              <a:gd name="connsiteX115" fmla="*/ 1139 w 10000"/>
              <a:gd name="connsiteY115" fmla="*/ 8082 h 10000"/>
              <a:gd name="connsiteX116" fmla="*/ 1224 w 10000"/>
              <a:gd name="connsiteY116" fmla="*/ 8249 h 10000"/>
              <a:gd name="connsiteX117" fmla="*/ 1315 w 10000"/>
              <a:gd name="connsiteY117" fmla="*/ 8332 h 10000"/>
              <a:gd name="connsiteX118" fmla="*/ 1399 w 10000"/>
              <a:gd name="connsiteY118" fmla="*/ 8249 h 10000"/>
              <a:gd name="connsiteX119" fmla="*/ 1843 w 10000"/>
              <a:gd name="connsiteY119" fmla="*/ 8500 h 10000"/>
              <a:gd name="connsiteX120" fmla="*/ 1757 w 10000"/>
              <a:gd name="connsiteY120" fmla="*/ 8833 h 10000"/>
              <a:gd name="connsiteX121" fmla="*/ 1668 w 10000"/>
              <a:gd name="connsiteY121" fmla="*/ 8750 h 10000"/>
              <a:gd name="connsiteX122" fmla="*/ 1574 w 10000"/>
              <a:gd name="connsiteY122" fmla="*/ 8833 h 10000"/>
              <a:gd name="connsiteX123" fmla="*/ 1574 w 10000"/>
              <a:gd name="connsiteY123" fmla="*/ 8999 h 10000"/>
              <a:gd name="connsiteX124" fmla="*/ 1668 w 10000"/>
              <a:gd name="connsiteY124" fmla="*/ 8917 h 10000"/>
              <a:gd name="connsiteX125" fmla="*/ 1757 w 10000"/>
              <a:gd name="connsiteY125" fmla="*/ 8999 h 10000"/>
              <a:gd name="connsiteX126" fmla="*/ 1494 w 10000"/>
              <a:gd name="connsiteY126" fmla="*/ 9083 h 10000"/>
              <a:gd name="connsiteX127" fmla="*/ 1574 w 10000"/>
              <a:gd name="connsiteY127" fmla="*/ 9167 h 10000"/>
              <a:gd name="connsiteX128" fmla="*/ 1399 w 10000"/>
              <a:gd name="connsiteY128" fmla="*/ 9333 h 10000"/>
              <a:gd name="connsiteX129" fmla="*/ 1315 w 10000"/>
              <a:gd name="connsiteY129" fmla="*/ 9333 h 10000"/>
              <a:gd name="connsiteX130" fmla="*/ 1399 w 10000"/>
              <a:gd name="connsiteY130" fmla="*/ 9333 h 10000"/>
              <a:gd name="connsiteX131" fmla="*/ 1757 w 10000"/>
              <a:gd name="connsiteY131" fmla="*/ 9668 h 10000"/>
              <a:gd name="connsiteX132" fmla="*/ 2195 w 10000"/>
              <a:gd name="connsiteY132" fmla="*/ 9668 h 10000"/>
              <a:gd name="connsiteX133" fmla="*/ 2369 w 10000"/>
              <a:gd name="connsiteY133" fmla="*/ 9750 h 10000"/>
              <a:gd name="connsiteX134" fmla="*/ 2543 w 10000"/>
              <a:gd name="connsiteY134" fmla="*/ 9750 h 10000"/>
              <a:gd name="connsiteX135" fmla="*/ 2721 w 10000"/>
              <a:gd name="connsiteY135" fmla="*/ 9918 h 10000"/>
              <a:gd name="connsiteX136" fmla="*/ 2807 w 10000"/>
              <a:gd name="connsiteY136" fmla="*/ 10000 h 10000"/>
              <a:gd name="connsiteX137" fmla="*/ 2891 w 10000"/>
              <a:gd name="connsiteY137" fmla="*/ 10000 h 10000"/>
              <a:gd name="connsiteX138" fmla="*/ 2984 w 10000"/>
              <a:gd name="connsiteY138" fmla="*/ 9918 h 10000"/>
              <a:gd name="connsiteX139" fmla="*/ 2807 w 10000"/>
              <a:gd name="connsiteY139" fmla="*/ 9750 h 10000"/>
              <a:gd name="connsiteX140" fmla="*/ 2807 w 10000"/>
              <a:gd name="connsiteY140" fmla="*/ 9584 h 10000"/>
              <a:gd name="connsiteX141" fmla="*/ 2721 w 10000"/>
              <a:gd name="connsiteY141" fmla="*/ 9416 h 10000"/>
              <a:gd name="connsiteX142" fmla="*/ 2891 w 10000"/>
              <a:gd name="connsiteY142" fmla="*/ 9167 h 10000"/>
              <a:gd name="connsiteX143" fmla="*/ 2984 w 10000"/>
              <a:gd name="connsiteY143" fmla="*/ 9250 h 10000"/>
              <a:gd name="connsiteX144" fmla="*/ 3069 w 10000"/>
              <a:gd name="connsiteY144" fmla="*/ 9167 h 10000"/>
              <a:gd name="connsiteX145" fmla="*/ 3069 w 10000"/>
              <a:gd name="connsiteY145" fmla="*/ 9083 h 10000"/>
              <a:gd name="connsiteX146" fmla="*/ 2984 w 10000"/>
              <a:gd name="connsiteY146" fmla="*/ 9083 h 10000"/>
              <a:gd name="connsiteX147" fmla="*/ 3069 w 10000"/>
              <a:gd name="connsiteY147" fmla="*/ 8999 h 10000"/>
              <a:gd name="connsiteX148" fmla="*/ 2984 w 10000"/>
              <a:gd name="connsiteY148" fmla="*/ 8833 h 10000"/>
              <a:gd name="connsiteX149" fmla="*/ 2807 w 10000"/>
              <a:gd name="connsiteY149" fmla="*/ 8833 h 10000"/>
              <a:gd name="connsiteX150" fmla="*/ 2721 w 10000"/>
              <a:gd name="connsiteY150" fmla="*/ 8667 h 10000"/>
              <a:gd name="connsiteX151" fmla="*/ 2807 w 10000"/>
              <a:gd name="connsiteY151" fmla="*/ 8249 h 10000"/>
              <a:gd name="connsiteX152" fmla="*/ 2984 w 10000"/>
              <a:gd name="connsiteY152" fmla="*/ 8418 h 10000"/>
              <a:gd name="connsiteX153" fmla="*/ 3069 w 10000"/>
              <a:gd name="connsiteY153" fmla="*/ 8418 h 10000"/>
              <a:gd name="connsiteX154" fmla="*/ 2984 w 10000"/>
              <a:gd name="connsiteY154" fmla="*/ 8249 h 10000"/>
              <a:gd name="connsiteX155" fmla="*/ 3249 w 10000"/>
              <a:gd name="connsiteY155" fmla="*/ 8000 h 10000"/>
              <a:gd name="connsiteX156" fmla="*/ 3426 w 10000"/>
              <a:gd name="connsiteY156" fmla="*/ 8082 h 10000"/>
              <a:gd name="connsiteX157" fmla="*/ 3511 w 10000"/>
              <a:gd name="connsiteY157" fmla="*/ 8000 h 10000"/>
              <a:gd name="connsiteX158" fmla="*/ 3678 w 10000"/>
              <a:gd name="connsiteY158" fmla="*/ 8082 h 10000"/>
              <a:gd name="connsiteX159" fmla="*/ 3953 w 10000"/>
              <a:gd name="connsiteY159" fmla="*/ 8249 h 10000"/>
              <a:gd name="connsiteX160" fmla="*/ 4121 w 10000"/>
              <a:gd name="connsiteY160" fmla="*/ 8167 h 10000"/>
              <a:gd name="connsiteX161" fmla="*/ 4300 w 10000"/>
              <a:gd name="connsiteY161" fmla="*/ 8167 h 10000"/>
              <a:gd name="connsiteX162" fmla="*/ 4389 w 10000"/>
              <a:gd name="connsiteY162" fmla="*/ 8249 h 10000"/>
              <a:gd name="connsiteX163" fmla="*/ 4740 w 10000"/>
              <a:gd name="connsiteY163" fmla="*/ 8249 h 10000"/>
              <a:gd name="connsiteX164" fmla="*/ 4823 w 10000"/>
              <a:gd name="connsiteY164" fmla="*/ 8082 h 10000"/>
              <a:gd name="connsiteX165" fmla="*/ 4557 w 10000"/>
              <a:gd name="connsiteY165" fmla="*/ 8000 h 10000"/>
              <a:gd name="connsiteX166" fmla="*/ 4740 w 10000"/>
              <a:gd name="connsiteY166" fmla="*/ 7916 h 10000"/>
              <a:gd name="connsiteX167" fmla="*/ 4647 w 10000"/>
              <a:gd name="connsiteY167" fmla="*/ 7833 h 10000"/>
              <a:gd name="connsiteX168" fmla="*/ 4740 w 10000"/>
              <a:gd name="connsiteY168" fmla="*/ 7750 h 10000"/>
              <a:gd name="connsiteX169" fmla="*/ 4740 w 10000"/>
              <a:gd name="connsiteY169" fmla="*/ 7500 h 10000"/>
              <a:gd name="connsiteX170" fmla="*/ 4908 w 10000"/>
              <a:gd name="connsiteY170" fmla="*/ 7584 h 10000"/>
              <a:gd name="connsiteX171" fmla="*/ 5701 w 10000"/>
              <a:gd name="connsiteY171" fmla="*/ 7334 h 10000"/>
              <a:gd name="connsiteX172" fmla="*/ 5701 w 10000"/>
              <a:gd name="connsiteY172" fmla="*/ 7250 h 10000"/>
              <a:gd name="connsiteX173" fmla="*/ 5793 w 10000"/>
              <a:gd name="connsiteY173" fmla="*/ 7250 h 10000"/>
              <a:gd name="connsiteX174" fmla="*/ 6046 w 10000"/>
              <a:gd name="connsiteY174" fmla="*/ 7250 h 10000"/>
              <a:gd name="connsiteX175" fmla="*/ 6145 w 10000"/>
              <a:gd name="connsiteY175" fmla="*/ 7417 h 10000"/>
              <a:gd name="connsiteX176" fmla="*/ 6145 w 10000"/>
              <a:gd name="connsiteY176" fmla="*/ 7500 h 10000"/>
              <a:gd name="connsiteX177" fmla="*/ 6228 w 10000"/>
              <a:gd name="connsiteY177" fmla="*/ 7500 h 10000"/>
              <a:gd name="connsiteX178" fmla="*/ 6401 w 10000"/>
              <a:gd name="connsiteY178" fmla="*/ 7584 h 10000"/>
              <a:gd name="connsiteX179" fmla="*/ 6401 w 10000"/>
              <a:gd name="connsiteY179" fmla="*/ 7668 h 10000"/>
              <a:gd name="connsiteX180" fmla="*/ 6577 w 10000"/>
              <a:gd name="connsiteY180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5528 w 10000"/>
              <a:gd name="connsiteY39" fmla="*/ 3416 h 10000"/>
              <a:gd name="connsiteX40" fmla="*/ 4557 w 10000"/>
              <a:gd name="connsiteY40" fmla="*/ 3416 h 10000"/>
              <a:gd name="connsiteX41" fmla="*/ 4480 w 10000"/>
              <a:gd name="connsiteY41" fmla="*/ 3333 h 10000"/>
              <a:gd name="connsiteX42" fmla="*/ 3953 w 10000"/>
              <a:gd name="connsiteY42" fmla="*/ 3500 h 10000"/>
              <a:gd name="connsiteX43" fmla="*/ 3865 w 10000"/>
              <a:gd name="connsiteY43" fmla="*/ 3665 h 10000"/>
              <a:gd name="connsiteX44" fmla="*/ 3777 w 10000"/>
              <a:gd name="connsiteY44" fmla="*/ 3500 h 10000"/>
              <a:gd name="connsiteX45" fmla="*/ 3777 w 10000"/>
              <a:gd name="connsiteY45" fmla="*/ 3333 h 10000"/>
              <a:gd name="connsiteX46" fmla="*/ 2891 w 10000"/>
              <a:gd name="connsiteY46" fmla="*/ 3832 h 10000"/>
              <a:gd name="connsiteX47" fmla="*/ 2891 w 10000"/>
              <a:gd name="connsiteY47" fmla="*/ 3998 h 10000"/>
              <a:gd name="connsiteX48" fmla="*/ 2721 w 10000"/>
              <a:gd name="connsiteY48" fmla="*/ 4082 h 10000"/>
              <a:gd name="connsiteX49" fmla="*/ 2458 w 10000"/>
              <a:gd name="connsiteY49" fmla="*/ 3916 h 10000"/>
              <a:gd name="connsiteX50" fmla="*/ 2721 w 10000"/>
              <a:gd name="connsiteY50" fmla="*/ 3748 h 10000"/>
              <a:gd name="connsiteX51" fmla="*/ 2627 w 10000"/>
              <a:gd name="connsiteY51" fmla="*/ 3500 h 10000"/>
              <a:gd name="connsiteX52" fmla="*/ 2281 w 10000"/>
              <a:gd name="connsiteY52" fmla="*/ 3416 h 10000"/>
              <a:gd name="connsiteX53" fmla="*/ 2369 w 10000"/>
              <a:gd name="connsiteY53" fmla="*/ 3582 h 10000"/>
              <a:gd name="connsiteX54" fmla="*/ 2369 w 10000"/>
              <a:gd name="connsiteY54" fmla="*/ 3998 h 10000"/>
              <a:gd name="connsiteX55" fmla="*/ 2458 w 10000"/>
              <a:gd name="connsiteY55" fmla="*/ 4167 h 10000"/>
              <a:gd name="connsiteX56" fmla="*/ 2369 w 10000"/>
              <a:gd name="connsiteY56" fmla="*/ 4334 h 10000"/>
              <a:gd name="connsiteX57" fmla="*/ 2100 w 10000"/>
              <a:gd name="connsiteY57" fmla="*/ 4250 h 10000"/>
              <a:gd name="connsiteX58" fmla="*/ 1757 w 10000"/>
              <a:gd name="connsiteY58" fmla="*/ 4498 h 10000"/>
              <a:gd name="connsiteX59" fmla="*/ 1928 w 10000"/>
              <a:gd name="connsiteY59" fmla="*/ 4833 h 10000"/>
              <a:gd name="connsiteX60" fmla="*/ 1399 w 10000"/>
              <a:gd name="connsiteY60" fmla="*/ 4666 h 10000"/>
              <a:gd name="connsiteX61" fmla="*/ 1315 w 10000"/>
              <a:gd name="connsiteY61" fmla="*/ 4748 h 10000"/>
              <a:gd name="connsiteX62" fmla="*/ 1494 w 10000"/>
              <a:gd name="connsiteY62" fmla="*/ 4999 h 10000"/>
              <a:gd name="connsiteX63" fmla="*/ 1315 w 10000"/>
              <a:gd name="connsiteY63" fmla="*/ 4999 h 10000"/>
              <a:gd name="connsiteX64" fmla="*/ 1055 w 10000"/>
              <a:gd name="connsiteY64" fmla="*/ 4833 h 10000"/>
              <a:gd name="connsiteX65" fmla="*/ 1055 w 10000"/>
              <a:gd name="connsiteY65" fmla="*/ 4334 h 10000"/>
              <a:gd name="connsiteX66" fmla="*/ 793 w 10000"/>
              <a:gd name="connsiteY66" fmla="*/ 4167 h 10000"/>
              <a:gd name="connsiteX67" fmla="*/ 702 w 10000"/>
              <a:gd name="connsiteY67" fmla="*/ 3998 h 10000"/>
              <a:gd name="connsiteX68" fmla="*/ 873 w 10000"/>
              <a:gd name="connsiteY68" fmla="*/ 4082 h 10000"/>
              <a:gd name="connsiteX69" fmla="*/ 1574 w 10000"/>
              <a:gd name="connsiteY69" fmla="*/ 4334 h 10000"/>
              <a:gd name="connsiteX70" fmla="*/ 2009 w 10000"/>
              <a:gd name="connsiteY70" fmla="*/ 4082 h 10000"/>
              <a:gd name="connsiteX71" fmla="*/ 1928 w 10000"/>
              <a:gd name="connsiteY71" fmla="*/ 3832 h 10000"/>
              <a:gd name="connsiteX72" fmla="*/ 1399 w 10000"/>
              <a:gd name="connsiteY72" fmla="*/ 3333 h 10000"/>
              <a:gd name="connsiteX73" fmla="*/ 873 w 10000"/>
              <a:gd name="connsiteY73" fmla="*/ 3166 h 10000"/>
              <a:gd name="connsiteX74" fmla="*/ 873 w 10000"/>
              <a:gd name="connsiteY74" fmla="*/ 3083 h 10000"/>
              <a:gd name="connsiteX75" fmla="*/ 702 w 10000"/>
              <a:gd name="connsiteY75" fmla="*/ 2997 h 10000"/>
              <a:gd name="connsiteX76" fmla="*/ 523 w 10000"/>
              <a:gd name="connsiteY76" fmla="*/ 3083 h 10000"/>
              <a:gd name="connsiteX77" fmla="*/ 523 w 10000"/>
              <a:gd name="connsiteY77" fmla="*/ 3166 h 10000"/>
              <a:gd name="connsiteX78" fmla="*/ 437 w 10000"/>
              <a:gd name="connsiteY78" fmla="*/ 3166 h 10000"/>
              <a:gd name="connsiteX79" fmla="*/ 263 w 10000"/>
              <a:gd name="connsiteY79" fmla="*/ 3333 h 10000"/>
              <a:gd name="connsiteX80" fmla="*/ 263 w 10000"/>
              <a:gd name="connsiteY80" fmla="*/ 3582 h 10000"/>
              <a:gd name="connsiteX81" fmla="*/ 437 w 10000"/>
              <a:gd name="connsiteY81" fmla="*/ 3748 h 10000"/>
              <a:gd name="connsiteX82" fmla="*/ 353 w 10000"/>
              <a:gd name="connsiteY82" fmla="*/ 3998 h 10000"/>
              <a:gd name="connsiteX83" fmla="*/ 437 w 10000"/>
              <a:gd name="connsiteY83" fmla="*/ 4417 h 10000"/>
              <a:gd name="connsiteX84" fmla="*/ 353 w 10000"/>
              <a:gd name="connsiteY84" fmla="*/ 4666 h 10000"/>
              <a:gd name="connsiteX85" fmla="*/ 523 w 10000"/>
              <a:gd name="connsiteY85" fmla="*/ 4916 h 10000"/>
              <a:gd name="connsiteX86" fmla="*/ 437 w 10000"/>
              <a:gd name="connsiteY86" fmla="*/ 5083 h 10000"/>
              <a:gd name="connsiteX87" fmla="*/ 611 w 10000"/>
              <a:gd name="connsiteY87" fmla="*/ 5250 h 10000"/>
              <a:gd name="connsiteX88" fmla="*/ 611 w 10000"/>
              <a:gd name="connsiteY88" fmla="*/ 5333 h 10000"/>
              <a:gd name="connsiteX89" fmla="*/ 353 w 10000"/>
              <a:gd name="connsiteY89" fmla="*/ 5750 h 10000"/>
              <a:gd name="connsiteX90" fmla="*/ 80 w 10000"/>
              <a:gd name="connsiteY90" fmla="*/ 5917 h 10000"/>
              <a:gd name="connsiteX91" fmla="*/ 172 w 10000"/>
              <a:gd name="connsiteY91" fmla="*/ 5917 h 10000"/>
              <a:gd name="connsiteX92" fmla="*/ 353 w 10000"/>
              <a:gd name="connsiteY92" fmla="*/ 6083 h 10000"/>
              <a:gd name="connsiteX93" fmla="*/ 172 w 10000"/>
              <a:gd name="connsiteY93" fmla="*/ 6249 h 10000"/>
              <a:gd name="connsiteX94" fmla="*/ 80 w 10000"/>
              <a:gd name="connsiteY94" fmla="*/ 6334 h 10000"/>
              <a:gd name="connsiteX95" fmla="*/ 0 w 10000"/>
              <a:gd name="connsiteY95" fmla="*/ 6334 h 10000"/>
              <a:gd name="connsiteX96" fmla="*/ 80 w 10000"/>
              <a:gd name="connsiteY96" fmla="*/ 6584 h 10000"/>
              <a:gd name="connsiteX97" fmla="*/ 80 w 10000"/>
              <a:gd name="connsiteY97" fmla="*/ 6667 h 10000"/>
              <a:gd name="connsiteX98" fmla="*/ 80 w 10000"/>
              <a:gd name="connsiteY98" fmla="*/ 6749 h 10000"/>
              <a:gd name="connsiteX99" fmla="*/ 80 w 10000"/>
              <a:gd name="connsiteY99" fmla="*/ 6834 h 10000"/>
              <a:gd name="connsiteX100" fmla="*/ 172 w 10000"/>
              <a:gd name="connsiteY100" fmla="*/ 6998 h 10000"/>
              <a:gd name="connsiteX101" fmla="*/ 437 w 10000"/>
              <a:gd name="connsiteY101" fmla="*/ 7083 h 10000"/>
              <a:gd name="connsiteX102" fmla="*/ 523 w 10000"/>
              <a:gd name="connsiteY102" fmla="*/ 7165 h 10000"/>
              <a:gd name="connsiteX103" fmla="*/ 523 w 10000"/>
              <a:gd name="connsiteY103" fmla="*/ 7334 h 10000"/>
              <a:gd name="connsiteX104" fmla="*/ 702 w 10000"/>
              <a:gd name="connsiteY104" fmla="*/ 7584 h 10000"/>
              <a:gd name="connsiteX105" fmla="*/ 793 w 10000"/>
              <a:gd name="connsiteY105" fmla="*/ 7584 h 10000"/>
              <a:gd name="connsiteX106" fmla="*/ 702 w 10000"/>
              <a:gd name="connsiteY106" fmla="*/ 7750 h 10000"/>
              <a:gd name="connsiteX107" fmla="*/ 611 w 10000"/>
              <a:gd name="connsiteY107" fmla="*/ 7668 h 10000"/>
              <a:gd name="connsiteX108" fmla="*/ 611 w 10000"/>
              <a:gd name="connsiteY108" fmla="*/ 7750 h 10000"/>
              <a:gd name="connsiteX109" fmla="*/ 702 w 10000"/>
              <a:gd name="connsiteY109" fmla="*/ 7916 h 10000"/>
              <a:gd name="connsiteX110" fmla="*/ 971 w 10000"/>
              <a:gd name="connsiteY110" fmla="*/ 7916 h 10000"/>
              <a:gd name="connsiteX111" fmla="*/ 1055 w 10000"/>
              <a:gd name="connsiteY111" fmla="*/ 8000 h 10000"/>
              <a:gd name="connsiteX112" fmla="*/ 971 w 10000"/>
              <a:gd name="connsiteY112" fmla="*/ 8000 h 10000"/>
              <a:gd name="connsiteX113" fmla="*/ 1055 w 10000"/>
              <a:gd name="connsiteY113" fmla="*/ 8082 h 10000"/>
              <a:gd name="connsiteX114" fmla="*/ 1139 w 10000"/>
              <a:gd name="connsiteY114" fmla="*/ 8082 h 10000"/>
              <a:gd name="connsiteX115" fmla="*/ 1224 w 10000"/>
              <a:gd name="connsiteY115" fmla="*/ 8249 h 10000"/>
              <a:gd name="connsiteX116" fmla="*/ 1315 w 10000"/>
              <a:gd name="connsiteY116" fmla="*/ 8332 h 10000"/>
              <a:gd name="connsiteX117" fmla="*/ 1399 w 10000"/>
              <a:gd name="connsiteY117" fmla="*/ 8249 h 10000"/>
              <a:gd name="connsiteX118" fmla="*/ 1843 w 10000"/>
              <a:gd name="connsiteY118" fmla="*/ 8500 h 10000"/>
              <a:gd name="connsiteX119" fmla="*/ 1757 w 10000"/>
              <a:gd name="connsiteY119" fmla="*/ 8833 h 10000"/>
              <a:gd name="connsiteX120" fmla="*/ 1668 w 10000"/>
              <a:gd name="connsiteY120" fmla="*/ 8750 h 10000"/>
              <a:gd name="connsiteX121" fmla="*/ 1574 w 10000"/>
              <a:gd name="connsiteY121" fmla="*/ 8833 h 10000"/>
              <a:gd name="connsiteX122" fmla="*/ 1574 w 10000"/>
              <a:gd name="connsiteY122" fmla="*/ 8999 h 10000"/>
              <a:gd name="connsiteX123" fmla="*/ 1668 w 10000"/>
              <a:gd name="connsiteY123" fmla="*/ 8917 h 10000"/>
              <a:gd name="connsiteX124" fmla="*/ 1757 w 10000"/>
              <a:gd name="connsiteY124" fmla="*/ 8999 h 10000"/>
              <a:gd name="connsiteX125" fmla="*/ 1494 w 10000"/>
              <a:gd name="connsiteY125" fmla="*/ 9083 h 10000"/>
              <a:gd name="connsiteX126" fmla="*/ 1574 w 10000"/>
              <a:gd name="connsiteY126" fmla="*/ 9167 h 10000"/>
              <a:gd name="connsiteX127" fmla="*/ 1399 w 10000"/>
              <a:gd name="connsiteY127" fmla="*/ 9333 h 10000"/>
              <a:gd name="connsiteX128" fmla="*/ 1315 w 10000"/>
              <a:gd name="connsiteY128" fmla="*/ 9333 h 10000"/>
              <a:gd name="connsiteX129" fmla="*/ 1399 w 10000"/>
              <a:gd name="connsiteY129" fmla="*/ 9333 h 10000"/>
              <a:gd name="connsiteX130" fmla="*/ 1757 w 10000"/>
              <a:gd name="connsiteY130" fmla="*/ 9668 h 10000"/>
              <a:gd name="connsiteX131" fmla="*/ 2195 w 10000"/>
              <a:gd name="connsiteY131" fmla="*/ 9668 h 10000"/>
              <a:gd name="connsiteX132" fmla="*/ 2369 w 10000"/>
              <a:gd name="connsiteY132" fmla="*/ 9750 h 10000"/>
              <a:gd name="connsiteX133" fmla="*/ 2543 w 10000"/>
              <a:gd name="connsiteY133" fmla="*/ 9750 h 10000"/>
              <a:gd name="connsiteX134" fmla="*/ 2721 w 10000"/>
              <a:gd name="connsiteY134" fmla="*/ 9918 h 10000"/>
              <a:gd name="connsiteX135" fmla="*/ 2807 w 10000"/>
              <a:gd name="connsiteY135" fmla="*/ 10000 h 10000"/>
              <a:gd name="connsiteX136" fmla="*/ 2891 w 10000"/>
              <a:gd name="connsiteY136" fmla="*/ 10000 h 10000"/>
              <a:gd name="connsiteX137" fmla="*/ 2984 w 10000"/>
              <a:gd name="connsiteY137" fmla="*/ 9918 h 10000"/>
              <a:gd name="connsiteX138" fmla="*/ 2807 w 10000"/>
              <a:gd name="connsiteY138" fmla="*/ 9750 h 10000"/>
              <a:gd name="connsiteX139" fmla="*/ 2807 w 10000"/>
              <a:gd name="connsiteY139" fmla="*/ 9584 h 10000"/>
              <a:gd name="connsiteX140" fmla="*/ 2721 w 10000"/>
              <a:gd name="connsiteY140" fmla="*/ 9416 h 10000"/>
              <a:gd name="connsiteX141" fmla="*/ 2891 w 10000"/>
              <a:gd name="connsiteY141" fmla="*/ 9167 h 10000"/>
              <a:gd name="connsiteX142" fmla="*/ 2984 w 10000"/>
              <a:gd name="connsiteY142" fmla="*/ 9250 h 10000"/>
              <a:gd name="connsiteX143" fmla="*/ 3069 w 10000"/>
              <a:gd name="connsiteY143" fmla="*/ 9167 h 10000"/>
              <a:gd name="connsiteX144" fmla="*/ 3069 w 10000"/>
              <a:gd name="connsiteY144" fmla="*/ 9083 h 10000"/>
              <a:gd name="connsiteX145" fmla="*/ 2984 w 10000"/>
              <a:gd name="connsiteY145" fmla="*/ 9083 h 10000"/>
              <a:gd name="connsiteX146" fmla="*/ 3069 w 10000"/>
              <a:gd name="connsiteY146" fmla="*/ 8999 h 10000"/>
              <a:gd name="connsiteX147" fmla="*/ 2984 w 10000"/>
              <a:gd name="connsiteY147" fmla="*/ 8833 h 10000"/>
              <a:gd name="connsiteX148" fmla="*/ 2807 w 10000"/>
              <a:gd name="connsiteY148" fmla="*/ 8833 h 10000"/>
              <a:gd name="connsiteX149" fmla="*/ 2721 w 10000"/>
              <a:gd name="connsiteY149" fmla="*/ 8667 h 10000"/>
              <a:gd name="connsiteX150" fmla="*/ 2807 w 10000"/>
              <a:gd name="connsiteY150" fmla="*/ 8249 h 10000"/>
              <a:gd name="connsiteX151" fmla="*/ 2984 w 10000"/>
              <a:gd name="connsiteY151" fmla="*/ 8418 h 10000"/>
              <a:gd name="connsiteX152" fmla="*/ 3069 w 10000"/>
              <a:gd name="connsiteY152" fmla="*/ 8418 h 10000"/>
              <a:gd name="connsiteX153" fmla="*/ 2984 w 10000"/>
              <a:gd name="connsiteY153" fmla="*/ 8249 h 10000"/>
              <a:gd name="connsiteX154" fmla="*/ 3249 w 10000"/>
              <a:gd name="connsiteY154" fmla="*/ 8000 h 10000"/>
              <a:gd name="connsiteX155" fmla="*/ 3426 w 10000"/>
              <a:gd name="connsiteY155" fmla="*/ 8082 h 10000"/>
              <a:gd name="connsiteX156" fmla="*/ 3511 w 10000"/>
              <a:gd name="connsiteY156" fmla="*/ 8000 h 10000"/>
              <a:gd name="connsiteX157" fmla="*/ 3678 w 10000"/>
              <a:gd name="connsiteY157" fmla="*/ 8082 h 10000"/>
              <a:gd name="connsiteX158" fmla="*/ 3953 w 10000"/>
              <a:gd name="connsiteY158" fmla="*/ 8249 h 10000"/>
              <a:gd name="connsiteX159" fmla="*/ 4121 w 10000"/>
              <a:gd name="connsiteY159" fmla="*/ 8167 h 10000"/>
              <a:gd name="connsiteX160" fmla="*/ 4300 w 10000"/>
              <a:gd name="connsiteY160" fmla="*/ 8167 h 10000"/>
              <a:gd name="connsiteX161" fmla="*/ 4389 w 10000"/>
              <a:gd name="connsiteY161" fmla="*/ 8249 h 10000"/>
              <a:gd name="connsiteX162" fmla="*/ 4740 w 10000"/>
              <a:gd name="connsiteY162" fmla="*/ 8249 h 10000"/>
              <a:gd name="connsiteX163" fmla="*/ 4823 w 10000"/>
              <a:gd name="connsiteY163" fmla="*/ 8082 h 10000"/>
              <a:gd name="connsiteX164" fmla="*/ 4557 w 10000"/>
              <a:gd name="connsiteY164" fmla="*/ 8000 h 10000"/>
              <a:gd name="connsiteX165" fmla="*/ 4740 w 10000"/>
              <a:gd name="connsiteY165" fmla="*/ 7916 h 10000"/>
              <a:gd name="connsiteX166" fmla="*/ 4647 w 10000"/>
              <a:gd name="connsiteY166" fmla="*/ 7833 h 10000"/>
              <a:gd name="connsiteX167" fmla="*/ 4740 w 10000"/>
              <a:gd name="connsiteY167" fmla="*/ 7750 h 10000"/>
              <a:gd name="connsiteX168" fmla="*/ 4740 w 10000"/>
              <a:gd name="connsiteY168" fmla="*/ 7500 h 10000"/>
              <a:gd name="connsiteX169" fmla="*/ 4908 w 10000"/>
              <a:gd name="connsiteY169" fmla="*/ 7584 h 10000"/>
              <a:gd name="connsiteX170" fmla="*/ 5701 w 10000"/>
              <a:gd name="connsiteY170" fmla="*/ 7334 h 10000"/>
              <a:gd name="connsiteX171" fmla="*/ 5701 w 10000"/>
              <a:gd name="connsiteY171" fmla="*/ 7250 h 10000"/>
              <a:gd name="connsiteX172" fmla="*/ 5793 w 10000"/>
              <a:gd name="connsiteY172" fmla="*/ 7250 h 10000"/>
              <a:gd name="connsiteX173" fmla="*/ 6046 w 10000"/>
              <a:gd name="connsiteY173" fmla="*/ 7250 h 10000"/>
              <a:gd name="connsiteX174" fmla="*/ 6145 w 10000"/>
              <a:gd name="connsiteY174" fmla="*/ 7417 h 10000"/>
              <a:gd name="connsiteX175" fmla="*/ 6145 w 10000"/>
              <a:gd name="connsiteY175" fmla="*/ 7500 h 10000"/>
              <a:gd name="connsiteX176" fmla="*/ 6228 w 10000"/>
              <a:gd name="connsiteY176" fmla="*/ 7500 h 10000"/>
              <a:gd name="connsiteX177" fmla="*/ 6401 w 10000"/>
              <a:gd name="connsiteY177" fmla="*/ 7584 h 10000"/>
              <a:gd name="connsiteX178" fmla="*/ 6401 w 10000"/>
              <a:gd name="connsiteY178" fmla="*/ 7668 h 10000"/>
              <a:gd name="connsiteX179" fmla="*/ 6577 w 10000"/>
              <a:gd name="connsiteY179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5793 w 10000"/>
              <a:gd name="connsiteY38" fmla="*/ 3582 h 10000"/>
              <a:gd name="connsiteX39" fmla="*/ 4557 w 10000"/>
              <a:gd name="connsiteY39" fmla="*/ 3416 h 10000"/>
              <a:gd name="connsiteX40" fmla="*/ 4480 w 10000"/>
              <a:gd name="connsiteY40" fmla="*/ 3333 h 10000"/>
              <a:gd name="connsiteX41" fmla="*/ 3953 w 10000"/>
              <a:gd name="connsiteY41" fmla="*/ 3500 h 10000"/>
              <a:gd name="connsiteX42" fmla="*/ 3865 w 10000"/>
              <a:gd name="connsiteY42" fmla="*/ 3665 h 10000"/>
              <a:gd name="connsiteX43" fmla="*/ 3777 w 10000"/>
              <a:gd name="connsiteY43" fmla="*/ 3500 h 10000"/>
              <a:gd name="connsiteX44" fmla="*/ 3777 w 10000"/>
              <a:gd name="connsiteY44" fmla="*/ 3333 h 10000"/>
              <a:gd name="connsiteX45" fmla="*/ 2891 w 10000"/>
              <a:gd name="connsiteY45" fmla="*/ 3832 h 10000"/>
              <a:gd name="connsiteX46" fmla="*/ 2891 w 10000"/>
              <a:gd name="connsiteY46" fmla="*/ 3998 h 10000"/>
              <a:gd name="connsiteX47" fmla="*/ 2721 w 10000"/>
              <a:gd name="connsiteY47" fmla="*/ 4082 h 10000"/>
              <a:gd name="connsiteX48" fmla="*/ 2458 w 10000"/>
              <a:gd name="connsiteY48" fmla="*/ 3916 h 10000"/>
              <a:gd name="connsiteX49" fmla="*/ 2721 w 10000"/>
              <a:gd name="connsiteY49" fmla="*/ 3748 h 10000"/>
              <a:gd name="connsiteX50" fmla="*/ 2627 w 10000"/>
              <a:gd name="connsiteY50" fmla="*/ 3500 h 10000"/>
              <a:gd name="connsiteX51" fmla="*/ 2281 w 10000"/>
              <a:gd name="connsiteY51" fmla="*/ 3416 h 10000"/>
              <a:gd name="connsiteX52" fmla="*/ 2369 w 10000"/>
              <a:gd name="connsiteY52" fmla="*/ 3582 h 10000"/>
              <a:gd name="connsiteX53" fmla="*/ 2369 w 10000"/>
              <a:gd name="connsiteY53" fmla="*/ 3998 h 10000"/>
              <a:gd name="connsiteX54" fmla="*/ 2458 w 10000"/>
              <a:gd name="connsiteY54" fmla="*/ 4167 h 10000"/>
              <a:gd name="connsiteX55" fmla="*/ 2369 w 10000"/>
              <a:gd name="connsiteY55" fmla="*/ 4334 h 10000"/>
              <a:gd name="connsiteX56" fmla="*/ 2100 w 10000"/>
              <a:gd name="connsiteY56" fmla="*/ 4250 h 10000"/>
              <a:gd name="connsiteX57" fmla="*/ 1757 w 10000"/>
              <a:gd name="connsiteY57" fmla="*/ 4498 h 10000"/>
              <a:gd name="connsiteX58" fmla="*/ 1928 w 10000"/>
              <a:gd name="connsiteY58" fmla="*/ 4833 h 10000"/>
              <a:gd name="connsiteX59" fmla="*/ 1399 w 10000"/>
              <a:gd name="connsiteY59" fmla="*/ 4666 h 10000"/>
              <a:gd name="connsiteX60" fmla="*/ 1315 w 10000"/>
              <a:gd name="connsiteY60" fmla="*/ 4748 h 10000"/>
              <a:gd name="connsiteX61" fmla="*/ 1494 w 10000"/>
              <a:gd name="connsiteY61" fmla="*/ 4999 h 10000"/>
              <a:gd name="connsiteX62" fmla="*/ 1315 w 10000"/>
              <a:gd name="connsiteY62" fmla="*/ 4999 h 10000"/>
              <a:gd name="connsiteX63" fmla="*/ 1055 w 10000"/>
              <a:gd name="connsiteY63" fmla="*/ 4833 h 10000"/>
              <a:gd name="connsiteX64" fmla="*/ 1055 w 10000"/>
              <a:gd name="connsiteY64" fmla="*/ 4334 h 10000"/>
              <a:gd name="connsiteX65" fmla="*/ 793 w 10000"/>
              <a:gd name="connsiteY65" fmla="*/ 4167 h 10000"/>
              <a:gd name="connsiteX66" fmla="*/ 702 w 10000"/>
              <a:gd name="connsiteY66" fmla="*/ 3998 h 10000"/>
              <a:gd name="connsiteX67" fmla="*/ 873 w 10000"/>
              <a:gd name="connsiteY67" fmla="*/ 4082 h 10000"/>
              <a:gd name="connsiteX68" fmla="*/ 1574 w 10000"/>
              <a:gd name="connsiteY68" fmla="*/ 4334 h 10000"/>
              <a:gd name="connsiteX69" fmla="*/ 2009 w 10000"/>
              <a:gd name="connsiteY69" fmla="*/ 4082 h 10000"/>
              <a:gd name="connsiteX70" fmla="*/ 1928 w 10000"/>
              <a:gd name="connsiteY70" fmla="*/ 3832 h 10000"/>
              <a:gd name="connsiteX71" fmla="*/ 1399 w 10000"/>
              <a:gd name="connsiteY71" fmla="*/ 3333 h 10000"/>
              <a:gd name="connsiteX72" fmla="*/ 873 w 10000"/>
              <a:gd name="connsiteY72" fmla="*/ 3166 h 10000"/>
              <a:gd name="connsiteX73" fmla="*/ 873 w 10000"/>
              <a:gd name="connsiteY73" fmla="*/ 3083 h 10000"/>
              <a:gd name="connsiteX74" fmla="*/ 702 w 10000"/>
              <a:gd name="connsiteY74" fmla="*/ 2997 h 10000"/>
              <a:gd name="connsiteX75" fmla="*/ 523 w 10000"/>
              <a:gd name="connsiteY75" fmla="*/ 3083 h 10000"/>
              <a:gd name="connsiteX76" fmla="*/ 523 w 10000"/>
              <a:gd name="connsiteY76" fmla="*/ 3166 h 10000"/>
              <a:gd name="connsiteX77" fmla="*/ 437 w 10000"/>
              <a:gd name="connsiteY77" fmla="*/ 3166 h 10000"/>
              <a:gd name="connsiteX78" fmla="*/ 263 w 10000"/>
              <a:gd name="connsiteY78" fmla="*/ 3333 h 10000"/>
              <a:gd name="connsiteX79" fmla="*/ 263 w 10000"/>
              <a:gd name="connsiteY79" fmla="*/ 3582 h 10000"/>
              <a:gd name="connsiteX80" fmla="*/ 437 w 10000"/>
              <a:gd name="connsiteY80" fmla="*/ 3748 h 10000"/>
              <a:gd name="connsiteX81" fmla="*/ 353 w 10000"/>
              <a:gd name="connsiteY81" fmla="*/ 3998 h 10000"/>
              <a:gd name="connsiteX82" fmla="*/ 437 w 10000"/>
              <a:gd name="connsiteY82" fmla="*/ 4417 h 10000"/>
              <a:gd name="connsiteX83" fmla="*/ 353 w 10000"/>
              <a:gd name="connsiteY83" fmla="*/ 4666 h 10000"/>
              <a:gd name="connsiteX84" fmla="*/ 523 w 10000"/>
              <a:gd name="connsiteY84" fmla="*/ 4916 h 10000"/>
              <a:gd name="connsiteX85" fmla="*/ 437 w 10000"/>
              <a:gd name="connsiteY85" fmla="*/ 5083 h 10000"/>
              <a:gd name="connsiteX86" fmla="*/ 611 w 10000"/>
              <a:gd name="connsiteY86" fmla="*/ 5250 h 10000"/>
              <a:gd name="connsiteX87" fmla="*/ 611 w 10000"/>
              <a:gd name="connsiteY87" fmla="*/ 5333 h 10000"/>
              <a:gd name="connsiteX88" fmla="*/ 353 w 10000"/>
              <a:gd name="connsiteY88" fmla="*/ 5750 h 10000"/>
              <a:gd name="connsiteX89" fmla="*/ 80 w 10000"/>
              <a:gd name="connsiteY89" fmla="*/ 5917 h 10000"/>
              <a:gd name="connsiteX90" fmla="*/ 172 w 10000"/>
              <a:gd name="connsiteY90" fmla="*/ 5917 h 10000"/>
              <a:gd name="connsiteX91" fmla="*/ 353 w 10000"/>
              <a:gd name="connsiteY91" fmla="*/ 6083 h 10000"/>
              <a:gd name="connsiteX92" fmla="*/ 172 w 10000"/>
              <a:gd name="connsiteY92" fmla="*/ 6249 h 10000"/>
              <a:gd name="connsiteX93" fmla="*/ 80 w 10000"/>
              <a:gd name="connsiteY93" fmla="*/ 6334 h 10000"/>
              <a:gd name="connsiteX94" fmla="*/ 0 w 10000"/>
              <a:gd name="connsiteY94" fmla="*/ 6334 h 10000"/>
              <a:gd name="connsiteX95" fmla="*/ 80 w 10000"/>
              <a:gd name="connsiteY95" fmla="*/ 6584 h 10000"/>
              <a:gd name="connsiteX96" fmla="*/ 80 w 10000"/>
              <a:gd name="connsiteY96" fmla="*/ 6667 h 10000"/>
              <a:gd name="connsiteX97" fmla="*/ 80 w 10000"/>
              <a:gd name="connsiteY97" fmla="*/ 6749 h 10000"/>
              <a:gd name="connsiteX98" fmla="*/ 80 w 10000"/>
              <a:gd name="connsiteY98" fmla="*/ 6834 h 10000"/>
              <a:gd name="connsiteX99" fmla="*/ 172 w 10000"/>
              <a:gd name="connsiteY99" fmla="*/ 6998 h 10000"/>
              <a:gd name="connsiteX100" fmla="*/ 437 w 10000"/>
              <a:gd name="connsiteY100" fmla="*/ 7083 h 10000"/>
              <a:gd name="connsiteX101" fmla="*/ 523 w 10000"/>
              <a:gd name="connsiteY101" fmla="*/ 7165 h 10000"/>
              <a:gd name="connsiteX102" fmla="*/ 523 w 10000"/>
              <a:gd name="connsiteY102" fmla="*/ 7334 h 10000"/>
              <a:gd name="connsiteX103" fmla="*/ 702 w 10000"/>
              <a:gd name="connsiteY103" fmla="*/ 7584 h 10000"/>
              <a:gd name="connsiteX104" fmla="*/ 793 w 10000"/>
              <a:gd name="connsiteY104" fmla="*/ 7584 h 10000"/>
              <a:gd name="connsiteX105" fmla="*/ 702 w 10000"/>
              <a:gd name="connsiteY105" fmla="*/ 7750 h 10000"/>
              <a:gd name="connsiteX106" fmla="*/ 611 w 10000"/>
              <a:gd name="connsiteY106" fmla="*/ 7668 h 10000"/>
              <a:gd name="connsiteX107" fmla="*/ 611 w 10000"/>
              <a:gd name="connsiteY107" fmla="*/ 7750 h 10000"/>
              <a:gd name="connsiteX108" fmla="*/ 702 w 10000"/>
              <a:gd name="connsiteY108" fmla="*/ 7916 h 10000"/>
              <a:gd name="connsiteX109" fmla="*/ 971 w 10000"/>
              <a:gd name="connsiteY109" fmla="*/ 7916 h 10000"/>
              <a:gd name="connsiteX110" fmla="*/ 1055 w 10000"/>
              <a:gd name="connsiteY110" fmla="*/ 8000 h 10000"/>
              <a:gd name="connsiteX111" fmla="*/ 971 w 10000"/>
              <a:gd name="connsiteY111" fmla="*/ 8000 h 10000"/>
              <a:gd name="connsiteX112" fmla="*/ 1055 w 10000"/>
              <a:gd name="connsiteY112" fmla="*/ 8082 h 10000"/>
              <a:gd name="connsiteX113" fmla="*/ 1139 w 10000"/>
              <a:gd name="connsiteY113" fmla="*/ 8082 h 10000"/>
              <a:gd name="connsiteX114" fmla="*/ 1224 w 10000"/>
              <a:gd name="connsiteY114" fmla="*/ 8249 h 10000"/>
              <a:gd name="connsiteX115" fmla="*/ 1315 w 10000"/>
              <a:gd name="connsiteY115" fmla="*/ 8332 h 10000"/>
              <a:gd name="connsiteX116" fmla="*/ 1399 w 10000"/>
              <a:gd name="connsiteY116" fmla="*/ 8249 h 10000"/>
              <a:gd name="connsiteX117" fmla="*/ 1843 w 10000"/>
              <a:gd name="connsiteY117" fmla="*/ 8500 h 10000"/>
              <a:gd name="connsiteX118" fmla="*/ 1757 w 10000"/>
              <a:gd name="connsiteY118" fmla="*/ 8833 h 10000"/>
              <a:gd name="connsiteX119" fmla="*/ 1668 w 10000"/>
              <a:gd name="connsiteY119" fmla="*/ 8750 h 10000"/>
              <a:gd name="connsiteX120" fmla="*/ 1574 w 10000"/>
              <a:gd name="connsiteY120" fmla="*/ 8833 h 10000"/>
              <a:gd name="connsiteX121" fmla="*/ 1574 w 10000"/>
              <a:gd name="connsiteY121" fmla="*/ 8999 h 10000"/>
              <a:gd name="connsiteX122" fmla="*/ 1668 w 10000"/>
              <a:gd name="connsiteY122" fmla="*/ 8917 h 10000"/>
              <a:gd name="connsiteX123" fmla="*/ 1757 w 10000"/>
              <a:gd name="connsiteY123" fmla="*/ 8999 h 10000"/>
              <a:gd name="connsiteX124" fmla="*/ 1494 w 10000"/>
              <a:gd name="connsiteY124" fmla="*/ 9083 h 10000"/>
              <a:gd name="connsiteX125" fmla="*/ 1574 w 10000"/>
              <a:gd name="connsiteY125" fmla="*/ 9167 h 10000"/>
              <a:gd name="connsiteX126" fmla="*/ 1399 w 10000"/>
              <a:gd name="connsiteY126" fmla="*/ 9333 h 10000"/>
              <a:gd name="connsiteX127" fmla="*/ 1315 w 10000"/>
              <a:gd name="connsiteY127" fmla="*/ 9333 h 10000"/>
              <a:gd name="connsiteX128" fmla="*/ 1399 w 10000"/>
              <a:gd name="connsiteY128" fmla="*/ 9333 h 10000"/>
              <a:gd name="connsiteX129" fmla="*/ 1757 w 10000"/>
              <a:gd name="connsiteY129" fmla="*/ 9668 h 10000"/>
              <a:gd name="connsiteX130" fmla="*/ 2195 w 10000"/>
              <a:gd name="connsiteY130" fmla="*/ 9668 h 10000"/>
              <a:gd name="connsiteX131" fmla="*/ 2369 w 10000"/>
              <a:gd name="connsiteY131" fmla="*/ 9750 h 10000"/>
              <a:gd name="connsiteX132" fmla="*/ 2543 w 10000"/>
              <a:gd name="connsiteY132" fmla="*/ 9750 h 10000"/>
              <a:gd name="connsiteX133" fmla="*/ 2721 w 10000"/>
              <a:gd name="connsiteY133" fmla="*/ 9918 h 10000"/>
              <a:gd name="connsiteX134" fmla="*/ 2807 w 10000"/>
              <a:gd name="connsiteY134" fmla="*/ 10000 h 10000"/>
              <a:gd name="connsiteX135" fmla="*/ 2891 w 10000"/>
              <a:gd name="connsiteY135" fmla="*/ 10000 h 10000"/>
              <a:gd name="connsiteX136" fmla="*/ 2984 w 10000"/>
              <a:gd name="connsiteY136" fmla="*/ 9918 h 10000"/>
              <a:gd name="connsiteX137" fmla="*/ 2807 w 10000"/>
              <a:gd name="connsiteY137" fmla="*/ 9750 h 10000"/>
              <a:gd name="connsiteX138" fmla="*/ 2807 w 10000"/>
              <a:gd name="connsiteY138" fmla="*/ 9584 h 10000"/>
              <a:gd name="connsiteX139" fmla="*/ 2721 w 10000"/>
              <a:gd name="connsiteY139" fmla="*/ 9416 h 10000"/>
              <a:gd name="connsiteX140" fmla="*/ 2891 w 10000"/>
              <a:gd name="connsiteY140" fmla="*/ 9167 h 10000"/>
              <a:gd name="connsiteX141" fmla="*/ 2984 w 10000"/>
              <a:gd name="connsiteY141" fmla="*/ 9250 h 10000"/>
              <a:gd name="connsiteX142" fmla="*/ 3069 w 10000"/>
              <a:gd name="connsiteY142" fmla="*/ 9167 h 10000"/>
              <a:gd name="connsiteX143" fmla="*/ 3069 w 10000"/>
              <a:gd name="connsiteY143" fmla="*/ 9083 h 10000"/>
              <a:gd name="connsiteX144" fmla="*/ 2984 w 10000"/>
              <a:gd name="connsiteY144" fmla="*/ 9083 h 10000"/>
              <a:gd name="connsiteX145" fmla="*/ 3069 w 10000"/>
              <a:gd name="connsiteY145" fmla="*/ 8999 h 10000"/>
              <a:gd name="connsiteX146" fmla="*/ 2984 w 10000"/>
              <a:gd name="connsiteY146" fmla="*/ 8833 h 10000"/>
              <a:gd name="connsiteX147" fmla="*/ 2807 w 10000"/>
              <a:gd name="connsiteY147" fmla="*/ 8833 h 10000"/>
              <a:gd name="connsiteX148" fmla="*/ 2721 w 10000"/>
              <a:gd name="connsiteY148" fmla="*/ 8667 h 10000"/>
              <a:gd name="connsiteX149" fmla="*/ 2807 w 10000"/>
              <a:gd name="connsiteY149" fmla="*/ 8249 h 10000"/>
              <a:gd name="connsiteX150" fmla="*/ 2984 w 10000"/>
              <a:gd name="connsiteY150" fmla="*/ 8418 h 10000"/>
              <a:gd name="connsiteX151" fmla="*/ 3069 w 10000"/>
              <a:gd name="connsiteY151" fmla="*/ 8418 h 10000"/>
              <a:gd name="connsiteX152" fmla="*/ 2984 w 10000"/>
              <a:gd name="connsiteY152" fmla="*/ 8249 h 10000"/>
              <a:gd name="connsiteX153" fmla="*/ 3249 w 10000"/>
              <a:gd name="connsiteY153" fmla="*/ 8000 h 10000"/>
              <a:gd name="connsiteX154" fmla="*/ 3426 w 10000"/>
              <a:gd name="connsiteY154" fmla="*/ 8082 h 10000"/>
              <a:gd name="connsiteX155" fmla="*/ 3511 w 10000"/>
              <a:gd name="connsiteY155" fmla="*/ 8000 h 10000"/>
              <a:gd name="connsiteX156" fmla="*/ 3678 w 10000"/>
              <a:gd name="connsiteY156" fmla="*/ 8082 h 10000"/>
              <a:gd name="connsiteX157" fmla="*/ 3953 w 10000"/>
              <a:gd name="connsiteY157" fmla="*/ 8249 h 10000"/>
              <a:gd name="connsiteX158" fmla="*/ 4121 w 10000"/>
              <a:gd name="connsiteY158" fmla="*/ 8167 h 10000"/>
              <a:gd name="connsiteX159" fmla="*/ 4300 w 10000"/>
              <a:gd name="connsiteY159" fmla="*/ 8167 h 10000"/>
              <a:gd name="connsiteX160" fmla="*/ 4389 w 10000"/>
              <a:gd name="connsiteY160" fmla="*/ 8249 h 10000"/>
              <a:gd name="connsiteX161" fmla="*/ 4740 w 10000"/>
              <a:gd name="connsiteY161" fmla="*/ 8249 h 10000"/>
              <a:gd name="connsiteX162" fmla="*/ 4823 w 10000"/>
              <a:gd name="connsiteY162" fmla="*/ 8082 h 10000"/>
              <a:gd name="connsiteX163" fmla="*/ 4557 w 10000"/>
              <a:gd name="connsiteY163" fmla="*/ 8000 h 10000"/>
              <a:gd name="connsiteX164" fmla="*/ 4740 w 10000"/>
              <a:gd name="connsiteY164" fmla="*/ 7916 h 10000"/>
              <a:gd name="connsiteX165" fmla="*/ 4647 w 10000"/>
              <a:gd name="connsiteY165" fmla="*/ 7833 h 10000"/>
              <a:gd name="connsiteX166" fmla="*/ 4740 w 10000"/>
              <a:gd name="connsiteY166" fmla="*/ 7750 h 10000"/>
              <a:gd name="connsiteX167" fmla="*/ 4740 w 10000"/>
              <a:gd name="connsiteY167" fmla="*/ 7500 h 10000"/>
              <a:gd name="connsiteX168" fmla="*/ 4908 w 10000"/>
              <a:gd name="connsiteY168" fmla="*/ 7584 h 10000"/>
              <a:gd name="connsiteX169" fmla="*/ 5701 w 10000"/>
              <a:gd name="connsiteY169" fmla="*/ 7334 h 10000"/>
              <a:gd name="connsiteX170" fmla="*/ 5701 w 10000"/>
              <a:gd name="connsiteY170" fmla="*/ 7250 h 10000"/>
              <a:gd name="connsiteX171" fmla="*/ 5793 w 10000"/>
              <a:gd name="connsiteY171" fmla="*/ 7250 h 10000"/>
              <a:gd name="connsiteX172" fmla="*/ 6046 w 10000"/>
              <a:gd name="connsiteY172" fmla="*/ 7250 h 10000"/>
              <a:gd name="connsiteX173" fmla="*/ 6145 w 10000"/>
              <a:gd name="connsiteY173" fmla="*/ 7417 h 10000"/>
              <a:gd name="connsiteX174" fmla="*/ 6145 w 10000"/>
              <a:gd name="connsiteY174" fmla="*/ 7500 h 10000"/>
              <a:gd name="connsiteX175" fmla="*/ 6228 w 10000"/>
              <a:gd name="connsiteY175" fmla="*/ 7500 h 10000"/>
              <a:gd name="connsiteX176" fmla="*/ 6401 w 10000"/>
              <a:gd name="connsiteY176" fmla="*/ 7584 h 10000"/>
              <a:gd name="connsiteX177" fmla="*/ 6401 w 10000"/>
              <a:gd name="connsiteY177" fmla="*/ 7668 h 10000"/>
              <a:gd name="connsiteX178" fmla="*/ 6577 w 10000"/>
              <a:gd name="connsiteY178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5793 w 10000"/>
              <a:gd name="connsiteY37" fmla="*/ 3416 h 10000"/>
              <a:gd name="connsiteX38" fmla="*/ 4557 w 10000"/>
              <a:gd name="connsiteY38" fmla="*/ 3416 h 10000"/>
              <a:gd name="connsiteX39" fmla="*/ 4480 w 10000"/>
              <a:gd name="connsiteY39" fmla="*/ 3333 h 10000"/>
              <a:gd name="connsiteX40" fmla="*/ 3953 w 10000"/>
              <a:gd name="connsiteY40" fmla="*/ 3500 h 10000"/>
              <a:gd name="connsiteX41" fmla="*/ 3865 w 10000"/>
              <a:gd name="connsiteY41" fmla="*/ 3665 h 10000"/>
              <a:gd name="connsiteX42" fmla="*/ 3777 w 10000"/>
              <a:gd name="connsiteY42" fmla="*/ 3500 h 10000"/>
              <a:gd name="connsiteX43" fmla="*/ 3777 w 10000"/>
              <a:gd name="connsiteY43" fmla="*/ 3333 h 10000"/>
              <a:gd name="connsiteX44" fmla="*/ 2891 w 10000"/>
              <a:gd name="connsiteY44" fmla="*/ 3832 h 10000"/>
              <a:gd name="connsiteX45" fmla="*/ 2891 w 10000"/>
              <a:gd name="connsiteY45" fmla="*/ 3998 h 10000"/>
              <a:gd name="connsiteX46" fmla="*/ 2721 w 10000"/>
              <a:gd name="connsiteY46" fmla="*/ 4082 h 10000"/>
              <a:gd name="connsiteX47" fmla="*/ 2458 w 10000"/>
              <a:gd name="connsiteY47" fmla="*/ 3916 h 10000"/>
              <a:gd name="connsiteX48" fmla="*/ 2721 w 10000"/>
              <a:gd name="connsiteY48" fmla="*/ 3748 h 10000"/>
              <a:gd name="connsiteX49" fmla="*/ 2627 w 10000"/>
              <a:gd name="connsiteY49" fmla="*/ 3500 h 10000"/>
              <a:gd name="connsiteX50" fmla="*/ 2281 w 10000"/>
              <a:gd name="connsiteY50" fmla="*/ 3416 h 10000"/>
              <a:gd name="connsiteX51" fmla="*/ 2369 w 10000"/>
              <a:gd name="connsiteY51" fmla="*/ 3582 h 10000"/>
              <a:gd name="connsiteX52" fmla="*/ 2369 w 10000"/>
              <a:gd name="connsiteY52" fmla="*/ 3998 h 10000"/>
              <a:gd name="connsiteX53" fmla="*/ 2458 w 10000"/>
              <a:gd name="connsiteY53" fmla="*/ 4167 h 10000"/>
              <a:gd name="connsiteX54" fmla="*/ 2369 w 10000"/>
              <a:gd name="connsiteY54" fmla="*/ 4334 h 10000"/>
              <a:gd name="connsiteX55" fmla="*/ 2100 w 10000"/>
              <a:gd name="connsiteY55" fmla="*/ 4250 h 10000"/>
              <a:gd name="connsiteX56" fmla="*/ 1757 w 10000"/>
              <a:gd name="connsiteY56" fmla="*/ 4498 h 10000"/>
              <a:gd name="connsiteX57" fmla="*/ 1928 w 10000"/>
              <a:gd name="connsiteY57" fmla="*/ 4833 h 10000"/>
              <a:gd name="connsiteX58" fmla="*/ 1399 w 10000"/>
              <a:gd name="connsiteY58" fmla="*/ 4666 h 10000"/>
              <a:gd name="connsiteX59" fmla="*/ 1315 w 10000"/>
              <a:gd name="connsiteY59" fmla="*/ 4748 h 10000"/>
              <a:gd name="connsiteX60" fmla="*/ 1494 w 10000"/>
              <a:gd name="connsiteY60" fmla="*/ 4999 h 10000"/>
              <a:gd name="connsiteX61" fmla="*/ 1315 w 10000"/>
              <a:gd name="connsiteY61" fmla="*/ 4999 h 10000"/>
              <a:gd name="connsiteX62" fmla="*/ 1055 w 10000"/>
              <a:gd name="connsiteY62" fmla="*/ 4833 h 10000"/>
              <a:gd name="connsiteX63" fmla="*/ 1055 w 10000"/>
              <a:gd name="connsiteY63" fmla="*/ 4334 h 10000"/>
              <a:gd name="connsiteX64" fmla="*/ 793 w 10000"/>
              <a:gd name="connsiteY64" fmla="*/ 4167 h 10000"/>
              <a:gd name="connsiteX65" fmla="*/ 702 w 10000"/>
              <a:gd name="connsiteY65" fmla="*/ 3998 h 10000"/>
              <a:gd name="connsiteX66" fmla="*/ 873 w 10000"/>
              <a:gd name="connsiteY66" fmla="*/ 4082 h 10000"/>
              <a:gd name="connsiteX67" fmla="*/ 1574 w 10000"/>
              <a:gd name="connsiteY67" fmla="*/ 4334 h 10000"/>
              <a:gd name="connsiteX68" fmla="*/ 2009 w 10000"/>
              <a:gd name="connsiteY68" fmla="*/ 4082 h 10000"/>
              <a:gd name="connsiteX69" fmla="*/ 1928 w 10000"/>
              <a:gd name="connsiteY69" fmla="*/ 3832 h 10000"/>
              <a:gd name="connsiteX70" fmla="*/ 1399 w 10000"/>
              <a:gd name="connsiteY70" fmla="*/ 3333 h 10000"/>
              <a:gd name="connsiteX71" fmla="*/ 873 w 10000"/>
              <a:gd name="connsiteY71" fmla="*/ 3166 h 10000"/>
              <a:gd name="connsiteX72" fmla="*/ 873 w 10000"/>
              <a:gd name="connsiteY72" fmla="*/ 3083 h 10000"/>
              <a:gd name="connsiteX73" fmla="*/ 702 w 10000"/>
              <a:gd name="connsiteY73" fmla="*/ 2997 h 10000"/>
              <a:gd name="connsiteX74" fmla="*/ 523 w 10000"/>
              <a:gd name="connsiteY74" fmla="*/ 3083 h 10000"/>
              <a:gd name="connsiteX75" fmla="*/ 523 w 10000"/>
              <a:gd name="connsiteY75" fmla="*/ 3166 h 10000"/>
              <a:gd name="connsiteX76" fmla="*/ 437 w 10000"/>
              <a:gd name="connsiteY76" fmla="*/ 3166 h 10000"/>
              <a:gd name="connsiteX77" fmla="*/ 263 w 10000"/>
              <a:gd name="connsiteY77" fmla="*/ 3333 h 10000"/>
              <a:gd name="connsiteX78" fmla="*/ 263 w 10000"/>
              <a:gd name="connsiteY78" fmla="*/ 3582 h 10000"/>
              <a:gd name="connsiteX79" fmla="*/ 437 w 10000"/>
              <a:gd name="connsiteY79" fmla="*/ 3748 h 10000"/>
              <a:gd name="connsiteX80" fmla="*/ 353 w 10000"/>
              <a:gd name="connsiteY80" fmla="*/ 3998 h 10000"/>
              <a:gd name="connsiteX81" fmla="*/ 437 w 10000"/>
              <a:gd name="connsiteY81" fmla="*/ 4417 h 10000"/>
              <a:gd name="connsiteX82" fmla="*/ 353 w 10000"/>
              <a:gd name="connsiteY82" fmla="*/ 4666 h 10000"/>
              <a:gd name="connsiteX83" fmla="*/ 523 w 10000"/>
              <a:gd name="connsiteY83" fmla="*/ 4916 h 10000"/>
              <a:gd name="connsiteX84" fmla="*/ 437 w 10000"/>
              <a:gd name="connsiteY84" fmla="*/ 5083 h 10000"/>
              <a:gd name="connsiteX85" fmla="*/ 611 w 10000"/>
              <a:gd name="connsiteY85" fmla="*/ 5250 h 10000"/>
              <a:gd name="connsiteX86" fmla="*/ 611 w 10000"/>
              <a:gd name="connsiteY86" fmla="*/ 5333 h 10000"/>
              <a:gd name="connsiteX87" fmla="*/ 353 w 10000"/>
              <a:gd name="connsiteY87" fmla="*/ 5750 h 10000"/>
              <a:gd name="connsiteX88" fmla="*/ 80 w 10000"/>
              <a:gd name="connsiteY88" fmla="*/ 5917 h 10000"/>
              <a:gd name="connsiteX89" fmla="*/ 172 w 10000"/>
              <a:gd name="connsiteY89" fmla="*/ 5917 h 10000"/>
              <a:gd name="connsiteX90" fmla="*/ 353 w 10000"/>
              <a:gd name="connsiteY90" fmla="*/ 6083 h 10000"/>
              <a:gd name="connsiteX91" fmla="*/ 172 w 10000"/>
              <a:gd name="connsiteY91" fmla="*/ 6249 h 10000"/>
              <a:gd name="connsiteX92" fmla="*/ 80 w 10000"/>
              <a:gd name="connsiteY92" fmla="*/ 6334 h 10000"/>
              <a:gd name="connsiteX93" fmla="*/ 0 w 10000"/>
              <a:gd name="connsiteY93" fmla="*/ 6334 h 10000"/>
              <a:gd name="connsiteX94" fmla="*/ 80 w 10000"/>
              <a:gd name="connsiteY94" fmla="*/ 6584 h 10000"/>
              <a:gd name="connsiteX95" fmla="*/ 80 w 10000"/>
              <a:gd name="connsiteY95" fmla="*/ 6667 h 10000"/>
              <a:gd name="connsiteX96" fmla="*/ 80 w 10000"/>
              <a:gd name="connsiteY96" fmla="*/ 6749 h 10000"/>
              <a:gd name="connsiteX97" fmla="*/ 80 w 10000"/>
              <a:gd name="connsiteY97" fmla="*/ 6834 h 10000"/>
              <a:gd name="connsiteX98" fmla="*/ 172 w 10000"/>
              <a:gd name="connsiteY98" fmla="*/ 6998 h 10000"/>
              <a:gd name="connsiteX99" fmla="*/ 437 w 10000"/>
              <a:gd name="connsiteY99" fmla="*/ 7083 h 10000"/>
              <a:gd name="connsiteX100" fmla="*/ 523 w 10000"/>
              <a:gd name="connsiteY100" fmla="*/ 7165 h 10000"/>
              <a:gd name="connsiteX101" fmla="*/ 523 w 10000"/>
              <a:gd name="connsiteY101" fmla="*/ 7334 h 10000"/>
              <a:gd name="connsiteX102" fmla="*/ 702 w 10000"/>
              <a:gd name="connsiteY102" fmla="*/ 7584 h 10000"/>
              <a:gd name="connsiteX103" fmla="*/ 793 w 10000"/>
              <a:gd name="connsiteY103" fmla="*/ 7584 h 10000"/>
              <a:gd name="connsiteX104" fmla="*/ 702 w 10000"/>
              <a:gd name="connsiteY104" fmla="*/ 7750 h 10000"/>
              <a:gd name="connsiteX105" fmla="*/ 611 w 10000"/>
              <a:gd name="connsiteY105" fmla="*/ 7668 h 10000"/>
              <a:gd name="connsiteX106" fmla="*/ 611 w 10000"/>
              <a:gd name="connsiteY106" fmla="*/ 7750 h 10000"/>
              <a:gd name="connsiteX107" fmla="*/ 702 w 10000"/>
              <a:gd name="connsiteY107" fmla="*/ 7916 h 10000"/>
              <a:gd name="connsiteX108" fmla="*/ 971 w 10000"/>
              <a:gd name="connsiteY108" fmla="*/ 7916 h 10000"/>
              <a:gd name="connsiteX109" fmla="*/ 1055 w 10000"/>
              <a:gd name="connsiteY109" fmla="*/ 8000 h 10000"/>
              <a:gd name="connsiteX110" fmla="*/ 971 w 10000"/>
              <a:gd name="connsiteY110" fmla="*/ 8000 h 10000"/>
              <a:gd name="connsiteX111" fmla="*/ 1055 w 10000"/>
              <a:gd name="connsiteY111" fmla="*/ 8082 h 10000"/>
              <a:gd name="connsiteX112" fmla="*/ 1139 w 10000"/>
              <a:gd name="connsiteY112" fmla="*/ 8082 h 10000"/>
              <a:gd name="connsiteX113" fmla="*/ 1224 w 10000"/>
              <a:gd name="connsiteY113" fmla="*/ 8249 h 10000"/>
              <a:gd name="connsiteX114" fmla="*/ 1315 w 10000"/>
              <a:gd name="connsiteY114" fmla="*/ 8332 h 10000"/>
              <a:gd name="connsiteX115" fmla="*/ 1399 w 10000"/>
              <a:gd name="connsiteY115" fmla="*/ 8249 h 10000"/>
              <a:gd name="connsiteX116" fmla="*/ 1843 w 10000"/>
              <a:gd name="connsiteY116" fmla="*/ 8500 h 10000"/>
              <a:gd name="connsiteX117" fmla="*/ 1757 w 10000"/>
              <a:gd name="connsiteY117" fmla="*/ 8833 h 10000"/>
              <a:gd name="connsiteX118" fmla="*/ 1668 w 10000"/>
              <a:gd name="connsiteY118" fmla="*/ 8750 h 10000"/>
              <a:gd name="connsiteX119" fmla="*/ 1574 w 10000"/>
              <a:gd name="connsiteY119" fmla="*/ 8833 h 10000"/>
              <a:gd name="connsiteX120" fmla="*/ 1574 w 10000"/>
              <a:gd name="connsiteY120" fmla="*/ 8999 h 10000"/>
              <a:gd name="connsiteX121" fmla="*/ 1668 w 10000"/>
              <a:gd name="connsiteY121" fmla="*/ 8917 h 10000"/>
              <a:gd name="connsiteX122" fmla="*/ 1757 w 10000"/>
              <a:gd name="connsiteY122" fmla="*/ 8999 h 10000"/>
              <a:gd name="connsiteX123" fmla="*/ 1494 w 10000"/>
              <a:gd name="connsiteY123" fmla="*/ 9083 h 10000"/>
              <a:gd name="connsiteX124" fmla="*/ 1574 w 10000"/>
              <a:gd name="connsiteY124" fmla="*/ 9167 h 10000"/>
              <a:gd name="connsiteX125" fmla="*/ 1399 w 10000"/>
              <a:gd name="connsiteY125" fmla="*/ 9333 h 10000"/>
              <a:gd name="connsiteX126" fmla="*/ 1315 w 10000"/>
              <a:gd name="connsiteY126" fmla="*/ 9333 h 10000"/>
              <a:gd name="connsiteX127" fmla="*/ 1399 w 10000"/>
              <a:gd name="connsiteY127" fmla="*/ 9333 h 10000"/>
              <a:gd name="connsiteX128" fmla="*/ 1757 w 10000"/>
              <a:gd name="connsiteY128" fmla="*/ 9668 h 10000"/>
              <a:gd name="connsiteX129" fmla="*/ 2195 w 10000"/>
              <a:gd name="connsiteY129" fmla="*/ 9668 h 10000"/>
              <a:gd name="connsiteX130" fmla="*/ 2369 w 10000"/>
              <a:gd name="connsiteY130" fmla="*/ 9750 h 10000"/>
              <a:gd name="connsiteX131" fmla="*/ 2543 w 10000"/>
              <a:gd name="connsiteY131" fmla="*/ 9750 h 10000"/>
              <a:gd name="connsiteX132" fmla="*/ 2721 w 10000"/>
              <a:gd name="connsiteY132" fmla="*/ 9918 h 10000"/>
              <a:gd name="connsiteX133" fmla="*/ 2807 w 10000"/>
              <a:gd name="connsiteY133" fmla="*/ 10000 h 10000"/>
              <a:gd name="connsiteX134" fmla="*/ 2891 w 10000"/>
              <a:gd name="connsiteY134" fmla="*/ 10000 h 10000"/>
              <a:gd name="connsiteX135" fmla="*/ 2984 w 10000"/>
              <a:gd name="connsiteY135" fmla="*/ 9918 h 10000"/>
              <a:gd name="connsiteX136" fmla="*/ 2807 w 10000"/>
              <a:gd name="connsiteY136" fmla="*/ 9750 h 10000"/>
              <a:gd name="connsiteX137" fmla="*/ 2807 w 10000"/>
              <a:gd name="connsiteY137" fmla="*/ 9584 h 10000"/>
              <a:gd name="connsiteX138" fmla="*/ 2721 w 10000"/>
              <a:gd name="connsiteY138" fmla="*/ 9416 h 10000"/>
              <a:gd name="connsiteX139" fmla="*/ 2891 w 10000"/>
              <a:gd name="connsiteY139" fmla="*/ 9167 h 10000"/>
              <a:gd name="connsiteX140" fmla="*/ 2984 w 10000"/>
              <a:gd name="connsiteY140" fmla="*/ 9250 h 10000"/>
              <a:gd name="connsiteX141" fmla="*/ 3069 w 10000"/>
              <a:gd name="connsiteY141" fmla="*/ 9167 h 10000"/>
              <a:gd name="connsiteX142" fmla="*/ 3069 w 10000"/>
              <a:gd name="connsiteY142" fmla="*/ 9083 h 10000"/>
              <a:gd name="connsiteX143" fmla="*/ 2984 w 10000"/>
              <a:gd name="connsiteY143" fmla="*/ 9083 h 10000"/>
              <a:gd name="connsiteX144" fmla="*/ 3069 w 10000"/>
              <a:gd name="connsiteY144" fmla="*/ 8999 h 10000"/>
              <a:gd name="connsiteX145" fmla="*/ 2984 w 10000"/>
              <a:gd name="connsiteY145" fmla="*/ 8833 h 10000"/>
              <a:gd name="connsiteX146" fmla="*/ 2807 w 10000"/>
              <a:gd name="connsiteY146" fmla="*/ 8833 h 10000"/>
              <a:gd name="connsiteX147" fmla="*/ 2721 w 10000"/>
              <a:gd name="connsiteY147" fmla="*/ 8667 h 10000"/>
              <a:gd name="connsiteX148" fmla="*/ 2807 w 10000"/>
              <a:gd name="connsiteY148" fmla="*/ 8249 h 10000"/>
              <a:gd name="connsiteX149" fmla="*/ 2984 w 10000"/>
              <a:gd name="connsiteY149" fmla="*/ 8418 h 10000"/>
              <a:gd name="connsiteX150" fmla="*/ 3069 w 10000"/>
              <a:gd name="connsiteY150" fmla="*/ 8418 h 10000"/>
              <a:gd name="connsiteX151" fmla="*/ 2984 w 10000"/>
              <a:gd name="connsiteY151" fmla="*/ 8249 h 10000"/>
              <a:gd name="connsiteX152" fmla="*/ 3249 w 10000"/>
              <a:gd name="connsiteY152" fmla="*/ 8000 h 10000"/>
              <a:gd name="connsiteX153" fmla="*/ 3426 w 10000"/>
              <a:gd name="connsiteY153" fmla="*/ 8082 h 10000"/>
              <a:gd name="connsiteX154" fmla="*/ 3511 w 10000"/>
              <a:gd name="connsiteY154" fmla="*/ 8000 h 10000"/>
              <a:gd name="connsiteX155" fmla="*/ 3678 w 10000"/>
              <a:gd name="connsiteY155" fmla="*/ 8082 h 10000"/>
              <a:gd name="connsiteX156" fmla="*/ 3953 w 10000"/>
              <a:gd name="connsiteY156" fmla="*/ 8249 h 10000"/>
              <a:gd name="connsiteX157" fmla="*/ 4121 w 10000"/>
              <a:gd name="connsiteY157" fmla="*/ 8167 h 10000"/>
              <a:gd name="connsiteX158" fmla="*/ 4300 w 10000"/>
              <a:gd name="connsiteY158" fmla="*/ 8167 h 10000"/>
              <a:gd name="connsiteX159" fmla="*/ 4389 w 10000"/>
              <a:gd name="connsiteY159" fmla="*/ 8249 h 10000"/>
              <a:gd name="connsiteX160" fmla="*/ 4740 w 10000"/>
              <a:gd name="connsiteY160" fmla="*/ 8249 h 10000"/>
              <a:gd name="connsiteX161" fmla="*/ 4823 w 10000"/>
              <a:gd name="connsiteY161" fmla="*/ 8082 h 10000"/>
              <a:gd name="connsiteX162" fmla="*/ 4557 w 10000"/>
              <a:gd name="connsiteY162" fmla="*/ 8000 h 10000"/>
              <a:gd name="connsiteX163" fmla="*/ 4740 w 10000"/>
              <a:gd name="connsiteY163" fmla="*/ 7916 h 10000"/>
              <a:gd name="connsiteX164" fmla="*/ 4647 w 10000"/>
              <a:gd name="connsiteY164" fmla="*/ 7833 h 10000"/>
              <a:gd name="connsiteX165" fmla="*/ 4740 w 10000"/>
              <a:gd name="connsiteY165" fmla="*/ 7750 h 10000"/>
              <a:gd name="connsiteX166" fmla="*/ 4740 w 10000"/>
              <a:gd name="connsiteY166" fmla="*/ 7500 h 10000"/>
              <a:gd name="connsiteX167" fmla="*/ 4908 w 10000"/>
              <a:gd name="connsiteY167" fmla="*/ 7584 h 10000"/>
              <a:gd name="connsiteX168" fmla="*/ 5701 w 10000"/>
              <a:gd name="connsiteY168" fmla="*/ 7334 h 10000"/>
              <a:gd name="connsiteX169" fmla="*/ 5701 w 10000"/>
              <a:gd name="connsiteY169" fmla="*/ 7250 h 10000"/>
              <a:gd name="connsiteX170" fmla="*/ 5793 w 10000"/>
              <a:gd name="connsiteY170" fmla="*/ 7250 h 10000"/>
              <a:gd name="connsiteX171" fmla="*/ 6046 w 10000"/>
              <a:gd name="connsiteY171" fmla="*/ 7250 h 10000"/>
              <a:gd name="connsiteX172" fmla="*/ 6145 w 10000"/>
              <a:gd name="connsiteY172" fmla="*/ 7417 h 10000"/>
              <a:gd name="connsiteX173" fmla="*/ 6145 w 10000"/>
              <a:gd name="connsiteY173" fmla="*/ 7500 h 10000"/>
              <a:gd name="connsiteX174" fmla="*/ 6228 w 10000"/>
              <a:gd name="connsiteY174" fmla="*/ 7500 h 10000"/>
              <a:gd name="connsiteX175" fmla="*/ 6401 w 10000"/>
              <a:gd name="connsiteY175" fmla="*/ 7584 h 10000"/>
              <a:gd name="connsiteX176" fmla="*/ 6401 w 10000"/>
              <a:gd name="connsiteY176" fmla="*/ 7668 h 10000"/>
              <a:gd name="connsiteX177" fmla="*/ 6577 w 10000"/>
              <a:gd name="connsiteY177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5528 w 10000"/>
              <a:gd name="connsiteY36" fmla="*/ 3083 h 10000"/>
              <a:gd name="connsiteX37" fmla="*/ 4557 w 10000"/>
              <a:gd name="connsiteY37" fmla="*/ 3416 h 10000"/>
              <a:gd name="connsiteX38" fmla="*/ 4480 w 10000"/>
              <a:gd name="connsiteY38" fmla="*/ 3333 h 10000"/>
              <a:gd name="connsiteX39" fmla="*/ 3953 w 10000"/>
              <a:gd name="connsiteY39" fmla="*/ 3500 h 10000"/>
              <a:gd name="connsiteX40" fmla="*/ 3865 w 10000"/>
              <a:gd name="connsiteY40" fmla="*/ 3665 h 10000"/>
              <a:gd name="connsiteX41" fmla="*/ 3777 w 10000"/>
              <a:gd name="connsiteY41" fmla="*/ 3500 h 10000"/>
              <a:gd name="connsiteX42" fmla="*/ 3777 w 10000"/>
              <a:gd name="connsiteY42" fmla="*/ 3333 h 10000"/>
              <a:gd name="connsiteX43" fmla="*/ 2891 w 10000"/>
              <a:gd name="connsiteY43" fmla="*/ 3832 h 10000"/>
              <a:gd name="connsiteX44" fmla="*/ 2891 w 10000"/>
              <a:gd name="connsiteY44" fmla="*/ 3998 h 10000"/>
              <a:gd name="connsiteX45" fmla="*/ 2721 w 10000"/>
              <a:gd name="connsiteY45" fmla="*/ 4082 h 10000"/>
              <a:gd name="connsiteX46" fmla="*/ 2458 w 10000"/>
              <a:gd name="connsiteY46" fmla="*/ 3916 h 10000"/>
              <a:gd name="connsiteX47" fmla="*/ 2721 w 10000"/>
              <a:gd name="connsiteY47" fmla="*/ 3748 h 10000"/>
              <a:gd name="connsiteX48" fmla="*/ 2627 w 10000"/>
              <a:gd name="connsiteY48" fmla="*/ 3500 h 10000"/>
              <a:gd name="connsiteX49" fmla="*/ 2281 w 10000"/>
              <a:gd name="connsiteY49" fmla="*/ 3416 h 10000"/>
              <a:gd name="connsiteX50" fmla="*/ 2369 w 10000"/>
              <a:gd name="connsiteY50" fmla="*/ 3582 h 10000"/>
              <a:gd name="connsiteX51" fmla="*/ 2369 w 10000"/>
              <a:gd name="connsiteY51" fmla="*/ 3998 h 10000"/>
              <a:gd name="connsiteX52" fmla="*/ 2458 w 10000"/>
              <a:gd name="connsiteY52" fmla="*/ 4167 h 10000"/>
              <a:gd name="connsiteX53" fmla="*/ 2369 w 10000"/>
              <a:gd name="connsiteY53" fmla="*/ 4334 h 10000"/>
              <a:gd name="connsiteX54" fmla="*/ 2100 w 10000"/>
              <a:gd name="connsiteY54" fmla="*/ 4250 h 10000"/>
              <a:gd name="connsiteX55" fmla="*/ 1757 w 10000"/>
              <a:gd name="connsiteY55" fmla="*/ 4498 h 10000"/>
              <a:gd name="connsiteX56" fmla="*/ 1928 w 10000"/>
              <a:gd name="connsiteY56" fmla="*/ 4833 h 10000"/>
              <a:gd name="connsiteX57" fmla="*/ 1399 w 10000"/>
              <a:gd name="connsiteY57" fmla="*/ 4666 h 10000"/>
              <a:gd name="connsiteX58" fmla="*/ 1315 w 10000"/>
              <a:gd name="connsiteY58" fmla="*/ 4748 h 10000"/>
              <a:gd name="connsiteX59" fmla="*/ 1494 w 10000"/>
              <a:gd name="connsiteY59" fmla="*/ 4999 h 10000"/>
              <a:gd name="connsiteX60" fmla="*/ 1315 w 10000"/>
              <a:gd name="connsiteY60" fmla="*/ 4999 h 10000"/>
              <a:gd name="connsiteX61" fmla="*/ 1055 w 10000"/>
              <a:gd name="connsiteY61" fmla="*/ 4833 h 10000"/>
              <a:gd name="connsiteX62" fmla="*/ 1055 w 10000"/>
              <a:gd name="connsiteY62" fmla="*/ 4334 h 10000"/>
              <a:gd name="connsiteX63" fmla="*/ 793 w 10000"/>
              <a:gd name="connsiteY63" fmla="*/ 4167 h 10000"/>
              <a:gd name="connsiteX64" fmla="*/ 702 w 10000"/>
              <a:gd name="connsiteY64" fmla="*/ 3998 h 10000"/>
              <a:gd name="connsiteX65" fmla="*/ 873 w 10000"/>
              <a:gd name="connsiteY65" fmla="*/ 4082 h 10000"/>
              <a:gd name="connsiteX66" fmla="*/ 1574 w 10000"/>
              <a:gd name="connsiteY66" fmla="*/ 4334 h 10000"/>
              <a:gd name="connsiteX67" fmla="*/ 2009 w 10000"/>
              <a:gd name="connsiteY67" fmla="*/ 4082 h 10000"/>
              <a:gd name="connsiteX68" fmla="*/ 1928 w 10000"/>
              <a:gd name="connsiteY68" fmla="*/ 3832 h 10000"/>
              <a:gd name="connsiteX69" fmla="*/ 1399 w 10000"/>
              <a:gd name="connsiteY69" fmla="*/ 3333 h 10000"/>
              <a:gd name="connsiteX70" fmla="*/ 873 w 10000"/>
              <a:gd name="connsiteY70" fmla="*/ 3166 h 10000"/>
              <a:gd name="connsiteX71" fmla="*/ 873 w 10000"/>
              <a:gd name="connsiteY71" fmla="*/ 3083 h 10000"/>
              <a:gd name="connsiteX72" fmla="*/ 702 w 10000"/>
              <a:gd name="connsiteY72" fmla="*/ 2997 h 10000"/>
              <a:gd name="connsiteX73" fmla="*/ 523 w 10000"/>
              <a:gd name="connsiteY73" fmla="*/ 3083 h 10000"/>
              <a:gd name="connsiteX74" fmla="*/ 523 w 10000"/>
              <a:gd name="connsiteY74" fmla="*/ 3166 h 10000"/>
              <a:gd name="connsiteX75" fmla="*/ 437 w 10000"/>
              <a:gd name="connsiteY75" fmla="*/ 3166 h 10000"/>
              <a:gd name="connsiteX76" fmla="*/ 263 w 10000"/>
              <a:gd name="connsiteY76" fmla="*/ 3333 h 10000"/>
              <a:gd name="connsiteX77" fmla="*/ 263 w 10000"/>
              <a:gd name="connsiteY77" fmla="*/ 3582 h 10000"/>
              <a:gd name="connsiteX78" fmla="*/ 437 w 10000"/>
              <a:gd name="connsiteY78" fmla="*/ 3748 h 10000"/>
              <a:gd name="connsiteX79" fmla="*/ 353 w 10000"/>
              <a:gd name="connsiteY79" fmla="*/ 3998 h 10000"/>
              <a:gd name="connsiteX80" fmla="*/ 437 w 10000"/>
              <a:gd name="connsiteY80" fmla="*/ 4417 h 10000"/>
              <a:gd name="connsiteX81" fmla="*/ 353 w 10000"/>
              <a:gd name="connsiteY81" fmla="*/ 4666 h 10000"/>
              <a:gd name="connsiteX82" fmla="*/ 523 w 10000"/>
              <a:gd name="connsiteY82" fmla="*/ 4916 h 10000"/>
              <a:gd name="connsiteX83" fmla="*/ 437 w 10000"/>
              <a:gd name="connsiteY83" fmla="*/ 5083 h 10000"/>
              <a:gd name="connsiteX84" fmla="*/ 611 w 10000"/>
              <a:gd name="connsiteY84" fmla="*/ 5250 h 10000"/>
              <a:gd name="connsiteX85" fmla="*/ 611 w 10000"/>
              <a:gd name="connsiteY85" fmla="*/ 5333 h 10000"/>
              <a:gd name="connsiteX86" fmla="*/ 353 w 10000"/>
              <a:gd name="connsiteY86" fmla="*/ 5750 h 10000"/>
              <a:gd name="connsiteX87" fmla="*/ 80 w 10000"/>
              <a:gd name="connsiteY87" fmla="*/ 5917 h 10000"/>
              <a:gd name="connsiteX88" fmla="*/ 172 w 10000"/>
              <a:gd name="connsiteY88" fmla="*/ 5917 h 10000"/>
              <a:gd name="connsiteX89" fmla="*/ 353 w 10000"/>
              <a:gd name="connsiteY89" fmla="*/ 6083 h 10000"/>
              <a:gd name="connsiteX90" fmla="*/ 172 w 10000"/>
              <a:gd name="connsiteY90" fmla="*/ 6249 h 10000"/>
              <a:gd name="connsiteX91" fmla="*/ 80 w 10000"/>
              <a:gd name="connsiteY91" fmla="*/ 6334 h 10000"/>
              <a:gd name="connsiteX92" fmla="*/ 0 w 10000"/>
              <a:gd name="connsiteY92" fmla="*/ 6334 h 10000"/>
              <a:gd name="connsiteX93" fmla="*/ 80 w 10000"/>
              <a:gd name="connsiteY93" fmla="*/ 6584 h 10000"/>
              <a:gd name="connsiteX94" fmla="*/ 80 w 10000"/>
              <a:gd name="connsiteY94" fmla="*/ 6667 h 10000"/>
              <a:gd name="connsiteX95" fmla="*/ 80 w 10000"/>
              <a:gd name="connsiteY95" fmla="*/ 6749 h 10000"/>
              <a:gd name="connsiteX96" fmla="*/ 80 w 10000"/>
              <a:gd name="connsiteY96" fmla="*/ 6834 h 10000"/>
              <a:gd name="connsiteX97" fmla="*/ 172 w 10000"/>
              <a:gd name="connsiteY97" fmla="*/ 6998 h 10000"/>
              <a:gd name="connsiteX98" fmla="*/ 437 w 10000"/>
              <a:gd name="connsiteY98" fmla="*/ 7083 h 10000"/>
              <a:gd name="connsiteX99" fmla="*/ 523 w 10000"/>
              <a:gd name="connsiteY99" fmla="*/ 7165 h 10000"/>
              <a:gd name="connsiteX100" fmla="*/ 523 w 10000"/>
              <a:gd name="connsiteY100" fmla="*/ 7334 h 10000"/>
              <a:gd name="connsiteX101" fmla="*/ 702 w 10000"/>
              <a:gd name="connsiteY101" fmla="*/ 7584 h 10000"/>
              <a:gd name="connsiteX102" fmla="*/ 793 w 10000"/>
              <a:gd name="connsiteY102" fmla="*/ 7584 h 10000"/>
              <a:gd name="connsiteX103" fmla="*/ 702 w 10000"/>
              <a:gd name="connsiteY103" fmla="*/ 7750 h 10000"/>
              <a:gd name="connsiteX104" fmla="*/ 611 w 10000"/>
              <a:gd name="connsiteY104" fmla="*/ 7668 h 10000"/>
              <a:gd name="connsiteX105" fmla="*/ 611 w 10000"/>
              <a:gd name="connsiteY105" fmla="*/ 7750 h 10000"/>
              <a:gd name="connsiteX106" fmla="*/ 702 w 10000"/>
              <a:gd name="connsiteY106" fmla="*/ 7916 h 10000"/>
              <a:gd name="connsiteX107" fmla="*/ 971 w 10000"/>
              <a:gd name="connsiteY107" fmla="*/ 7916 h 10000"/>
              <a:gd name="connsiteX108" fmla="*/ 1055 w 10000"/>
              <a:gd name="connsiteY108" fmla="*/ 8000 h 10000"/>
              <a:gd name="connsiteX109" fmla="*/ 971 w 10000"/>
              <a:gd name="connsiteY109" fmla="*/ 8000 h 10000"/>
              <a:gd name="connsiteX110" fmla="*/ 1055 w 10000"/>
              <a:gd name="connsiteY110" fmla="*/ 8082 h 10000"/>
              <a:gd name="connsiteX111" fmla="*/ 1139 w 10000"/>
              <a:gd name="connsiteY111" fmla="*/ 8082 h 10000"/>
              <a:gd name="connsiteX112" fmla="*/ 1224 w 10000"/>
              <a:gd name="connsiteY112" fmla="*/ 8249 h 10000"/>
              <a:gd name="connsiteX113" fmla="*/ 1315 w 10000"/>
              <a:gd name="connsiteY113" fmla="*/ 8332 h 10000"/>
              <a:gd name="connsiteX114" fmla="*/ 1399 w 10000"/>
              <a:gd name="connsiteY114" fmla="*/ 8249 h 10000"/>
              <a:gd name="connsiteX115" fmla="*/ 1843 w 10000"/>
              <a:gd name="connsiteY115" fmla="*/ 8500 h 10000"/>
              <a:gd name="connsiteX116" fmla="*/ 1757 w 10000"/>
              <a:gd name="connsiteY116" fmla="*/ 8833 h 10000"/>
              <a:gd name="connsiteX117" fmla="*/ 1668 w 10000"/>
              <a:gd name="connsiteY117" fmla="*/ 8750 h 10000"/>
              <a:gd name="connsiteX118" fmla="*/ 1574 w 10000"/>
              <a:gd name="connsiteY118" fmla="*/ 8833 h 10000"/>
              <a:gd name="connsiteX119" fmla="*/ 1574 w 10000"/>
              <a:gd name="connsiteY119" fmla="*/ 8999 h 10000"/>
              <a:gd name="connsiteX120" fmla="*/ 1668 w 10000"/>
              <a:gd name="connsiteY120" fmla="*/ 8917 h 10000"/>
              <a:gd name="connsiteX121" fmla="*/ 1757 w 10000"/>
              <a:gd name="connsiteY121" fmla="*/ 8999 h 10000"/>
              <a:gd name="connsiteX122" fmla="*/ 1494 w 10000"/>
              <a:gd name="connsiteY122" fmla="*/ 9083 h 10000"/>
              <a:gd name="connsiteX123" fmla="*/ 1574 w 10000"/>
              <a:gd name="connsiteY123" fmla="*/ 9167 h 10000"/>
              <a:gd name="connsiteX124" fmla="*/ 1399 w 10000"/>
              <a:gd name="connsiteY124" fmla="*/ 9333 h 10000"/>
              <a:gd name="connsiteX125" fmla="*/ 1315 w 10000"/>
              <a:gd name="connsiteY125" fmla="*/ 9333 h 10000"/>
              <a:gd name="connsiteX126" fmla="*/ 1399 w 10000"/>
              <a:gd name="connsiteY126" fmla="*/ 9333 h 10000"/>
              <a:gd name="connsiteX127" fmla="*/ 1757 w 10000"/>
              <a:gd name="connsiteY127" fmla="*/ 9668 h 10000"/>
              <a:gd name="connsiteX128" fmla="*/ 2195 w 10000"/>
              <a:gd name="connsiteY128" fmla="*/ 9668 h 10000"/>
              <a:gd name="connsiteX129" fmla="*/ 2369 w 10000"/>
              <a:gd name="connsiteY129" fmla="*/ 9750 h 10000"/>
              <a:gd name="connsiteX130" fmla="*/ 2543 w 10000"/>
              <a:gd name="connsiteY130" fmla="*/ 9750 h 10000"/>
              <a:gd name="connsiteX131" fmla="*/ 2721 w 10000"/>
              <a:gd name="connsiteY131" fmla="*/ 9918 h 10000"/>
              <a:gd name="connsiteX132" fmla="*/ 2807 w 10000"/>
              <a:gd name="connsiteY132" fmla="*/ 10000 h 10000"/>
              <a:gd name="connsiteX133" fmla="*/ 2891 w 10000"/>
              <a:gd name="connsiteY133" fmla="*/ 10000 h 10000"/>
              <a:gd name="connsiteX134" fmla="*/ 2984 w 10000"/>
              <a:gd name="connsiteY134" fmla="*/ 9918 h 10000"/>
              <a:gd name="connsiteX135" fmla="*/ 2807 w 10000"/>
              <a:gd name="connsiteY135" fmla="*/ 9750 h 10000"/>
              <a:gd name="connsiteX136" fmla="*/ 2807 w 10000"/>
              <a:gd name="connsiteY136" fmla="*/ 9584 h 10000"/>
              <a:gd name="connsiteX137" fmla="*/ 2721 w 10000"/>
              <a:gd name="connsiteY137" fmla="*/ 9416 h 10000"/>
              <a:gd name="connsiteX138" fmla="*/ 2891 w 10000"/>
              <a:gd name="connsiteY138" fmla="*/ 9167 h 10000"/>
              <a:gd name="connsiteX139" fmla="*/ 2984 w 10000"/>
              <a:gd name="connsiteY139" fmla="*/ 9250 h 10000"/>
              <a:gd name="connsiteX140" fmla="*/ 3069 w 10000"/>
              <a:gd name="connsiteY140" fmla="*/ 9167 h 10000"/>
              <a:gd name="connsiteX141" fmla="*/ 3069 w 10000"/>
              <a:gd name="connsiteY141" fmla="*/ 9083 h 10000"/>
              <a:gd name="connsiteX142" fmla="*/ 2984 w 10000"/>
              <a:gd name="connsiteY142" fmla="*/ 9083 h 10000"/>
              <a:gd name="connsiteX143" fmla="*/ 3069 w 10000"/>
              <a:gd name="connsiteY143" fmla="*/ 8999 h 10000"/>
              <a:gd name="connsiteX144" fmla="*/ 2984 w 10000"/>
              <a:gd name="connsiteY144" fmla="*/ 8833 h 10000"/>
              <a:gd name="connsiteX145" fmla="*/ 2807 w 10000"/>
              <a:gd name="connsiteY145" fmla="*/ 8833 h 10000"/>
              <a:gd name="connsiteX146" fmla="*/ 2721 w 10000"/>
              <a:gd name="connsiteY146" fmla="*/ 8667 h 10000"/>
              <a:gd name="connsiteX147" fmla="*/ 2807 w 10000"/>
              <a:gd name="connsiteY147" fmla="*/ 8249 h 10000"/>
              <a:gd name="connsiteX148" fmla="*/ 2984 w 10000"/>
              <a:gd name="connsiteY148" fmla="*/ 8418 h 10000"/>
              <a:gd name="connsiteX149" fmla="*/ 3069 w 10000"/>
              <a:gd name="connsiteY149" fmla="*/ 8418 h 10000"/>
              <a:gd name="connsiteX150" fmla="*/ 2984 w 10000"/>
              <a:gd name="connsiteY150" fmla="*/ 8249 h 10000"/>
              <a:gd name="connsiteX151" fmla="*/ 3249 w 10000"/>
              <a:gd name="connsiteY151" fmla="*/ 8000 h 10000"/>
              <a:gd name="connsiteX152" fmla="*/ 3426 w 10000"/>
              <a:gd name="connsiteY152" fmla="*/ 8082 h 10000"/>
              <a:gd name="connsiteX153" fmla="*/ 3511 w 10000"/>
              <a:gd name="connsiteY153" fmla="*/ 8000 h 10000"/>
              <a:gd name="connsiteX154" fmla="*/ 3678 w 10000"/>
              <a:gd name="connsiteY154" fmla="*/ 8082 h 10000"/>
              <a:gd name="connsiteX155" fmla="*/ 3953 w 10000"/>
              <a:gd name="connsiteY155" fmla="*/ 8249 h 10000"/>
              <a:gd name="connsiteX156" fmla="*/ 4121 w 10000"/>
              <a:gd name="connsiteY156" fmla="*/ 8167 h 10000"/>
              <a:gd name="connsiteX157" fmla="*/ 4300 w 10000"/>
              <a:gd name="connsiteY157" fmla="*/ 8167 h 10000"/>
              <a:gd name="connsiteX158" fmla="*/ 4389 w 10000"/>
              <a:gd name="connsiteY158" fmla="*/ 8249 h 10000"/>
              <a:gd name="connsiteX159" fmla="*/ 4740 w 10000"/>
              <a:gd name="connsiteY159" fmla="*/ 8249 h 10000"/>
              <a:gd name="connsiteX160" fmla="*/ 4823 w 10000"/>
              <a:gd name="connsiteY160" fmla="*/ 8082 h 10000"/>
              <a:gd name="connsiteX161" fmla="*/ 4557 w 10000"/>
              <a:gd name="connsiteY161" fmla="*/ 8000 h 10000"/>
              <a:gd name="connsiteX162" fmla="*/ 4740 w 10000"/>
              <a:gd name="connsiteY162" fmla="*/ 7916 h 10000"/>
              <a:gd name="connsiteX163" fmla="*/ 4647 w 10000"/>
              <a:gd name="connsiteY163" fmla="*/ 7833 h 10000"/>
              <a:gd name="connsiteX164" fmla="*/ 4740 w 10000"/>
              <a:gd name="connsiteY164" fmla="*/ 7750 h 10000"/>
              <a:gd name="connsiteX165" fmla="*/ 4740 w 10000"/>
              <a:gd name="connsiteY165" fmla="*/ 7500 h 10000"/>
              <a:gd name="connsiteX166" fmla="*/ 4908 w 10000"/>
              <a:gd name="connsiteY166" fmla="*/ 7584 h 10000"/>
              <a:gd name="connsiteX167" fmla="*/ 5701 w 10000"/>
              <a:gd name="connsiteY167" fmla="*/ 7334 h 10000"/>
              <a:gd name="connsiteX168" fmla="*/ 5701 w 10000"/>
              <a:gd name="connsiteY168" fmla="*/ 7250 h 10000"/>
              <a:gd name="connsiteX169" fmla="*/ 5793 w 10000"/>
              <a:gd name="connsiteY169" fmla="*/ 7250 h 10000"/>
              <a:gd name="connsiteX170" fmla="*/ 6046 w 10000"/>
              <a:gd name="connsiteY170" fmla="*/ 7250 h 10000"/>
              <a:gd name="connsiteX171" fmla="*/ 6145 w 10000"/>
              <a:gd name="connsiteY171" fmla="*/ 7417 h 10000"/>
              <a:gd name="connsiteX172" fmla="*/ 6145 w 10000"/>
              <a:gd name="connsiteY172" fmla="*/ 7500 h 10000"/>
              <a:gd name="connsiteX173" fmla="*/ 6228 w 10000"/>
              <a:gd name="connsiteY173" fmla="*/ 7500 h 10000"/>
              <a:gd name="connsiteX174" fmla="*/ 6401 w 10000"/>
              <a:gd name="connsiteY174" fmla="*/ 7584 h 10000"/>
              <a:gd name="connsiteX175" fmla="*/ 6401 w 10000"/>
              <a:gd name="connsiteY175" fmla="*/ 7668 h 10000"/>
              <a:gd name="connsiteX176" fmla="*/ 6577 w 10000"/>
              <a:gd name="connsiteY176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5528 w 10000"/>
              <a:gd name="connsiteY35" fmla="*/ 2666 h 10000"/>
              <a:gd name="connsiteX36" fmla="*/ 4557 w 10000"/>
              <a:gd name="connsiteY36" fmla="*/ 3416 h 10000"/>
              <a:gd name="connsiteX37" fmla="*/ 4480 w 10000"/>
              <a:gd name="connsiteY37" fmla="*/ 3333 h 10000"/>
              <a:gd name="connsiteX38" fmla="*/ 3953 w 10000"/>
              <a:gd name="connsiteY38" fmla="*/ 3500 h 10000"/>
              <a:gd name="connsiteX39" fmla="*/ 3865 w 10000"/>
              <a:gd name="connsiteY39" fmla="*/ 3665 h 10000"/>
              <a:gd name="connsiteX40" fmla="*/ 3777 w 10000"/>
              <a:gd name="connsiteY40" fmla="*/ 3500 h 10000"/>
              <a:gd name="connsiteX41" fmla="*/ 3777 w 10000"/>
              <a:gd name="connsiteY41" fmla="*/ 3333 h 10000"/>
              <a:gd name="connsiteX42" fmla="*/ 2891 w 10000"/>
              <a:gd name="connsiteY42" fmla="*/ 3832 h 10000"/>
              <a:gd name="connsiteX43" fmla="*/ 2891 w 10000"/>
              <a:gd name="connsiteY43" fmla="*/ 3998 h 10000"/>
              <a:gd name="connsiteX44" fmla="*/ 2721 w 10000"/>
              <a:gd name="connsiteY44" fmla="*/ 4082 h 10000"/>
              <a:gd name="connsiteX45" fmla="*/ 2458 w 10000"/>
              <a:gd name="connsiteY45" fmla="*/ 3916 h 10000"/>
              <a:gd name="connsiteX46" fmla="*/ 2721 w 10000"/>
              <a:gd name="connsiteY46" fmla="*/ 3748 h 10000"/>
              <a:gd name="connsiteX47" fmla="*/ 2627 w 10000"/>
              <a:gd name="connsiteY47" fmla="*/ 3500 h 10000"/>
              <a:gd name="connsiteX48" fmla="*/ 2281 w 10000"/>
              <a:gd name="connsiteY48" fmla="*/ 3416 h 10000"/>
              <a:gd name="connsiteX49" fmla="*/ 2369 w 10000"/>
              <a:gd name="connsiteY49" fmla="*/ 3582 h 10000"/>
              <a:gd name="connsiteX50" fmla="*/ 2369 w 10000"/>
              <a:gd name="connsiteY50" fmla="*/ 3998 h 10000"/>
              <a:gd name="connsiteX51" fmla="*/ 2458 w 10000"/>
              <a:gd name="connsiteY51" fmla="*/ 4167 h 10000"/>
              <a:gd name="connsiteX52" fmla="*/ 2369 w 10000"/>
              <a:gd name="connsiteY52" fmla="*/ 4334 h 10000"/>
              <a:gd name="connsiteX53" fmla="*/ 2100 w 10000"/>
              <a:gd name="connsiteY53" fmla="*/ 4250 h 10000"/>
              <a:gd name="connsiteX54" fmla="*/ 1757 w 10000"/>
              <a:gd name="connsiteY54" fmla="*/ 4498 h 10000"/>
              <a:gd name="connsiteX55" fmla="*/ 1928 w 10000"/>
              <a:gd name="connsiteY55" fmla="*/ 4833 h 10000"/>
              <a:gd name="connsiteX56" fmla="*/ 1399 w 10000"/>
              <a:gd name="connsiteY56" fmla="*/ 4666 h 10000"/>
              <a:gd name="connsiteX57" fmla="*/ 1315 w 10000"/>
              <a:gd name="connsiteY57" fmla="*/ 4748 h 10000"/>
              <a:gd name="connsiteX58" fmla="*/ 1494 w 10000"/>
              <a:gd name="connsiteY58" fmla="*/ 4999 h 10000"/>
              <a:gd name="connsiteX59" fmla="*/ 1315 w 10000"/>
              <a:gd name="connsiteY59" fmla="*/ 4999 h 10000"/>
              <a:gd name="connsiteX60" fmla="*/ 1055 w 10000"/>
              <a:gd name="connsiteY60" fmla="*/ 4833 h 10000"/>
              <a:gd name="connsiteX61" fmla="*/ 1055 w 10000"/>
              <a:gd name="connsiteY61" fmla="*/ 4334 h 10000"/>
              <a:gd name="connsiteX62" fmla="*/ 793 w 10000"/>
              <a:gd name="connsiteY62" fmla="*/ 4167 h 10000"/>
              <a:gd name="connsiteX63" fmla="*/ 702 w 10000"/>
              <a:gd name="connsiteY63" fmla="*/ 3998 h 10000"/>
              <a:gd name="connsiteX64" fmla="*/ 873 w 10000"/>
              <a:gd name="connsiteY64" fmla="*/ 4082 h 10000"/>
              <a:gd name="connsiteX65" fmla="*/ 1574 w 10000"/>
              <a:gd name="connsiteY65" fmla="*/ 4334 h 10000"/>
              <a:gd name="connsiteX66" fmla="*/ 2009 w 10000"/>
              <a:gd name="connsiteY66" fmla="*/ 4082 h 10000"/>
              <a:gd name="connsiteX67" fmla="*/ 1928 w 10000"/>
              <a:gd name="connsiteY67" fmla="*/ 3832 h 10000"/>
              <a:gd name="connsiteX68" fmla="*/ 1399 w 10000"/>
              <a:gd name="connsiteY68" fmla="*/ 3333 h 10000"/>
              <a:gd name="connsiteX69" fmla="*/ 873 w 10000"/>
              <a:gd name="connsiteY69" fmla="*/ 3166 h 10000"/>
              <a:gd name="connsiteX70" fmla="*/ 873 w 10000"/>
              <a:gd name="connsiteY70" fmla="*/ 3083 h 10000"/>
              <a:gd name="connsiteX71" fmla="*/ 702 w 10000"/>
              <a:gd name="connsiteY71" fmla="*/ 2997 h 10000"/>
              <a:gd name="connsiteX72" fmla="*/ 523 w 10000"/>
              <a:gd name="connsiteY72" fmla="*/ 3083 h 10000"/>
              <a:gd name="connsiteX73" fmla="*/ 523 w 10000"/>
              <a:gd name="connsiteY73" fmla="*/ 3166 h 10000"/>
              <a:gd name="connsiteX74" fmla="*/ 437 w 10000"/>
              <a:gd name="connsiteY74" fmla="*/ 3166 h 10000"/>
              <a:gd name="connsiteX75" fmla="*/ 263 w 10000"/>
              <a:gd name="connsiteY75" fmla="*/ 3333 h 10000"/>
              <a:gd name="connsiteX76" fmla="*/ 263 w 10000"/>
              <a:gd name="connsiteY76" fmla="*/ 3582 h 10000"/>
              <a:gd name="connsiteX77" fmla="*/ 437 w 10000"/>
              <a:gd name="connsiteY77" fmla="*/ 3748 h 10000"/>
              <a:gd name="connsiteX78" fmla="*/ 353 w 10000"/>
              <a:gd name="connsiteY78" fmla="*/ 3998 h 10000"/>
              <a:gd name="connsiteX79" fmla="*/ 437 w 10000"/>
              <a:gd name="connsiteY79" fmla="*/ 4417 h 10000"/>
              <a:gd name="connsiteX80" fmla="*/ 353 w 10000"/>
              <a:gd name="connsiteY80" fmla="*/ 4666 h 10000"/>
              <a:gd name="connsiteX81" fmla="*/ 523 w 10000"/>
              <a:gd name="connsiteY81" fmla="*/ 4916 h 10000"/>
              <a:gd name="connsiteX82" fmla="*/ 437 w 10000"/>
              <a:gd name="connsiteY82" fmla="*/ 5083 h 10000"/>
              <a:gd name="connsiteX83" fmla="*/ 611 w 10000"/>
              <a:gd name="connsiteY83" fmla="*/ 5250 h 10000"/>
              <a:gd name="connsiteX84" fmla="*/ 611 w 10000"/>
              <a:gd name="connsiteY84" fmla="*/ 5333 h 10000"/>
              <a:gd name="connsiteX85" fmla="*/ 353 w 10000"/>
              <a:gd name="connsiteY85" fmla="*/ 5750 h 10000"/>
              <a:gd name="connsiteX86" fmla="*/ 80 w 10000"/>
              <a:gd name="connsiteY86" fmla="*/ 5917 h 10000"/>
              <a:gd name="connsiteX87" fmla="*/ 172 w 10000"/>
              <a:gd name="connsiteY87" fmla="*/ 5917 h 10000"/>
              <a:gd name="connsiteX88" fmla="*/ 353 w 10000"/>
              <a:gd name="connsiteY88" fmla="*/ 6083 h 10000"/>
              <a:gd name="connsiteX89" fmla="*/ 172 w 10000"/>
              <a:gd name="connsiteY89" fmla="*/ 6249 h 10000"/>
              <a:gd name="connsiteX90" fmla="*/ 80 w 10000"/>
              <a:gd name="connsiteY90" fmla="*/ 6334 h 10000"/>
              <a:gd name="connsiteX91" fmla="*/ 0 w 10000"/>
              <a:gd name="connsiteY91" fmla="*/ 6334 h 10000"/>
              <a:gd name="connsiteX92" fmla="*/ 80 w 10000"/>
              <a:gd name="connsiteY92" fmla="*/ 6584 h 10000"/>
              <a:gd name="connsiteX93" fmla="*/ 80 w 10000"/>
              <a:gd name="connsiteY93" fmla="*/ 6667 h 10000"/>
              <a:gd name="connsiteX94" fmla="*/ 80 w 10000"/>
              <a:gd name="connsiteY94" fmla="*/ 6749 h 10000"/>
              <a:gd name="connsiteX95" fmla="*/ 80 w 10000"/>
              <a:gd name="connsiteY95" fmla="*/ 6834 h 10000"/>
              <a:gd name="connsiteX96" fmla="*/ 172 w 10000"/>
              <a:gd name="connsiteY96" fmla="*/ 6998 h 10000"/>
              <a:gd name="connsiteX97" fmla="*/ 437 w 10000"/>
              <a:gd name="connsiteY97" fmla="*/ 7083 h 10000"/>
              <a:gd name="connsiteX98" fmla="*/ 523 w 10000"/>
              <a:gd name="connsiteY98" fmla="*/ 7165 h 10000"/>
              <a:gd name="connsiteX99" fmla="*/ 523 w 10000"/>
              <a:gd name="connsiteY99" fmla="*/ 7334 h 10000"/>
              <a:gd name="connsiteX100" fmla="*/ 702 w 10000"/>
              <a:gd name="connsiteY100" fmla="*/ 7584 h 10000"/>
              <a:gd name="connsiteX101" fmla="*/ 793 w 10000"/>
              <a:gd name="connsiteY101" fmla="*/ 7584 h 10000"/>
              <a:gd name="connsiteX102" fmla="*/ 702 w 10000"/>
              <a:gd name="connsiteY102" fmla="*/ 7750 h 10000"/>
              <a:gd name="connsiteX103" fmla="*/ 611 w 10000"/>
              <a:gd name="connsiteY103" fmla="*/ 7668 h 10000"/>
              <a:gd name="connsiteX104" fmla="*/ 611 w 10000"/>
              <a:gd name="connsiteY104" fmla="*/ 7750 h 10000"/>
              <a:gd name="connsiteX105" fmla="*/ 702 w 10000"/>
              <a:gd name="connsiteY105" fmla="*/ 7916 h 10000"/>
              <a:gd name="connsiteX106" fmla="*/ 971 w 10000"/>
              <a:gd name="connsiteY106" fmla="*/ 7916 h 10000"/>
              <a:gd name="connsiteX107" fmla="*/ 1055 w 10000"/>
              <a:gd name="connsiteY107" fmla="*/ 8000 h 10000"/>
              <a:gd name="connsiteX108" fmla="*/ 971 w 10000"/>
              <a:gd name="connsiteY108" fmla="*/ 8000 h 10000"/>
              <a:gd name="connsiteX109" fmla="*/ 1055 w 10000"/>
              <a:gd name="connsiteY109" fmla="*/ 8082 h 10000"/>
              <a:gd name="connsiteX110" fmla="*/ 1139 w 10000"/>
              <a:gd name="connsiteY110" fmla="*/ 8082 h 10000"/>
              <a:gd name="connsiteX111" fmla="*/ 1224 w 10000"/>
              <a:gd name="connsiteY111" fmla="*/ 8249 h 10000"/>
              <a:gd name="connsiteX112" fmla="*/ 1315 w 10000"/>
              <a:gd name="connsiteY112" fmla="*/ 8332 h 10000"/>
              <a:gd name="connsiteX113" fmla="*/ 1399 w 10000"/>
              <a:gd name="connsiteY113" fmla="*/ 8249 h 10000"/>
              <a:gd name="connsiteX114" fmla="*/ 1843 w 10000"/>
              <a:gd name="connsiteY114" fmla="*/ 8500 h 10000"/>
              <a:gd name="connsiteX115" fmla="*/ 1757 w 10000"/>
              <a:gd name="connsiteY115" fmla="*/ 8833 h 10000"/>
              <a:gd name="connsiteX116" fmla="*/ 1668 w 10000"/>
              <a:gd name="connsiteY116" fmla="*/ 8750 h 10000"/>
              <a:gd name="connsiteX117" fmla="*/ 1574 w 10000"/>
              <a:gd name="connsiteY117" fmla="*/ 8833 h 10000"/>
              <a:gd name="connsiteX118" fmla="*/ 1574 w 10000"/>
              <a:gd name="connsiteY118" fmla="*/ 8999 h 10000"/>
              <a:gd name="connsiteX119" fmla="*/ 1668 w 10000"/>
              <a:gd name="connsiteY119" fmla="*/ 8917 h 10000"/>
              <a:gd name="connsiteX120" fmla="*/ 1757 w 10000"/>
              <a:gd name="connsiteY120" fmla="*/ 8999 h 10000"/>
              <a:gd name="connsiteX121" fmla="*/ 1494 w 10000"/>
              <a:gd name="connsiteY121" fmla="*/ 9083 h 10000"/>
              <a:gd name="connsiteX122" fmla="*/ 1574 w 10000"/>
              <a:gd name="connsiteY122" fmla="*/ 9167 h 10000"/>
              <a:gd name="connsiteX123" fmla="*/ 1399 w 10000"/>
              <a:gd name="connsiteY123" fmla="*/ 9333 h 10000"/>
              <a:gd name="connsiteX124" fmla="*/ 1315 w 10000"/>
              <a:gd name="connsiteY124" fmla="*/ 9333 h 10000"/>
              <a:gd name="connsiteX125" fmla="*/ 1399 w 10000"/>
              <a:gd name="connsiteY125" fmla="*/ 9333 h 10000"/>
              <a:gd name="connsiteX126" fmla="*/ 1757 w 10000"/>
              <a:gd name="connsiteY126" fmla="*/ 9668 h 10000"/>
              <a:gd name="connsiteX127" fmla="*/ 2195 w 10000"/>
              <a:gd name="connsiteY127" fmla="*/ 9668 h 10000"/>
              <a:gd name="connsiteX128" fmla="*/ 2369 w 10000"/>
              <a:gd name="connsiteY128" fmla="*/ 9750 h 10000"/>
              <a:gd name="connsiteX129" fmla="*/ 2543 w 10000"/>
              <a:gd name="connsiteY129" fmla="*/ 9750 h 10000"/>
              <a:gd name="connsiteX130" fmla="*/ 2721 w 10000"/>
              <a:gd name="connsiteY130" fmla="*/ 9918 h 10000"/>
              <a:gd name="connsiteX131" fmla="*/ 2807 w 10000"/>
              <a:gd name="connsiteY131" fmla="*/ 10000 h 10000"/>
              <a:gd name="connsiteX132" fmla="*/ 2891 w 10000"/>
              <a:gd name="connsiteY132" fmla="*/ 10000 h 10000"/>
              <a:gd name="connsiteX133" fmla="*/ 2984 w 10000"/>
              <a:gd name="connsiteY133" fmla="*/ 9918 h 10000"/>
              <a:gd name="connsiteX134" fmla="*/ 2807 w 10000"/>
              <a:gd name="connsiteY134" fmla="*/ 9750 h 10000"/>
              <a:gd name="connsiteX135" fmla="*/ 2807 w 10000"/>
              <a:gd name="connsiteY135" fmla="*/ 9584 h 10000"/>
              <a:gd name="connsiteX136" fmla="*/ 2721 w 10000"/>
              <a:gd name="connsiteY136" fmla="*/ 9416 h 10000"/>
              <a:gd name="connsiteX137" fmla="*/ 2891 w 10000"/>
              <a:gd name="connsiteY137" fmla="*/ 9167 h 10000"/>
              <a:gd name="connsiteX138" fmla="*/ 2984 w 10000"/>
              <a:gd name="connsiteY138" fmla="*/ 9250 h 10000"/>
              <a:gd name="connsiteX139" fmla="*/ 3069 w 10000"/>
              <a:gd name="connsiteY139" fmla="*/ 9167 h 10000"/>
              <a:gd name="connsiteX140" fmla="*/ 3069 w 10000"/>
              <a:gd name="connsiteY140" fmla="*/ 9083 h 10000"/>
              <a:gd name="connsiteX141" fmla="*/ 2984 w 10000"/>
              <a:gd name="connsiteY141" fmla="*/ 9083 h 10000"/>
              <a:gd name="connsiteX142" fmla="*/ 3069 w 10000"/>
              <a:gd name="connsiteY142" fmla="*/ 8999 h 10000"/>
              <a:gd name="connsiteX143" fmla="*/ 2984 w 10000"/>
              <a:gd name="connsiteY143" fmla="*/ 8833 h 10000"/>
              <a:gd name="connsiteX144" fmla="*/ 2807 w 10000"/>
              <a:gd name="connsiteY144" fmla="*/ 8833 h 10000"/>
              <a:gd name="connsiteX145" fmla="*/ 2721 w 10000"/>
              <a:gd name="connsiteY145" fmla="*/ 8667 h 10000"/>
              <a:gd name="connsiteX146" fmla="*/ 2807 w 10000"/>
              <a:gd name="connsiteY146" fmla="*/ 8249 h 10000"/>
              <a:gd name="connsiteX147" fmla="*/ 2984 w 10000"/>
              <a:gd name="connsiteY147" fmla="*/ 8418 h 10000"/>
              <a:gd name="connsiteX148" fmla="*/ 3069 w 10000"/>
              <a:gd name="connsiteY148" fmla="*/ 8418 h 10000"/>
              <a:gd name="connsiteX149" fmla="*/ 2984 w 10000"/>
              <a:gd name="connsiteY149" fmla="*/ 8249 h 10000"/>
              <a:gd name="connsiteX150" fmla="*/ 3249 w 10000"/>
              <a:gd name="connsiteY150" fmla="*/ 8000 h 10000"/>
              <a:gd name="connsiteX151" fmla="*/ 3426 w 10000"/>
              <a:gd name="connsiteY151" fmla="*/ 8082 h 10000"/>
              <a:gd name="connsiteX152" fmla="*/ 3511 w 10000"/>
              <a:gd name="connsiteY152" fmla="*/ 8000 h 10000"/>
              <a:gd name="connsiteX153" fmla="*/ 3678 w 10000"/>
              <a:gd name="connsiteY153" fmla="*/ 8082 h 10000"/>
              <a:gd name="connsiteX154" fmla="*/ 3953 w 10000"/>
              <a:gd name="connsiteY154" fmla="*/ 8249 h 10000"/>
              <a:gd name="connsiteX155" fmla="*/ 4121 w 10000"/>
              <a:gd name="connsiteY155" fmla="*/ 8167 h 10000"/>
              <a:gd name="connsiteX156" fmla="*/ 4300 w 10000"/>
              <a:gd name="connsiteY156" fmla="*/ 8167 h 10000"/>
              <a:gd name="connsiteX157" fmla="*/ 4389 w 10000"/>
              <a:gd name="connsiteY157" fmla="*/ 8249 h 10000"/>
              <a:gd name="connsiteX158" fmla="*/ 4740 w 10000"/>
              <a:gd name="connsiteY158" fmla="*/ 8249 h 10000"/>
              <a:gd name="connsiteX159" fmla="*/ 4823 w 10000"/>
              <a:gd name="connsiteY159" fmla="*/ 8082 h 10000"/>
              <a:gd name="connsiteX160" fmla="*/ 4557 w 10000"/>
              <a:gd name="connsiteY160" fmla="*/ 8000 h 10000"/>
              <a:gd name="connsiteX161" fmla="*/ 4740 w 10000"/>
              <a:gd name="connsiteY161" fmla="*/ 7916 h 10000"/>
              <a:gd name="connsiteX162" fmla="*/ 4647 w 10000"/>
              <a:gd name="connsiteY162" fmla="*/ 7833 h 10000"/>
              <a:gd name="connsiteX163" fmla="*/ 4740 w 10000"/>
              <a:gd name="connsiteY163" fmla="*/ 7750 h 10000"/>
              <a:gd name="connsiteX164" fmla="*/ 4740 w 10000"/>
              <a:gd name="connsiteY164" fmla="*/ 7500 h 10000"/>
              <a:gd name="connsiteX165" fmla="*/ 4908 w 10000"/>
              <a:gd name="connsiteY165" fmla="*/ 7584 h 10000"/>
              <a:gd name="connsiteX166" fmla="*/ 5701 w 10000"/>
              <a:gd name="connsiteY166" fmla="*/ 7334 h 10000"/>
              <a:gd name="connsiteX167" fmla="*/ 5701 w 10000"/>
              <a:gd name="connsiteY167" fmla="*/ 7250 h 10000"/>
              <a:gd name="connsiteX168" fmla="*/ 5793 w 10000"/>
              <a:gd name="connsiteY168" fmla="*/ 7250 h 10000"/>
              <a:gd name="connsiteX169" fmla="*/ 6046 w 10000"/>
              <a:gd name="connsiteY169" fmla="*/ 7250 h 10000"/>
              <a:gd name="connsiteX170" fmla="*/ 6145 w 10000"/>
              <a:gd name="connsiteY170" fmla="*/ 7417 h 10000"/>
              <a:gd name="connsiteX171" fmla="*/ 6145 w 10000"/>
              <a:gd name="connsiteY171" fmla="*/ 7500 h 10000"/>
              <a:gd name="connsiteX172" fmla="*/ 6228 w 10000"/>
              <a:gd name="connsiteY172" fmla="*/ 7500 h 10000"/>
              <a:gd name="connsiteX173" fmla="*/ 6401 w 10000"/>
              <a:gd name="connsiteY173" fmla="*/ 7584 h 10000"/>
              <a:gd name="connsiteX174" fmla="*/ 6401 w 10000"/>
              <a:gd name="connsiteY174" fmla="*/ 7668 h 10000"/>
              <a:gd name="connsiteX175" fmla="*/ 6577 w 10000"/>
              <a:gd name="connsiteY175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5962 w 10000"/>
              <a:gd name="connsiteY34" fmla="*/ 1582 h 10000"/>
              <a:gd name="connsiteX35" fmla="*/ 4557 w 10000"/>
              <a:gd name="connsiteY35" fmla="*/ 3416 h 10000"/>
              <a:gd name="connsiteX36" fmla="*/ 4480 w 10000"/>
              <a:gd name="connsiteY36" fmla="*/ 3333 h 10000"/>
              <a:gd name="connsiteX37" fmla="*/ 3953 w 10000"/>
              <a:gd name="connsiteY37" fmla="*/ 3500 h 10000"/>
              <a:gd name="connsiteX38" fmla="*/ 3865 w 10000"/>
              <a:gd name="connsiteY38" fmla="*/ 3665 h 10000"/>
              <a:gd name="connsiteX39" fmla="*/ 3777 w 10000"/>
              <a:gd name="connsiteY39" fmla="*/ 3500 h 10000"/>
              <a:gd name="connsiteX40" fmla="*/ 3777 w 10000"/>
              <a:gd name="connsiteY40" fmla="*/ 3333 h 10000"/>
              <a:gd name="connsiteX41" fmla="*/ 2891 w 10000"/>
              <a:gd name="connsiteY41" fmla="*/ 3832 h 10000"/>
              <a:gd name="connsiteX42" fmla="*/ 2891 w 10000"/>
              <a:gd name="connsiteY42" fmla="*/ 3998 h 10000"/>
              <a:gd name="connsiteX43" fmla="*/ 2721 w 10000"/>
              <a:gd name="connsiteY43" fmla="*/ 4082 h 10000"/>
              <a:gd name="connsiteX44" fmla="*/ 2458 w 10000"/>
              <a:gd name="connsiteY44" fmla="*/ 3916 h 10000"/>
              <a:gd name="connsiteX45" fmla="*/ 2721 w 10000"/>
              <a:gd name="connsiteY45" fmla="*/ 3748 h 10000"/>
              <a:gd name="connsiteX46" fmla="*/ 2627 w 10000"/>
              <a:gd name="connsiteY46" fmla="*/ 3500 h 10000"/>
              <a:gd name="connsiteX47" fmla="*/ 2281 w 10000"/>
              <a:gd name="connsiteY47" fmla="*/ 3416 h 10000"/>
              <a:gd name="connsiteX48" fmla="*/ 2369 w 10000"/>
              <a:gd name="connsiteY48" fmla="*/ 3582 h 10000"/>
              <a:gd name="connsiteX49" fmla="*/ 2369 w 10000"/>
              <a:gd name="connsiteY49" fmla="*/ 3998 h 10000"/>
              <a:gd name="connsiteX50" fmla="*/ 2458 w 10000"/>
              <a:gd name="connsiteY50" fmla="*/ 4167 h 10000"/>
              <a:gd name="connsiteX51" fmla="*/ 2369 w 10000"/>
              <a:gd name="connsiteY51" fmla="*/ 4334 h 10000"/>
              <a:gd name="connsiteX52" fmla="*/ 2100 w 10000"/>
              <a:gd name="connsiteY52" fmla="*/ 4250 h 10000"/>
              <a:gd name="connsiteX53" fmla="*/ 1757 w 10000"/>
              <a:gd name="connsiteY53" fmla="*/ 4498 h 10000"/>
              <a:gd name="connsiteX54" fmla="*/ 1928 w 10000"/>
              <a:gd name="connsiteY54" fmla="*/ 4833 h 10000"/>
              <a:gd name="connsiteX55" fmla="*/ 1399 w 10000"/>
              <a:gd name="connsiteY55" fmla="*/ 4666 h 10000"/>
              <a:gd name="connsiteX56" fmla="*/ 1315 w 10000"/>
              <a:gd name="connsiteY56" fmla="*/ 4748 h 10000"/>
              <a:gd name="connsiteX57" fmla="*/ 1494 w 10000"/>
              <a:gd name="connsiteY57" fmla="*/ 4999 h 10000"/>
              <a:gd name="connsiteX58" fmla="*/ 1315 w 10000"/>
              <a:gd name="connsiteY58" fmla="*/ 4999 h 10000"/>
              <a:gd name="connsiteX59" fmla="*/ 1055 w 10000"/>
              <a:gd name="connsiteY59" fmla="*/ 4833 h 10000"/>
              <a:gd name="connsiteX60" fmla="*/ 1055 w 10000"/>
              <a:gd name="connsiteY60" fmla="*/ 4334 h 10000"/>
              <a:gd name="connsiteX61" fmla="*/ 793 w 10000"/>
              <a:gd name="connsiteY61" fmla="*/ 4167 h 10000"/>
              <a:gd name="connsiteX62" fmla="*/ 702 w 10000"/>
              <a:gd name="connsiteY62" fmla="*/ 3998 h 10000"/>
              <a:gd name="connsiteX63" fmla="*/ 873 w 10000"/>
              <a:gd name="connsiteY63" fmla="*/ 4082 h 10000"/>
              <a:gd name="connsiteX64" fmla="*/ 1574 w 10000"/>
              <a:gd name="connsiteY64" fmla="*/ 4334 h 10000"/>
              <a:gd name="connsiteX65" fmla="*/ 2009 w 10000"/>
              <a:gd name="connsiteY65" fmla="*/ 4082 h 10000"/>
              <a:gd name="connsiteX66" fmla="*/ 1928 w 10000"/>
              <a:gd name="connsiteY66" fmla="*/ 3832 h 10000"/>
              <a:gd name="connsiteX67" fmla="*/ 1399 w 10000"/>
              <a:gd name="connsiteY67" fmla="*/ 3333 h 10000"/>
              <a:gd name="connsiteX68" fmla="*/ 873 w 10000"/>
              <a:gd name="connsiteY68" fmla="*/ 3166 h 10000"/>
              <a:gd name="connsiteX69" fmla="*/ 873 w 10000"/>
              <a:gd name="connsiteY69" fmla="*/ 3083 h 10000"/>
              <a:gd name="connsiteX70" fmla="*/ 702 w 10000"/>
              <a:gd name="connsiteY70" fmla="*/ 2997 h 10000"/>
              <a:gd name="connsiteX71" fmla="*/ 523 w 10000"/>
              <a:gd name="connsiteY71" fmla="*/ 3083 h 10000"/>
              <a:gd name="connsiteX72" fmla="*/ 523 w 10000"/>
              <a:gd name="connsiteY72" fmla="*/ 3166 h 10000"/>
              <a:gd name="connsiteX73" fmla="*/ 437 w 10000"/>
              <a:gd name="connsiteY73" fmla="*/ 3166 h 10000"/>
              <a:gd name="connsiteX74" fmla="*/ 263 w 10000"/>
              <a:gd name="connsiteY74" fmla="*/ 3333 h 10000"/>
              <a:gd name="connsiteX75" fmla="*/ 263 w 10000"/>
              <a:gd name="connsiteY75" fmla="*/ 3582 h 10000"/>
              <a:gd name="connsiteX76" fmla="*/ 437 w 10000"/>
              <a:gd name="connsiteY76" fmla="*/ 3748 h 10000"/>
              <a:gd name="connsiteX77" fmla="*/ 353 w 10000"/>
              <a:gd name="connsiteY77" fmla="*/ 3998 h 10000"/>
              <a:gd name="connsiteX78" fmla="*/ 437 w 10000"/>
              <a:gd name="connsiteY78" fmla="*/ 4417 h 10000"/>
              <a:gd name="connsiteX79" fmla="*/ 353 w 10000"/>
              <a:gd name="connsiteY79" fmla="*/ 4666 h 10000"/>
              <a:gd name="connsiteX80" fmla="*/ 523 w 10000"/>
              <a:gd name="connsiteY80" fmla="*/ 4916 h 10000"/>
              <a:gd name="connsiteX81" fmla="*/ 437 w 10000"/>
              <a:gd name="connsiteY81" fmla="*/ 5083 h 10000"/>
              <a:gd name="connsiteX82" fmla="*/ 611 w 10000"/>
              <a:gd name="connsiteY82" fmla="*/ 5250 h 10000"/>
              <a:gd name="connsiteX83" fmla="*/ 611 w 10000"/>
              <a:gd name="connsiteY83" fmla="*/ 5333 h 10000"/>
              <a:gd name="connsiteX84" fmla="*/ 353 w 10000"/>
              <a:gd name="connsiteY84" fmla="*/ 5750 h 10000"/>
              <a:gd name="connsiteX85" fmla="*/ 80 w 10000"/>
              <a:gd name="connsiteY85" fmla="*/ 5917 h 10000"/>
              <a:gd name="connsiteX86" fmla="*/ 172 w 10000"/>
              <a:gd name="connsiteY86" fmla="*/ 5917 h 10000"/>
              <a:gd name="connsiteX87" fmla="*/ 353 w 10000"/>
              <a:gd name="connsiteY87" fmla="*/ 6083 h 10000"/>
              <a:gd name="connsiteX88" fmla="*/ 172 w 10000"/>
              <a:gd name="connsiteY88" fmla="*/ 6249 h 10000"/>
              <a:gd name="connsiteX89" fmla="*/ 80 w 10000"/>
              <a:gd name="connsiteY89" fmla="*/ 6334 h 10000"/>
              <a:gd name="connsiteX90" fmla="*/ 0 w 10000"/>
              <a:gd name="connsiteY90" fmla="*/ 6334 h 10000"/>
              <a:gd name="connsiteX91" fmla="*/ 80 w 10000"/>
              <a:gd name="connsiteY91" fmla="*/ 6584 h 10000"/>
              <a:gd name="connsiteX92" fmla="*/ 80 w 10000"/>
              <a:gd name="connsiteY92" fmla="*/ 6667 h 10000"/>
              <a:gd name="connsiteX93" fmla="*/ 80 w 10000"/>
              <a:gd name="connsiteY93" fmla="*/ 6749 h 10000"/>
              <a:gd name="connsiteX94" fmla="*/ 80 w 10000"/>
              <a:gd name="connsiteY94" fmla="*/ 6834 h 10000"/>
              <a:gd name="connsiteX95" fmla="*/ 172 w 10000"/>
              <a:gd name="connsiteY95" fmla="*/ 6998 h 10000"/>
              <a:gd name="connsiteX96" fmla="*/ 437 w 10000"/>
              <a:gd name="connsiteY96" fmla="*/ 7083 h 10000"/>
              <a:gd name="connsiteX97" fmla="*/ 523 w 10000"/>
              <a:gd name="connsiteY97" fmla="*/ 7165 h 10000"/>
              <a:gd name="connsiteX98" fmla="*/ 523 w 10000"/>
              <a:gd name="connsiteY98" fmla="*/ 7334 h 10000"/>
              <a:gd name="connsiteX99" fmla="*/ 702 w 10000"/>
              <a:gd name="connsiteY99" fmla="*/ 7584 h 10000"/>
              <a:gd name="connsiteX100" fmla="*/ 793 w 10000"/>
              <a:gd name="connsiteY100" fmla="*/ 7584 h 10000"/>
              <a:gd name="connsiteX101" fmla="*/ 702 w 10000"/>
              <a:gd name="connsiteY101" fmla="*/ 7750 h 10000"/>
              <a:gd name="connsiteX102" fmla="*/ 611 w 10000"/>
              <a:gd name="connsiteY102" fmla="*/ 7668 h 10000"/>
              <a:gd name="connsiteX103" fmla="*/ 611 w 10000"/>
              <a:gd name="connsiteY103" fmla="*/ 7750 h 10000"/>
              <a:gd name="connsiteX104" fmla="*/ 702 w 10000"/>
              <a:gd name="connsiteY104" fmla="*/ 7916 h 10000"/>
              <a:gd name="connsiteX105" fmla="*/ 971 w 10000"/>
              <a:gd name="connsiteY105" fmla="*/ 7916 h 10000"/>
              <a:gd name="connsiteX106" fmla="*/ 1055 w 10000"/>
              <a:gd name="connsiteY106" fmla="*/ 8000 h 10000"/>
              <a:gd name="connsiteX107" fmla="*/ 971 w 10000"/>
              <a:gd name="connsiteY107" fmla="*/ 8000 h 10000"/>
              <a:gd name="connsiteX108" fmla="*/ 1055 w 10000"/>
              <a:gd name="connsiteY108" fmla="*/ 8082 h 10000"/>
              <a:gd name="connsiteX109" fmla="*/ 1139 w 10000"/>
              <a:gd name="connsiteY109" fmla="*/ 8082 h 10000"/>
              <a:gd name="connsiteX110" fmla="*/ 1224 w 10000"/>
              <a:gd name="connsiteY110" fmla="*/ 8249 h 10000"/>
              <a:gd name="connsiteX111" fmla="*/ 1315 w 10000"/>
              <a:gd name="connsiteY111" fmla="*/ 8332 h 10000"/>
              <a:gd name="connsiteX112" fmla="*/ 1399 w 10000"/>
              <a:gd name="connsiteY112" fmla="*/ 8249 h 10000"/>
              <a:gd name="connsiteX113" fmla="*/ 1843 w 10000"/>
              <a:gd name="connsiteY113" fmla="*/ 8500 h 10000"/>
              <a:gd name="connsiteX114" fmla="*/ 1757 w 10000"/>
              <a:gd name="connsiteY114" fmla="*/ 8833 h 10000"/>
              <a:gd name="connsiteX115" fmla="*/ 1668 w 10000"/>
              <a:gd name="connsiteY115" fmla="*/ 8750 h 10000"/>
              <a:gd name="connsiteX116" fmla="*/ 1574 w 10000"/>
              <a:gd name="connsiteY116" fmla="*/ 8833 h 10000"/>
              <a:gd name="connsiteX117" fmla="*/ 1574 w 10000"/>
              <a:gd name="connsiteY117" fmla="*/ 8999 h 10000"/>
              <a:gd name="connsiteX118" fmla="*/ 1668 w 10000"/>
              <a:gd name="connsiteY118" fmla="*/ 8917 h 10000"/>
              <a:gd name="connsiteX119" fmla="*/ 1757 w 10000"/>
              <a:gd name="connsiteY119" fmla="*/ 8999 h 10000"/>
              <a:gd name="connsiteX120" fmla="*/ 1494 w 10000"/>
              <a:gd name="connsiteY120" fmla="*/ 9083 h 10000"/>
              <a:gd name="connsiteX121" fmla="*/ 1574 w 10000"/>
              <a:gd name="connsiteY121" fmla="*/ 9167 h 10000"/>
              <a:gd name="connsiteX122" fmla="*/ 1399 w 10000"/>
              <a:gd name="connsiteY122" fmla="*/ 9333 h 10000"/>
              <a:gd name="connsiteX123" fmla="*/ 1315 w 10000"/>
              <a:gd name="connsiteY123" fmla="*/ 9333 h 10000"/>
              <a:gd name="connsiteX124" fmla="*/ 1399 w 10000"/>
              <a:gd name="connsiteY124" fmla="*/ 9333 h 10000"/>
              <a:gd name="connsiteX125" fmla="*/ 1757 w 10000"/>
              <a:gd name="connsiteY125" fmla="*/ 9668 h 10000"/>
              <a:gd name="connsiteX126" fmla="*/ 2195 w 10000"/>
              <a:gd name="connsiteY126" fmla="*/ 9668 h 10000"/>
              <a:gd name="connsiteX127" fmla="*/ 2369 w 10000"/>
              <a:gd name="connsiteY127" fmla="*/ 9750 h 10000"/>
              <a:gd name="connsiteX128" fmla="*/ 2543 w 10000"/>
              <a:gd name="connsiteY128" fmla="*/ 9750 h 10000"/>
              <a:gd name="connsiteX129" fmla="*/ 2721 w 10000"/>
              <a:gd name="connsiteY129" fmla="*/ 9918 h 10000"/>
              <a:gd name="connsiteX130" fmla="*/ 2807 w 10000"/>
              <a:gd name="connsiteY130" fmla="*/ 10000 h 10000"/>
              <a:gd name="connsiteX131" fmla="*/ 2891 w 10000"/>
              <a:gd name="connsiteY131" fmla="*/ 10000 h 10000"/>
              <a:gd name="connsiteX132" fmla="*/ 2984 w 10000"/>
              <a:gd name="connsiteY132" fmla="*/ 9918 h 10000"/>
              <a:gd name="connsiteX133" fmla="*/ 2807 w 10000"/>
              <a:gd name="connsiteY133" fmla="*/ 9750 h 10000"/>
              <a:gd name="connsiteX134" fmla="*/ 2807 w 10000"/>
              <a:gd name="connsiteY134" fmla="*/ 9584 h 10000"/>
              <a:gd name="connsiteX135" fmla="*/ 2721 w 10000"/>
              <a:gd name="connsiteY135" fmla="*/ 9416 h 10000"/>
              <a:gd name="connsiteX136" fmla="*/ 2891 w 10000"/>
              <a:gd name="connsiteY136" fmla="*/ 9167 h 10000"/>
              <a:gd name="connsiteX137" fmla="*/ 2984 w 10000"/>
              <a:gd name="connsiteY137" fmla="*/ 9250 h 10000"/>
              <a:gd name="connsiteX138" fmla="*/ 3069 w 10000"/>
              <a:gd name="connsiteY138" fmla="*/ 9167 h 10000"/>
              <a:gd name="connsiteX139" fmla="*/ 3069 w 10000"/>
              <a:gd name="connsiteY139" fmla="*/ 9083 h 10000"/>
              <a:gd name="connsiteX140" fmla="*/ 2984 w 10000"/>
              <a:gd name="connsiteY140" fmla="*/ 9083 h 10000"/>
              <a:gd name="connsiteX141" fmla="*/ 3069 w 10000"/>
              <a:gd name="connsiteY141" fmla="*/ 8999 h 10000"/>
              <a:gd name="connsiteX142" fmla="*/ 2984 w 10000"/>
              <a:gd name="connsiteY142" fmla="*/ 8833 h 10000"/>
              <a:gd name="connsiteX143" fmla="*/ 2807 w 10000"/>
              <a:gd name="connsiteY143" fmla="*/ 8833 h 10000"/>
              <a:gd name="connsiteX144" fmla="*/ 2721 w 10000"/>
              <a:gd name="connsiteY144" fmla="*/ 8667 h 10000"/>
              <a:gd name="connsiteX145" fmla="*/ 2807 w 10000"/>
              <a:gd name="connsiteY145" fmla="*/ 8249 h 10000"/>
              <a:gd name="connsiteX146" fmla="*/ 2984 w 10000"/>
              <a:gd name="connsiteY146" fmla="*/ 8418 h 10000"/>
              <a:gd name="connsiteX147" fmla="*/ 3069 w 10000"/>
              <a:gd name="connsiteY147" fmla="*/ 8418 h 10000"/>
              <a:gd name="connsiteX148" fmla="*/ 2984 w 10000"/>
              <a:gd name="connsiteY148" fmla="*/ 8249 h 10000"/>
              <a:gd name="connsiteX149" fmla="*/ 3249 w 10000"/>
              <a:gd name="connsiteY149" fmla="*/ 8000 h 10000"/>
              <a:gd name="connsiteX150" fmla="*/ 3426 w 10000"/>
              <a:gd name="connsiteY150" fmla="*/ 8082 h 10000"/>
              <a:gd name="connsiteX151" fmla="*/ 3511 w 10000"/>
              <a:gd name="connsiteY151" fmla="*/ 8000 h 10000"/>
              <a:gd name="connsiteX152" fmla="*/ 3678 w 10000"/>
              <a:gd name="connsiteY152" fmla="*/ 8082 h 10000"/>
              <a:gd name="connsiteX153" fmla="*/ 3953 w 10000"/>
              <a:gd name="connsiteY153" fmla="*/ 8249 h 10000"/>
              <a:gd name="connsiteX154" fmla="*/ 4121 w 10000"/>
              <a:gd name="connsiteY154" fmla="*/ 8167 h 10000"/>
              <a:gd name="connsiteX155" fmla="*/ 4300 w 10000"/>
              <a:gd name="connsiteY155" fmla="*/ 8167 h 10000"/>
              <a:gd name="connsiteX156" fmla="*/ 4389 w 10000"/>
              <a:gd name="connsiteY156" fmla="*/ 8249 h 10000"/>
              <a:gd name="connsiteX157" fmla="*/ 4740 w 10000"/>
              <a:gd name="connsiteY157" fmla="*/ 8249 h 10000"/>
              <a:gd name="connsiteX158" fmla="*/ 4823 w 10000"/>
              <a:gd name="connsiteY158" fmla="*/ 8082 h 10000"/>
              <a:gd name="connsiteX159" fmla="*/ 4557 w 10000"/>
              <a:gd name="connsiteY159" fmla="*/ 8000 h 10000"/>
              <a:gd name="connsiteX160" fmla="*/ 4740 w 10000"/>
              <a:gd name="connsiteY160" fmla="*/ 7916 h 10000"/>
              <a:gd name="connsiteX161" fmla="*/ 4647 w 10000"/>
              <a:gd name="connsiteY161" fmla="*/ 7833 h 10000"/>
              <a:gd name="connsiteX162" fmla="*/ 4740 w 10000"/>
              <a:gd name="connsiteY162" fmla="*/ 7750 h 10000"/>
              <a:gd name="connsiteX163" fmla="*/ 4740 w 10000"/>
              <a:gd name="connsiteY163" fmla="*/ 7500 h 10000"/>
              <a:gd name="connsiteX164" fmla="*/ 4908 w 10000"/>
              <a:gd name="connsiteY164" fmla="*/ 7584 h 10000"/>
              <a:gd name="connsiteX165" fmla="*/ 5701 w 10000"/>
              <a:gd name="connsiteY165" fmla="*/ 7334 h 10000"/>
              <a:gd name="connsiteX166" fmla="*/ 5701 w 10000"/>
              <a:gd name="connsiteY166" fmla="*/ 7250 h 10000"/>
              <a:gd name="connsiteX167" fmla="*/ 5793 w 10000"/>
              <a:gd name="connsiteY167" fmla="*/ 7250 h 10000"/>
              <a:gd name="connsiteX168" fmla="*/ 6046 w 10000"/>
              <a:gd name="connsiteY168" fmla="*/ 7250 h 10000"/>
              <a:gd name="connsiteX169" fmla="*/ 6145 w 10000"/>
              <a:gd name="connsiteY169" fmla="*/ 7417 h 10000"/>
              <a:gd name="connsiteX170" fmla="*/ 6145 w 10000"/>
              <a:gd name="connsiteY170" fmla="*/ 7500 h 10000"/>
              <a:gd name="connsiteX171" fmla="*/ 6228 w 10000"/>
              <a:gd name="connsiteY171" fmla="*/ 7500 h 10000"/>
              <a:gd name="connsiteX172" fmla="*/ 6401 w 10000"/>
              <a:gd name="connsiteY172" fmla="*/ 7584 h 10000"/>
              <a:gd name="connsiteX173" fmla="*/ 6401 w 10000"/>
              <a:gd name="connsiteY173" fmla="*/ 7668 h 10000"/>
              <a:gd name="connsiteX174" fmla="*/ 6577 w 10000"/>
              <a:gd name="connsiteY174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6145 w 10000"/>
              <a:gd name="connsiteY33" fmla="*/ 1500 h 10000"/>
              <a:gd name="connsiteX34" fmla="*/ 4557 w 10000"/>
              <a:gd name="connsiteY34" fmla="*/ 3416 h 10000"/>
              <a:gd name="connsiteX35" fmla="*/ 4480 w 10000"/>
              <a:gd name="connsiteY35" fmla="*/ 3333 h 10000"/>
              <a:gd name="connsiteX36" fmla="*/ 3953 w 10000"/>
              <a:gd name="connsiteY36" fmla="*/ 3500 h 10000"/>
              <a:gd name="connsiteX37" fmla="*/ 3865 w 10000"/>
              <a:gd name="connsiteY37" fmla="*/ 3665 h 10000"/>
              <a:gd name="connsiteX38" fmla="*/ 3777 w 10000"/>
              <a:gd name="connsiteY38" fmla="*/ 3500 h 10000"/>
              <a:gd name="connsiteX39" fmla="*/ 3777 w 10000"/>
              <a:gd name="connsiteY39" fmla="*/ 3333 h 10000"/>
              <a:gd name="connsiteX40" fmla="*/ 2891 w 10000"/>
              <a:gd name="connsiteY40" fmla="*/ 3832 h 10000"/>
              <a:gd name="connsiteX41" fmla="*/ 2891 w 10000"/>
              <a:gd name="connsiteY41" fmla="*/ 3998 h 10000"/>
              <a:gd name="connsiteX42" fmla="*/ 2721 w 10000"/>
              <a:gd name="connsiteY42" fmla="*/ 4082 h 10000"/>
              <a:gd name="connsiteX43" fmla="*/ 2458 w 10000"/>
              <a:gd name="connsiteY43" fmla="*/ 3916 h 10000"/>
              <a:gd name="connsiteX44" fmla="*/ 2721 w 10000"/>
              <a:gd name="connsiteY44" fmla="*/ 3748 h 10000"/>
              <a:gd name="connsiteX45" fmla="*/ 2627 w 10000"/>
              <a:gd name="connsiteY45" fmla="*/ 3500 h 10000"/>
              <a:gd name="connsiteX46" fmla="*/ 2281 w 10000"/>
              <a:gd name="connsiteY46" fmla="*/ 3416 h 10000"/>
              <a:gd name="connsiteX47" fmla="*/ 2369 w 10000"/>
              <a:gd name="connsiteY47" fmla="*/ 3582 h 10000"/>
              <a:gd name="connsiteX48" fmla="*/ 2369 w 10000"/>
              <a:gd name="connsiteY48" fmla="*/ 3998 h 10000"/>
              <a:gd name="connsiteX49" fmla="*/ 2458 w 10000"/>
              <a:gd name="connsiteY49" fmla="*/ 4167 h 10000"/>
              <a:gd name="connsiteX50" fmla="*/ 2369 w 10000"/>
              <a:gd name="connsiteY50" fmla="*/ 4334 h 10000"/>
              <a:gd name="connsiteX51" fmla="*/ 2100 w 10000"/>
              <a:gd name="connsiteY51" fmla="*/ 4250 h 10000"/>
              <a:gd name="connsiteX52" fmla="*/ 1757 w 10000"/>
              <a:gd name="connsiteY52" fmla="*/ 4498 h 10000"/>
              <a:gd name="connsiteX53" fmla="*/ 1928 w 10000"/>
              <a:gd name="connsiteY53" fmla="*/ 4833 h 10000"/>
              <a:gd name="connsiteX54" fmla="*/ 1399 w 10000"/>
              <a:gd name="connsiteY54" fmla="*/ 4666 h 10000"/>
              <a:gd name="connsiteX55" fmla="*/ 1315 w 10000"/>
              <a:gd name="connsiteY55" fmla="*/ 4748 h 10000"/>
              <a:gd name="connsiteX56" fmla="*/ 1494 w 10000"/>
              <a:gd name="connsiteY56" fmla="*/ 4999 h 10000"/>
              <a:gd name="connsiteX57" fmla="*/ 1315 w 10000"/>
              <a:gd name="connsiteY57" fmla="*/ 4999 h 10000"/>
              <a:gd name="connsiteX58" fmla="*/ 1055 w 10000"/>
              <a:gd name="connsiteY58" fmla="*/ 4833 h 10000"/>
              <a:gd name="connsiteX59" fmla="*/ 1055 w 10000"/>
              <a:gd name="connsiteY59" fmla="*/ 4334 h 10000"/>
              <a:gd name="connsiteX60" fmla="*/ 793 w 10000"/>
              <a:gd name="connsiteY60" fmla="*/ 4167 h 10000"/>
              <a:gd name="connsiteX61" fmla="*/ 702 w 10000"/>
              <a:gd name="connsiteY61" fmla="*/ 3998 h 10000"/>
              <a:gd name="connsiteX62" fmla="*/ 873 w 10000"/>
              <a:gd name="connsiteY62" fmla="*/ 4082 h 10000"/>
              <a:gd name="connsiteX63" fmla="*/ 1574 w 10000"/>
              <a:gd name="connsiteY63" fmla="*/ 4334 h 10000"/>
              <a:gd name="connsiteX64" fmla="*/ 2009 w 10000"/>
              <a:gd name="connsiteY64" fmla="*/ 4082 h 10000"/>
              <a:gd name="connsiteX65" fmla="*/ 1928 w 10000"/>
              <a:gd name="connsiteY65" fmla="*/ 3832 h 10000"/>
              <a:gd name="connsiteX66" fmla="*/ 1399 w 10000"/>
              <a:gd name="connsiteY66" fmla="*/ 3333 h 10000"/>
              <a:gd name="connsiteX67" fmla="*/ 873 w 10000"/>
              <a:gd name="connsiteY67" fmla="*/ 3166 h 10000"/>
              <a:gd name="connsiteX68" fmla="*/ 873 w 10000"/>
              <a:gd name="connsiteY68" fmla="*/ 3083 h 10000"/>
              <a:gd name="connsiteX69" fmla="*/ 702 w 10000"/>
              <a:gd name="connsiteY69" fmla="*/ 2997 h 10000"/>
              <a:gd name="connsiteX70" fmla="*/ 523 w 10000"/>
              <a:gd name="connsiteY70" fmla="*/ 3083 h 10000"/>
              <a:gd name="connsiteX71" fmla="*/ 523 w 10000"/>
              <a:gd name="connsiteY71" fmla="*/ 3166 h 10000"/>
              <a:gd name="connsiteX72" fmla="*/ 437 w 10000"/>
              <a:gd name="connsiteY72" fmla="*/ 3166 h 10000"/>
              <a:gd name="connsiteX73" fmla="*/ 263 w 10000"/>
              <a:gd name="connsiteY73" fmla="*/ 3333 h 10000"/>
              <a:gd name="connsiteX74" fmla="*/ 263 w 10000"/>
              <a:gd name="connsiteY74" fmla="*/ 3582 h 10000"/>
              <a:gd name="connsiteX75" fmla="*/ 437 w 10000"/>
              <a:gd name="connsiteY75" fmla="*/ 3748 h 10000"/>
              <a:gd name="connsiteX76" fmla="*/ 353 w 10000"/>
              <a:gd name="connsiteY76" fmla="*/ 3998 h 10000"/>
              <a:gd name="connsiteX77" fmla="*/ 437 w 10000"/>
              <a:gd name="connsiteY77" fmla="*/ 4417 h 10000"/>
              <a:gd name="connsiteX78" fmla="*/ 353 w 10000"/>
              <a:gd name="connsiteY78" fmla="*/ 4666 h 10000"/>
              <a:gd name="connsiteX79" fmla="*/ 523 w 10000"/>
              <a:gd name="connsiteY79" fmla="*/ 4916 h 10000"/>
              <a:gd name="connsiteX80" fmla="*/ 437 w 10000"/>
              <a:gd name="connsiteY80" fmla="*/ 5083 h 10000"/>
              <a:gd name="connsiteX81" fmla="*/ 611 w 10000"/>
              <a:gd name="connsiteY81" fmla="*/ 5250 h 10000"/>
              <a:gd name="connsiteX82" fmla="*/ 611 w 10000"/>
              <a:gd name="connsiteY82" fmla="*/ 5333 h 10000"/>
              <a:gd name="connsiteX83" fmla="*/ 353 w 10000"/>
              <a:gd name="connsiteY83" fmla="*/ 5750 h 10000"/>
              <a:gd name="connsiteX84" fmla="*/ 80 w 10000"/>
              <a:gd name="connsiteY84" fmla="*/ 5917 h 10000"/>
              <a:gd name="connsiteX85" fmla="*/ 172 w 10000"/>
              <a:gd name="connsiteY85" fmla="*/ 5917 h 10000"/>
              <a:gd name="connsiteX86" fmla="*/ 353 w 10000"/>
              <a:gd name="connsiteY86" fmla="*/ 6083 h 10000"/>
              <a:gd name="connsiteX87" fmla="*/ 172 w 10000"/>
              <a:gd name="connsiteY87" fmla="*/ 6249 h 10000"/>
              <a:gd name="connsiteX88" fmla="*/ 80 w 10000"/>
              <a:gd name="connsiteY88" fmla="*/ 6334 h 10000"/>
              <a:gd name="connsiteX89" fmla="*/ 0 w 10000"/>
              <a:gd name="connsiteY89" fmla="*/ 6334 h 10000"/>
              <a:gd name="connsiteX90" fmla="*/ 80 w 10000"/>
              <a:gd name="connsiteY90" fmla="*/ 6584 h 10000"/>
              <a:gd name="connsiteX91" fmla="*/ 80 w 10000"/>
              <a:gd name="connsiteY91" fmla="*/ 6667 h 10000"/>
              <a:gd name="connsiteX92" fmla="*/ 80 w 10000"/>
              <a:gd name="connsiteY92" fmla="*/ 6749 h 10000"/>
              <a:gd name="connsiteX93" fmla="*/ 80 w 10000"/>
              <a:gd name="connsiteY93" fmla="*/ 6834 h 10000"/>
              <a:gd name="connsiteX94" fmla="*/ 172 w 10000"/>
              <a:gd name="connsiteY94" fmla="*/ 6998 h 10000"/>
              <a:gd name="connsiteX95" fmla="*/ 437 w 10000"/>
              <a:gd name="connsiteY95" fmla="*/ 7083 h 10000"/>
              <a:gd name="connsiteX96" fmla="*/ 523 w 10000"/>
              <a:gd name="connsiteY96" fmla="*/ 7165 h 10000"/>
              <a:gd name="connsiteX97" fmla="*/ 523 w 10000"/>
              <a:gd name="connsiteY97" fmla="*/ 7334 h 10000"/>
              <a:gd name="connsiteX98" fmla="*/ 702 w 10000"/>
              <a:gd name="connsiteY98" fmla="*/ 7584 h 10000"/>
              <a:gd name="connsiteX99" fmla="*/ 793 w 10000"/>
              <a:gd name="connsiteY99" fmla="*/ 7584 h 10000"/>
              <a:gd name="connsiteX100" fmla="*/ 702 w 10000"/>
              <a:gd name="connsiteY100" fmla="*/ 7750 h 10000"/>
              <a:gd name="connsiteX101" fmla="*/ 611 w 10000"/>
              <a:gd name="connsiteY101" fmla="*/ 7668 h 10000"/>
              <a:gd name="connsiteX102" fmla="*/ 611 w 10000"/>
              <a:gd name="connsiteY102" fmla="*/ 7750 h 10000"/>
              <a:gd name="connsiteX103" fmla="*/ 702 w 10000"/>
              <a:gd name="connsiteY103" fmla="*/ 7916 h 10000"/>
              <a:gd name="connsiteX104" fmla="*/ 971 w 10000"/>
              <a:gd name="connsiteY104" fmla="*/ 7916 h 10000"/>
              <a:gd name="connsiteX105" fmla="*/ 1055 w 10000"/>
              <a:gd name="connsiteY105" fmla="*/ 8000 h 10000"/>
              <a:gd name="connsiteX106" fmla="*/ 971 w 10000"/>
              <a:gd name="connsiteY106" fmla="*/ 8000 h 10000"/>
              <a:gd name="connsiteX107" fmla="*/ 1055 w 10000"/>
              <a:gd name="connsiteY107" fmla="*/ 8082 h 10000"/>
              <a:gd name="connsiteX108" fmla="*/ 1139 w 10000"/>
              <a:gd name="connsiteY108" fmla="*/ 8082 h 10000"/>
              <a:gd name="connsiteX109" fmla="*/ 1224 w 10000"/>
              <a:gd name="connsiteY109" fmla="*/ 8249 h 10000"/>
              <a:gd name="connsiteX110" fmla="*/ 1315 w 10000"/>
              <a:gd name="connsiteY110" fmla="*/ 8332 h 10000"/>
              <a:gd name="connsiteX111" fmla="*/ 1399 w 10000"/>
              <a:gd name="connsiteY111" fmla="*/ 8249 h 10000"/>
              <a:gd name="connsiteX112" fmla="*/ 1843 w 10000"/>
              <a:gd name="connsiteY112" fmla="*/ 8500 h 10000"/>
              <a:gd name="connsiteX113" fmla="*/ 1757 w 10000"/>
              <a:gd name="connsiteY113" fmla="*/ 8833 h 10000"/>
              <a:gd name="connsiteX114" fmla="*/ 1668 w 10000"/>
              <a:gd name="connsiteY114" fmla="*/ 8750 h 10000"/>
              <a:gd name="connsiteX115" fmla="*/ 1574 w 10000"/>
              <a:gd name="connsiteY115" fmla="*/ 8833 h 10000"/>
              <a:gd name="connsiteX116" fmla="*/ 1574 w 10000"/>
              <a:gd name="connsiteY116" fmla="*/ 8999 h 10000"/>
              <a:gd name="connsiteX117" fmla="*/ 1668 w 10000"/>
              <a:gd name="connsiteY117" fmla="*/ 8917 h 10000"/>
              <a:gd name="connsiteX118" fmla="*/ 1757 w 10000"/>
              <a:gd name="connsiteY118" fmla="*/ 8999 h 10000"/>
              <a:gd name="connsiteX119" fmla="*/ 1494 w 10000"/>
              <a:gd name="connsiteY119" fmla="*/ 9083 h 10000"/>
              <a:gd name="connsiteX120" fmla="*/ 1574 w 10000"/>
              <a:gd name="connsiteY120" fmla="*/ 9167 h 10000"/>
              <a:gd name="connsiteX121" fmla="*/ 1399 w 10000"/>
              <a:gd name="connsiteY121" fmla="*/ 9333 h 10000"/>
              <a:gd name="connsiteX122" fmla="*/ 1315 w 10000"/>
              <a:gd name="connsiteY122" fmla="*/ 9333 h 10000"/>
              <a:gd name="connsiteX123" fmla="*/ 1399 w 10000"/>
              <a:gd name="connsiteY123" fmla="*/ 9333 h 10000"/>
              <a:gd name="connsiteX124" fmla="*/ 1757 w 10000"/>
              <a:gd name="connsiteY124" fmla="*/ 9668 h 10000"/>
              <a:gd name="connsiteX125" fmla="*/ 2195 w 10000"/>
              <a:gd name="connsiteY125" fmla="*/ 9668 h 10000"/>
              <a:gd name="connsiteX126" fmla="*/ 2369 w 10000"/>
              <a:gd name="connsiteY126" fmla="*/ 9750 h 10000"/>
              <a:gd name="connsiteX127" fmla="*/ 2543 w 10000"/>
              <a:gd name="connsiteY127" fmla="*/ 9750 h 10000"/>
              <a:gd name="connsiteX128" fmla="*/ 2721 w 10000"/>
              <a:gd name="connsiteY128" fmla="*/ 9918 h 10000"/>
              <a:gd name="connsiteX129" fmla="*/ 2807 w 10000"/>
              <a:gd name="connsiteY129" fmla="*/ 10000 h 10000"/>
              <a:gd name="connsiteX130" fmla="*/ 2891 w 10000"/>
              <a:gd name="connsiteY130" fmla="*/ 10000 h 10000"/>
              <a:gd name="connsiteX131" fmla="*/ 2984 w 10000"/>
              <a:gd name="connsiteY131" fmla="*/ 9918 h 10000"/>
              <a:gd name="connsiteX132" fmla="*/ 2807 w 10000"/>
              <a:gd name="connsiteY132" fmla="*/ 9750 h 10000"/>
              <a:gd name="connsiteX133" fmla="*/ 2807 w 10000"/>
              <a:gd name="connsiteY133" fmla="*/ 9584 h 10000"/>
              <a:gd name="connsiteX134" fmla="*/ 2721 w 10000"/>
              <a:gd name="connsiteY134" fmla="*/ 9416 h 10000"/>
              <a:gd name="connsiteX135" fmla="*/ 2891 w 10000"/>
              <a:gd name="connsiteY135" fmla="*/ 9167 h 10000"/>
              <a:gd name="connsiteX136" fmla="*/ 2984 w 10000"/>
              <a:gd name="connsiteY136" fmla="*/ 9250 h 10000"/>
              <a:gd name="connsiteX137" fmla="*/ 3069 w 10000"/>
              <a:gd name="connsiteY137" fmla="*/ 9167 h 10000"/>
              <a:gd name="connsiteX138" fmla="*/ 3069 w 10000"/>
              <a:gd name="connsiteY138" fmla="*/ 9083 h 10000"/>
              <a:gd name="connsiteX139" fmla="*/ 2984 w 10000"/>
              <a:gd name="connsiteY139" fmla="*/ 9083 h 10000"/>
              <a:gd name="connsiteX140" fmla="*/ 3069 w 10000"/>
              <a:gd name="connsiteY140" fmla="*/ 8999 h 10000"/>
              <a:gd name="connsiteX141" fmla="*/ 2984 w 10000"/>
              <a:gd name="connsiteY141" fmla="*/ 8833 h 10000"/>
              <a:gd name="connsiteX142" fmla="*/ 2807 w 10000"/>
              <a:gd name="connsiteY142" fmla="*/ 8833 h 10000"/>
              <a:gd name="connsiteX143" fmla="*/ 2721 w 10000"/>
              <a:gd name="connsiteY143" fmla="*/ 8667 h 10000"/>
              <a:gd name="connsiteX144" fmla="*/ 2807 w 10000"/>
              <a:gd name="connsiteY144" fmla="*/ 8249 h 10000"/>
              <a:gd name="connsiteX145" fmla="*/ 2984 w 10000"/>
              <a:gd name="connsiteY145" fmla="*/ 8418 h 10000"/>
              <a:gd name="connsiteX146" fmla="*/ 3069 w 10000"/>
              <a:gd name="connsiteY146" fmla="*/ 8418 h 10000"/>
              <a:gd name="connsiteX147" fmla="*/ 2984 w 10000"/>
              <a:gd name="connsiteY147" fmla="*/ 8249 h 10000"/>
              <a:gd name="connsiteX148" fmla="*/ 3249 w 10000"/>
              <a:gd name="connsiteY148" fmla="*/ 8000 h 10000"/>
              <a:gd name="connsiteX149" fmla="*/ 3426 w 10000"/>
              <a:gd name="connsiteY149" fmla="*/ 8082 h 10000"/>
              <a:gd name="connsiteX150" fmla="*/ 3511 w 10000"/>
              <a:gd name="connsiteY150" fmla="*/ 8000 h 10000"/>
              <a:gd name="connsiteX151" fmla="*/ 3678 w 10000"/>
              <a:gd name="connsiteY151" fmla="*/ 8082 h 10000"/>
              <a:gd name="connsiteX152" fmla="*/ 3953 w 10000"/>
              <a:gd name="connsiteY152" fmla="*/ 8249 h 10000"/>
              <a:gd name="connsiteX153" fmla="*/ 4121 w 10000"/>
              <a:gd name="connsiteY153" fmla="*/ 8167 h 10000"/>
              <a:gd name="connsiteX154" fmla="*/ 4300 w 10000"/>
              <a:gd name="connsiteY154" fmla="*/ 8167 h 10000"/>
              <a:gd name="connsiteX155" fmla="*/ 4389 w 10000"/>
              <a:gd name="connsiteY155" fmla="*/ 8249 h 10000"/>
              <a:gd name="connsiteX156" fmla="*/ 4740 w 10000"/>
              <a:gd name="connsiteY156" fmla="*/ 8249 h 10000"/>
              <a:gd name="connsiteX157" fmla="*/ 4823 w 10000"/>
              <a:gd name="connsiteY157" fmla="*/ 8082 h 10000"/>
              <a:gd name="connsiteX158" fmla="*/ 4557 w 10000"/>
              <a:gd name="connsiteY158" fmla="*/ 8000 h 10000"/>
              <a:gd name="connsiteX159" fmla="*/ 4740 w 10000"/>
              <a:gd name="connsiteY159" fmla="*/ 7916 h 10000"/>
              <a:gd name="connsiteX160" fmla="*/ 4647 w 10000"/>
              <a:gd name="connsiteY160" fmla="*/ 7833 h 10000"/>
              <a:gd name="connsiteX161" fmla="*/ 4740 w 10000"/>
              <a:gd name="connsiteY161" fmla="*/ 7750 h 10000"/>
              <a:gd name="connsiteX162" fmla="*/ 4740 w 10000"/>
              <a:gd name="connsiteY162" fmla="*/ 7500 h 10000"/>
              <a:gd name="connsiteX163" fmla="*/ 4908 w 10000"/>
              <a:gd name="connsiteY163" fmla="*/ 7584 h 10000"/>
              <a:gd name="connsiteX164" fmla="*/ 5701 w 10000"/>
              <a:gd name="connsiteY164" fmla="*/ 7334 h 10000"/>
              <a:gd name="connsiteX165" fmla="*/ 5701 w 10000"/>
              <a:gd name="connsiteY165" fmla="*/ 7250 h 10000"/>
              <a:gd name="connsiteX166" fmla="*/ 5793 w 10000"/>
              <a:gd name="connsiteY166" fmla="*/ 7250 h 10000"/>
              <a:gd name="connsiteX167" fmla="*/ 6046 w 10000"/>
              <a:gd name="connsiteY167" fmla="*/ 7250 h 10000"/>
              <a:gd name="connsiteX168" fmla="*/ 6145 w 10000"/>
              <a:gd name="connsiteY168" fmla="*/ 7417 h 10000"/>
              <a:gd name="connsiteX169" fmla="*/ 6145 w 10000"/>
              <a:gd name="connsiteY169" fmla="*/ 7500 h 10000"/>
              <a:gd name="connsiteX170" fmla="*/ 6228 w 10000"/>
              <a:gd name="connsiteY170" fmla="*/ 7500 h 10000"/>
              <a:gd name="connsiteX171" fmla="*/ 6401 w 10000"/>
              <a:gd name="connsiteY171" fmla="*/ 7584 h 10000"/>
              <a:gd name="connsiteX172" fmla="*/ 6401 w 10000"/>
              <a:gd name="connsiteY172" fmla="*/ 7668 h 10000"/>
              <a:gd name="connsiteX173" fmla="*/ 6577 w 10000"/>
              <a:gd name="connsiteY173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6228 w 10000"/>
              <a:gd name="connsiteY32" fmla="*/ 1665 h 10000"/>
              <a:gd name="connsiteX33" fmla="*/ 4557 w 10000"/>
              <a:gd name="connsiteY33" fmla="*/ 3416 h 10000"/>
              <a:gd name="connsiteX34" fmla="*/ 4480 w 10000"/>
              <a:gd name="connsiteY34" fmla="*/ 3333 h 10000"/>
              <a:gd name="connsiteX35" fmla="*/ 3953 w 10000"/>
              <a:gd name="connsiteY35" fmla="*/ 3500 h 10000"/>
              <a:gd name="connsiteX36" fmla="*/ 3865 w 10000"/>
              <a:gd name="connsiteY36" fmla="*/ 3665 h 10000"/>
              <a:gd name="connsiteX37" fmla="*/ 3777 w 10000"/>
              <a:gd name="connsiteY37" fmla="*/ 3500 h 10000"/>
              <a:gd name="connsiteX38" fmla="*/ 3777 w 10000"/>
              <a:gd name="connsiteY38" fmla="*/ 3333 h 10000"/>
              <a:gd name="connsiteX39" fmla="*/ 2891 w 10000"/>
              <a:gd name="connsiteY39" fmla="*/ 3832 h 10000"/>
              <a:gd name="connsiteX40" fmla="*/ 2891 w 10000"/>
              <a:gd name="connsiteY40" fmla="*/ 3998 h 10000"/>
              <a:gd name="connsiteX41" fmla="*/ 2721 w 10000"/>
              <a:gd name="connsiteY41" fmla="*/ 4082 h 10000"/>
              <a:gd name="connsiteX42" fmla="*/ 2458 w 10000"/>
              <a:gd name="connsiteY42" fmla="*/ 3916 h 10000"/>
              <a:gd name="connsiteX43" fmla="*/ 2721 w 10000"/>
              <a:gd name="connsiteY43" fmla="*/ 3748 h 10000"/>
              <a:gd name="connsiteX44" fmla="*/ 2627 w 10000"/>
              <a:gd name="connsiteY44" fmla="*/ 3500 h 10000"/>
              <a:gd name="connsiteX45" fmla="*/ 2281 w 10000"/>
              <a:gd name="connsiteY45" fmla="*/ 3416 h 10000"/>
              <a:gd name="connsiteX46" fmla="*/ 2369 w 10000"/>
              <a:gd name="connsiteY46" fmla="*/ 3582 h 10000"/>
              <a:gd name="connsiteX47" fmla="*/ 2369 w 10000"/>
              <a:gd name="connsiteY47" fmla="*/ 3998 h 10000"/>
              <a:gd name="connsiteX48" fmla="*/ 2458 w 10000"/>
              <a:gd name="connsiteY48" fmla="*/ 4167 h 10000"/>
              <a:gd name="connsiteX49" fmla="*/ 2369 w 10000"/>
              <a:gd name="connsiteY49" fmla="*/ 4334 h 10000"/>
              <a:gd name="connsiteX50" fmla="*/ 2100 w 10000"/>
              <a:gd name="connsiteY50" fmla="*/ 4250 h 10000"/>
              <a:gd name="connsiteX51" fmla="*/ 1757 w 10000"/>
              <a:gd name="connsiteY51" fmla="*/ 4498 h 10000"/>
              <a:gd name="connsiteX52" fmla="*/ 1928 w 10000"/>
              <a:gd name="connsiteY52" fmla="*/ 4833 h 10000"/>
              <a:gd name="connsiteX53" fmla="*/ 1399 w 10000"/>
              <a:gd name="connsiteY53" fmla="*/ 4666 h 10000"/>
              <a:gd name="connsiteX54" fmla="*/ 1315 w 10000"/>
              <a:gd name="connsiteY54" fmla="*/ 4748 h 10000"/>
              <a:gd name="connsiteX55" fmla="*/ 1494 w 10000"/>
              <a:gd name="connsiteY55" fmla="*/ 4999 h 10000"/>
              <a:gd name="connsiteX56" fmla="*/ 1315 w 10000"/>
              <a:gd name="connsiteY56" fmla="*/ 4999 h 10000"/>
              <a:gd name="connsiteX57" fmla="*/ 1055 w 10000"/>
              <a:gd name="connsiteY57" fmla="*/ 4833 h 10000"/>
              <a:gd name="connsiteX58" fmla="*/ 1055 w 10000"/>
              <a:gd name="connsiteY58" fmla="*/ 4334 h 10000"/>
              <a:gd name="connsiteX59" fmla="*/ 793 w 10000"/>
              <a:gd name="connsiteY59" fmla="*/ 4167 h 10000"/>
              <a:gd name="connsiteX60" fmla="*/ 702 w 10000"/>
              <a:gd name="connsiteY60" fmla="*/ 3998 h 10000"/>
              <a:gd name="connsiteX61" fmla="*/ 873 w 10000"/>
              <a:gd name="connsiteY61" fmla="*/ 4082 h 10000"/>
              <a:gd name="connsiteX62" fmla="*/ 1574 w 10000"/>
              <a:gd name="connsiteY62" fmla="*/ 4334 h 10000"/>
              <a:gd name="connsiteX63" fmla="*/ 2009 w 10000"/>
              <a:gd name="connsiteY63" fmla="*/ 4082 h 10000"/>
              <a:gd name="connsiteX64" fmla="*/ 1928 w 10000"/>
              <a:gd name="connsiteY64" fmla="*/ 3832 h 10000"/>
              <a:gd name="connsiteX65" fmla="*/ 1399 w 10000"/>
              <a:gd name="connsiteY65" fmla="*/ 3333 h 10000"/>
              <a:gd name="connsiteX66" fmla="*/ 873 w 10000"/>
              <a:gd name="connsiteY66" fmla="*/ 3166 h 10000"/>
              <a:gd name="connsiteX67" fmla="*/ 873 w 10000"/>
              <a:gd name="connsiteY67" fmla="*/ 3083 h 10000"/>
              <a:gd name="connsiteX68" fmla="*/ 702 w 10000"/>
              <a:gd name="connsiteY68" fmla="*/ 2997 h 10000"/>
              <a:gd name="connsiteX69" fmla="*/ 523 w 10000"/>
              <a:gd name="connsiteY69" fmla="*/ 3083 h 10000"/>
              <a:gd name="connsiteX70" fmla="*/ 523 w 10000"/>
              <a:gd name="connsiteY70" fmla="*/ 3166 h 10000"/>
              <a:gd name="connsiteX71" fmla="*/ 437 w 10000"/>
              <a:gd name="connsiteY71" fmla="*/ 3166 h 10000"/>
              <a:gd name="connsiteX72" fmla="*/ 263 w 10000"/>
              <a:gd name="connsiteY72" fmla="*/ 3333 h 10000"/>
              <a:gd name="connsiteX73" fmla="*/ 263 w 10000"/>
              <a:gd name="connsiteY73" fmla="*/ 3582 h 10000"/>
              <a:gd name="connsiteX74" fmla="*/ 437 w 10000"/>
              <a:gd name="connsiteY74" fmla="*/ 3748 h 10000"/>
              <a:gd name="connsiteX75" fmla="*/ 353 w 10000"/>
              <a:gd name="connsiteY75" fmla="*/ 3998 h 10000"/>
              <a:gd name="connsiteX76" fmla="*/ 437 w 10000"/>
              <a:gd name="connsiteY76" fmla="*/ 4417 h 10000"/>
              <a:gd name="connsiteX77" fmla="*/ 353 w 10000"/>
              <a:gd name="connsiteY77" fmla="*/ 4666 h 10000"/>
              <a:gd name="connsiteX78" fmla="*/ 523 w 10000"/>
              <a:gd name="connsiteY78" fmla="*/ 4916 h 10000"/>
              <a:gd name="connsiteX79" fmla="*/ 437 w 10000"/>
              <a:gd name="connsiteY79" fmla="*/ 5083 h 10000"/>
              <a:gd name="connsiteX80" fmla="*/ 611 w 10000"/>
              <a:gd name="connsiteY80" fmla="*/ 5250 h 10000"/>
              <a:gd name="connsiteX81" fmla="*/ 611 w 10000"/>
              <a:gd name="connsiteY81" fmla="*/ 5333 h 10000"/>
              <a:gd name="connsiteX82" fmla="*/ 353 w 10000"/>
              <a:gd name="connsiteY82" fmla="*/ 5750 h 10000"/>
              <a:gd name="connsiteX83" fmla="*/ 80 w 10000"/>
              <a:gd name="connsiteY83" fmla="*/ 5917 h 10000"/>
              <a:gd name="connsiteX84" fmla="*/ 172 w 10000"/>
              <a:gd name="connsiteY84" fmla="*/ 5917 h 10000"/>
              <a:gd name="connsiteX85" fmla="*/ 353 w 10000"/>
              <a:gd name="connsiteY85" fmla="*/ 6083 h 10000"/>
              <a:gd name="connsiteX86" fmla="*/ 172 w 10000"/>
              <a:gd name="connsiteY86" fmla="*/ 6249 h 10000"/>
              <a:gd name="connsiteX87" fmla="*/ 80 w 10000"/>
              <a:gd name="connsiteY87" fmla="*/ 6334 h 10000"/>
              <a:gd name="connsiteX88" fmla="*/ 0 w 10000"/>
              <a:gd name="connsiteY88" fmla="*/ 6334 h 10000"/>
              <a:gd name="connsiteX89" fmla="*/ 80 w 10000"/>
              <a:gd name="connsiteY89" fmla="*/ 6584 h 10000"/>
              <a:gd name="connsiteX90" fmla="*/ 80 w 10000"/>
              <a:gd name="connsiteY90" fmla="*/ 6667 h 10000"/>
              <a:gd name="connsiteX91" fmla="*/ 80 w 10000"/>
              <a:gd name="connsiteY91" fmla="*/ 6749 h 10000"/>
              <a:gd name="connsiteX92" fmla="*/ 80 w 10000"/>
              <a:gd name="connsiteY92" fmla="*/ 6834 h 10000"/>
              <a:gd name="connsiteX93" fmla="*/ 172 w 10000"/>
              <a:gd name="connsiteY93" fmla="*/ 6998 h 10000"/>
              <a:gd name="connsiteX94" fmla="*/ 437 w 10000"/>
              <a:gd name="connsiteY94" fmla="*/ 7083 h 10000"/>
              <a:gd name="connsiteX95" fmla="*/ 523 w 10000"/>
              <a:gd name="connsiteY95" fmla="*/ 7165 h 10000"/>
              <a:gd name="connsiteX96" fmla="*/ 523 w 10000"/>
              <a:gd name="connsiteY96" fmla="*/ 7334 h 10000"/>
              <a:gd name="connsiteX97" fmla="*/ 702 w 10000"/>
              <a:gd name="connsiteY97" fmla="*/ 7584 h 10000"/>
              <a:gd name="connsiteX98" fmla="*/ 793 w 10000"/>
              <a:gd name="connsiteY98" fmla="*/ 7584 h 10000"/>
              <a:gd name="connsiteX99" fmla="*/ 702 w 10000"/>
              <a:gd name="connsiteY99" fmla="*/ 7750 h 10000"/>
              <a:gd name="connsiteX100" fmla="*/ 611 w 10000"/>
              <a:gd name="connsiteY100" fmla="*/ 7668 h 10000"/>
              <a:gd name="connsiteX101" fmla="*/ 611 w 10000"/>
              <a:gd name="connsiteY101" fmla="*/ 7750 h 10000"/>
              <a:gd name="connsiteX102" fmla="*/ 702 w 10000"/>
              <a:gd name="connsiteY102" fmla="*/ 7916 h 10000"/>
              <a:gd name="connsiteX103" fmla="*/ 971 w 10000"/>
              <a:gd name="connsiteY103" fmla="*/ 7916 h 10000"/>
              <a:gd name="connsiteX104" fmla="*/ 1055 w 10000"/>
              <a:gd name="connsiteY104" fmla="*/ 8000 h 10000"/>
              <a:gd name="connsiteX105" fmla="*/ 971 w 10000"/>
              <a:gd name="connsiteY105" fmla="*/ 8000 h 10000"/>
              <a:gd name="connsiteX106" fmla="*/ 1055 w 10000"/>
              <a:gd name="connsiteY106" fmla="*/ 8082 h 10000"/>
              <a:gd name="connsiteX107" fmla="*/ 1139 w 10000"/>
              <a:gd name="connsiteY107" fmla="*/ 8082 h 10000"/>
              <a:gd name="connsiteX108" fmla="*/ 1224 w 10000"/>
              <a:gd name="connsiteY108" fmla="*/ 8249 h 10000"/>
              <a:gd name="connsiteX109" fmla="*/ 1315 w 10000"/>
              <a:gd name="connsiteY109" fmla="*/ 8332 h 10000"/>
              <a:gd name="connsiteX110" fmla="*/ 1399 w 10000"/>
              <a:gd name="connsiteY110" fmla="*/ 8249 h 10000"/>
              <a:gd name="connsiteX111" fmla="*/ 1843 w 10000"/>
              <a:gd name="connsiteY111" fmla="*/ 8500 h 10000"/>
              <a:gd name="connsiteX112" fmla="*/ 1757 w 10000"/>
              <a:gd name="connsiteY112" fmla="*/ 8833 h 10000"/>
              <a:gd name="connsiteX113" fmla="*/ 1668 w 10000"/>
              <a:gd name="connsiteY113" fmla="*/ 8750 h 10000"/>
              <a:gd name="connsiteX114" fmla="*/ 1574 w 10000"/>
              <a:gd name="connsiteY114" fmla="*/ 8833 h 10000"/>
              <a:gd name="connsiteX115" fmla="*/ 1574 w 10000"/>
              <a:gd name="connsiteY115" fmla="*/ 8999 h 10000"/>
              <a:gd name="connsiteX116" fmla="*/ 1668 w 10000"/>
              <a:gd name="connsiteY116" fmla="*/ 8917 h 10000"/>
              <a:gd name="connsiteX117" fmla="*/ 1757 w 10000"/>
              <a:gd name="connsiteY117" fmla="*/ 8999 h 10000"/>
              <a:gd name="connsiteX118" fmla="*/ 1494 w 10000"/>
              <a:gd name="connsiteY118" fmla="*/ 9083 h 10000"/>
              <a:gd name="connsiteX119" fmla="*/ 1574 w 10000"/>
              <a:gd name="connsiteY119" fmla="*/ 9167 h 10000"/>
              <a:gd name="connsiteX120" fmla="*/ 1399 w 10000"/>
              <a:gd name="connsiteY120" fmla="*/ 9333 h 10000"/>
              <a:gd name="connsiteX121" fmla="*/ 1315 w 10000"/>
              <a:gd name="connsiteY121" fmla="*/ 9333 h 10000"/>
              <a:gd name="connsiteX122" fmla="*/ 1399 w 10000"/>
              <a:gd name="connsiteY122" fmla="*/ 9333 h 10000"/>
              <a:gd name="connsiteX123" fmla="*/ 1757 w 10000"/>
              <a:gd name="connsiteY123" fmla="*/ 9668 h 10000"/>
              <a:gd name="connsiteX124" fmla="*/ 2195 w 10000"/>
              <a:gd name="connsiteY124" fmla="*/ 9668 h 10000"/>
              <a:gd name="connsiteX125" fmla="*/ 2369 w 10000"/>
              <a:gd name="connsiteY125" fmla="*/ 9750 h 10000"/>
              <a:gd name="connsiteX126" fmla="*/ 2543 w 10000"/>
              <a:gd name="connsiteY126" fmla="*/ 9750 h 10000"/>
              <a:gd name="connsiteX127" fmla="*/ 2721 w 10000"/>
              <a:gd name="connsiteY127" fmla="*/ 9918 h 10000"/>
              <a:gd name="connsiteX128" fmla="*/ 2807 w 10000"/>
              <a:gd name="connsiteY128" fmla="*/ 10000 h 10000"/>
              <a:gd name="connsiteX129" fmla="*/ 2891 w 10000"/>
              <a:gd name="connsiteY129" fmla="*/ 10000 h 10000"/>
              <a:gd name="connsiteX130" fmla="*/ 2984 w 10000"/>
              <a:gd name="connsiteY130" fmla="*/ 9918 h 10000"/>
              <a:gd name="connsiteX131" fmla="*/ 2807 w 10000"/>
              <a:gd name="connsiteY131" fmla="*/ 9750 h 10000"/>
              <a:gd name="connsiteX132" fmla="*/ 2807 w 10000"/>
              <a:gd name="connsiteY132" fmla="*/ 9584 h 10000"/>
              <a:gd name="connsiteX133" fmla="*/ 2721 w 10000"/>
              <a:gd name="connsiteY133" fmla="*/ 9416 h 10000"/>
              <a:gd name="connsiteX134" fmla="*/ 2891 w 10000"/>
              <a:gd name="connsiteY134" fmla="*/ 9167 h 10000"/>
              <a:gd name="connsiteX135" fmla="*/ 2984 w 10000"/>
              <a:gd name="connsiteY135" fmla="*/ 9250 h 10000"/>
              <a:gd name="connsiteX136" fmla="*/ 3069 w 10000"/>
              <a:gd name="connsiteY136" fmla="*/ 9167 h 10000"/>
              <a:gd name="connsiteX137" fmla="*/ 3069 w 10000"/>
              <a:gd name="connsiteY137" fmla="*/ 9083 h 10000"/>
              <a:gd name="connsiteX138" fmla="*/ 2984 w 10000"/>
              <a:gd name="connsiteY138" fmla="*/ 9083 h 10000"/>
              <a:gd name="connsiteX139" fmla="*/ 3069 w 10000"/>
              <a:gd name="connsiteY139" fmla="*/ 8999 h 10000"/>
              <a:gd name="connsiteX140" fmla="*/ 2984 w 10000"/>
              <a:gd name="connsiteY140" fmla="*/ 8833 h 10000"/>
              <a:gd name="connsiteX141" fmla="*/ 2807 w 10000"/>
              <a:gd name="connsiteY141" fmla="*/ 8833 h 10000"/>
              <a:gd name="connsiteX142" fmla="*/ 2721 w 10000"/>
              <a:gd name="connsiteY142" fmla="*/ 8667 h 10000"/>
              <a:gd name="connsiteX143" fmla="*/ 2807 w 10000"/>
              <a:gd name="connsiteY143" fmla="*/ 8249 h 10000"/>
              <a:gd name="connsiteX144" fmla="*/ 2984 w 10000"/>
              <a:gd name="connsiteY144" fmla="*/ 8418 h 10000"/>
              <a:gd name="connsiteX145" fmla="*/ 3069 w 10000"/>
              <a:gd name="connsiteY145" fmla="*/ 8418 h 10000"/>
              <a:gd name="connsiteX146" fmla="*/ 2984 w 10000"/>
              <a:gd name="connsiteY146" fmla="*/ 8249 h 10000"/>
              <a:gd name="connsiteX147" fmla="*/ 3249 w 10000"/>
              <a:gd name="connsiteY147" fmla="*/ 8000 h 10000"/>
              <a:gd name="connsiteX148" fmla="*/ 3426 w 10000"/>
              <a:gd name="connsiteY148" fmla="*/ 8082 h 10000"/>
              <a:gd name="connsiteX149" fmla="*/ 3511 w 10000"/>
              <a:gd name="connsiteY149" fmla="*/ 8000 h 10000"/>
              <a:gd name="connsiteX150" fmla="*/ 3678 w 10000"/>
              <a:gd name="connsiteY150" fmla="*/ 8082 h 10000"/>
              <a:gd name="connsiteX151" fmla="*/ 3953 w 10000"/>
              <a:gd name="connsiteY151" fmla="*/ 8249 h 10000"/>
              <a:gd name="connsiteX152" fmla="*/ 4121 w 10000"/>
              <a:gd name="connsiteY152" fmla="*/ 8167 h 10000"/>
              <a:gd name="connsiteX153" fmla="*/ 4300 w 10000"/>
              <a:gd name="connsiteY153" fmla="*/ 8167 h 10000"/>
              <a:gd name="connsiteX154" fmla="*/ 4389 w 10000"/>
              <a:gd name="connsiteY154" fmla="*/ 8249 h 10000"/>
              <a:gd name="connsiteX155" fmla="*/ 4740 w 10000"/>
              <a:gd name="connsiteY155" fmla="*/ 8249 h 10000"/>
              <a:gd name="connsiteX156" fmla="*/ 4823 w 10000"/>
              <a:gd name="connsiteY156" fmla="*/ 8082 h 10000"/>
              <a:gd name="connsiteX157" fmla="*/ 4557 w 10000"/>
              <a:gd name="connsiteY157" fmla="*/ 8000 h 10000"/>
              <a:gd name="connsiteX158" fmla="*/ 4740 w 10000"/>
              <a:gd name="connsiteY158" fmla="*/ 7916 h 10000"/>
              <a:gd name="connsiteX159" fmla="*/ 4647 w 10000"/>
              <a:gd name="connsiteY159" fmla="*/ 7833 h 10000"/>
              <a:gd name="connsiteX160" fmla="*/ 4740 w 10000"/>
              <a:gd name="connsiteY160" fmla="*/ 7750 h 10000"/>
              <a:gd name="connsiteX161" fmla="*/ 4740 w 10000"/>
              <a:gd name="connsiteY161" fmla="*/ 7500 h 10000"/>
              <a:gd name="connsiteX162" fmla="*/ 4908 w 10000"/>
              <a:gd name="connsiteY162" fmla="*/ 7584 h 10000"/>
              <a:gd name="connsiteX163" fmla="*/ 5701 w 10000"/>
              <a:gd name="connsiteY163" fmla="*/ 7334 h 10000"/>
              <a:gd name="connsiteX164" fmla="*/ 5701 w 10000"/>
              <a:gd name="connsiteY164" fmla="*/ 7250 h 10000"/>
              <a:gd name="connsiteX165" fmla="*/ 5793 w 10000"/>
              <a:gd name="connsiteY165" fmla="*/ 7250 h 10000"/>
              <a:gd name="connsiteX166" fmla="*/ 6046 w 10000"/>
              <a:gd name="connsiteY166" fmla="*/ 7250 h 10000"/>
              <a:gd name="connsiteX167" fmla="*/ 6145 w 10000"/>
              <a:gd name="connsiteY167" fmla="*/ 7417 h 10000"/>
              <a:gd name="connsiteX168" fmla="*/ 6145 w 10000"/>
              <a:gd name="connsiteY168" fmla="*/ 7500 h 10000"/>
              <a:gd name="connsiteX169" fmla="*/ 6228 w 10000"/>
              <a:gd name="connsiteY169" fmla="*/ 7500 h 10000"/>
              <a:gd name="connsiteX170" fmla="*/ 6401 w 10000"/>
              <a:gd name="connsiteY170" fmla="*/ 7584 h 10000"/>
              <a:gd name="connsiteX171" fmla="*/ 6401 w 10000"/>
              <a:gd name="connsiteY171" fmla="*/ 7668 h 10000"/>
              <a:gd name="connsiteX172" fmla="*/ 6577 w 10000"/>
              <a:gd name="connsiteY172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6145 w 10000"/>
              <a:gd name="connsiteY31" fmla="*/ 1749 h 10000"/>
              <a:gd name="connsiteX32" fmla="*/ 4557 w 10000"/>
              <a:gd name="connsiteY32" fmla="*/ 3416 h 10000"/>
              <a:gd name="connsiteX33" fmla="*/ 4480 w 10000"/>
              <a:gd name="connsiteY33" fmla="*/ 3333 h 10000"/>
              <a:gd name="connsiteX34" fmla="*/ 3953 w 10000"/>
              <a:gd name="connsiteY34" fmla="*/ 3500 h 10000"/>
              <a:gd name="connsiteX35" fmla="*/ 3865 w 10000"/>
              <a:gd name="connsiteY35" fmla="*/ 3665 h 10000"/>
              <a:gd name="connsiteX36" fmla="*/ 3777 w 10000"/>
              <a:gd name="connsiteY36" fmla="*/ 3500 h 10000"/>
              <a:gd name="connsiteX37" fmla="*/ 3777 w 10000"/>
              <a:gd name="connsiteY37" fmla="*/ 3333 h 10000"/>
              <a:gd name="connsiteX38" fmla="*/ 2891 w 10000"/>
              <a:gd name="connsiteY38" fmla="*/ 3832 h 10000"/>
              <a:gd name="connsiteX39" fmla="*/ 2891 w 10000"/>
              <a:gd name="connsiteY39" fmla="*/ 3998 h 10000"/>
              <a:gd name="connsiteX40" fmla="*/ 2721 w 10000"/>
              <a:gd name="connsiteY40" fmla="*/ 4082 h 10000"/>
              <a:gd name="connsiteX41" fmla="*/ 2458 w 10000"/>
              <a:gd name="connsiteY41" fmla="*/ 3916 h 10000"/>
              <a:gd name="connsiteX42" fmla="*/ 2721 w 10000"/>
              <a:gd name="connsiteY42" fmla="*/ 3748 h 10000"/>
              <a:gd name="connsiteX43" fmla="*/ 2627 w 10000"/>
              <a:gd name="connsiteY43" fmla="*/ 3500 h 10000"/>
              <a:gd name="connsiteX44" fmla="*/ 2281 w 10000"/>
              <a:gd name="connsiteY44" fmla="*/ 3416 h 10000"/>
              <a:gd name="connsiteX45" fmla="*/ 2369 w 10000"/>
              <a:gd name="connsiteY45" fmla="*/ 3582 h 10000"/>
              <a:gd name="connsiteX46" fmla="*/ 2369 w 10000"/>
              <a:gd name="connsiteY46" fmla="*/ 3998 h 10000"/>
              <a:gd name="connsiteX47" fmla="*/ 2458 w 10000"/>
              <a:gd name="connsiteY47" fmla="*/ 4167 h 10000"/>
              <a:gd name="connsiteX48" fmla="*/ 2369 w 10000"/>
              <a:gd name="connsiteY48" fmla="*/ 4334 h 10000"/>
              <a:gd name="connsiteX49" fmla="*/ 2100 w 10000"/>
              <a:gd name="connsiteY49" fmla="*/ 4250 h 10000"/>
              <a:gd name="connsiteX50" fmla="*/ 1757 w 10000"/>
              <a:gd name="connsiteY50" fmla="*/ 4498 h 10000"/>
              <a:gd name="connsiteX51" fmla="*/ 1928 w 10000"/>
              <a:gd name="connsiteY51" fmla="*/ 4833 h 10000"/>
              <a:gd name="connsiteX52" fmla="*/ 1399 w 10000"/>
              <a:gd name="connsiteY52" fmla="*/ 4666 h 10000"/>
              <a:gd name="connsiteX53" fmla="*/ 1315 w 10000"/>
              <a:gd name="connsiteY53" fmla="*/ 4748 h 10000"/>
              <a:gd name="connsiteX54" fmla="*/ 1494 w 10000"/>
              <a:gd name="connsiteY54" fmla="*/ 4999 h 10000"/>
              <a:gd name="connsiteX55" fmla="*/ 1315 w 10000"/>
              <a:gd name="connsiteY55" fmla="*/ 4999 h 10000"/>
              <a:gd name="connsiteX56" fmla="*/ 1055 w 10000"/>
              <a:gd name="connsiteY56" fmla="*/ 4833 h 10000"/>
              <a:gd name="connsiteX57" fmla="*/ 1055 w 10000"/>
              <a:gd name="connsiteY57" fmla="*/ 4334 h 10000"/>
              <a:gd name="connsiteX58" fmla="*/ 793 w 10000"/>
              <a:gd name="connsiteY58" fmla="*/ 4167 h 10000"/>
              <a:gd name="connsiteX59" fmla="*/ 702 w 10000"/>
              <a:gd name="connsiteY59" fmla="*/ 3998 h 10000"/>
              <a:gd name="connsiteX60" fmla="*/ 873 w 10000"/>
              <a:gd name="connsiteY60" fmla="*/ 4082 h 10000"/>
              <a:gd name="connsiteX61" fmla="*/ 1574 w 10000"/>
              <a:gd name="connsiteY61" fmla="*/ 4334 h 10000"/>
              <a:gd name="connsiteX62" fmla="*/ 2009 w 10000"/>
              <a:gd name="connsiteY62" fmla="*/ 4082 h 10000"/>
              <a:gd name="connsiteX63" fmla="*/ 1928 w 10000"/>
              <a:gd name="connsiteY63" fmla="*/ 3832 h 10000"/>
              <a:gd name="connsiteX64" fmla="*/ 1399 w 10000"/>
              <a:gd name="connsiteY64" fmla="*/ 3333 h 10000"/>
              <a:gd name="connsiteX65" fmla="*/ 873 w 10000"/>
              <a:gd name="connsiteY65" fmla="*/ 3166 h 10000"/>
              <a:gd name="connsiteX66" fmla="*/ 873 w 10000"/>
              <a:gd name="connsiteY66" fmla="*/ 3083 h 10000"/>
              <a:gd name="connsiteX67" fmla="*/ 702 w 10000"/>
              <a:gd name="connsiteY67" fmla="*/ 2997 h 10000"/>
              <a:gd name="connsiteX68" fmla="*/ 523 w 10000"/>
              <a:gd name="connsiteY68" fmla="*/ 3083 h 10000"/>
              <a:gd name="connsiteX69" fmla="*/ 523 w 10000"/>
              <a:gd name="connsiteY69" fmla="*/ 3166 h 10000"/>
              <a:gd name="connsiteX70" fmla="*/ 437 w 10000"/>
              <a:gd name="connsiteY70" fmla="*/ 3166 h 10000"/>
              <a:gd name="connsiteX71" fmla="*/ 263 w 10000"/>
              <a:gd name="connsiteY71" fmla="*/ 3333 h 10000"/>
              <a:gd name="connsiteX72" fmla="*/ 263 w 10000"/>
              <a:gd name="connsiteY72" fmla="*/ 3582 h 10000"/>
              <a:gd name="connsiteX73" fmla="*/ 437 w 10000"/>
              <a:gd name="connsiteY73" fmla="*/ 3748 h 10000"/>
              <a:gd name="connsiteX74" fmla="*/ 353 w 10000"/>
              <a:gd name="connsiteY74" fmla="*/ 3998 h 10000"/>
              <a:gd name="connsiteX75" fmla="*/ 437 w 10000"/>
              <a:gd name="connsiteY75" fmla="*/ 4417 h 10000"/>
              <a:gd name="connsiteX76" fmla="*/ 353 w 10000"/>
              <a:gd name="connsiteY76" fmla="*/ 4666 h 10000"/>
              <a:gd name="connsiteX77" fmla="*/ 523 w 10000"/>
              <a:gd name="connsiteY77" fmla="*/ 4916 h 10000"/>
              <a:gd name="connsiteX78" fmla="*/ 437 w 10000"/>
              <a:gd name="connsiteY78" fmla="*/ 5083 h 10000"/>
              <a:gd name="connsiteX79" fmla="*/ 611 w 10000"/>
              <a:gd name="connsiteY79" fmla="*/ 5250 h 10000"/>
              <a:gd name="connsiteX80" fmla="*/ 611 w 10000"/>
              <a:gd name="connsiteY80" fmla="*/ 5333 h 10000"/>
              <a:gd name="connsiteX81" fmla="*/ 353 w 10000"/>
              <a:gd name="connsiteY81" fmla="*/ 5750 h 10000"/>
              <a:gd name="connsiteX82" fmla="*/ 80 w 10000"/>
              <a:gd name="connsiteY82" fmla="*/ 5917 h 10000"/>
              <a:gd name="connsiteX83" fmla="*/ 172 w 10000"/>
              <a:gd name="connsiteY83" fmla="*/ 5917 h 10000"/>
              <a:gd name="connsiteX84" fmla="*/ 353 w 10000"/>
              <a:gd name="connsiteY84" fmla="*/ 6083 h 10000"/>
              <a:gd name="connsiteX85" fmla="*/ 172 w 10000"/>
              <a:gd name="connsiteY85" fmla="*/ 6249 h 10000"/>
              <a:gd name="connsiteX86" fmla="*/ 80 w 10000"/>
              <a:gd name="connsiteY86" fmla="*/ 6334 h 10000"/>
              <a:gd name="connsiteX87" fmla="*/ 0 w 10000"/>
              <a:gd name="connsiteY87" fmla="*/ 6334 h 10000"/>
              <a:gd name="connsiteX88" fmla="*/ 80 w 10000"/>
              <a:gd name="connsiteY88" fmla="*/ 6584 h 10000"/>
              <a:gd name="connsiteX89" fmla="*/ 80 w 10000"/>
              <a:gd name="connsiteY89" fmla="*/ 6667 h 10000"/>
              <a:gd name="connsiteX90" fmla="*/ 80 w 10000"/>
              <a:gd name="connsiteY90" fmla="*/ 6749 h 10000"/>
              <a:gd name="connsiteX91" fmla="*/ 80 w 10000"/>
              <a:gd name="connsiteY91" fmla="*/ 6834 h 10000"/>
              <a:gd name="connsiteX92" fmla="*/ 172 w 10000"/>
              <a:gd name="connsiteY92" fmla="*/ 6998 h 10000"/>
              <a:gd name="connsiteX93" fmla="*/ 437 w 10000"/>
              <a:gd name="connsiteY93" fmla="*/ 7083 h 10000"/>
              <a:gd name="connsiteX94" fmla="*/ 523 w 10000"/>
              <a:gd name="connsiteY94" fmla="*/ 7165 h 10000"/>
              <a:gd name="connsiteX95" fmla="*/ 523 w 10000"/>
              <a:gd name="connsiteY95" fmla="*/ 7334 h 10000"/>
              <a:gd name="connsiteX96" fmla="*/ 702 w 10000"/>
              <a:gd name="connsiteY96" fmla="*/ 7584 h 10000"/>
              <a:gd name="connsiteX97" fmla="*/ 793 w 10000"/>
              <a:gd name="connsiteY97" fmla="*/ 7584 h 10000"/>
              <a:gd name="connsiteX98" fmla="*/ 702 w 10000"/>
              <a:gd name="connsiteY98" fmla="*/ 7750 h 10000"/>
              <a:gd name="connsiteX99" fmla="*/ 611 w 10000"/>
              <a:gd name="connsiteY99" fmla="*/ 7668 h 10000"/>
              <a:gd name="connsiteX100" fmla="*/ 611 w 10000"/>
              <a:gd name="connsiteY100" fmla="*/ 7750 h 10000"/>
              <a:gd name="connsiteX101" fmla="*/ 702 w 10000"/>
              <a:gd name="connsiteY101" fmla="*/ 7916 h 10000"/>
              <a:gd name="connsiteX102" fmla="*/ 971 w 10000"/>
              <a:gd name="connsiteY102" fmla="*/ 7916 h 10000"/>
              <a:gd name="connsiteX103" fmla="*/ 1055 w 10000"/>
              <a:gd name="connsiteY103" fmla="*/ 8000 h 10000"/>
              <a:gd name="connsiteX104" fmla="*/ 971 w 10000"/>
              <a:gd name="connsiteY104" fmla="*/ 8000 h 10000"/>
              <a:gd name="connsiteX105" fmla="*/ 1055 w 10000"/>
              <a:gd name="connsiteY105" fmla="*/ 8082 h 10000"/>
              <a:gd name="connsiteX106" fmla="*/ 1139 w 10000"/>
              <a:gd name="connsiteY106" fmla="*/ 8082 h 10000"/>
              <a:gd name="connsiteX107" fmla="*/ 1224 w 10000"/>
              <a:gd name="connsiteY107" fmla="*/ 8249 h 10000"/>
              <a:gd name="connsiteX108" fmla="*/ 1315 w 10000"/>
              <a:gd name="connsiteY108" fmla="*/ 8332 h 10000"/>
              <a:gd name="connsiteX109" fmla="*/ 1399 w 10000"/>
              <a:gd name="connsiteY109" fmla="*/ 8249 h 10000"/>
              <a:gd name="connsiteX110" fmla="*/ 1843 w 10000"/>
              <a:gd name="connsiteY110" fmla="*/ 8500 h 10000"/>
              <a:gd name="connsiteX111" fmla="*/ 1757 w 10000"/>
              <a:gd name="connsiteY111" fmla="*/ 8833 h 10000"/>
              <a:gd name="connsiteX112" fmla="*/ 1668 w 10000"/>
              <a:gd name="connsiteY112" fmla="*/ 8750 h 10000"/>
              <a:gd name="connsiteX113" fmla="*/ 1574 w 10000"/>
              <a:gd name="connsiteY113" fmla="*/ 8833 h 10000"/>
              <a:gd name="connsiteX114" fmla="*/ 1574 w 10000"/>
              <a:gd name="connsiteY114" fmla="*/ 8999 h 10000"/>
              <a:gd name="connsiteX115" fmla="*/ 1668 w 10000"/>
              <a:gd name="connsiteY115" fmla="*/ 8917 h 10000"/>
              <a:gd name="connsiteX116" fmla="*/ 1757 w 10000"/>
              <a:gd name="connsiteY116" fmla="*/ 8999 h 10000"/>
              <a:gd name="connsiteX117" fmla="*/ 1494 w 10000"/>
              <a:gd name="connsiteY117" fmla="*/ 9083 h 10000"/>
              <a:gd name="connsiteX118" fmla="*/ 1574 w 10000"/>
              <a:gd name="connsiteY118" fmla="*/ 9167 h 10000"/>
              <a:gd name="connsiteX119" fmla="*/ 1399 w 10000"/>
              <a:gd name="connsiteY119" fmla="*/ 9333 h 10000"/>
              <a:gd name="connsiteX120" fmla="*/ 1315 w 10000"/>
              <a:gd name="connsiteY120" fmla="*/ 9333 h 10000"/>
              <a:gd name="connsiteX121" fmla="*/ 1399 w 10000"/>
              <a:gd name="connsiteY121" fmla="*/ 9333 h 10000"/>
              <a:gd name="connsiteX122" fmla="*/ 1757 w 10000"/>
              <a:gd name="connsiteY122" fmla="*/ 9668 h 10000"/>
              <a:gd name="connsiteX123" fmla="*/ 2195 w 10000"/>
              <a:gd name="connsiteY123" fmla="*/ 9668 h 10000"/>
              <a:gd name="connsiteX124" fmla="*/ 2369 w 10000"/>
              <a:gd name="connsiteY124" fmla="*/ 9750 h 10000"/>
              <a:gd name="connsiteX125" fmla="*/ 2543 w 10000"/>
              <a:gd name="connsiteY125" fmla="*/ 9750 h 10000"/>
              <a:gd name="connsiteX126" fmla="*/ 2721 w 10000"/>
              <a:gd name="connsiteY126" fmla="*/ 9918 h 10000"/>
              <a:gd name="connsiteX127" fmla="*/ 2807 w 10000"/>
              <a:gd name="connsiteY127" fmla="*/ 10000 h 10000"/>
              <a:gd name="connsiteX128" fmla="*/ 2891 w 10000"/>
              <a:gd name="connsiteY128" fmla="*/ 10000 h 10000"/>
              <a:gd name="connsiteX129" fmla="*/ 2984 w 10000"/>
              <a:gd name="connsiteY129" fmla="*/ 9918 h 10000"/>
              <a:gd name="connsiteX130" fmla="*/ 2807 w 10000"/>
              <a:gd name="connsiteY130" fmla="*/ 9750 h 10000"/>
              <a:gd name="connsiteX131" fmla="*/ 2807 w 10000"/>
              <a:gd name="connsiteY131" fmla="*/ 9584 h 10000"/>
              <a:gd name="connsiteX132" fmla="*/ 2721 w 10000"/>
              <a:gd name="connsiteY132" fmla="*/ 9416 h 10000"/>
              <a:gd name="connsiteX133" fmla="*/ 2891 w 10000"/>
              <a:gd name="connsiteY133" fmla="*/ 9167 h 10000"/>
              <a:gd name="connsiteX134" fmla="*/ 2984 w 10000"/>
              <a:gd name="connsiteY134" fmla="*/ 9250 h 10000"/>
              <a:gd name="connsiteX135" fmla="*/ 3069 w 10000"/>
              <a:gd name="connsiteY135" fmla="*/ 9167 h 10000"/>
              <a:gd name="connsiteX136" fmla="*/ 3069 w 10000"/>
              <a:gd name="connsiteY136" fmla="*/ 9083 h 10000"/>
              <a:gd name="connsiteX137" fmla="*/ 2984 w 10000"/>
              <a:gd name="connsiteY137" fmla="*/ 9083 h 10000"/>
              <a:gd name="connsiteX138" fmla="*/ 3069 w 10000"/>
              <a:gd name="connsiteY138" fmla="*/ 8999 h 10000"/>
              <a:gd name="connsiteX139" fmla="*/ 2984 w 10000"/>
              <a:gd name="connsiteY139" fmla="*/ 8833 h 10000"/>
              <a:gd name="connsiteX140" fmla="*/ 2807 w 10000"/>
              <a:gd name="connsiteY140" fmla="*/ 8833 h 10000"/>
              <a:gd name="connsiteX141" fmla="*/ 2721 w 10000"/>
              <a:gd name="connsiteY141" fmla="*/ 8667 h 10000"/>
              <a:gd name="connsiteX142" fmla="*/ 2807 w 10000"/>
              <a:gd name="connsiteY142" fmla="*/ 8249 h 10000"/>
              <a:gd name="connsiteX143" fmla="*/ 2984 w 10000"/>
              <a:gd name="connsiteY143" fmla="*/ 8418 h 10000"/>
              <a:gd name="connsiteX144" fmla="*/ 3069 w 10000"/>
              <a:gd name="connsiteY144" fmla="*/ 8418 h 10000"/>
              <a:gd name="connsiteX145" fmla="*/ 2984 w 10000"/>
              <a:gd name="connsiteY145" fmla="*/ 8249 h 10000"/>
              <a:gd name="connsiteX146" fmla="*/ 3249 w 10000"/>
              <a:gd name="connsiteY146" fmla="*/ 8000 h 10000"/>
              <a:gd name="connsiteX147" fmla="*/ 3426 w 10000"/>
              <a:gd name="connsiteY147" fmla="*/ 8082 h 10000"/>
              <a:gd name="connsiteX148" fmla="*/ 3511 w 10000"/>
              <a:gd name="connsiteY148" fmla="*/ 8000 h 10000"/>
              <a:gd name="connsiteX149" fmla="*/ 3678 w 10000"/>
              <a:gd name="connsiteY149" fmla="*/ 8082 h 10000"/>
              <a:gd name="connsiteX150" fmla="*/ 3953 w 10000"/>
              <a:gd name="connsiteY150" fmla="*/ 8249 h 10000"/>
              <a:gd name="connsiteX151" fmla="*/ 4121 w 10000"/>
              <a:gd name="connsiteY151" fmla="*/ 8167 h 10000"/>
              <a:gd name="connsiteX152" fmla="*/ 4300 w 10000"/>
              <a:gd name="connsiteY152" fmla="*/ 8167 h 10000"/>
              <a:gd name="connsiteX153" fmla="*/ 4389 w 10000"/>
              <a:gd name="connsiteY153" fmla="*/ 8249 h 10000"/>
              <a:gd name="connsiteX154" fmla="*/ 4740 w 10000"/>
              <a:gd name="connsiteY154" fmla="*/ 8249 h 10000"/>
              <a:gd name="connsiteX155" fmla="*/ 4823 w 10000"/>
              <a:gd name="connsiteY155" fmla="*/ 8082 h 10000"/>
              <a:gd name="connsiteX156" fmla="*/ 4557 w 10000"/>
              <a:gd name="connsiteY156" fmla="*/ 8000 h 10000"/>
              <a:gd name="connsiteX157" fmla="*/ 4740 w 10000"/>
              <a:gd name="connsiteY157" fmla="*/ 7916 h 10000"/>
              <a:gd name="connsiteX158" fmla="*/ 4647 w 10000"/>
              <a:gd name="connsiteY158" fmla="*/ 7833 h 10000"/>
              <a:gd name="connsiteX159" fmla="*/ 4740 w 10000"/>
              <a:gd name="connsiteY159" fmla="*/ 7750 h 10000"/>
              <a:gd name="connsiteX160" fmla="*/ 4740 w 10000"/>
              <a:gd name="connsiteY160" fmla="*/ 7500 h 10000"/>
              <a:gd name="connsiteX161" fmla="*/ 4908 w 10000"/>
              <a:gd name="connsiteY161" fmla="*/ 7584 h 10000"/>
              <a:gd name="connsiteX162" fmla="*/ 5701 w 10000"/>
              <a:gd name="connsiteY162" fmla="*/ 7334 h 10000"/>
              <a:gd name="connsiteX163" fmla="*/ 5701 w 10000"/>
              <a:gd name="connsiteY163" fmla="*/ 7250 h 10000"/>
              <a:gd name="connsiteX164" fmla="*/ 5793 w 10000"/>
              <a:gd name="connsiteY164" fmla="*/ 7250 h 10000"/>
              <a:gd name="connsiteX165" fmla="*/ 6046 w 10000"/>
              <a:gd name="connsiteY165" fmla="*/ 7250 h 10000"/>
              <a:gd name="connsiteX166" fmla="*/ 6145 w 10000"/>
              <a:gd name="connsiteY166" fmla="*/ 7417 h 10000"/>
              <a:gd name="connsiteX167" fmla="*/ 6145 w 10000"/>
              <a:gd name="connsiteY167" fmla="*/ 7500 h 10000"/>
              <a:gd name="connsiteX168" fmla="*/ 6228 w 10000"/>
              <a:gd name="connsiteY168" fmla="*/ 7500 h 10000"/>
              <a:gd name="connsiteX169" fmla="*/ 6401 w 10000"/>
              <a:gd name="connsiteY169" fmla="*/ 7584 h 10000"/>
              <a:gd name="connsiteX170" fmla="*/ 6401 w 10000"/>
              <a:gd name="connsiteY170" fmla="*/ 7668 h 10000"/>
              <a:gd name="connsiteX171" fmla="*/ 6577 w 10000"/>
              <a:gd name="connsiteY171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6305 w 10000"/>
              <a:gd name="connsiteY30" fmla="*/ 1831 h 10000"/>
              <a:gd name="connsiteX31" fmla="*/ 4557 w 10000"/>
              <a:gd name="connsiteY31" fmla="*/ 3416 h 10000"/>
              <a:gd name="connsiteX32" fmla="*/ 4480 w 10000"/>
              <a:gd name="connsiteY32" fmla="*/ 3333 h 10000"/>
              <a:gd name="connsiteX33" fmla="*/ 3953 w 10000"/>
              <a:gd name="connsiteY33" fmla="*/ 3500 h 10000"/>
              <a:gd name="connsiteX34" fmla="*/ 3865 w 10000"/>
              <a:gd name="connsiteY34" fmla="*/ 3665 h 10000"/>
              <a:gd name="connsiteX35" fmla="*/ 3777 w 10000"/>
              <a:gd name="connsiteY35" fmla="*/ 3500 h 10000"/>
              <a:gd name="connsiteX36" fmla="*/ 3777 w 10000"/>
              <a:gd name="connsiteY36" fmla="*/ 3333 h 10000"/>
              <a:gd name="connsiteX37" fmla="*/ 2891 w 10000"/>
              <a:gd name="connsiteY37" fmla="*/ 3832 h 10000"/>
              <a:gd name="connsiteX38" fmla="*/ 2891 w 10000"/>
              <a:gd name="connsiteY38" fmla="*/ 3998 h 10000"/>
              <a:gd name="connsiteX39" fmla="*/ 2721 w 10000"/>
              <a:gd name="connsiteY39" fmla="*/ 4082 h 10000"/>
              <a:gd name="connsiteX40" fmla="*/ 2458 w 10000"/>
              <a:gd name="connsiteY40" fmla="*/ 3916 h 10000"/>
              <a:gd name="connsiteX41" fmla="*/ 2721 w 10000"/>
              <a:gd name="connsiteY41" fmla="*/ 3748 h 10000"/>
              <a:gd name="connsiteX42" fmla="*/ 2627 w 10000"/>
              <a:gd name="connsiteY42" fmla="*/ 3500 h 10000"/>
              <a:gd name="connsiteX43" fmla="*/ 2281 w 10000"/>
              <a:gd name="connsiteY43" fmla="*/ 3416 h 10000"/>
              <a:gd name="connsiteX44" fmla="*/ 2369 w 10000"/>
              <a:gd name="connsiteY44" fmla="*/ 3582 h 10000"/>
              <a:gd name="connsiteX45" fmla="*/ 2369 w 10000"/>
              <a:gd name="connsiteY45" fmla="*/ 3998 h 10000"/>
              <a:gd name="connsiteX46" fmla="*/ 2458 w 10000"/>
              <a:gd name="connsiteY46" fmla="*/ 4167 h 10000"/>
              <a:gd name="connsiteX47" fmla="*/ 2369 w 10000"/>
              <a:gd name="connsiteY47" fmla="*/ 4334 h 10000"/>
              <a:gd name="connsiteX48" fmla="*/ 2100 w 10000"/>
              <a:gd name="connsiteY48" fmla="*/ 4250 h 10000"/>
              <a:gd name="connsiteX49" fmla="*/ 1757 w 10000"/>
              <a:gd name="connsiteY49" fmla="*/ 4498 h 10000"/>
              <a:gd name="connsiteX50" fmla="*/ 1928 w 10000"/>
              <a:gd name="connsiteY50" fmla="*/ 4833 h 10000"/>
              <a:gd name="connsiteX51" fmla="*/ 1399 w 10000"/>
              <a:gd name="connsiteY51" fmla="*/ 4666 h 10000"/>
              <a:gd name="connsiteX52" fmla="*/ 1315 w 10000"/>
              <a:gd name="connsiteY52" fmla="*/ 4748 h 10000"/>
              <a:gd name="connsiteX53" fmla="*/ 1494 w 10000"/>
              <a:gd name="connsiteY53" fmla="*/ 4999 h 10000"/>
              <a:gd name="connsiteX54" fmla="*/ 1315 w 10000"/>
              <a:gd name="connsiteY54" fmla="*/ 4999 h 10000"/>
              <a:gd name="connsiteX55" fmla="*/ 1055 w 10000"/>
              <a:gd name="connsiteY55" fmla="*/ 4833 h 10000"/>
              <a:gd name="connsiteX56" fmla="*/ 1055 w 10000"/>
              <a:gd name="connsiteY56" fmla="*/ 4334 h 10000"/>
              <a:gd name="connsiteX57" fmla="*/ 793 w 10000"/>
              <a:gd name="connsiteY57" fmla="*/ 4167 h 10000"/>
              <a:gd name="connsiteX58" fmla="*/ 702 w 10000"/>
              <a:gd name="connsiteY58" fmla="*/ 3998 h 10000"/>
              <a:gd name="connsiteX59" fmla="*/ 873 w 10000"/>
              <a:gd name="connsiteY59" fmla="*/ 4082 h 10000"/>
              <a:gd name="connsiteX60" fmla="*/ 1574 w 10000"/>
              <a:gd name="connsiteY60" fmla="*/ 4334 h 10000"/>
              <a:gd name="connsiteX61" fmla="*/ 2009 w 10000"/>
              <a:gd name="connsiteY61" fmla="*/ 4082 h 10000"/>
              <a:gd name="connsiteX62" fmla="*/ 1928 w 10000"/>
              <a:gd name="connsiteY62" fmla="*/ 3832 h 10000"/>
              <a:gd name="connsiteX63" fmla="*/ 1399 w 10000"/>
              <a:gd name="connsiteY63" fmla="*/ 3333 h 10000"/>
              <a:gd name="connsiteX64" fmla="*/ 873 w 10000"/>
              <a:gd name="connsiteY64" fmla="*/ 3166 h 10000"/>
              <a:gd name="connsiteX65" fmla="*/ 873 w 10000"/>
              <a:gd name="connsiteY65" fmla="*/ 3083 h 10000"/>
              <a:gd name="connsiteX66" fmla="*/ 702 w 10000"/>
              <a:gd name="connsiteY66" fmla="*/ 2997 h 10000"/>
              <a:gd name="connsiteX67" fmla="*/ 523 w 10000"/>
              <a:gd name="connsiteY67" fmla="*/ 3083 h 10000"/>
              <a:gd name="connsiteX68" fmla="*/ 523 w 10000"/>
              <a:gd name="connsiteY68" fmla="*/ 3166 h 10000"/>
              <a:gd name="connsiteX69" fmla="*/ 437 w 10000"/>
              <a:gd name="connsiteY69" fmla="*/ 3166 h 10000"/>
              <a:gd name="connsiteX70" fmla="*/ 263 w 10000"/>
              <a:gd name="connsiteY70" fmla="*/ 3333 h 10000"/>
              <a:gd name="connsiteX71" fmla="*/ 263 w 10000"/>
              <a:gd name="connsiteY71" fmla="*/ 3582 h 10000"/>
              <a:gd name="connsiteX72" fmla="*/ 437 w 10000"/>
              <a:gd name="connsiteY72" fmla="*/ 3748 h 10000"/>
              <a:gd name="connsiteX73" fmla="*/ 353 w 10000"/>
              <a:gd name="connsiteY73" fmla="*/ 3998 h 10000"/>
              <a:gd name="connsiteX74" fmla="*/ 437 w 10000"/>
              <a:gd name="connsiteY74" fmla="*/ 4417 h 10000"/>
              <a:gd name="connsiteX75" fmla="*/ 353 w 10000"/>
              <a:gd name="connsiteY75" fmla="*/ 4666 h 10000"/>
              <a:gd name="connsiteX76" fmla="*/ 523 w 10000"/>
              <a:gd name="connsiteY76" fmla="*/ 4916 h 10000"/>
              <a:gd name="connsiteX77" fmla="*/ 437 w 10000"/>
              <a:gd name="connsiteY77" fmla="*/ 5083 h 10000"/>
              <a:gd name="connsiteX78" fmla="*/ 611 w 10000"/>
              <a:gd name="connsiteY78" fmla="*/ 5250 h 10000"/>
              <a:gd name="connsiteX79" fmla="*/ 611 w 10000"/>
              <a:gd name="connsiteY79" fmla="*/ 5333 h 10000"/>
              <a:gd name="connsiteX80" fmla="*/ 353 w 10000"/>
              <a:gd name="connsiteY80" fmla="*/ 5750 h 10000"/>
              <a:gd name="connsiteX81" fmla="*/ 80 w 10000"/>
              <a:gd name="connsiteY81" fmla="*/ 5917 h 10000"/>
              <a:gd name="connsiteX82" fmla="*/ 172 w 10000"/>
              <a:gd name="connsiteY82" fmla="*/ 5917 h 10000"/>
              <a:gd name="connsiteX83" fmla="*/ 353 w 10000"/>
              <a:gd name="connsiteY83" fmla="*/ 6083 h 10000"/>
              <a:gd name="connsiteX84" fmla="*/ 172 w 10000"/>
              <a:gd name="connsiteY84" fmla="*/ 6249 h 10000"/>
              <a:gd name="connsiteX85" fmla="*/ 80 w 10000"/>
              <a:gd name="connsiteY85" fmla="*/ 6334 h 10000"/>
              <a:gd name="connsiteX86" fmla="*/ 0 w 10000"/>
              <a:gd name="connsiteY86" fmla="*/ 6334 h 10000"/>
              <a:gd name="connsiteX87" fmla="*/ 80 w 10000"/>
              <a:gd name="connsiteY87" fmla="*/ 6584 h 10000"/>
              <a:gd name="connsiteX88" fmla="*/ 80 w 10000"/>
              <a:gd name="connsiteY88" fmla="*/ 6667 h 10000"/>
              <a:gd name="connsiteX89" fmla="*/ 80 w 10000"/>
              <a:gd name="connsiteY89" fmla="*/ 6749 h 10000"/>
              <a:gd name="connsiteX90" fmla="*/ 80 w 10000"/>
              <a:gd name="connsiteY90" fmla="*/ 6834 h 10000"/>
              <a:gd name="connsiteX91" fmla="*/ 172 w 10000"/>
              <a:gd name="connsiteY91" fmla="*/ 6998 h 10000"/>
              <a:gd name="connsiteX92" fmla="*/ 437 w 10000"/>
              <a:gd name="connsiteY92" fmla="*/ 7083 h 10000"/>
              <a:gd name="connsiteX93" fmla="*/ 523 w 10000"/>
              <a:gd name="connsiteY93" fmla="*/ 7165 h 10000"/>
              <a:gd name="connsiteX94" fmla="*/ 523 w 10000"/>
              <a:gd name="connsiteY94" fmla="*/ 7334 h 10000"/>
              <a:gd name="connsiteX95" fmla="*/ 702 w 10000"/>
              <a:gd name="connsiteY95" fmla="*/ 7584 h 10000"/>
              <a:gd name="connsiteX96" fmla="*/ 793 w 10000"/>
              <a:gd name="connsiteY96" fmla="*/ 7584 h 10000"/>
              <a:gd name="connsiteX97" fmla="*/ 702 w 10000"/>
              <a:gd name="connsiteY97" fmla="*/ 7750 h 10000"/>
              <a:gd name="connsiteX98" fmla="*/ 611 w 10000"/>
              <a:gd name="connsiteY98" fmla="*/ 7668 h 10000"/>
              <a:gd name="connsiteX99" fmla="*/ 611 w 10000"/>
              <a:gd name="connsiteY99" fmla="*/ 7750 h 10000"/>
              <a:gd name="connsiteX100" fmla="*/ 702 w 10000"/>
              <a:gd name="connsiteY100" fmla="*/ 7916 h 10000"/>
              <a:gd name="connsiteX101" fmla="*/ 971 w 10000"/>
              <a:gd name="connsiteY101" fmla="*/ 7916 h 10000"/>
              <a:gd name="connsiteX102" fmla="*/ 1055 w 10000"/>
              <a:gd name="connsiteY102" fmla="*/ 8000 h 10000"/>
              <a:gd name="connsiteX103" fmla="*/ 971 w 10000"/>
              <a:gd name="connsiteY103" fmla="*/ 8000 h 10000"/>
              <a:gd name="connsiteX104" fmla="*/ 1055 w 10000"/>
              <a:gd name="connsiteY104" fmla="*/ 8082 h 10000"/>
              <a:gd name="connsiteX105" fmla="*/ 1139 w 10000"/>
              <a:gd name="connsiteY105" fmla="*/ 8082 h 10000"/>
              <a:gd name="connsiteX106" fmla="*/ 1224 w 10000"/>
              <a:gd name="connsiteY106" fmla="*/ 8249 h 10000"/>
              <a:gd name="connsiteX107" fmla="*/ 1315 w 10000"/>
              <a:gd name="connsiteY107" fmla="*/ 8332 h 10000"/>
              <a:gd name="connsiteX108" fmla="*/ 1399 w 10000"/>
              <a:gd name="connsiteY108" fmla="*/ 8249 h 10000"/>
              <a:gd name="connsiteX109" fmla="*/ 1843 w 10000"/>
              <a:gd name="connsiteY109" fmla="*/ 8500 h 10000"/>
              <a:gd name="connsiteX110" fmla="*/ 1757 w 10000"/>
              <a:gd name="connsiteY110" fmla="*/ 8833 h 10000"/>
              <a:gd name="connsiteX111" fmla="*/ 1668 w 10000"/>
              <a:gd name="connsiteY111" fmla="*/ 8750 h 10000"/>
              <a:gd name="connsiteX112" fmla="*/ 1574 w 10000"/>
              <a:gd name="connsiteY112" fmla="*/ 8833 h 10000"/>
              <a:gd name="connsiteX113" fmla="*/ 1574 w 10000"/>
              <a:gd name="connsiteY113" fmla="*/ 8999 h 10000"/>
              <a:gd name="connsiteX114" fmla="*/ 1668 w 10000"/>
              <a:gd name="connsiteY114" fmla="*/ 8917 h 10000"/>
              <a:gd name="connsiteX115" fmla="*/ 1757 w 10000"/>
              <a:gd name="connsiteY115" fmla="*/ 8999 h 10000"/>
              <a:gd name="connsiteX116" fmla="*/ 1494 w 10000"/>
              <a:gd name="connsiteY116" fmla="*/ 9083 h 10000"/>
              <a:gd name="connsiteX117" fmla="*/ 1574 w 10000"/>
              <a:gd name="connsiteY117" fmla="*/ 9167 h 10000"/>
              <a:gd name="connsiteX118" fmla="*/ 1399 w 10000"/>
              <a:gd name="connsiteY118" fmla="*/ 9333 h 10000"/>
              <a:gd name="connsiteX119" fmla="*/ 1315 w 10000"/>
              <a:gd name="connsiteY119" fmla="*/ 9333 h 10000"/>
              <a:gd name="connsiteX120" fmla="*/ 1399 w 10000"/>
              <a:gd name="connsiteY120" fmla="*/ 9333 h 10000"/>
              <a:gd name="connsiteX121" fmla="*/ 1757 w 10000"/>
              <a:gd name="connsiteY121" fmla="*/ 9668 h 10000"/>
              <a:gd name="connsiteX122" fmla="*/ 2195 w 10000"/>
              <a:gd name="connsiteY122" fmla="*/ 9668 h 10000"/>
              <a:gd name="connsiteX123" fmla="*/ 2369 w 10000"/>
              <a:gd name="connsiteY123" fmla="*/ 9750 h 10000"/>
              <a:gd name="connsiteX124" fmla="*/ 2543 w 10000"/>
              <a:gd name="connsiteY124" fmla="*/ 9750 h 10000"/>
              <a:gd name="connsiteX125" fmla="*/ 2721 w 10000"/>
              <a:gd name="connsiteY125" fmla="*/ 9918 h 10000"/>
              <a:gd name="connsiteX126" fmla="*/ 2807 w 10000"/>
              <a:gd name="connsiteY126" fmla="*/ 10000 h 10000"/>
              <a:gd name="connsiteX127" fmla="*/ 2891 w 10000"/>
              <a:gd name="connsiteY127" fmla="*/ 10000 h 10000"/>
              <a:gd name="connsiteX128" fmla="*/ 2984 w 10000"/>
              <a:gd name="connsiteY128" fmla="*/ 9918 h 10000"/>
              <a:gd name="connsiteX129" fmla="*/ 2807 w 10000"/>
              <a:gd name="connsiteY129" fmla="*/ 9750 h 10000"/>
              <a:gd name="connsiteX130" fmla="*/ 2807 w 10000"/>
              <a:gd name="connsiteY130" fmla="*/ 9584 h 10000"/>
              <a:gd name="connsiteX131" fmla="*/ 2721 w 10000"/>
              <a:gd name="connsiteY131" fmla="*/ 9416 h 10000"/>
              <a:gd name="connsiteX132" fmla="*/ 2891 w 10000"/>
              <a:gd name="connsiteY132" fmla="*/ 9167 h 10000"/>
              <a:gd name="connsiteX133" fmla="*/ 2984 w 10000"/>
              <a:gd name="connsiteY133" fmla="*/ 9250 h 10000"/>
              <a:gd name="connsiteX134" fmla="*/ 3069 w 10000"/>
              <a:gd name="connsiteY134" fmla="*/ 9167 h 10000"/>
              <a:gd name="connsiteX135" fmla="*/ 3069 w 10000"/>
              <a:gd name="connsiteY135" fmla="*/ 9083 h 10000"/>
              <a:gd name="connsiteX136" fmla="*/ 2984 w 10000"/>
              <a:gd name="connsiteY136" fmla="*/ 9083 h 10000"/>
              <a:gd name="connsiteX137" fmla="*/ 3069 w 10000"/>
              <a:gd name="connsiteY137" fmla="*/ 8999 h 10000"/>
              <a:gd name="connsiteX138" fmla="*/ 2984 w 10000"/>
              <a:gd name="connsiteY138" fmla="*/ 8833 h 10000"/>
              <a:gd name="connsiteX139" fmla="*/ 2807 w 10000"/>
              <a:gd name="connsiteY139" fmla="*/ 8833 h 10000"/>
              <a:gd name="connsiteX140" fmla="*/ 2721 w 10000"/>
              <a:gd name="connsiteY140" fmla="*/ 8667 h 10000"/>
              <a:gd name="connsiteX141" fmla="*/ 2807 w 10000"/>
              <a:gd name="connsiteY141" fmla="*/ 8249 h 10000"/>
              <a:gd name="connsiteX142" fmla="*/ 2984 w 10000"/>
              <a:gd name="connsiteY142" fmla="*/ 8418 h 10000"/>
              <a:gd name="connsiteX143" fmla="*/ 3069 w 10000"/>
              <a:gd name="connsiteY143" fmla="*/ 8418 h 10000"/>
              <a:gd name="connsiteX144" fmla="*/ 2984 w 10000"/>
              <a:gd name="connsiteY144" fmla="*/ 8249 h 10000"/>
              <a:gd name="connsiteX145" fmla="*/ 3249 w 10000"/>
              <a:gd name="connsiteY145" fmla="*/ 8000 h 10000"/>
              <a:gd name="connsiteX146" fmla="*/ 3426 w 10000"/>
              <a:gd name="connsiteY146" fmla="*/ 8082 h 10000"/>
              <a:gd name="connsiteX147" fmla="*/ 3511 w 10000"/>
              <a:gd name="connsiteY147" fmla="*/ 8000 h 10000"/>
              <a:gd name="connsiteX148" fmla="*/ 3678 w 10000"/>
              <a:gd name="connsiteY148" fmla="*/ 8082 h 10000"/>
              <a:gd name="connsiteX149" fmla="*/ 3953 w 10000"/>
              <a:gd name="connsiteY149" fmla="*/ 8249 h 10000"/>
              <a:gd name="connsiteX150" fmla="*/ 4121 w 10000"/>
              <a:gd name="connsiteY150" fmla="*/ 8167 h 10000"/>
              <a:gd name="connsiteX151" fmla="*/ 4300 w 10000"/>
              <a:gd name="connsiteY151" fmla="*/ 8167 h 10000"/>
              <a:gd name="connsiteX152" fmla="*/ 4389 w 10000"/>
              <a:gd name="connsiteY152" fmla="*/ 8249 h 10000"/>
              <a:gd name="connsiteX153" fmla="*/ 4740 w 10000"/>
              <a:gd name="connsiteY153" fmla="*/ 8249 h 10000"/>
              <a:gd name="connsiteX154" fmla="*/ 4823 w 10000"/>
              <a:gd name="connsiteY154" fmla="*/ 8082 h 10000"/>
              <a:gd name="connsiteX155" fmla="*/ 4557 w 10000"/>
              <a:gd name="connsiteY155" fmla="*/ 8000 h 10000"/>
              <a:gd name="connsiteX156" fmla="*/ 4740 w 10000"/>
              <a:gd name="connsiteY156" fmla="*/ 7916 h 10000"/>
              <a:gd name="connsiteX157" fmla="*/ 4647 w 10000"/>
              <a:gd name="connsiteY157" fmla="*/ 7833 h 10000"/>
              <a:gd name="connsiteX158" fmla="*/ 4740 w 10000"/>
              <a:gd name="connsiteY158" fmla="*/ 7750 h 10000"/>
              <a:gd name="connsiteX159" fmla="*/ 4740 w 10000"/>
              <a:gd name="connsiteY159" fmla="*/ 7500 h 10000"/>
              <a:gd name="connsiteX160" fmla="*/ 4908 w 10000"/>
              <a:gd name="connsiteY160" fmla="*/ 7584 h 10000"/>
              <a:gd name="connsiteX161" fmla="*/ 5701 w 10000"/>
              <a:gd name="connsiteY161" fmla="*/ 7334 h 10000"/>
              <a:gd name="connsiteX162" fmla="*/ 5701 w 10000"/>
              <a:gd name="connsiteY162" fmla="*/ 7250 h 10000"/>
              <a:gd name="connsiteX163" fmla="*/ 5793 w 10000"/>
              <a:gd name="connsiteY163" fmla="*/ 7250 h 10000"/>
              <a:gd name="connsiteX164" fmla="*/ 6046 w 10000"/>
              <a:gd name="connsiteY164" fmla="*/ 7250 h 10000"/>
              <a:gd name="connsiteX165" fmla="*/ 6145 w 10000"/>
              <a:gd name="connsiteY165" fmla="*/ 7417 h 10000"/>
              <a:gd name="connsiteX166" fmla="*/ 6145 w 10000"/>
              <a:gd name="connsiteY166" fmla="*/ 7500 h 10000"/>
              <a:gd name="connsiteX167" fmla="*/ 6228 w 10000"/>
              <a:gd name="connsiteY167" fmla="*/ 7500 h 10000"/>
              <a:gd name="connsiteX168" fmla="*/ 6401 w 10000"/>
              <a:gd name="connsiteY168" fmla="*/ 7584 h 10000"/>
              <a:gd name="connsiteX169" fmla="*/ 6401 w 10000"/>
              <a:gd name="connsiteY169" fmla="*/ 7668 h 10000"/>
              <a:gd name="connsiteX170" fmla="*/ 6577 w 10000"/>
              <a:gd name="connsiteY170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77 w 10000"/>
              <a:gd name="connsiteY14" fmla="*/ 174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4557 w 10000"/>
              <a:gd name="connsiteY30" fmla="*/ 3416 h 10000"/>
              <a:gd name="connsiteX31" fmla="*/ 4480 w 10000"/>
              <a:gd name="connsiteY31" fmla="*/ 3333 h 10000"/>
              <a:gd name="connsiteX32" fmla="*/ 3953 w 10000"/>
              <a:gd name="connsiteY32" fmla="*/ 3500 h 10000"/>
              <a:gd name="connsiteX33" fmla="*/ 3865 w 10000"/>
              <a:gd name="connsiteY33" fmla="*/ 3665 h 10000"/>
              <a:gd name="connsiteX34" fmla="*/ 3777 w 10000"/>
              <a:gd name="connsiteY34" fmla="*/ 3500 h 10000"/>
              <a:gd name="connsiteX35" fmla="*/ 3777 w 10000"/>
              <a:gd name="connsiteY35" fmla="*/ 3333 h 10000"/>
              <a:gd name="connsiteX36" fmla="*/ 2891 w 10000"/>
              <a:gd name="connsiteY36" fmla="*/ 3832 h 10000"/>
              <a:gd name="connsiteX37" fmla="*/ 2891 w 10000"/>
              <a:gd name="connsiteY37" fmla="*/ 3998 h 10000"/>
              <a:gd name="connsiteX38" fmla="*/ 2721 w 10000"/>
              <a:gd name="connsiteY38" fmla="*/ 4082 h 10000"/>
              <a:gd name="connsiteX39" fmla="*/ 2458 w 10000"/>
              <a:gd name="connsiteY39" fmla="*/ 3916 h 10000"/>
              <a:gd name="connsiteX40" fmla="*/ 2721 w 10000"/>
              <a:gd name="connsiteY40" fmla="*/ 3748 h 10000"/>
              <a:gd name="connsiteX41" fmla="*/ 2627 w 10000"/>
              <a:gd name="connsiteY41" fmla="*/ 3500 h 10000"/>
              <a:gd name="connsiteX42" fmla="*/ 2281 w 10000"/>
              <a:gd name="connsiteY42" fmla="*/ 3416 h 10000"/>
              <a:gd name="connsiteX43" fmla="*/ 2369 w 10000"/>
              <a:gd name="connsiteY43" fmla="*/ 3582 h 10000"/>
              <a:gd name="connsiteX44" fmla="*/ 2369 w 10000"/>
              <a:gd name="connsiteY44" fmla="*/ 3998 h 10000"/>
              <a:gd name="connsiteX45" fmla="*/ 2458 w 10000"/>
              <a:gd name="connsiteY45" fmla="*/ 4167 h 10000"/>
              <a:gd name="connsiteX46" fmla="*/ 2369 w 10000"/>
              <a:gd name="connsiteY46" fmla="*/ 4334 h 10000"/>
              <a:gd name="connsiteX47" fmla="*/ 2100 w 10000"/>
              <a:gd name="connsiteY47" fmla="*/ 4250 h 10000"/>
              <a:gd name="connsiteX48" fmla="*/ 1757 w 10000"/>
              <a:gd name="connsiteY48" fmla="*/ 4498 h 10000"/>
              <a:gd name="connsiteX49" fmla="*/ 1928 w 10000"/>
              <a:gd name="connsiteY49" fmla="*/ 4833 h 10000"/>
              <a:gd name="connsiteX50" fmla="*/ 1399 w 10000"/>
              <a:gd name="connsiteY50" fmla="*/ 4666 h 10000"/>
              <a:gd name="connsiteX51" fmla="*/ 1315 w 10000"/>
              <a:gd name="connsiteY51" fmla="*/ 4748 h 10000"/>
              <a:gd name="connsiteX52" fmla="*/ 1494 w 10000"/>
              <a:gd name="connsiteY52" fmla="*/ 4999 h 10000"/>
              <a:gd name="connsiteX53" fmla="*/ 1315 w 10000"/>
              <a:gd name="connsiteY53" fmla="*/ 4999 h 10000"/>
              <a:gd name="connsiteX54" fmla="*/ 1055 w 10000"/>
              <a:gd name="connsiteY54" fmla="*/ 4833 h 10000"/>
              <a:gd name="connsiteX55" fmla="*/ 1055 w 10000"/>
              <a:gd name="connsiteY55" fmla="*/ 4334 h 10000"/>
              <a:gd name="connsiteX56" fmla="*/ 793 w 10000"/>
              <a:gd name="connsiteY56" fmla="*/ 4167 h 10000"/>
              <a:gd name="connsiteX57" fmla="*/ 702 w 10000"/>
              <a:gd name="connsiteY57" fmla="*/ 3998 h 10000"/>
              <a:gd name="connsiteX58" fmla="*/ 873 w 10000"/>
              <a:gd name="connsiteY58" fmla="*/ 4082 h 10000"/>
              <a:gd name="connsiteX59" fmla="*/ 1574 w 10000"/>
              <a:gd name="connsiteY59" fmla="*/ 4334 h 10000"/>
              <a:gd name="connsiteX60" fmla="*/ 2009 w 10000"/>
              <a:gd name="connsiteY60" fmla="*/ 4082 h 10000"/>
              <a:gd name="connsiteX61" fmla="*/ 1928 w 10000"/>
              <a:gd name="connsiteY61" fmla="*/ 3832 h 10000"/>
              <a:gd name="connsiteX62" fmla="*/ 1399 w 10000"/>
              <a:gd name="connsiteY62" fmla="*/ 3333 h 10000"/>
              <a:gd name="connsiteX63" fmla="*/ 873 w 10000"/>
              <a:gd name="connsiteY63" fmla="*/ 3166 h 10000"/>
              <a:gd name="connsiteX64" fmla="*/ 873 w 10000"/>
              <a:gd name="connsiteY64" fmla="*/ 3083 h 10000"/>
              <a:gd name="connsiteX65" fmla="*/ 702 w 10000"/>
              <a:gd name="connsiteY65" fmla="*/ 2997 h 10000"/>
              <a:gd name="connsiteX66" fmla="*/ 523 w 10000"/>
              <a:gd name="connsiteY66" fmla="*/ 3083 h 10000"/>
              <a:gd name="connsiteX67" fmla="*/ 523 w 10000"/>
              <a:gd name="connsiteY67" fmla="*/ 3166 h 10000"/>
              <a:gd name="connsiteX68" fmla="*/ 437 w 10000"/>
              <a:gd name="connsiteY68" fmla="*/ 3166 h 10000"/>
              <a:gd name="connsiteX69" fmla="*/ 263 w 10000"/>
              <a:gd name="connsiteY69" fmla="*/ 3333 h 10000"/>
              <a:gd name="connsiteX70" fmla="*/ 263 w 10000"/>
              <a:gd name="connsiteY70" fmla="*/ 3582 h 10000"/>
              <a:gd name="connsiteX71" fmla="*/ 437 w 10000"/>
              <a:gd name="connsiteY71" fmla="*/ 3748 h 10000"/>
              <a:gd name="connsiteX72" fmla="*/ 353 w 10000"/>
              <a:gd name="connsiteY72" fmla="*/ 3998 h 10000"/>
              <a:gd name="connsiteX73" fmla="*/ 437 w 10000"/>
              <a:gd name="connsiteY73" fmla="*/ 4417 h 10000"/>
              <a:gd name="connsiteX74" fmla="*/ 353 w 10000"/>
              <a:gd name="connsiteY74" fmla="*/ 4666 h 10000"/>
              <a:gd name="connsiteX75" fmla="*/ 523 w 10000"/>
              <a:gd name="connsiteY75" fmla="*/ 4916 h 10000"/>
              <a:gd name="connsiteX76" fmla="*/ 437 w 10000"/>
              <a:gd name="connsiteY76" fmla="*/ 5083 h 10000"/>
              <a:gd name="connsiteX77" fmla="*/ 611 w 10000"/>
              <a:gd name="connsiteY77" fmla="*/ 5250 h 10000"/>
              <a:gd name="connsiteX78" fmla="*/ 611 w 10000"/>
              <a:gd name="connsiteY78" fmla="*/ 5333 h 10000"/>
              <a:gd name="connsiteX79" fmla="*/ 353 w 10000"/>
              <a:gd name="connsiteY79" fmla="*/ 5750 h 10000"/>
              <a:gd name="connsiteX80" fmla="*/ 80 w 10000"/>
              <a:gd name="connsiteY80" fmla="*/ 5917 h 10000"/>
              <a:gd name="connsiteX81" fmla="*/ 172 w 10000"/>
              <a:gd name="connsiteY81" fmla="*/ 5917 h 10000"/>
              <a:gd name="connsiteX82" fmla="*/ 353 w 10000"/>
              <a:gd name="connsiteY82" fmla="*/ 6083 h 10000"/>
              <a:gd name="connsiteX83" fmla="*/ 172 w 10000"/>
              <a:gd name="connsiteY83" fmla="*/ 6249 h 10000"/>
              <a:gd name="connsiteX84" fmla="*/ 80 w 10000"/>
              <a:gd name="connsiteY84" fmla="*/ 6334 h 10000"/>
              <a:gd name="connsiteX85" fmla="*/ 0 w 10000"/>
              <a:gd name="connsiteY85" fmla="*/ 6334 h 10000"/>
              <a:gd name="connsiteX86" fmla="*/ 80 w 10000"/>
              <a:gd name="connsiteY86" fmla="*/ 6584 h 10000"/>
              <a:gd name="connsiteX87" fmla="*/ 80 w 10000"/>
              <a:gd name="connsiteY87" fmla="*/ 6667 h 10000"/>
              <a:gd name="connsiteX88" fmla="*/ 80 w 10000"/>
              <a:gd name="connsiteY88" fmla="*/ 6749 h 10000"/>
              <a:gd name="connsiteX89" fmla="*/ 80 w 10000"/>
              <a:gd name="connsiteY89" fmla="*/ 6834 h 10000"/>
              <a:gd name="connsiteX90" fmla="*/ 172 w 10000"/>
              <a:gd name="connsiteY90" fmla="*/ 6998 h 10000"/>
              <a:gd name="connsiteX91" fmla="*/ 437 w 10000"/>
              <a:gd name="connsiteY91" fmla="*/ 7083 h 10000"/>
              <a:gd name="connsiteX92" fmla="*/ 523 w 10000"/>
              <a:gd name="connsiteY92" fmla="*/ 7165 h 10000"/>
              <a:gd name="connsiteX93" fmla="*/ 523 w 10000"/>
              <a:gd name="connsiteY93" fmla="*/ 7334 h 10000"/>
              <a:gd name="connsiteX94" fmla="*/ 702 w 10000"/>
              <a:gd name="connsiteY94" fmla="*/ 7584 h 10000"/>
              <a:gd name="connsiteX95" fmla="*/ 793 w 10000"/>
              <a:gd name="connsiteY95" fmla="*/ 7584 h 10000"/>
              <a:gd name="connsiteX96" fmla="*/ 702 w 10000"/>
              <a:gd name="connsiteY96" fmla="*/ 7750 h 10000"/>
              <a:gd name="connsiteX97" fmla="*/ 611 w 10000"/>
              <a:gd name="connsiteY97" fmla="*/ 7668 h 10000"/>
              <a:gd name="connsiteX98" fmla="*/ 611 w 10000"/>
              <a:gd name="connsiteY98" fmla="*/ 7750 h 10000"/>
              <a:gd name="connsiteX99" fmla="*/ 702 w 10000"/>
              <a:gd name="connsiteY99" fmla="*/ 7916 h 10000"/>
              <a:gd name="connsiteX100" fmla="*/ 971 w 10000"/>
              <a:gd name="connsiteY100" fmla="*/ 7916 h 10000"/>
              <a:gd name="connsiteX101" fmla="*/ 1055 w 10000"/>
              <a:gd name="connsiteY101" fmla="*/ 8000 h 10000"/>
              <a:gd name="connsiteX102" fmla="*/ 971 w 10000"/>
              <a:gd name="connsiteY102" fmla="*/ 8000 h 10000"/>
              <a:gd name="connsiteX103" fmla="*/ 1055 w 10000"/>
              <a:gd name="connsiteY103" fmla="*/ 8082 h 10000"/>
              <a:gd name="connsiteX104" fmla="*/ 1139 w 10000"/>
              <a:gd name="connsiteY104" fmla="*/ 8082 h 10000"/>
              <a:gd name="connsiteX105" fmla="*/ 1224 w 10000"/>
              <a:gd name="connsiteY105" fmla="*/ 8249 h 10000"/>
              <a:gd name="connsiteX106" fmla="*/ 1315 w 10000"/>
              <a:gd name="connsiteY106" fmla="*/ 8332 h 10000"/>
              <a:gd name="connsiteX107" fmla="*/ 1399 w 10000"/>
              <a:gd name="connsiteY107" fmla="*/ 8249 h 10000"/>
              <a:gd name="connsiteX108" fmla="*/ 1843 w 10000"/>
              <a:gd name="connsiteY108" fmla="*/ 8500 h 10000"/>
              <a:gd name="connsiteX109" fmla="*/ 1757 w 10000"/>
              <a:gd name="connsiteY109" fmla="*/ 8833 h 10000"/>
              <a:gd name="connsiteX110" fmla="*/ 1668 w 10000"/>
              <a:gd name="connsiteY110" fmla="*/ 8750 h 10000"/>
              <a:gd name="connsiteX111" fmla="*/ 1574 w 10000"/>
              <a:gd name="connsiteY111" fmla="*/ 8833 h 10000"/>
              <a:gd name="connsiteX112" fmla="*/ 1574 w 10000"/>
              <a:gd name="connsiteY112" fmla="*/ 8999 h 10000"/>
              <a:gd name="connsiteX113" fmla="*/ 1668 w 10000"/>
              <a:gd name="connsiteY113" fmla="*/ 8917 h 10000"/>
              <a:gd name="connsiteX114" fmla="*/ 1757 w 10000"/>
              <a:gd name="connsiteY114" fmla="*/ 8999 h 10000"/>
              <a:gd name="connsiteX115" fmla="*/ 1494 w 10000"/>
              <a:gd name="connsiteY115" fmla="*/ 9083 h 10000"/>
              <a:gd name="connsiteX116" fmla="*/ 1574 w 10000"/>
              <a:gd name="connsiteY116" fmla="*/ 9167 h 10000"/>
              <a:gd name="connsiteX117" fmla="*/ 1399 w 10000"/>
              <a:gd name="connsiteY117" fmla="*/ 9333 h 10000"/>
              <a:gd name="connsiteX118" fmla="*/ 1315 w 10000"/>
              <a:gd name="connsiteY118" fmla="*/ 9333 h 10000"/>
              <a:gd name="connsiteX119" fmla="*/ 1399 w 10000"/>
              <a:gd name="connsiteY119" fmla="*/ 9333 h 10000"/>
              <a:gd name="connsiteX120" fmla="*/ 1757 w 10000"/>
              <a:gd name="connsiteY120" fmla="*/ 9668 h 10000"/>
              <a:gd name="connsiteX121" fmla="*/ 2195 w 10000"/>
              <a:gd name="connsiteY121" fmla="*/ 9668 h 10000"/>
              <a:gd name="connsiteX122" fmla="*/ 2369 w 10000"/>
              <a:gd name="connsiteY122" fmla="*/ 9750 h 10000"/>
              <a:gd name="connsiteX123" fmla="*/ 2543 w 10000"/>
              <a:gd name="connsiteY123" fmla="*/ 9750 h 10000"/>
              <a:gd name="connsiteX124" fmla="*/ 2721 w 10000"/>
              <a:gd name="connsiteY124" fmla="*/ 9918 h 10000"/>
              <a:gd name="connsiteX125" fmla="*/ 2807 w 10000"/>
              <a:gd name="connsiteY125" fmla="*/ 10000 h 10000"/>
              <a:gd name="connsiteX126" fmla="*/ 2891 w 10000"/>
              <a:gd name="connsiteY126" fmla="*/ 10000 h 10000"/>
              <a:gd name="connsiteX127" fmla="*/ 2984 w 10000"/>
              <a:gd name="connsiteY127" fmla="*/ 9918 h 10000"/>
              <a:gd name="connsiteX128" fmla="*/ 2807 w 10000"/>
              <a:gd name="connsiteY128" fmla="*/ 9750 h 10000"/>
              <a:gd name="connsiteX129" fmla="*/ 2807 w 10000"/>
              <a:gd name="connsiteY129" fmla="*/ 9584 h 10000"/>
              <a:gd name="connsiteX130" fmla="*/ 2721 w 10000"/>
              <a:gd name="connsiteY130" fmla="*/ 9416 h 10000"/>
              <a:gd name="connsiteX131" fmla="*/ 2891 w 10000"/>
              <a:gd name="connsiteY131" fmla="*/ 9167 h 10000"/>
              <a:gd name="connsiteX132" fmla="*/ 2984 w 10000"/>
              <a:gd name="connsiteY132" fmla="*/ 9250 h 10000"/>
              <a:gd name="connsiteX133" fmla="*/ 3069 w 10000"/>
              <a:gd name="connsiteY133" fmla="*/ 9167 h 10000"/>
              <a:gd name="connsiteX134" fmla="*/ 3069 w 10000"/>
              <a:gd name="connsiteY134" fmla="*/ 9083 h 10000"/>
              <a:gd name="connsiteX135" fmla="*/ 2984 w 10000"/>
              <a:gd name="connsiteY135" fmla="*/ 9083 h 10000"/>
              <a:gd name="connsiteX136" fmla="*/ 3069 w 10000"/>
              <a:gd name="connsiteY136" fmla="*/ 8999 h 10000"/>
              <a:gd name="connsiteX137" fmla="*/ 2984 w 10000"/>
              <a:gd name="connsiteY137" fmla="*/ 8833 h 10000"/>
              <a:gd name="connsiteX138" fmla="*/ 2807 w 10000"/>
              <a:gd name="connsiteY138" fmla="*/ 8833 h 10000"/>
              <a:gd name="connsiteX139" fmla="*/ 2721 w 10000"/>
              <a:gd name="connsiteY139" fmla="*/ 8667 h 10000"/>
              <a:gd name="connsiteX140" fmla="*/ 2807 w 10000"/>
              <a:gd name="connsiteY140" fmla="*/ 8249 h 10000"/>
              <a:gd name="connsiteX141" fmla="*/ 2984 w 10000"/>
              <a:gd name="connsiteY141" fmla="*/ 8418 h 10000"/>
              <a:gd name="connsiteX142" fmla="*/ 3069 w 10000"/>
              <a:gd name="connsiteY142" fmla="*/ 8418 h 10000"/>
              <a:gd name="connsiteX143" fmla="*/ 2984 w 10000"/>
              <a:gd name="connsiteY143" fmla="*/ 8249 h 10000"/>
              <a:gd name="connsiteX144" fmla="*/ 3249 w 10000"/>
              <a:gd name="connsiteY144" fmla="*/ 8000 h 10000"/>
              <a:gd name="connsiteX145" fmla="*/ 3426 w 10000"/>
              <a:gd name="connsiteY145" fmla="*/ 8082 h 10000"/>
              <a:gd name="connsiteX146" fmla="*/ 3511 w 10000"/>
              <a:gd name="connsiteY146" fmla="*/ 8000 h 10000"/>
              <a:gd name="connsiteX147" fmla="*/ 3678 w 10000"/>
              <a:gd name="connsiteY147" fmla="*/ 8082 h 10000"/>
              <a:gd name="connsiteX148" fmla="*/ 3953 w 10000"/>
              <a:gd name="connsiteY148" fmla="*/ 8249 h 10000"/>
              <a:gd name="connsiteX149" fmla="*/ 4121 w 10000"/>
              <a:gd name="connsiteY149" fmla="*/ 8167 h 10000"/>
              <a:gd name="connsiteX150" fmla="*/ 4300 w 10000"/>
              <a:gd name="connsiteY150" fmla="*/ 8167 h 10000"/>
              <a:gd name="connsiteX151" fmla="*/ 4389 w 10000"/>
              <a:gd name="connsiteY151" fmla="*/ 8249 h 10000"/>
              <a:gd name="connsiteX152" fmla="*/ 4740 w 10000"/>
              <a:gd name="connsiteY152" fmla="*/ 8249 h 10000"/>
              <a:gd name="connsiteX153" fmla="*/ 4823 w 10000"/>
              <a:gd name="connsiteY153" fmla="*/ 8082 h 10000"/>
              <a:gd name="connsiteX154" fmla="*/ 4557 w 10000"/>
              <a:gd name="connsiteY154" fmla="*/ 8000 h 10000"/>
              <a:gd name="connsiteX155" fmla="*/ 4740 w 10000"/>
              <a:gd name="connsiteY155" fmla="*/ 7916 h 10000"/>
              <a:gd name="connsiteX156" fmla="*/ 4647 w 10000"/>
              <a:gd name="connsiteY156" fmla="*/ 7833 h 10000"/>
              <a:gd name="connsiteX157" fmla="*/ 4740 w 10000"/>
              <a:gd name="connsiteY157" fmla="*/ 7750 h 10000"/>
              <a:gd name="connsiteX158" fmla="*/ 4740 w 10000"/>
              <a:gd name="connsiteY158" fmla="*/ 7500 h 10000"/>
              <a:gd name="connsiteX159" fmla="*/ 4908 w 10000"/>
              <a:gd name="connsiteY159" fmla="*/ 7584 h 10000"/>
              <a:gd name="connsiteX160" fmla="*/ 5701 w 10000"/>
              <a:gd name="connsiteY160" fmla="*/ 7334 h 10000"/>
              <a:gd name="connsiteX161" fmla="*/ 5701 w 10000"/>
              <a:gd name="connsiteY161" fmla="*/ 7250 h 10000"/>
              <a:gd name="connsiteX162" fmla="*/ 5793 w 10000"/>
              <a:gd name="connsiteY162" fmla="*/ 7250 h 10000"/>
              <a:gd name="connsiteX163" fmla="*/ 6046 w 10000"/>
              <a:gd name="connsiteY163" fmla="*/ 7250 h 10000"/>
              <a:gd name="connsiteX164" fmla="*/ 6145 w 10000"/>
              <a:gd name="connsiteY164" fmla="*/ 7417 h 10000"/>
              <a:gd name="connsiteX165" fmla="*/ 6145 w 10000"/>
              <a:gd name="connsiteY165" fmla="*/ 7500 h 10000"/>
              <a:gd name="connsiteX166" fmla="*/ 6228 w 10000"/>
              <a:gd name="connsiteY166" fmla="*/ 7500 h 10000"/>
              <a:gd name="connsiteX167" fmla="*/ 6401 w 10000"/>
              <a:gd name="connsiteY167" fmla="*/ 7584 h 10000"/>
              <a:gd name="connsiteX168" fmla="*/ 6401 w 10000"/>
              <a:gd name="connsiteY168" fmla="*/ 7668 h 10000"/>
              <a:gd name="connsiteX169" fmla="*/ 6577 w 10000"/>
              <a:gd name="connsiteY169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674 w 10000"/>
              <a:gd name="connsiteY14" fmla="*/ 2000 h 10000"/>
              <a:gd name="connsiteX15" fmla="*/ 6401 w 10000"/>
              <a:gd name="connsiteY15" fmla="*/ 2416 h 10000"/>
              <a:gd name="connsiteX16" fmla="*/ 6577 w 10000"/>
              <a:gd name="connsiteY16" fmla="*/ 2748 h 10000"/>
              <a:gd name="connsiteX17" fmla="*/ 6489 w 10000"/>
              <a:gd name="connsiteY17" fmla="*/ 3083 h 10000"/>
              <a:gd name="connsiteX18" fmla="*/ 6489 w 10000"/>
              <a:gd name="connsiteY18" fmla="*/ 3333 h 10000"/>
              <a:gd name="connsiteX19" fmla="*/ 6753 w 10000"/>
              <a:gd name="connsiteY19" fmla="*/ 3333 h 10000"/>
              <a:gd name="connsiteX20" fmla="*/ 6577 w 10000"/>
              <a:gd name="connsiteY20" fmla="*/ 3416 h 10000"/>
              <a:gd name="connsiteX21" fmla="*/ 6674 w 10000"/>
              <a:gd name="connsiteY21" fmla="*/ 3832 h 10000"/>
              <a:gd name="connsiteX22" fmla="*/ 6145 w 10000"/>
              <a:gd name="connsiteY22" fmla="*/ 4250 h 10000"/>
              <a:gd name="connsiteX23" fmla="*/ 6046 w 10000"/>
              <a:gd name="connsiteY23" fmla="*/ 4167 h 10000"/>
              <a:gd name="connsiteX24" fmla="*/ 6401 w 10000"/>
              <a:gd name="connsiteY24" fmla="*/ 3748 h 10000"/>
              <a:gd name="connsiteX25" fmla="*/ 6489 w 10000"/>
              <a:gd name="connsiteY25" fmla="*/ 3500 h 10000"/>
              <a:gd name="connsiteX26" fmla="*/ 6305 w 10000"/>
              <a:gd name="connsiteY26" fmla="*/ 3333 h 10000"/>
              <a:gd name="connsiteX27" fmla="*/ 6305 w 10000"/>
              <a:gd name="connsiteY27" fmla="*/ 2498 h 10000"/>
              <a:gd name="connsiteX28" fmla="*/ 6228 w 10000"/>
              <a:gd name="connsiteY28" fmla="*/ 2332 h 10000"/>
              <a:gd name="connsiteX29" fmla="*/ 4557 w 10000"/>
              <a:gd name="connsiteY29" fmla="*/ 3416 h 10000"/>
              <a:gd name="connsiteX30" fmla="*/ 4480 w 10000"/>
              <a:gd name="connsiteY30" fmla="*/ 3333 h 10000"/>
              <a:gd name="connsiteX31" fmla="*/ 3953 w 10000"/>
              <a:gd name="connsiteY31" fmla="*/ 3500 h 10000"/>
              <a:gd name="connsiteX32" fmla="*/ 3865 w 10000"/>
              <a:gd name="connsiteY32" fmla="*/ 3665 h 10000"/>
              <a:gd name="connsiteX33" fmla="*/ 3777 w 10000"/>
              <a:gd name="connsiteY33" fmla="*/ 3500 h 10000"/>
              <a:gd name="connsiteX34" fmla="*/ 3777 w 10000"/>
              <a:gd name="connsiteY34" fmla="*/ 3333 h 10000"/>
              <a:gd name="connsiteX35" fmla="*/ 2891 w 10000"/>
              <a:gd name="connsiteY35" fmla="*/ 3832 h 10000"/>
              <a:gd name="connsiteX36" fmla="*/ 2891 w 10000"/>
              <a:gd name="connsiteY36" fmla="*/ 3998 h 10000"/>
              <a:gd name="connsiteX37" fmla="*/ 2721 w 10000"/>
              <a:gd name="connsiteY37" fmla="*/ 4082 h 10000"/>
              <a:gd name="connsiteX38" fmla="*/ 2458 w 10000"/>
              <a:gd name="connsiteY38" fmla="*/ 3916 h 10000"/>
              <a:gd name="connsiteX39" fmla="*/ 2721 w 10000"/>
              <a:gd name="connsiteY39" fmla="*/ 3748 h 10000"/>
              <a:gd name="connsiteX40" fmla="*/ 2627 w 10000"/>
              <a:gd name="connsiteY40" fmla="*/ 3500 h 10000"/>
              <a:gd name="connsiteX41" fmla="*/ 2281 w 10000"/>
              <a:gd name="connsiteY41" fmla="*/ 3416 h 10000"/>
              <a:gd name="connsiteX42" fmla="*/ 2369 w 10000"/>
              <a:gd name="connsiteY42" fmla="*/ 3582 h 10000"/>
              <a:gd name="connsiteX43" fmla="*/ 2369 w 10000"/>
              <a:gd name="connsiteY43" fmla="*/ 3998 h 10000"/>
              <a:gd name="connsiteX44" fmla="*/ 2458 w 10000"/>
              <a:gd name="connsiteY44" fmla="*/ 4167 h 10000"/>
              <a:gd name="connsiteX45" fmla="*/ 2369 w 10000"/>
              <a:gd name="connsiteY45" fmla="*/ 4334 h 10000"/>
              <a:gd name="connsiteX46" fmla="*/ 2100 w 10000"/>
              <a:gd name="connsiteY46" fmla="*/ 4250 h 10000"/>
              <a:gd name="connsiteX47" fmla="*/ 1757 w 10000"/>
              <a:gd name="connsiteY47" fmla="*/ 4498 h 10000"/>
              <a:gd name="connsiteX48" fmla="*/ 1928 w 10000"/>
              <a:gd name="connsiteY48" fmla="*/ 4833 h 10000"/>
              <a:gd name="connsiteX49" fmla="*/ 1399 w 10000"/>
              <a:gd name="connsiteY49" fmla="*/ 4666 h 10000"/>
              <a:gd name="connsiteX50" fmla="*/ 1315 w 10000"/>
              <a:gd name="connsiteY50" fmla="*/ 4748 h 10000"/>
              <a:gd name="connsiteX51" fmla="*/ 1494 w 10000"/>
              <a:gd name="connsiteY51" fmla="*/ 4999 h 10000"/>
              <a:gd name="connsiteX52" fmla="*/ 1315 w 10000"/>
              <a:gd name="connsiteY52" fmla="*/ 4999 h 10000"/>
              <a:gd name="connsiteX53" fmla="*/ 1055 w 10000"/>
              <a:gd name="connsiteY53" fmla="*/ 4833 h 10000"/>
              <a:gd name="connsiteX54" fmla="*/ 1055 w 10000"/>
              <a:gd name="connsiteY54" fmla="*/ 4334 h 10000"/>
              <a:gd name="connsiteX55" fmla="*/ 793 w 10000"/>
              <a:gd name="connsiteY55" fmla="*/ 4167 h 10000"/>
              <a:gd name="connsiteX56" fmla="*/ 702 w 10000"/>
              <a:gd name="connsiteY56" fmla="*/ 3998 h 10000"/>
              <a:gd name="connsiteX57" fmla="*/ 873 w 10000"/>
              <a:gd name="connsiteY57" fmla="*/ 4082 h 10000"/>
              <a:gd name="connsiteX58" fmla="*/ 1574 w 10000"/>
              <a:gd name="connsiteY58" fmla="*/ 4334 h 10000"/>
              <a:gd name="connsiteX59" fmla="*/ 2009 w 10000"/>
              <a:gd name="connsiteY59" fmla="*/ 4082 h 10000"/>
              <a:gd name="connsiteX60" fmla="*/ 1928 w 10000"/>
              <a:gd name="connsiteY60" fmla="*/ 3832 h 10000"/>
              <a:gd name="connsiteX61" fmla="*/ 1399 w 10000"/>
              <a:gd name="connsiteY61" fmla="*/ 3333 h 10000"/>
              <a:gd name="connsiteX62" fmla="*/ 873 w 10000"/>
              <a:gd name="connsiteY62" fmla="*/ 3166 h 10000"/>
              <a:gd name="connsiteX63" fmla="*/ 873 w 10000"/>
              <a:gd name="connsiteY63" fmla="*/ 3083 h 10000"/>
              <a:gd name="connsiteX64" fmla="*/ 702 w 10000"/>
              <a:gd name="connsiteY64" fmla="*/ 2997 h 10000"/>
              <a:gd name="connsiteX65" fmla="*/ 523 w 10000"/>
              <a:gd name="connsiteY65" fmla="*/ 3083 h 10000"/>
              <a:gd name="connsiteX66" fmla="*/ 523 w 10000"/>
              <a:gd name="connsiteY66" fmla="*/ 3166 h 10000"/>
              <a:gd name="connsiteX67" fmla="*/ 437 w 10000"/>
              <a:gd name="connsiteY67" fmla="*/ 3166 h 10000"/>
              <a:gd name="connsiteX68" fmla="*/ 263 w 10000"/>
              <a:gd name="connsiteY68" fmla="*/ 3333 h 10000"/>
              <a:gd name="connsiteX69" fmla="*/ 263 w 10000"/>
              <a:gd name="connsiteY69" fmla="*/ 3582 h 10000"/>
              <a:gd name="connsiteX70" fmla="*/ 437 w 10000"/>
              <a:gd name="connsiteY70" fmla="*/ 3748 h 10000"/>
              <a:gd name="connsiteX71" fmla="*/ 353 w 10000"/>
              <a:gd name="connsiteY71" fmla="*/ 3998 h 10000"/>
              <a:gd name="connsiteX72" fmla="*/ 437 w 10000"/>
              <a:gd name="connsiteY72" fmla="*/ 4417 h 10000"/>
              <a:gd name="connsiteX73" fmla="*/ 353 w 10000"/>
              <a:gd name="connsiteY73" fmla="*/ 4666 h 10000"/>
              <a:gd name="connsiteX74" fmla="*/ 523 w 10000"/>
              <a:gd name="connsiteY74" fmla="*/ 4916 h 10000"/>
              <a:gd name="connsiteX75" fmla="*/ 437 w 10000"/>
              <a:gd name="connsiteY75" fmla="*/ 5083 h 10000"/>
              <a:gd name="connsiteX76" fmla="*/ 611 w 10000"/>
              <a:gd name="connsiteY76" fmla="*/ 5250 h 10000"/>
              <a:gd name="connsiteX77" fmla="*/ 611 w 10000"/>
              <a:gd name="connsiteY77" fmla="*/ 5333 h 10000"/>
              <a:gd name="connsiteX78" fmla="*/ 353 w 10000"/>
              <a:gd name="connsiteY78" fmla="*/ 5750 h 10000"/>
              <a:gd name="connsiteX79" fmla="*/ 80 w 10000"/>
              <a:gd name="connsiteY79" fmla="*/ 5917 h 10000"/>
              <a:gd name="connsiteX80" fmla="*/ 172 w 10000"/>
              <a:gd name="connsiteY80" fmla="*/ 5917 h 10000"/>
              <a:gd name="connsiteX81" fmla="*/ 353 w 10000"/>
              <a:gd name="connsiteY81" fmla="*/ 6083 h 10000"/>
              <a:gd name="connsiteX82" fmla="*/ 172 w 10000"/>
              <a:gd name="connsiteY82" fmla="*/ 6249 h 10000"/>
              <a:gd name="connsiteX83" fmla="*/ 80 w 10000"/>
              <a:gd name="connsiteY83" fmla="*/ 6334 h 10000"/>
              <a:gd name="connsiteX84" fmla="*/ 0 w 10000"/>
              <a:gd name="connsiteY84" fmla="*/ 6334 h 10000"/>
              <a:gd name="connsiteX85" fmla="*/ 80 w 10000"/>
              <a:gd name="connsiteY85" fmla="*/ 6584 h 10000"/>
              <a:gd name="connsiteX86" fmla="*/ 80 w 10000"/>
              <a:gd name="connsiteY86" fmla="*/ 6667 h 10000"/>
              <a:gd name="connsiteX87" fmla="*/ 80 w 10000"/>
              <a:gd name="connsiteY87" fmla="*/ 6749 h 10000"/>
              <a:gd name="connsiteX88" fmla="*/ 80 w 10000"/>
              <a:gd name="connsiteY88" fmla="*/ 6834 h 10000"/>
              <a:gd name="connsiteX89" fmla="*/ 172 w 10000"/>
              <a:gd name="connsiteY89" fmla="*/ 6998 h 10000"/>
              <a:gd name="connsiteX90" fmla="*/ 437 w 10000"/>
              <a:gd name="connsiteY90" fmla="*/ 7083 h 10000"/>
              <a:gd name="connsiteX91" fmla="*/ 523 w 10000"/>
              <a:gd name="connsiteY91" fmla="*/ 7165 h 10000"/>
              <a:gd name="connsiteX92" fmla="*/ 523 w 10000"/>
              <a:gd name="connsiteY92" fmla="*/ 7334 h 10000"/>
              <a:gd name="connsiteX93" fmla="*/ 702 w 10000"/>
              <a:gd name="connsiteY93" fmla="*/ 7584 h 10000"/>
              <a:gd name="connsiteX94" fmla="*/ 793 w 10000"/>
              <a:gd name="connsiteY94" fmla="*/ 7584 h 10000"/>
              <a:gd name="connsiteX95" fmla="*/ 702 w 10000"/>
              <a:gd name="connsiteY95" fmla="*/ 7750 h 10000"/>
              <a:gd name="connsiteX96" fmla="*/ 611 w 10000"/>
              <a:gd name="connsiteY96" fmla="*/ 7668 h 10000"/>
              <a:gd name="connsiteX97" fmla="*/ 611 w 10000"/>
              <a:gd name="connsiteY97" fmla="*/ 7750 h 10000"/>
              <a:gd name="connsiteX98" fmla="*/ 702 w 10000"/>
              <a:gd name="connsiteY98" fmla="*/ 7916 h 10000"/>
              <a:gd name="connsiteX99" fmla="*/ 971 w 10000"/>
              <a:gd name="connsiteY99" fmla="*/ 7916 h 10000"/>
              <a:gd name="connsiteX100" fmla="*/ 1055 w 10000"/>
              <a:gd name="connsiteY100" fmla="*/ 8000 h 10000"/>
              <a:gd name="connsiteX101" fmla="*/ 971 w 10000"/>
              <a:gd name="connsiteY101" fmla="*/ 8000 h 10000"/>
              <a:gd name="connsiteX102" fmla="*/ 1055 w 10000"/>
              <a:gd name="connsiteY102" fmla="*/ 8082 h 10000"/>
              <a:gd name="connsiteX103" fmla="*/ 1139 w 10000"/>
              <a:gd name="connsiteY103" fmla="*/ 8082 h 10000"/>
              <a:gd name="connsiteX104" fmla="*/ 1224 w 10000"/>
              <a:gd name="connsiteY104" fmla="*/ 8249 h 10000"/>
              <a:gd name="connsiteX105" fmla="*/ 1315 w 10000"/>
              <a:gd name="connsiteY105" fmla="*/ 8332 h 10000"/>
              <a:gd name="connsiteX106" fmla="*/ 1399 w 10000"/>
              <a:gd name="connsiteY106" fmla="*/ 8249 h 10000"/>
              <a:gd name="connsiteX107" fmla="*/ 1843 w 10000"/>
              <a:gd name="connsiteY107" fmla="*/ 8500 h 10000"/>
              <a:gd name="connsiteX108" fmla="*/ 1757 w 10000"/>
              <a:gd name="connsiteY108" fmla="*/ 8833 h 10000"/>
              <a:gd name="connsiteX109" fmla="*/ 1668 w 10000"/>
              <a:gd name="connsiteY109" fmla="*/ 8750 h 10000"/>
              <a:gd name="connsiteX110" fmla="*/ 1574 w 10000"/>
              <a:gd name="connsiteY110" fmla="*/ 8833 h 10000"/>
              <a:gd name="connsiteX111" fmla="*/ 1574 w 10000"/>
              <a:gd name="connsiteY111" fmla="*/ 8999 h 10000"/>
              <a:gd name="connsiteX112" fmla="*/ 1668 w 10000"/>
              <a:gd name="connsiteY112" fmla="*/ 8917 h 10000"/>
              <a:gd name="connsiteX113" fmla="*/ 1757 w 10000"/>
              <a:gd name="connsiteY113" fmla="*/ 8999 h 10000"/>
              <a:gd name="connsiteX114" fmla="*/ 1494 w 10000"/>
              <a:gd name="connsiteY114" fmla="*/ 9083 h 10000"/>
              <a:gd name="connsiteX115" fmla="*/ 1574 w 10000"/>
              <a:gd name="connsiteY115" fmla="*/ 9167 h 10000"/>
              <a:gd name="connsiteX116" fmla="*/ 1399 w 10000"/>
              <a:gd name="connsiteY116" fmla="*/ 9333 h 10000"/>
              <a:gd name="connsiteX117" fmla="*/ 1315 w 10000"/>
              <a:gd name="connsiteY117" fmla="*/ 9333 h 10000"/>
              <a:gd name="connsiteX118" fmla="*/ 1399 w 10000"/>
              <a:gd name="connsiteY118" fmla="*/ 9333 h 10000"/>
              <a:gd name="connsiteX119" fmla="*/ 1757 w 10000"/>
              <a:gd name="connsiteY119" fmla="*/ 9668 h 10000"/>
              <a:gd name="connsiteX120" fmla="*/ 2195 w 10000"/>
              <a:gd name="connsiteY120" fmla="*/ 9668 h 10000"/>
              <a:gd name="connsiteX121" fmla="*/ 2369 w 10000"/>
              <a:gd name="connsiteY121" fmla="*/ 9750 h 10000"/>
              <a:gd name="connsiteX122" fmla="*/ 2543 w 10000"/>
              <a:gd name="connsiteY122" fmla="*/ 9750 h 10000"/>
              <a:gd name="connsiteX123" fmla="*/ 2721 w 10000"/>
              <a:gd name="connsiteY123" fmla="*/ 9918 h 10000"/>
              <a:gd name="connsiteX124" fmla="*/ 2807 w 10000"/>
              <a:gd name="connsiteY124" fmla="*/ 10000 h 10000"/>
              <a:gd name="connsiteX125" fmla="*/ 2891 w 10000"/>
              <a:gd name="connsiteY125" fmla="*/ 10000 h 10000"/>
              <a:gd name="connsiteX126" fmla="*/ 2984 w 10000"/>
              <a:gd name="connsiteY126" fmla="*/ 9918 h 10000"/>
              <a:gd name="connsiteX127" fmla="*/ 2807 w 10000"/>
              <a:gd name="connsiteY127" fmla="*/ 9750 h 10000"/>
              <a:gd name="connsiteX128" fmla="*/ 2807 w 10000"/>
              <a:gd name="connsiteY128" fmla="*/ 9584 h 10000"/>
              <a:gd name="connsiteX129" fmla="*/ 2721 w 10000"/>
              <a:gd name="connsiteY129" fmla="*/ 9416 h 10000"/>
              <a:gd name="connsiteX130" fmla="*/ 2891 w 10000"/>
              <a:gd name="connsiteY130" fmla="*/ 9167 h 10000"/>
              <a:gd name="connsiteX131" fmla="*/ 2984 w 10000"/>
              <a:gd name="connsiteY131" fmla="*/ 9250 h 10000"/>
              <a:gd name="connsiteX132" fmla="*/ 3069 w 10000"/>
              <a:gd name="connsiteY132" fmla="*/ 9167 h 10000"/>
              <a:gd name="connsiteX133" fmla="*/ 3069 w 10000"/>
              <a:gd name="connsiteY133" fmla="*/ 9083 h 10000"/>
              <a:gd name="connsiteX134" fmla="*/ 2984 w 10000"/>
              <a:gd name="connsiteY134" fmla="*/ 9083 h 10000"/>
              <a:gd name="connsiteX135" fmla="*/ 3069 w 10000"/>
              <a:gd name="connsiteY135" fmla="*/ 8999 h 10000"/>
              <a:gd name="connsiteX136" fmla="*/ 2984 w 10000"/>
              <a:gd name="connsiteY136" fmla="*/ 8833 h 10000"/>
              <a:gd name="connsiteX137" fmla="*/ 2807 w 10000"/>
              <a:gd name="connsiteY137" fmla="*/ 8833 h 10000"/>
              <a:gd name="connsiteX138" fmla="*/ 2721 w 10000"/>
              <a:gd name="connsiteY138" fmla="*/ 8667 h 10000"/>
              <a:gd name="connsiteX139" fmla="*/ 2807 w 10000"/>
              <a:gd name="connsiteY139" fmla="*/ 8249 h 10000"/>
              <a:gd name="connsiteX140" fmla="*/ 2984 w 10000"/>
              <a:gd name="connsiteY140" fmla="*/ 8418 h 10000"/>
              <a:gd name="connsiteX141" fmla="*/ 3069 w 10000"/>
              <a:gd name="connsiteY141" fmla="*/ 8418 h 10000"/>
              <a:gd name="connsiteX142" fmla="*/ 2984 w 10000"/>
              <a:gd name="connsiteY142" fmla="*/ 8249 h 10000"/>
              <a:gd name="connsiteX143" fmla="*/ 3249 w 10000"/>
              <a:gd name="connsiteY143" fmla="*/ 8000 h 10000"/>
              <a:gd name="connsiteX144" fmla="*/ 3426 w 10000"/>
              <a:gd name="connsiteY144" fmla="*/ 8082 h 10000"/>
              <a:gd name="connsiteX145" fmla="*/ 3511 w 10000"/>
              <a:gd name="connsiteY145" fmla="*/ 8000 h 10000"/>
              <a:gd name="connsiteX146" fmla="*/ 3678 w 10000"/>
              <a:gd name="connsiteY146" fmla="*/ 8082 h 10000"/>
              <a:gd name="connsiteX147" fmla="*/ 3953 w 10000"/>
              <a:gd name="connsiteY147" fmla="*/ 8249 h 10000"/>
              <a:gd name="connsiteX148" fmla="*/ 4121 w 10000"/>
              <a:gd name="connsiteY148" fmla="*/ 8167 h 10000"/>
              <a:gd name="connsiteX149" fmla="*/ 4300 w 10000"/>
              <a:gd name="connsiteY149" fmla="*/ 8167 h 10000"/>
              <a:gd name="connsiteX150" fmla="*/ 4389 w 10000"/>
              <a:gd name="connsiteY150" fmla="*/ 8249 h 10000"/>
              <a:gd name="connsiteX151" fmla="*/ 4740 w 10000"/>
              <a:gd name="connsiteY151" fmla="*/ 8249 h 10000"/>
              <a:gd name="connsiteX152" fmla="*/ 4823 w 10000"/>
              <a:gd name="connsiteY152" fmla="*/ 8082 h 10000"/>
              <a:gd name="connsiteX153" fmla="*/ 4557 w 10000"/>
              <a:gd name="connsiteY153" fmla="*/ 8000 h 10000"/>
              <a:gd name="connsiteX154" fmla="*/ 4740 w 10000"/>
              <a:gd name="connsiteY154" fmla="*/ 7916 h 10000"/>
              <a:gd name="connsiteX155" fmla="*/ 4647 w 10000"/>
              <a:gd name="connsiteY155" fmla="*/ 7833 h 10000"/>
              <a:gd name="connsiteX156" fmla="*/ 4740 w 10000"/>
              <a:gd name="connsiteY156" fmla="*/ 7750 h 10000"/>
              <a:gd name="connsiteX157" fmla="*/ 4740 w 10000"/>
              <a:gd name="connsiteY157" fmla="*/ 7500 h 10000"/>
              <a:gd name="connsiteX158" fmla="*/ 4908 w 10000"/>
              <a:gd name="connsiteY158" fmla="*/ 7584 h 10000"/>
              <a:gd name="connsiteX159" fmla="*/ 5701 w 10000"/>
              <a:gd name="connsiteY159" fmla="*/ 7334 h 10000"/>
              <a:gd name="connsiteX160" fmla="*/ 5701 w 10000"/>
              <a:gd name="connsiteY160" fmla="*/ 7250 h 10000"/>
              <a:gd name="connsiteX161" fmla="*/ 5793 w 10000"/>
              <a:gd name="connsiteY161" fmla="*/ 7250 h 10000"/>
              <a:gd name="connsiteX162" fmla="*/ 6046 w 10000"/>
              <a:gd name="connsiteY162" fmla="*/ 7250 h 10000"/>
              <a:gd name="connsiteX163" fmla="*/ 6145 w 10000"/>
              <a:gd name="connsiteY163" fmla="*/ 7417 h 10000"/>
              <a:gd name="connsiteX164" fmla="*/ 6145 w 10000"/>
              <a:gd name="connsiteY164" fmla="*/ 7500 h 10000"/>
              <a:gd name="connsiteX165" fmla="*/ 6228 w 10000"/>
              <a:gd name="connsiteY165" fmla="*/ 7500 h 10000"/>
              <a:gd name="connsiteX166" fmla="*/ 6401 w 10000"/>
              <a:gd name="connsiteY166" fmla="*/ 7584 h 10000"/>
              <a:gd name="connsiteX167" fmla="*/ 6401 w 10000"/>
              <a:gd name="connsiteY167" fmla="*/ 7668 h 10000"/>
              <a:gd name="connsiteX168" fmla="*/ 6577 w 10000"/>
              <a:gd name="connsiteY168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753 w 10000"/>
              <a:gd name="connsiteY12" fmla="*/ 1831 h 10000"/>
              <a:gd name="connsiteX13" fmla="*/ 6577 w 10000"/>
              <a:gd name="connsiteY13" fmla="*/ 1665 h 10000"/>
              <a:gd name="connsiteX14" fmla="*/ 6587 w 10000"/>
              <a:gd name="connsiteY14" fmla="*/ 1759 h 10000"/>
              <a:gd name="connsiteX15" fmla="*/ 6674 w 10000"/>
              <a:gd name="connsiteY15" fmla="*/ 2000 h 10000"/>
              <a:gd name="connsiteX16" fmla="*/ 6401 w 10000"/>
              <a:gd name="connsiteY16" fmla="*/ 2416 h 10000"/>
              <a:gd name="connsiteX17" fmla="*/ 6577 w 10000"/>
              <a:gd name="connsiteY17" fmla="*/ 2748 h 10000"/>
              <a:gd name="connsiteX18" fmla="*/ 6489 w 10000"/>
              <a:gd name="connsiteY18" fmla="*/ 3083 h 10000"/>
              <a:gd name="connsiteX19" fmla="*/ 6489 w 10000"/>
              <a:gd name="connsiteY19" fmla="*/ 3333 h 10000"/>
              <a:gd name="connsiteX20" fmla="*/ 6753 w 10000"/>
              <a:gd name="connsiteY20" fmla="*/ 3333 h 10000"/>
              <a:gd name="connsiteX21" fmla="*/ 6577 w 10000"/>
              <a:gd name="connsiteY21" fmla="*/ 3416 h 10000"/>
              <a:gd name="connsiteX22" fmla="*/ 6674 w 10000"/>
              <a:gd name="connsiteY22" fmla="*/ 3832 h 10000"/>
              <a:gd name="connsiteX23" fmla="*/ 6145 w 10000"/>
              <a:gd name="connsiteY23" fmla="*/ 4250 h 10000"/>
              <a:gd name="connsiteX24" fmla="*/ 6046 w 10000"/>
              <a:gd name="connsiteY24" fmla="*/ 4167 h 10000"/>
              <a:gd name="connsiteX25" fmla="*/ 6401 w 10000"/>
              <a:gd name="connsiteY25" fmla="*/ 3748 h 10000"/>
              <a:gd name="connsiteX26" fmla="*/ 6489 w 10000"/>
              <a:gd name="connsiteY26" fmla="*/ 3500 h 10000"/>
              <a:gd name="connsiteX27" fmla="*/ 6305 w 10000"/>
              <a:gd name="connsiteY27" fmla="*/ 3333 h 10000"/>
              <a:gd name="connsiteX28" fmla="*/ 6305 w 10000"/>
              <a:gd name="connsiteY28" fmla="*/ 2498 h 10000"/>
              <a:gd name="connsiteX29" fmla="*/ 6228 w 10000"/>
              <a:gd name="connsiteY29" fmla="*/ 2332 h 10000"/>
              <a:gd name="connsiteX30" fmla="*/ 4557 w 10000"/>
              <a:gd name="connsiteY30" fmla="*/ 3416 h 10000"/>
              <a:gd name="connsiteX31" fmla="*/ 4480 w 10000"/>
              <a:gd name="connsiteY31" fmla="*/ 3333 h 10000"/>
              <a:gd name="connsiteX32" fmla="*/ 3953 w 10000"/>
              <a:gd name="connsiteY32" fmla="*/ 3500 h 10000"/>
              <a:gd name="connsiteX33" fmla="*/ 3865 w 10000"/>
              <a:gd name="connsiteY33" fmla="*/ 3665 h 10000"/>
              <a:gd name="connsiteX34" fmla="*/ 3777 w 10000"/>
              <a:gd name="connsiteY34" fmla="*/ 3500 h 10000"/>
              <a:gd name="connsiteX35" fmla="*/ 3777 w 10000"/>
              <a:gd name="connsiteY35" fmla="*/ 3333 h 10000"/>
              <a:gd name="connsiteX36" fmla="*/ 2891 w 10000"/>
              <a:gd name="connsiteY36" fmla="*/ 3832 h 10000"/>
              <a:gd name="connsiteX37" fmla="*/ 2891 w 10000"/>
              <a:gd name="connsiteY37" fmla="*/ 3998 h 10000"/>
              <a:gd name="connsiteX38" fmla="*/ 2721 w 10000"/>
              <a:gd name="connsiteY38" fmla="*/ 4082 h 10000"/>
              <a:gd name="connsiteX39" fmla="*/ 2458 w 10000"/>
              <a:gd name="connsiteY39" fmla="*/ 3916 h 10000"/>
              <a:gd name="connsiteX40" fmla="*/ 2721 w 10000"/>
              <a:gd name="connsiteY40" fmla="*/ 3748 h 10000"/>
              <a:gd name="connsiteX41" fmla="*/ 2627 w 10000"/>
              <a:gd name="connsiteY41" fmla="*/ 3500 h 10000"/>
              <a:gd name="connsiteX42" fmla="*/ 2281 w 10000"/>
              <a:gd name="connsiteY42" fmla="*/ 3416 h 10000"/>
              <a:gd name="connsiteX43" fmla="*/ 2369 w 10000"/>
              <a:gd name="connsiteY43" fmla="*/ 3582 h 10000"/>
              <a:gd name="connsiteX44" fmla="*/ 2369 w 10000"/>
              <a:gd name="connsiteY44" fmla="*/ 3998 h 10000"/>
              <a:gd name="connsiteX45" fmla="*/ 2458 w 10000"/>
              <a:gd name="connsiteY45" fmla="*/ 4167 h 10000"/>
              <a:gd name="connsiteX46" fmla="*/ 2369 w 10000"/>
              <a:gd name="connsiteY46" fmla="*/ 4334 h 10000"/>
              <a:gd name="connsiteX47" fmla="*/ 2100 w 10000"/>
              <a:gd name="connsiteY47" fmla="*/ 4250 h 10000"/>
              <a:gd name="connsiteX48" fmla="*/ 1757 w 10000"/>
              <a:gd name="connsiteY48" fmla="*/ 4498 h 10000"/>
              <a:gd name="connsiteX49" fmla="*/ 1928 w 10000"/>
              <a:gd name="connsiteY49" fmla="*/ 4833 h 10000"/>
              <a:gd name="connsiteX50" fmla="*/ 1399 w 10000"/>
              <a:gd name="connsiteY50" fmla="*/ 4666 h 10000"/>
              <a:gd name="connsiteX51" fmla="*/ 1315 w 10000"/>
              <a:gd name="connsiteY51" fmla="*/ 4748 h 10000"/>
              <a:gd name="connsiteX52" fmla="*/ 1494 w 10000"/>
              <a:gd name="connsiteY52" fmla="*/ 4999 h 10000"/>
              <a:gd name="connsiteX53" fmla="*/ 1315 w 10000"/>
              <a:gd name="connsiteY53" fmla="*/ 4999 h 10000"/>
              <a:gd name="connsiteX54" fmla="*/ 1055 w 10000"/>
              <a:gd name="connsiteY54" fmla="*/ 4833 h 10000"/>
              <a:gd name="connsiteX55" fmla="*/ 1055 w 10000"/>
              <a:gd name="connsiteY55" fmla="*/ 4334 h 10000"/>
              <a:gd name="connsiteX56" fmla="*/ 793 w 10000"/>
              <a:gd name="connsiteY56" fmla="*/ 4167 h 10000"/>
              <a:gd name="connsiteX57" fmla="*/ 702 w 10000"/>
              <a:gd name="connsiteY57" fmla="*/ 3998 h 10000"/>
              <a:gd name="connsiteX58" fmla="*/ 873 w 10000"/>
              <a:gd name="connsiteY58" fmla="*/ 4082 h 10000"/>
              <a:gd name="connsiteX59" fmla="*/ 1574 w 10000"/>
              <a:gd name="connsiteY59" fmla="*/ 4334 h 10000"/>
              <a:gd name="connsiteX60" fmla="*/ 2009 w 10000"/>
              <a:gd name="connsiteY60" fmla="*/ 4082 h 10000"/>
              <a:gd name="connsiteX61" fmla="*/ 1928 w 10000"/>
              <a:gd name="connsiteY61" fmla="*/ 3832 h 10000"/>
              <a:gd name="connsiteX62" fmla="*/ 1399 w 10000"/>
              <a:gd name="connsiteY62" fmla="*/ 3333 h 10000"/>
              <a:gd name="connsiteX63" fmla="*/ 873 w 10000"/>
              <a:gd name="connsiteY63" fmla="*/ 3166 h 10000"/>
              <a:gd name="connsiteX64" fmla="*/ 873 w 10000"/>
              <a:gd name="connsiteY64" fmla="*/ 3083 h 10000"/>
              <a:gd name="connsiteX65" fmla="*/ 702 w 10000"/>
              <a:gd name="connsiteY65" fmla="*/ 2997 h 10000"/>
              <a:gd name="connsiteX66" fmla="*/ 523 w 10000"/>
              <a:gd name="connsiteY66" fmla="*/ 3083 h 10000"/>
              <a:gd name="connsiteX67" fmla="*/ 523 w 10000"/>
              <a:gd name="connsiteY67" fmla="*/ 3166 h 10000"/>
              <a:gd name="connsiteX68" fmla="*/ 437 w 10000"/>
              <a:gd name="connsiteY68" fmla="*/ 3166 h 10000"/>
              <a:gd name="connsiteX69" fmla="*/ 263 w 10000"/>
              <a:gd name="connsiteY69" fmla="*/ 3333 h 10000"/>
              <a:gd name="connsiteX70" fmla="*/ 263 w 10000"/>
              <a:gd name="connsiteY70" fmla="*/ 3582 h 10000"/>
              <a:gd name="connsiteX71" fmla="*/ 437 w 10000"/>
              <a:gd name="connsiteY71" fmla="*/ 3748 h 10000"/>
              <a:gd name="connsiteX72" fmla="*/ 353 w 10000"/>
              <a:gd name="connsiteY72" fmla="*/ 3998 h 10000"/>
              <a:gd name="connsiteX73" fmla="*/ 437 w 10000"/>
              <a:gd name="connsiteY73" fmla="*/ 4417 h 10000"/>
              <a:gd name="connsiteX74" fmla="*/ 353 w 10000"/>
              <a:gd name="connsiteY74" fmla="*/ 4666 h 10000"/>
              <a:gd name="connsiteX75" fmla="*/ 523 w 10000"/>
              <a:gd name="connsiteY75" fmla="*/ 4916 h 10000"/>
              <a:gd name="connsiteX76" fmla="*/ 437 w 10000"/>
              <a:gd name="connsiteY76" fmla="*/ 5083 h 10000"/>
              <a:gd name="connsiteX77" fmla="*/ 611 w 10000"/>
              <a:gd name="connsiteY77" fmla="*/ 5250 h 10000"/>
              <a:gd name="connsiteX78" fmla="*/ 611 w 10000"/>
              <a:gd name="connsiteY78" fmla="*/ 5333 h 10000"/>
              <a:gd name="connsiteX79" fmla="*/ 353 w 10000"/>
              <a:gd name="connsiteY79" fmla="*/ 5750 h 10000"/>
              <a:gd name="connsiteX80" fmla="*/ 80 w 10000"/>
              <a:gd name="connsiteY80" fmla="*/ 5917 h 10000"/>
              <a:gd name="connsiteX81" fmla="*/ 172 w 10000"/>
              <a:gd name="connsiteY81" fmla="*/ 5917 h 10000"/>
              <a:gd name="connsiteX82" fmla="*/ 353 w 10000"/>
              <a:gd name="connsiteY82" fmla="*/ 6083 h 10000"/>
              <a:gd name="connsiteX83" fmla="*/ 172 w 10000"/>
              <a:gd name="connsiteY83" fmla="*/ 6249 h 10000"/>
              <a:gd name="connsiteX84" fmla="*/ 80 w 10000"/>
              <a:gd name="connsiteY84" fmla="*/ 6334 h 10000"/>
              <a:gd name="connsiteX85" fmla="*/ 0 w 10000"/>
              <a:gd name="connsiteY85" fmla="*/ 6334 h 10000"/>
              <a:gd name="connsiteX86" fmla="*/ 80 w 10000"/>
              <a:gd name="connsiteY86" fmla="*/ 6584 h 10000"/>
              <a:gd name="connsiteX87" fmla="*/ 80 w 10000"/>
              <a:gd name="connsiteY87" fmla="*/ 6667 h 10000"/>
              <a:gd name="connsiteX88" fmla="*/ 80 w 10000"/>
              <a:gd name="connsiteY88" fmla="*/ 6749 h 10000"/>
              <a:gd name="connsiteX89" fmla="*/ 80 w 10000"/>
              <a:gd name="connsiteY89" fmla="*/ 6834 h 10000"/>
              <a:gd name="connsiteX90" fmla="*/ 172 w 10000"/>
              <a:gd name="connsiteY90" fmla="*/ 6998 h 10000"/>
              <a:gd name="connsiteX91" fmla="*/ 437 w 10000"/>
              <a:gd name="connsiteY91" fmla="*/ 7083 h 10000"/>
              <a:gd name="connsiteX92" fmla="*/ 523 w 10000"/>
              <a:gd name="connsiteY92" fmla="*/ 7165 h 10000"/>
              <a:gd name="connsiteX93" fmla="*/ 523 w 10000"/>
              <a:gd name="connsiteY93" fmla="*/ 7334 h 10000"/>
              <a:gd name="connsiteX94" fmla="*/ 702 w 10000"/>
              <a:gd name="connsiteY94" fmla="*/ 7584 h 10000"/>
              <a:gd name="connsiteX95" fmla="*/ 793 w 10000"/>
              <a:gd name="connsiteY95" fmla="*/ 7584 h 10000"/>
              <a:gd name="connsiteX96" fmla="*/ 702 w 10000"/>
              <a:gd name="connsiteY96" fmla="*/ 7750 h 10000"/>
              <a:gd name="connsiteX97" fmla="*/ 611 w 10000"/>
              <a:gd name="connsiteY97" fmla="*/ 7668 h 10000"/>
              <a:gd name="connsiteX98" fmla="*/ 611 w 10000"/>
              <a:gd name="connsiteY98" fmla="*/ 7750 h 10000"/>
              <a:gd name="connsiteX99" fmla="*/ 702 w 10000"/>
              <a:gd name="connsiteY99" fmla="*/ 7916 h 10000"/>
              <a:gd name="connsiteX100" fmla="*/ 971 w 10000"/>
              <a:gd name="connsiteY100" fmla="*/ 7916 h 10000"/>
              <a:gd name="connsiteX101" fmla="*/ 1055 w 10000"/>
              <a:gd name="connsiteY101" fmla="*/ 8000 h 10000"/>
              <a:gd name="connsiteX102" fmla="*/ 971 w 10000"/>
              <a:gd name="connsiteY102" fmla="*/ 8000 h 10000"/>
              <a:gd name="connsiteX103" fmla="*/ 1055 w 10000"/>
              <a:gd name="connsiteY103" fmla="*/ 8082 h 10000"/>
              <a:gd name="connsiteX104" fmla="*/ 1139 w 10000"/>
              <a:gd name="connsiteY104" fmla="*/ 8082 h 10000"/>
              <a:gd name="connsiteX105" fmla="*/ 1224 w 10000"/>
              <a:gd name="connsiteY105" fmla="*/ 8249 h 10000"/>
              <a:gd name="connsiteX106" fmla="*/ 1315 w 10000"/>
              <a:gd name="connsiteY106" fmla="*/ 8332 h 10000"/>
              <a:gd name="connsiteX107" fmla="*/ 1399 w 10000"/>
              <a:gd name="connsiteY107" fmla="*/ 8249 h 10000"/>
              <a:gd name="connsiteX108" fmla="*/ 1843 w 10000"/>
              <a:gd name="connsiteY108" fmla="*/ 8500 h 10000"/>
              <a:gd name="connsiteX109" fmla="*/ 1757 w 10000"/>
              <a:gd name="connsiteY109" fmla="*/ 8833 h 10000"/>
              <a:gd name="connsiteX110" fmla="*/ 1668 w 10000"/>
              <a:gd name="connsiteY110" fmla="*/ 8750 h 10000"/>
              <a:gd name="connsiteX111" fmla="*/ 1574 w 10000"/>
              <a:gd name="connsiteY111" fmla="*/ 8833 h 10000"/>
              <a:gd name="connsiteX112" fmla="*/ 1574 w 10000"/>
              <a:gd name="connsiteY112" fmla="*/ 8999 h 10000"/>
              <a:gd name="connsiteX113" fmla="*/ 1668 w 10000"/>
              <a:gd name="connsiteY113" fmla="*/ 8917 h 10000"/>
              <a:gd name="connsiteX114" fmla="*/ 1757 w 10000"/>
              <a:gd name="connsiteY114" fmla="*/ 8999 h 10000"/>
              <a:gd name="connsiteX115" fmla="*/ 1494 w 10000"/>
              <a:gd name="connsiteY115" fmla="*/ 9083 h 10000"/>
              <a:gd name="connsiteX116" fmla="*/ 1574 w 10000"/>
              <a:gd name="connsiteY116" fmla="*/ 9167 h 10000"/>
              <a:gd name="connsiteX117" fmla="*/ 1399 w 10000"/>
              <a:gd name="connsiteY117" fmla="*/ 9333 h 10000"/>
              <a:gd name="connsiteX118" fmla="*/ 1315 w 10000"/>
              <a:gd name="connsiteY118" fmla="*/ 9333 h 10000"/>
              <a:gd name="connsiteX119" fmla="*/ 1399 w 10000"/>
              <a:gd name="connsiteY119" fmla="*/ 9333 h 10000"/>
              <a:gd name="connsiteX120" fmla="*/ 1757 w 10000"/>
              <a:gd name="connsiteY120" fmla="*/ 9668 h 10000"/>
              <a:gd name="connsiteX121" fmla="*/ 2195 w 10000"/>
              <a:gd name="connsiteY121" fmla="*/ 9668 h 10000"/>
              <a:gd name="connsiteX122" fmla="*/ 2369 w 10000"/>
              <a:gd name="connsiteY122" fmla="*/ 9750 h 10000"/>
              <a:gd name="connsiteX123" fmla="*/ 2543 w 10000"/>
              <a:gd name="connsiteY123" fmla="*/ 9750 h 10000"/>
              <a:gd name="connsiteX124" fmla="*/ 2721 w 10000"/>
              <a:gd name="connsiteY124" fmla="*/ 9918 h 10000"/>
              <a:gd name="connsiteX125" fmla="*/ 2807 w 10000"/>
              <a:gd name="connsiteY125" fmla="*/ 10000 h 10000"/>
              <a:gd name="connsiteX126" fmla="*/ 2891 w 10000"/>
              <a:gd name="connsiteY126" fmla="*/ 10000 h 10000"/>
              <a:gd name="connsiteX127" fmla="*/ 2984 w 10000"/>
              <a:gd name="connsiteY127" fmla="*/ 9918 h 10000"/>
              <a:gd name="connsiteX128" fmla="*/ 2807 w 10000"/>
              <a:gd name="connsiteY128" fmla="*/ 9750 h 10000"/>
              <a:gd name="connsiteX129" fmla="*/ 2807 w 10000"/>
              <a:gd name="connsiteY129" fmla="*/ 9584 h 10000"/>
              <a:gd name="connsiteX130" fmla="*/ 2721 w 10000"/>
              <a:gd name="connsiteY130" fmla="*/ 9416 h 10000"/>
              <a:gd name="connsiteX131" fmla="*/ 2891 w 10000"/>
              <a:gd name="connsiteY131" fmla="*/ 9167 h 10000"/>
              <a:gd name="connsiteX132" fmla="*/ 2984 w 10000"/>
              <a:gd name="connsiteY132" fmla="*/ 9250 h 10000"/>
              <a:gd name="connsiteX133" fmla="*/ 3069 w 10000"/>
              <a:gd name="connsiteY133" fmla="*/ 9167 h 10000"/>
              <a:gd name="connsiteX134" fmla="*/ 3069 w 10000"/>
              <a:gd name="connsiteY134" fmla="*/ 9083 h 10000"/>
              <a:gd name="connsiteX135" fmla="*/ 2984 w 10000"/>
              <a:gd name="connsiteY135" fmla="*/ 9083 h 10000"/>
              <a:gd name="connsiteX136" fmla="*/ 3069 w 10000"/>
              <a:gd name="connsiteY136" fmla="*/ 8999 h 10000"/>
              <a:gd name="connsiteX137" fmla="*/ 2984 w 10000"/>
              <a:gd name="connsiteY137" fmla="*/ 8833 h 10000"/>
              <a:gd name="connsiteX138" fmla="*/ 2807 w 10000"/>
              <a:gd name="connsiteY138" fmla="*/ 8833 h 10000"/>
              <a:gd name="connsiteX139" fmla="*/ 2721 w 10000"/>
              <a:gd name="connsiteY139" fmla="*/ 8667 h 10000"/>
              <a:gd name="connsiteX140" fmla="*/ 2807 w 10000"/>
              <a:gd name="connsiteY140" fmla="*/ 8249 h 10000"/>
              <a:gd name="connsiteX141" fmla="*/ 2984 w 10000"/>
              <a:gd name="connsiteY141" fmla="*/ 8418 h 10000"/>
              <a:gd name="connsiteX142" fmla="*/ 3069 w 10000"/>
              <a:gd name="connsiteY142" fmla="*/ 8418 h 10000"/>
              <a:gd name="connsiteX143" fmla="*/ 2984 w 10000"/>
              <a:gd name="connsiteY143" fmla="*/ 8249 h 10000"/>
              <a:gd name="connsiteX144" fmla="*/ 3249 w 10000"/>
              <a:gd name="connsiteY144" fmla="*/ 8000 h 10000"/>
              <a:gd name="connsiteX145" fmla="*/ 3426 w 10000"/>
              <a:gd name="connsiteY145" fmla="*/ 8082 h 10000"/>
              <a:gd name="connsiteX146" fmla="*/ 3511 w 10000"/>
              <a:gd name="connsiteY146" fmla="*/ 8000 h 10000"/>
              <a:gd name="connsiteX147" fmla="*/ 3678 w 10000"/>
              <a:gd name="connsiteY147" fmla="*/ 8082 h 10000"/>
              <a:gd name="connsiteX148" fmla="*/ 3953 w 10000"/>
              <a:gd name="connsiteY148" fmla="*/ 8249 h 10000"/>
              <a:gd name="connsiteX149" fmla="*/ 4121 w 10000"/>
              <a:gd name="connsiteY149" fmla="*/ 8167 h 10000"/>
              <a:gd name="connsiteX150" fmla="*/ 4300 w 10000"/>
              <a:gd name="connsiteY150" fmla="*/ 8167 h 10000"/>
              <a:gd name="connsiteX151" fmla="*/ 4389 w 10000"/>
              <a:gd name="connsiteY151" fmla="*/ 8249 h 10000"/>
              <a:gd name="connsiteX152" fmla="*/ 4740 w 10000"/>
              <a:gd name="connsiteY152" fmla="*/ 8249 h 10000"/>
              <a:gd name="connsiteX153" fmla="*/ 4823 w 10000"/>
              <a:gd name="connsiteY153" fmla="*/ 8082 h 10000"/>
              <a:gd name="connsiteX154" fmla="*/ 4557 w 10000"/>
              <a:gd name="connsiteY154" fmla="*/ 8000 h 10000"/>
              <a:gd name="connsiteX155" fmla="*/ 4740 w 10000"/>
              <a:gd name="connsiteY155" fmla="*/ 7916 h 10000"/>
              <a:gd name="connsiteX156" fmla="*/ 4647 w 10000"/>
              <a:gd name="connsiteY156" fmla="*/ 7833 h 10000"/>
              <a:gd name="connsiteX157" fmla="*/ 4740 w 10000"/>
              <a:gd name="connsiteY157" fmla="*/ 7750 h 10000"/>
              <a:gd name="connsiteX158" fmla="*/ 4740 w 10000"/>
              <a:gd name="connsiteY158" fmla="*/ 7500 h 10000"/>
              <a:gd name="connsiteX159" fmla="*/ 4908 w 10000"/>
              <a:gd name="connsiteY159" fmla="*/ 7584 h 10000"/>
              <a:gd name="connsiteX160" fmla="*/ 5701 w 10000"/>
              <a:gd name="connsiteY160" fmla="*/ 7334 h 10000"/>
              <a:gd name="connsiteX161" fmla="*/ 5701 w 10000"/>
              <a:gd name="connsiteY161" fmla="*/ 7250 h 10000"/>
              <a:gd name="connsiteX162" fmla="*/ 5793 w 10000"/>
              <a:gd name="connsiteY162" fmla="*/ 7250 h 10000"/>
              <a:gd name="connsiteX163" fmla="*/ 6046 w 10000"/>
              <a:gd name="connsiteY163" fmla="*/ 7250 h 10000"/>
              <a:gd name="connsiteX164" fmla="*/ 6145 w 10000"/>
              <a:gd name="connsiteY164" fmla="*/ 7417 h 10000"/>
              <a:gd name="connsiteX165" fmla="*/ 6145 w 10000"/>
              <a:gd name="connsiteY165" fmla="*/ 7500 h 10000"/>
              <a:gd name="connsiteX166" fmla="*/ 6228 w 10000"/>
              <a:gd name="connsiteY166" fmla="*/ 7500 h 10000"/>
              <a:gd name="connsiteX167" fmla="*/ 6401 w 10000"/>
              <a:gd name="connsiteY167" fmla="*/ 7584 h 10000"/>
              <a:gd name="connsiteX168" fmla="*/ 6401 w 10000"/>
              <a:gd name="connsiteY168" fmla="*/ 7668 h 10000"/>
              <a:gd name="connsiteX169" fmla="*/ 6577 w 10000"/>
              <a:gd name="connsiteY169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1665 h 10000"/>
              <a:gd name="connsiteX13" fmla="*/ 6587 w 10000"/>
              <a:gd name="connsiteY13" fmla="*/ 1759 h 10000"/>
              <a:gd name="connsiteX14" fmla="*/ 6674 w 10000"/>
              <a:gd name="connsiteY14" fmla="*/ 2000 h 10000"/>
              <a:gd name="connsiteX15" fmla="*/ 6401 w 10000"/>
              <a:gd name="connsiteY15" fmla="*/ 2416 h 10000"/>
              <a:gd name="connsiteX16" fmla="*/ 6577 w 10000"/>
              <a:gd name="connsiteY16" fmla="*/ 2748 h 10000"/>
              <a:gd name="connsiteX17" fmla="*/ 6489 w 10000"/>
              <a:gd name="connsiteY17" fmla="*/ 3083 h 10000"/>
              <a:gd name="connsiteX18" fmla="*/ 6489 w 10000"/>
              <a:gd name="connsiteY18" fmla="*/ 3333 h 10000"/>
              <a:gd name="connsiteX19" fmla="*/ 6753 w 10000"/>
              <a:gd name="connsiteY19" fmla="*/ 3333 h 10000"/>
              <a:gd name="connsiteX20" fmla="*/ 6577 w 10000"/>
              <a:gd name="connsiteY20" fmla="*/ 3416 h 10000"/>
              <a:gd name="connsiteX21" fmla="*/ 6674 w 10000"/>
              <a:gd name="connsiteY21" fmla="*/ 3832 h 10000"/>
              <a:gd name="connsiteX22" fmla="*/ 6145 w 10000"/>
              <a:gd name="connsiteY22" fmla="*/ 4250 h 10000"/>
              <a:gd name="connsiteX23" fmla="*/ 6046 w 10000"/>
              <a:gd name="connsiteY23" fmla="*/ 4167 h 10000"/>
              <a:gd name="connsiteX24" fmla="*/ 6401 w 10000"/>
              <a:gd name="connsiteY24" fmla="*/ 3748 h 10000"/>
              <a:gd name="connsiteX25" fmla="*/ 6489 w 10000"/>
              <a:gd name="connsiteY25" fmla="*/ 3500 h 10000"/>
              <a:gd name="connsiteX26" fmla="*/ 6305 w 10000"/>
              <a:gd name="connsiteY26" fmla="*/ 3333 h 10000"/>
              <a:gd name="connsiteX27" fmla="*/ 6305 w 10000"/>
              <a:gd name="connsiteY27" fmla="*/ 2498 h 10000"/>
              <a:gd name="connsiteX28" fmla="*/ 6228 w 10000"/>
              <a:gd name="connsiteY28" fmla="*/ 2332 h 10000"/>
              <a:gd name="connsiteX29" fmla="*/ 4557 w 10000"/>
              <a:gd name="connsiteY29" fmla="*/ 3416 h 10000"/>
              <a:gd name="connsiteX30" fmla="*/ 4480 w 10000"/>
              <a:gd name="connsiteY30" fmla="*/ 3333 h 10000"/>
              <a:gd name="connsiteX31" fmla="*/ 3953 w 10000"/>
              <a:gd name="connsiteY31" fmla="*/ 3500 h 10000"/>
              <a:gd name="connsiteX32" fmla="*/ 3865 w 10000"/>
              <a:gd name="connsiteY32" fmla="*/ 3665 h 10000"/>
              <a:gd name="connsiteX33" fmla="*/ 3777 w 10000"/>
              <a:gd name="connsiteY33" fmla="*/ 3500 h 10000"/>
              <a:gd name="connsiteX34" fmla="*/ 3777 w 10000"/>
              <a:gd name="connsiteY34" fmla="*/ 3333 h 10000"/>
              <a:gd name="connsiteX35" fmla="*/ 2891 w 10000"/>
              <a:gd name="connsiteY35" fmla="*/ 3832 h 10000"/>
              <a:gd name="connsiteX36" fmla="*/ 2891 w 10000"/>
              <a:gd name="connsiteY36" fmla="*/ 3998 h 10000"/>
              <a:gd name="connsiteX37" fmla="*/ 2721 w 10000"/>
              <a:gd name="connsiteY37" fmla="*/ 4082 h 10000"/>
              <a:gd name="connsiteX38" fmla="*/ 2458 w 10000"/>
              <a:gd name="connsiteY38" fmla="*/ 3916 h 10000"/>
              <a:gd name="connsiteX39" fmla="*/ 2721 w 10000"/>
              <a:gd name="connsiteY39" fmla="*/ 3748 h 10000"/>
              <a:gd name="connsiteX40" fmla="*/ 2627 w 10000"/>
              <a:gd name="connsiteY40" fmla="*/ 3500 h 10000"/>
              <a:gd name="connsiteX41" fmla="*/ 2281 w 10000"/>
              <a:gd name="connsiteY41" fmla="*/ 3416 h 10000"/>
              <a:gd name="connsiteX42" fmla="*/ 2369 w 10000"/>
              <a:gd name="connsiteY42" fmla="*/ 3582 h 10000"/>
              <a:gd name="connsiteX43" fmla="*/ 2369 w 10000"/>
              <a:gd name="connsiteY43" fmla="*/ 3998 h 10000"/>
              <a:gd name="connsiteX44" fmla="*/ 2458 w 10000"/>
              <a:gd name="connsiteY44" fmla="*/ 4167 h 10000"/>
              <a:gd name="connsiteX45" fmla="*/ 2369 w 10000"/>
              <a:gd name="connsiteY45" fmla="*/ 4334 h 10000"/>
              <a:gd name="connsiteX46" fmla="*/ 2100 w 10000"/>
              <a:gd name="connsiteY46" fmla="*/ 4250 h 10000"/>
              <a:gd name="connsiteX47" fmla="*/ 1757 w 10000"/>
              <a:gd name="connsiteY47" fmla="*/ 4498 h 10000"/>
              <a:gd name="connsiteX48" fmla="*/ 1928 w 10000"/>
              <a:gd name="connsiteY48" fmla="*/ 4833 h 10000"/>
              <a:gd name="connsiteX49" fmla="*/ 1399 w 10000"/>
              <a:gd name="connsiteY49" fmla="*/ 4666 h 10000"/>
              <a:gd name="connsiteX50" fmla="*/ 1315 w 10000"/>
              <a:gd name="connsiteY50" fmla="*/ 4748 h 10000"/>
              <a:gd name="connsiteX51" fmla="*/ 1494 w 10000"/>
              <a:gd name="connsiteY51" fmla="*/ 4999 h 10000"/>
              <a:gd name="connsiteX52" fmla="*/ 1315 w 10000"/>
              <a:gd name="connsiteY52" fmla="*/ 4999 h 10000"/>
              <a:gd name="connsiteX53" fmla="*/ 1055 w 10000"/>
              <a:gd name="connsiteY53" fmla="*/ 4833 h 10000"/>
              <a:gd name="connsiteX54" fmla="*/ 1055 w 10000"/>
              <a:gd name="connsiteY54" fmla="*/ 4334 h 10000"/>
              <a:gd name="connsiteX55" fmla="*/ 793 w 10000"/>
              <a:gd name="connsiteY55" fmla="*/ 4167 h 10000"/>
              <a:gd name="connsiteX56" fmla="*/ 702 w 10000"/>
              <a:gd name="connsiteY56" fmla="*/ 3998 h 10000"/>
              <a:gd name="connsiteX57" fmla="*/ 873 w 10000"/>
              <a:gd name="connsiteY57" fmla="*/ 4082 h 10000"/>
              <a:gd name="connsiteX58" fmla="*/ 1574 w 10000"/>
              <a:gd name="connsiteY58" fmla="*/ 4334 h 10000"/>
              <a:gd name="connsiteX59" fmla="*/ 2009 w 10000"/>
              <a:gd name="connsiteY59" fmla="*/ 4082 h 10000"/>
              <a:gd name="connsiteX60" fmla="*/ 1928 w 10000"/>
              <a:gd name="connsiteY60" fmla="*/ 3832 h 10000"/>
              <a:gd name="connsiteX61" fmla="*/ 1399 w 10000"/>
              <a:gd name="connsiteY61" fmla="*/ 3333 h 10000"/>
              <a:gd name="connsiteX62" fmla="*/ 873 w 10000"/>
              <a:gd name="connsiteY62" fmla="*/ 3166 h 10000"/>
              <a:gd name="connsiteX63" fmla="*/ 873 w 10000"/>
              <a:gd name="connsiteY63" fmla="*/ 3083 h 10000"/>
              <a:gd name="connsiteX64" fmla="*/ 702 w 10000"/>
              <a:gd name="connsiteY64" fmla="*/ 2997 h 10000"/>
              <a:gd name="connsiteX65" fmla="*/ 523 w 10000"/>
              <a:gd name="connsiteY65" fmla="*/ 3083 h 10000"/>
              <a:gd name="connsiteX66" fmla="*/ 523 w 10000"/>
              <a:gd name="connsiteY66" fmla="*/ 3166 h 10000"/>
              <a:gd name="connsiteX67" fmla="*/ 437 w 10000"/>
              <a:gd name="connsiteY67" fmla="*/ 3166 h 10000"/>
              <a:gd name="connsiteX68" fmla="*/ 263 w 10000"/>
              <a:gd name="connsiteY68" fmla="*/ 3333 h 10000"/>
              <a:gd name="connsiteX69" fmla="*/ 263 w 10000"/>
              <a:gd name="connsiteY69" fmla="*/ 3582 h 10000"/>
              <a:gd name="connsiteX70" fmla="*/ 437 w 10000"/>
              <a:gd name="connsiteY70" fmla="*/ 3748 h 10000"/>
              <a:gd name="connsiteX71" fmla="*/ 353 w 10000"/>
              <a:gd name="connsiteY71" fmla="*/ 3998 h 10000"/>
              <a:gd name="connsiteX72" fmla="*/ 437 w 10000"/>
              <a:gd name="connsiteY72" fmla="*/ 4417 h 10000"/>
              <a:gd name="connsiteX73" fmla="*/ 353 w 10000"/>
              <a:gd name="connsiteY73" fmla="*/ 4666 h 10000"/>
              <a:gd name="connsiteX74" fmla="*/ 523 w 10000"/>
              <a:gd name="connsiteY74" fmla="*/ 4916 h 10000"/>
              <a:gd name="connsiteX75" fmla="*/ 437 w 10000"/>
              <a:gd name="connsiteY75" fmla="*/ 5083 h 10000"/>
              <a:gd name="connsiteX76" fmla="*/ 611 w 10000"/>
              <a:gd name="connsiteY76" fmla="*/ 5250 h 10000"/>
              <a:gd name="connsiteX77" fmla="*/ 611 w 10000"/>
              <a:gd name="connsiteY77" fmla="*/ 5333 h 10000"/>
              <a:gd name="connsiteX78" fmla="*/ 353 w 10000"/>
              <a:gd name="connsiteY78" fmla="*/ 5750 h 10000"/>
              <a:gd name="connsiteX79" fmla="*/ 80 w 10000"/>
              <a:gd name="connsiteY79" fmla="*/ 5917 h 10000"/>
              <a:gd name="connsiteX80" fmla="*/ 172 w 10000"/>
              <a:gd name="connsiteY80" fmla="*/ 5917 h 10000"/>
              <a:gd name="connsiteX81" fmla="*/ 353 w 10000"/>
              <a:gd name="connsiteY81" fmla="*/ 6083 h 10000"/>
              <a:gd name="connsiteX82" fmla="*/ 172 w 10000"/>
              <a:gd name="connsiteY82" fmla="*/ 6249 h 10000"/>
              <a:gd name="connsiteX83" fmla="*/ 80 w 10000"/>
              <a:gd name="connsiteY83" fmla="*/ 6334 h 10000"/>
              <a:gd name="connsiteX84" fmla="*/ 0 w 10000"/>
              <a:gd name="connsiteY84" fmla="*/ 6334 h 10000"/>
              <a:gd name="connsiteX85" fmla="*/ 80 w 10000"/>
              <a:gd name="connsiteY85" fmla="*/ 6584 h 10000"/>
              <a:gd name="connsiteX86" fmla="*/ 80 w 10000"/>
              <a:gd name="connsiteY86" fmla="*/ 6667 h 10000"/>
              <a:gd name="connsiteX87" fmla="*/ 80 w 10000"/>
              <a:gd name="connsiteY87" fmla="*/ 6749 h 10000"/>
              <a:gd name="connsiteX88" fmla="*/ 80 w 10000"/>
              <a:gd name="connsiteY88" fmla="*/ 6834 h 10000"/>
              <a:gd name="connsiteX89" fmla="*/ 172 w 10000"/>
              <a:gd name="connsiteY89" fmla="*/ 6998 h 10000"/>
              <a:gd name="connsiteX90" fmla="*/ 437 w 10000"/>
              <a:gd name="connsiteY90" fmla="*/ 7083 h 10000"/>
              <a:gd name="connsiteX91" fmla="*/ 523 w 10000"/>
              <a:gd name="connsiteY91" fmla="*/ 7165 h 10000"/>
              <a:gd name="connsiteX92" fmla="*/ 523 w 10000"/>
              <a:gd name="connsiteY92" fmla="*/ 7334 h 10000"/>
              <a:gd name="connsiteX93" fmla="*/ 702 w 10000"/>
              <a:gd name="connsiteY93" fmla="*/ 7584 h 10000"/>
              <a:gd name="connsiteX94" fmla="*/ 793 w 10000"/>
              <a:gd name="connsiteY94" fmla="*/ 7584 h 10000"/>
              <a:gd name="connsiteX95" fmla="*/ 702 w 10000"/>
              <a:gd name="connsiteY95" fmla="*/ 7750 h 10000"/>
              <a:gd name="connsiteX96" fmla="*/ 611 w 10000"/>
              <a:gd name="connsiteY96" fmla="*/ 7668 h 10000"/>
              <a:gd name="connsiteX97" fmla="*/ 611 w 10000"/>
              <a:gd name="connsiteY97" fmla="*/ 7750 h 10000"/>
              <a:gd name="connsiteX98" fmla="*/ 702 w 10000"/>
              <a:gd name="connsiteY98" fmla="*/ 7916 h 10000"/>
              <a:gd name="connsiteX99" fmla="*/ 971 w 10000"/>
              <a:gd name="connsiteY99" fmla="*/ 7916 h 10000"/>
              <a:gd name="connsiteX100" fmla="*/ 1055 w 10000"/>
              <a:gd name="connsiteY100" fmla="*/ 8000 h 10000"/>
              <a:gd name="connsiteX101" fmla="*/ 971 w 10000"/>
              <a:gd name="connsiteY101" fmla="*/ 8000 h 10000"/>
              <a:gd name="connsiteX102" fmla="*/ 1055 w 10000"/>
              <a:gd name="connsiteY102" fmla="*/ 8082 h 10000"/>
              <a:gd name="connsiteX103" fmla="*/ 1139 w 10000"/>
              <a:gd name="connsiteY103" fmla="*/ 8082 h 10000"/>
              <a:gd name="connsiteX104" fmla="*/ 1224 w 10000"/>
              <a:gd name="connsiteY104" fmla="*/ 8249 h 10000"/>
              <a:gd name="connsiteX105" fmla="*/ 1315 w 10000"/>
              <a:gd name="connsiteY105" fmla="*/ 8332 h 10000"/>
              <a:gd name="connsiteX106" fmla="*/ 1399 w 10000"/>
              <a:gd name="connsiteY106" fmla="*/ 8249 h 10000"/>
              <a:gd name="connsiteX107" fmla="*/ 1843 w 10000"/>
              <a:gd name="connsiteY107" fmla="*/ 8500 h 10000"/>
              <a:gd name="connsiteX108" fmla="*/ 1757 w 10000"/>
              <a:gd name="connsiteY108" fmla="*/ 8833 h 10000"/>
              <a:gd name="connsiteX109" fmla="*/ 1668 w 10000"/>
              <a:gd name="connsiteY109" fmla="*/ 8750 h 10000"/>
              <a:gd name="connsiteX110" fmla="*/ 1574 w 10000"/>
              <a:gd name="connsiteY110" fmla="*/ 8833 h 10000"/>
              <a:gd name="connsiteX111" fmla="*/ 1574 w 10000"/>
              <a:gd name="connsiteY111" fmla="*/ 8999 h 10000"/>
              <a:gd name="connsiteX112" fmla="*/ 1668 w 10000"/>
              <a:gd name="connsiteY112" fmla="*/ 8917 h 10000"/>
              <a:gd name="connsiteX113" fmla="*/ 1757 w 10000"/>
              <a:gd name="connsiteY113" fmla="*/ 8999 h 10000"/>
              <a:gd name="connsiteX114" fmla="*/ 1494 w 10000"/>
              <a:gd name="connsiteY114" fmla="*/ 9083 h 10000"/>
              <a:gd name="connsiteX115" fmla="*/ 1574 w 10000"/>
              <a:gd name="connsiteY115" fmla="*/ 9167 h 10000"/>
              <a:gd name="connsiteX116" fmla="*/ 1399 w 10000"/>
              <a:gd name="connsiteY116" fmla="*/ 9333 h 10000"/>
              <a:gd name="connsiteX117" fmla="*/ 1315 w 10000"/>
              <a:gd name="connsiteY117" fmla="*/ 9333 h 10000"/>
              <a:gd name="connsiteX118" fmla="*/ 1399 w 10000"/>
              <a:gd name="connsiteY118" fmla="*/ 9333 h 10000"/>
              <a:gd name="connsiteX119" fmla="*/ 1757 w 10000"/>
              <a:gd name="connsiteY119" fmla="*/ 9668 h 10000"/>
              <a:gd name="connsiteX120" fmla="*/ 2195 w 10000"/>
              <a:gd name="connsiteY120" fmla="*/ 9668 h 10000"/>
              <a:gd name="connsiteX121" fmla="*/ 2369 w 10000"/>
              <a:gd name="connsiteY121" fmla="*/ 9750 h 10000"/>
              <a:gd name="connsiteX122" fmla="*/ 2543 w 10000"/>
              <a:gd name="connsiteY122" fmla="*/ 9750 h 10000"/>
              <a:gd name="connsiteX123" fmla="*/ 2721 w 10000"/>
              <a:gd name="connsiteY123" fmla="*/ 9918 h 10000"/>
              <a:gd name="connsiteX124" fmla="*/ 2807 w 10000"/>
              <a:gd name="connsiteY124" fmla="*/ 10000 h 10000"/>
              <a:gd name="connsiteX125" fmla="*/ 2891 w 10000"/>
              <a:gd name="connsiteY125" fmla="*/ 10000 h 10000"/>
              <a:gd name="connsiteX126" fmla="*/ 2984 w 10000"/>
              <a:gd name="connsiteY126" fmla="*/ 9918 h 10000"/>
              <a:gd name="connsiteX127" fmla="*/ 2807 w 10000"/>
              <a:gd name="connsiteY127" fmla="*/ 9750 h 10000"/>
              <a:gd name="connsiteX128" fmla="*/ 2807 w 10000"/>
              <a:gd name="connsiteY128" fmla="*/ 9584 h 10000"/>
              <a:gd name="connsiteX129" fmla="*/ 2721 w 10000"/>
              <a:gd name="connsiteY129" fmla="*/ 9416 h 10000"/>
              <a:gd name="connsiteX130" fmla="*/ 2891 w 10000"/>
              <a:gd name="connsiteY130" fmla="*/ 9167 h 10000"/>
              <a:gd name="connsiteX131" fmla="*/ 2984 w 10000"/>
              <a:gd name="connsiteY131" fmla="*/ 9250 h 10000"/>
              <a:gd name="connsiteX132" fmla="*/ 3069 w 10000"/>
              <a:gd name="connsiteY132" fmla="*/ 9167 h 10000"/>
              <a:gd name="connsiteX133" fmla="*/ 3069 w 10000"/>
              <a:gd name="connsiteY133" fmla="*/ 9083 h 10000"/>
              <a:gd name="connsiteX134" fmla="*/ 2984 w 10000"/>
              <a:gd name="connsiteY134" fmla="*/ 9083 h 10000"/>
              <a:gd name="connsiteX135" fmla="*/ 3069 w 10000"/>
              <a:gd name="connsiteY135" fmla="*/ 8999 h 10000"/>
              <a:gd name="connsiteX136" fmla="*/ 2984 w 10000"/>
              <a:gd name="connsiteY136" fmla="*/ 8833 h 10000"/>
              <a:gd name="connsiteX137" fmla="*/ 2807 w 10000"/>
              <a:gd name="connsiteY137" fmla="*/ 8833 h 10000"/>
              <a:gd name="connsiteX138" fmla="*/ 2721 w 10000"/>
              <a:gd name="connsiteY138" fmla="*/ 8667 h 10000"/>
              <a:gd name="connsiteX139" fmla="*/ 2807 w 10000"/>
              <a:gd name="connsiteY139" fmla="*/ 8249 h 10000"/>
              <a:gd name="connsiteX140" fmla="*/ 2984 w 10000"/>
              <a:gd name="connsiteY140" fmla="*/ 8418 h 10000"/>
              <a:gd name="connsiteX141" fmla="*/ 3069 w 10000"/>
              <a:gd name="connsiteY141" fmla="*/ 8418 h 10000"/>
              <a:gd name="connsiteX142" fmla="*/ 2984 w 10000"/>
              <a:gd name="connsiteY142" fmla="*/ 8249 h 10000"/>
              <a:gd name="connsiteX143" fmla="*/ 3249 w 10000"/>
              <a:gd name="connsiteY143" fmla="*/ 8000 h 10000"/>
              <a:gd name="connsiteX144" fmla="*/ 3426 w 10000"/>
              <a:gd name="connsiteY144" fmla="*/ 8082 h 10000"/>
              <a:gd name="connsiteX145" fmla="*/ 3511 w 10000"/>
              <a:gd name="connsiteY145" fmla="*/ 8000 h 10000"/>
              <a:gd name="connsiteX146" fmla="*/ 3678 w 10000"/>
              <a:gd name="connsiteY146" fmla="*/ 8082 h 10000"/>
              <a:gd name="connsiteX147" fmla="*/ 3953 w 10000"/>
              <a:gd name="connsiteY147" fmla="*/ 8249 h 10000"/>
              <a:gd name="connsiteX148" fmla="*/ 4121 w 10000"/>
              <a:gd name="connsiteY148" fmla="*/ 8167 h 10000"/>
              <a:gd name="connsiteX149" fmla="*/ 4300 w 10000"/>
              <a:gd name="connsiteY149" fmla="*/ 8167 h 10000"/>
              <a:gd name="connsiteX150" fmla="*/ 4389 w 10000"/>
              <a:gd name="connsiteY150" fmla="*/ 8249 h 10000"/>
              <a:gd name="connsiteX151" fmla="*/ 4740 w 10000"/>
              <a:gd name="connsiteY151" fmla="*/ 8249 h 10000"/>
              <a:gd name="connsiteX152" fmla="*/ 4823 w 10000"/>
              <a:gd name="connsiteY152" fmla="*/ 8082 h 10000"/>
              <a:gd name="connsiteX153" fmla="*/ 4557 w 10000"/>
              <a:gd name="connsiteY153" fmla="*/ 8000 h 10000"/>
              <a:gd name="connsiteX154" fmla="*/ 4740 w 10000"/>
              <a:gd name="connsiteY154" fmla="*/ 7916 h 10000"/>
              <a:gd name="connsiteX155" fmla="*/ 4647 w 10000"/>
              <a:gd name="connsiteY155" fmla="*/ 7833 h 10000"/>
              <a:gd name="connsiteX156" fmla="*/ 4740 w 10000"/>
              <a:gd name="connsiteY156" fmla="*/ 7750 h 10000"/>
              <a:gd name="connsiteX157" fmla="*/ 4740 w 10000"/>
              <a:gd name="connsiteY157" fmla="*/ 7500 h 10000"/>
              <a:gd name="connsiteX158" fmla="*/ 4908 w 10000"/>
              <a:gd name="connsiteY158" fmla="*/ 7584 h 10000"/>
              <a:gd name="connsiteX159" fmla="*/ 5701 w 10000"/>
              <a:gd name="connsiteY159" fmla="*/ 7334 h 10000"/>
              <a:gd name="connsiteX160" fmla="*/ 5701 w 10000"/>
              <a:gd name="connsiteY160" fmla="*/ 7250 h 10000"/>
              <a:gd name="connsiteX161" fmla="*/ 5793 w 10000"/>
              <a:gd name="connsiteY161" fmla="*/ 7250 h 10000"/>
              <a:gd name="connsiteX162" fmla="*/ 6046 w 10000"/>
              <a:gd name="connsiteY162" fmla="*/ 7250 h 10000"/>
              <a:gd name="connsiteX163" fmla="*/ 6145 w 10000"/>
              <a:gd name="connsiteY163" fmla="*/ 7417 h 10000"/>
              <a:gd name="connsiteX164" fmla="*/ 6145 w 10000"/>
              <a:gd name="connsiteY164" fmla="*/ 7500 h 10000"/>
              <a:gd name="connsiteX165" fmla="*/ 6228 w 10000"/>
              <a:gd name="connsiteY165" fmla="*/ 7500 h 10000"/>
              <a:gd name="connsiteX166" fmla="*/ 6401 w 10000"/>
              <a:gd name="connsiteY166" fmla="*/ 7584 h 10000"/>
              <a:gd name="connsiteX167" fmla="*/ 6401 w 10000"/>
              <a:gd name="connsiteY167" fmla="*/ 7668 h 10000"/>
              <a:gd name="connsiteX168" fmla="*/ 6577 w 10000"/>
              <a:gd name="connsiteY168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1665 h 10000"/>
              <a:gd name="connsiteX13" fmla="*/ 6587 w 10000"/>
              <a:gd name="connsiteY13" fmla="*/ 1759 h 10000"/>
              <a:gd name="connsiteX14" fmla="*/ 6401 w 10000"/>
              <a:gd name="connsiteY14" fmla="*/ 2416 h 10000"/>
              <a:gd name="connsiteX15" fmla="*/ 6577 w 10000"/>
              <a:gd name="connsiteY15" fmla="*/ 2748 h 10000"/>
              <a:gd name="connsiteX16" fmla="*/ 6489 w 10000"/>
              <a:gd name="connsiteY16" fmla="*/ 3083 h 10000"/>
              <a:gd name="connsiteX17" fmla="*/ 6489 w 10000"/>
              <a:gd name="connsiteY17" fmla="*/ 3333 h 10000"/>
              <a:gd name="connsiteX18" fmla="*/ 6753 w 10000"/>
              <a:gd name="connsiteY18" fmla="*/ 3333 h 10000"/>
              <a:gd name="connsiteX19" fmla="*/ 6577 w 10000"/>
              <a:gd name="connsiteY19" fmla="*/ 3416 h 10000"/>
              <a:gd name="connsiteX20" fmla="*/ 6674 w 10000"/>
              <a:gd name="connsiteY20" fmla="*/ 3832 h 10000"/>
              <a:gd name="connsiteX21" fmla="*/ 6145 w 10000"/>
              <a:gd name="connsiteY21" fmla="*/ 4250 h 10000"/>
              <a:gd name="connsiteX22" fmla="*/ 6046 w 10000"/>
              <a:gd name="connsiteY22" fmla="*/ 4167 h 10000"/>
              <a:gd name="connsiteX23" fmla="*/ 6401 w 10000"/>
              <a:gd name="connsiteY23" fmla="*/ 3748 h 10000"/>
              <a:gd name="connsiteX24" fmla="*/ 6489 w 10000"/>
              <a:gd name="connsiteY24" fmla="*/ 3500 h 10000"/>
              <a:gd name="connsiteX25" fmla="*/ 6305 w 10000"/>
              <a:gd name="connsiteY25" fmla="*/ 3333 h 10000"/>
              <a:gd name="connsiteX26" fmla="*/ 6305 w 10000"/>
              <a:gd name="connsiteY26" fmla="*/ 2498 h 10000"/>
              <a:gd name="connsiteX27" fmla="*/ 6228 w 10000"/>
              <a:gd name="connsiteY27" fmla="*/ 2332 h 10000"/>
              <a:gd name="connsiteX28" fmla="*/ 4557 w 10000"/>
              <a:gd name="connsiteY28" fmla="*/ 3416 h 10000"/>
              <a:gd name="connsiteX29" fmla="*/ 4480 w 10000"/>
              <a:gd name="connsiteY29" fmla="*/ 3333 h 10000"/>
              <a:gd name="connsiteX30" fmla="*/ 3953 w 10000"/>
              <a:gd name="connsiteY30" fmla="*/ 3500 h 10000"/>
              <a:gd name="connsiteX31" fmla="*/ 3865 w 10000"/>
              <a:gd name="connsiteY31" fmla="*/ 3665 h 10000"/>
              <a:gd name="connsiteX32" fmla="*/ 3777 w 10000"/>
              <a:gd name="connsiteY32" fmla="*/ 3500 h 10000"/>
              <a:gd name="connsiteX33" fmla="*/ 3777 w 10000"/>
              <a:gd name="connsiteY33" fmla="*/ 3333 h 10000"/>
              <a:gd name="connsiteX34" fmla="*/ 2891 w 10000"/>
              <a:gd name="connsiteY34" fmla="*/ 3832 h 10000"/>
              <a:gd name="connsiteX35" fmla="*/ 2891 w 10000"/>
              <a:gd name="connsiteY35" fmla="*/ 3998 h 10000"/>
              <a:gd name="connsiteX36" fmla="*/ 2721 w 10000"/>
              <a:gd name="connsiteY36" fmla="*/ 4082 h 10000"/>
              <a:gd name="connsiteX37" fmla="*/ 2458 w 10000"/>
              <a:gd name="connsiteY37" fmla="*/ 3916 h 10000"/>
              <a:gd name="connsiteX38" fmla="*/ 2721 w 10000"/>
              <a:gd name="connsiteY38" fmla="*/ 3748 h 10000"/>
              <a:gd name="connsiteX39" fmla="*/ 2627 w 10000"/>
              <a:gd name="connsiteY39" fmla="*/ 3500 h 10000"/>
              <a:gd name="connsiteX40" fmla="*/ 2281 w 10000"/>
              <a:gd name="connsiteY40" fmla="*/ 3416 h 10000"/>
              <a:gd name="connsiteX41" fmla="*/ 2369 w 10000"/>
              <a:gd name="connsiteY41" fmla="*/ 3582 h 10000"/>
              <a:gd name="connsiteX42" fmla="*/ 2369 w 10000"/>
              <a:gd name="connsiteY42" fmla="*/ 3998 h 10000"/>
              <a:gd name="connsiteX43" fmla="*/ 2458 w 10000"/>
              <a:gd name="connsiteY43" fmla="*/ 4167 h 10000"/>
              <a:gd name="connsiteX44" fmla="*/ 2369 w 10000"/>
              <a:gd name="connsiteY44" fmla="*/ 4334 h 10000"/>
              <a:gd name="connsiteX45" fmla="*/ 2100 w 10000"/>
              <a:gd name="connsiteY45" fmla="*/ 4250 h 10000"/>
              <a:gd name="connsiteX46" fmla="*/ 1757 w 10000"/>
              <a:gd name="connsiteY46" fmla="*/ 4498 h 10000"/>
              <a:gd name="connsiteX47" fmla="*/ 1928 w 10000"/>
              <a:gd name="connsiteY47" fmla="*/ 4833 h 10000"/>
              <a:gd name="connsiteX48" fmla="*/ 1399 w 10000"/>
              <a:gd name="connsiteY48" fmla="*/ 4666 h 10000"/>
              <a:gd name="connsiteX49" fmla="*/ 1315 w 10000"/>
              <a:gd name="connsiteY49" fmla="*/ 4748 h 10000"/>
              <a:gd name="connsiteX50" fmla="*/ 1494 w 10000"/>
              <a:gd name="connsiteY50" fmla="*/ 4999 h 10000"/>
              <a:gd name="connsiteX51" fmla="*/ 1315 w 10000"/>
              <a:gd name="connsiteY51" fmla="*/ 4999 h 10000"/>
              <a:gd name="connsiteX52" fmla="*/ 1055 w 10000"/>
              <a:gd name="connsiteY52" fmla="*/ 4833 h 10000"/>
              <a:gd name="connsiteX53" fmla="*/ 1055 w 10000"/>
              <a:gd name="connsiteY53" fmla="*/ 4334 h 10000"/>
              <a:gd name="connsiteX54" fmla="*/ 793 w 10000"/>
              <a:gd name="connsiteY54" fmla="*/ 4167 h 10000"/>
              <a:gd name="connsiteX55" fmla="*/ 702 w 10000"/>
              <a:gd name="connsiteY55" fmla="*/ 3998 h 10000"/>
              <a:gd name="connsiteX56" fmla="*/ 873 w 10000"/>
              <a:gd name="connsiteY56" fmla="*/ 4082 h 10000"/>
              <a:gd name="connsiteX57" fmla="*/ 1574 w 10000"/>
              <a:gd name="connsiteY57" fmla="*/ 4334 h 10000"/>
              <a:gd name="connsiteX58" fmla="*/ 2009 w 10000"/>
              <a:gd name="connsiteY58" fmla="*/ 4082 h 10000"/>
              <a:gd name="connsiteX59" fmla="*/ 1928 w 10000"/>
              <a:gd name="connsiteY59" fmla="*/ 3832 h 10000"/>
              <a:gd name="connsiteX60" fmla="*/ 1399 w 10000"/>
              <a:gd name="connsiteY60" fmla="*/ 3333 h 10000"/>
              <a:gd name="connsiteX61" fmla="*/ 873 w 10000"/>
              <a:gd name="connsiteY61" fmla="*/ 3166 h 10000"/>
              <a:gd name="connsiteX62" fmla="*/ 873 w 10000"/>
              <a:gd name="connsiteY62" fmla="*/ 3083 h 10000"/>
              <a:gd name="connsiteX63" fmla="*/ 702 w 10000"/>
              <a:gd name="connsiteY63" fmla="*/ 2997 h 10000"/>
              <a:gd name="connsiteX64" fmla="*/ 523 w 10000"/>
              <a:gd name="connsiteY64" fmla="*/ 3083 h 10000"/>
              <a:gd name="connsiteX65" fmla="*/ 523 w 10000"/>
              <a:gd name="connsiteY65" fmla="*/ 3166 h 10000"/>
              <a:gd name="connsiteX66" fmla="*/ 437 w 10000"/>
              <a:gd name="connsiteY66" fmla="*/ 3166 h 10000"/>
              <a:gd name="connsiteX67" fmla="*/ 263 w 10000"/>
              <a:gd name="connsiteY67" fmla="*/ 3333 h 10000"/>
              <a:gd name="connsiteX68" fmla="*/ 263 w 10000"/>
              <a:gd name="connsiteY68" fmla="*/ 3582 h 10000"/>
              <a:gd name="connsiteX69" fmla="*/ 437 w 10000"/>
              <a:gd name="connsiteY69" fmla="*/ 3748 h 10000"/>
              <a:gd name="connsiteX70" fmla="*/ 353 w 10000"/>
              <a:gd name="connsiteY70" fmla="*/ 3998 h 10000"/>
              <a:gd name="connsiteX71" fmla="*/ 437 w 10000"/>
              <a:gd name="connsiteY71" fmla="*/ 4417 h 10000"/>
              <a:gd name="connsiteX72" fmla="*/ 353 w 10000"/>
              <a:gd name="connsiteY72" fmla="*/ 4666 h 10000"/>
              <a:gd name="connsiteX73" fmla="*/ 523 w 10000"/>
              <a:gd name="connsiteY73" fmla="*/ 4916 h 10000"/>
              <a:gd name="connsiteX74" fmla="*/ 437 w 10000"/>
              <a:gd name="connsiteY74" fmla="*/ 5083 h 10000"/>
              <a:gd name="connsiteX75" fmla="*/ 611 w 10000"/>
              <a:gd name="connsiteY75" fmla="*/ 5250 h 10000"/>
              <a:gd name="connsiteX76" fmla="*/ 611 w 10000"/>
              <a:gd name="connsiteY76" fmla="*/ 5333 h 10000"/>
              <a:gd name="connsiteX77" fmla="*/ 353 w 10000"/>
              <a:gd name="connsiteY77" fmla="*/ 5750 h 10000"/>
              <a:gd name="connsiteX78" fmla="*/ 80 w 10000"/>
              <a:gd name="connsiteY78" fmla="*/ 5917 h 10000"/>
              <a:gd name="connsiteX79" fmla="*/ 172 w 10000"/>
              <a:gd name="connsiteY79" fmla="*/ 5917 h 10000"/>
              <a:gd name="connsiteX80" fmla="*/ 353 w 10000"/>
              <a:gd name="connsiteY80" fmla="*/ 6083 h 10000"/>
              <a:gd name="connsiteX81" fmla="*/ 172 w 10000"/>
              <a:gd name="connsiteY81" fmla="*/ 6249 h 10000"/>
              <a:gd name="connsiteX82" fmla="*/ 80 w 10000"/>
              <a:gd name="connsiteY82" fmla="*/ 6334 h 10000"/>
              <a:gd name="connsiteX83" fmla="*/ 0 w 10000"/>
              <a:gd name="connsiteY83" fmla="*/ 6334 h 10000"/>
              <a:gd name="connsiteX84" fmla="*/ 80 w 10000"/>
              <a:gd name="connsiteY84" fmla="*/ 6584 h 10000"/>
              <a:gd name="connsiteX85" fmla="*/ 80 w 10000"/>
              <a:gd name="connsiteY85" fmla="*/ 6667 h 10000"/>
              <a:gd name="connsiteX86" fmla="*/ 80 w 10000"/>
              <a:gd name="connsiteY86" fmla="*/ 6749 h 10000"/>
              <a:gd name="connsiteX87" fmla="*/ 80 w 10000"/>
              <a:gd name="connsiteY87" fmla="*/ 6834 h 10000"/>
              <a:gd name="connsiteX88" fmla="*/ 172 w 10000"/>
              <a:gd name="connsiteY88" fmla="*/ 6998 h 10000"/>
              <a:gd name="connsiteX89" fmla="*/ 437 w 10000"/>
              <a:gd name="connsiteY89" fmla="*/ 7083 h 10000"/>
              <a:gd name="connsiteX90" fmla="*/ 523 w 10000"/>
              <a:gd name="connsiteY90" fmla="*/ 7165 h 10000"/>
              <a:gd name="connsiteX91" fmla="*/ 523 w 10000"/>
              <a:gd name="connsiteY91" fmla="*/ 7334 h 10000"/>
              <a:gd name="connsiteX92" fmla="*/ 702 w 10000"/>
              <a:gd name="connsiteY92" fmla="*/ 7584 h 10000"/>
              <a:gd name="connsiteX93" fmla="*/ 793 w 10000"/>
              <a:gd name="connsiteY93" fmla="*/ 7584 h 10000"/>
              <a:gd name="connsiteX94" fmla="*/ 702 w 10000"/>
              <a:gd name="connsiteY94" fmla="*/ 7750 h 10000"/>
              <a:gd name="connsiteX95" fmla="*/ 611 w 10000"/>
              <a:gd name="connsiteY95" fmla="*/ 7668 h 10000"/>
              <a:gd name="connsiteX96" fmla="*/ 611 w 10000"/>
              <a:gd name="connsiteY96" fmla="*/ 7750 h 10000"/>
              <a:gd name="connsiteX97" fmla="*/ 702 w 10000"/>
              <a:gd name="connsiteY97" fmla="*/ 7916 h 10000"/>
              <a:gd name="connsiteX98" fmla="*/ 971 w 10000"/>
              <a:gd name="connsiteY98" fmla="*/ 7916 h 10000"/>
              <a:gd name="connsiteX99" fmla="*/ 1055 w 10000"/>
              <a:gd name="connsiteY99" fmla="*/ 8000 h 10000"/>
              <a:gd name="connsiteX100" fmla="*/ 971 w 10000"/>
              <a:gd name="connsiteY100" fmla="*/ 8000 h 10000"/>
              <a:gd name="connsiteX101" fmla="*/ 1055 w 10000"/>
              <a:gd name="connsiteY101" fmla="*/ 8082 h 10000"/>
              <a:gd name="connsiteX102" fmla="*/ 1139 w 10000"/>
              <a:gd name="connsiteY102" fmla="*/ 8082 h 10000"/>
              <a:gd name="connsiteX103" fmla="*/ 1224 w 10000"/>
              <a:gd name="connsiteY103" fmla="*/ 8249 h 10000"/>
              <a:gd name="connsiteX104" fmla="*/ 1315 w 10000"/>
              <a:gd name="connsiteY104" fmla="*/ 8332 h 10000"/>
              <a:gd name="connsiteX105" fmla="*/ 1399 w 10000"/>
              <a:gd name="connsiteY105" fmla="*/ 8249 h 10000"/>
              <a:gd name="connsiteX106" fmla="*/ 1843 w 10000"/>
              <a:gd name="connsiteY106" fmla="*/ 8500 h 10000"/>
              <a:gd name="connsiteX107" fmla="*/ 1757 w 10000"/>
              <a:gd name="connsiteY107" fmla="*/ 8833 h 10000"/>
              <a:gd name="connsiteX108" fmla="*/ 1668 w 10000"/>
              <a:gd name="connsiteY108" fmla="*/ 8750 h 10000"/>
              <a:gd name="connsiteX109" fmla="*/ 1574 w 10000"/>
              <a:gd name="connsiteY109" fmla="*/ 8833 h 10000"/>
              <a:gd name="connsiteX110" fmla="*/ 1574 w 10000"/>
              <a:gd name="connsiteY110" fmla="*/ 8999 h 10000"/>
              <a:gd name="connsiteX111" fmla="*/ 1668 w 10000"/>
              <a:gd name="connsiteY111" fmla="*/ 8917 h 10000"/>
              <a:gd name="connsiteX112" fmla="*/ 1757 w 10000"/>
              <a:gd name="connsiteY112" fmla="*/ 8999 h 10000"/>
              <a:gd name="connsiteX113" fmla="*/ 1494 w 10000"/>
              <a:gd name="connsiteY113" fmla="*/ 9083 h 10000"/>
              <a:gd name="connsiteX114" fmla="*/ 1574 w 10000"/>
              <a:gd name="connsiteY114" fmla="*/ 9167 h 10000"/>
              <a:gd name="connsiteX115" fmla="*/ 1399 w 10000"/>
              <a:gd name="connsiteY115" fmla="*/ 9333 h 10000"/>
              <a:gd name="connsiteX116" fmla="*/ 1315 w 10000"/>
              <a:gd name="connsiteY116" fmla="*/ 9333 h 10000"/>
              <a:gd name="connsiteX117" fmla="*/ 1399 w 10000"/>
              <a:gd name="connsiteY117" fmla="*/ 9333 h 10000"/>
              <a:gd name="connsiteX118" fmla="*/ 1757 w 10000"/>
              <a:gd name="connsiteY118" fmla="*/ 9668 h 10000"/>
              <a:gd name="connsiteX119" fmla="*/ 2195 w 10000"/>
              <a:gd name="connsiteY119" fmla="*/ 9668 h 10000"/>
              <a:gd name="connsiteX120" fmla="*/ 2369 w 10000"/>
              <a:gd name="connsiteY120" fmla="*/ 9750 h 10000"/>
              <a:gd name="connsiteX121" fmla="*/ 2543 w 10000"/>
              <a:gd name="connsiteY121" fmla="*/ 9750 h 10000"/>
              <a:gd name="connsiteX122" fmla="*/ 2721 w 10000"/>
              <a:gd name="connsiteY122" fmla="*/ 9918 h 10000"/>
              <a:gd name="connsiteX123" fmla="*/ 2807 w 10000"/>
              <a:gd name="connsiteY123" fmla="*/ 10000 h 10000"/>
              <a:gd name="connsiteX124" fmla="*/ 2891 w 10000"/>
              <a:gd name="connsiteY124" fmla="*/ 10000 h 10000"/>
              <a:gd name="connsiteX125" fmla="*/ 2984 w 10000"/>
              <a:gd name="connsiteY125" fmla="*/ 9918 h 10000"/>
              <a:gd name="connsiteX126" fmla="*/ 2807 w 10000"/>
              <a:gd name="connsiteY126" fmla="*/ 9750 h 10000"/>
              <a:gd name="connsiteX127" fmla="*/ 2807 w 10000"/>
              <a:gd name="connsiteY127" fmla="*/ 9584 h 10000"/>
              <a:gd name="connsiteX128" fmla="*/ 2721 w 10000"/>
              <a:gd name="connsiteY128" fmla="*/ 9416 h 10000"/>
              <a:gd name="connsiteX129" fmla="*/ 2891 w 10000"/>
              <a:gd name="connsiteY129" fmla="*/ 9167 h 10000"/>
              <a:gd name="connsiteX130" fmla="*/ 2984 w 10000"/>
              <a:gd name="connsiteY130" fmla="*/ 9250 h 10000"/>
              <a:gd name="connsiteX131" fmla="*/ 3069 w 10000"/>
              <a:gd name="connsiteY131" fmla="*/ 9167 h 10000"/>
              <a:gd name="connsiteX132" fmla="*/ 3069 w 10000"/>
              <a:gd name="connsiteY132" fmla="*/ 9083 h 10000"/>
              <a:gd name="connsiteX133" fmla="*/ 2984 w 10000"/>
              <a:gd name="connsiteY133" fmla="*/ 9083 h 10000"/>
              <a:gd name="connsiteX134" fmla="*/ 3069 w 10000"/>
              <a:gd name="connsiteY134" fmla="*/ 8999 h 10000"/>
              <a:gd name="connsiteX135" fmla="*/ 2984 w 10000"/>
              <a:gd name="connsiteY135" fmla="*/ 8833 h 10000"/>
              <a:gd name="connsiteX136" fmla="*/ 2807 w 10000"/>
              <a:gd name="connsiteY136" fmla="*/ 8833 h 10000"/>
              <a:gd name="connsiteX137" fmla="*/ 2721 w 10000"/>
              <a:gd name="connsiteY137" fmla="*/ 8667 h 10000"/>
              <a:gd name="connsiteX138" fmla="*/ 2807 w 10000"/>
              <a:gd name="connsiteY138" fmla="*/ 8249 h 10000"/>
              <a:gd name="connsiteX139" fmla="*/ 2984 w 10000"/>
              <a:gd name="connsiteY139" fmla="*/ 8418 h 10000"/>
              <a:gd name="connsiteX140" fmla="*/ 3069 w 10000"/>
              <a:gd name="connsiteY140" fmla="*/ 8418 h 10000"/>
              <a:gd name="connsiteX141" fmla="*/ 2984 w 10000"/>
              <a:gd name="connsiteY141" fmla="*/ 8249 h 10000"/>
              <a:gd name="connsiteX142" fmla="*/ 3249 w 10000"/>
              <a:gd name="connsiteY142" fmla="*/ 8000 h 10000"/>
              <a:gd name="connsiteX143" fmla="*/ 3426 w 10000"/>
              <a:gd name="connsiteY143" fmla="*/ 8082 h 10000"/>
              <a:gd name="connsiteX144" fmla="*/ 3511 w 10000"/>
              <a:gd name="connsiteY144" fmla="*/ 8000 h 10000"/>
              <a:gd name="connsiteX145" fmla="*/ 3678 w 10000"/>
              <a:gd name="connsiteY145" fmla="*/ 8082 h 10000"/>
              <a:gd name="connsiteX146" fmla="*/ 3953 w 10000"/>
              <a:gd name="connsiteY146" fmla="*/ 8249 h 10000"/>
              <a:gd name="connsiteX147" fmla="*/ 4121 w 10000"/>
              <a:gd name="connsiteY147" fmla="*/ 8167 h 10000"/>
              <a:gd name="connsiteX148" fmla="*/ 4300 w 10000"/>
              <a:gd name="connsiteY148" fmla="*/ 8167 h 10000"/>
              <a:gd name="connsiteX149" fmla="*/ 4389 w 10000"/>
              <a:gd name="connsiteY149" fmla="*/ 8249 h 10000"/>
              <a:gd name="connsiteX150" fmla="*/ 4740 w 10000"/>
              <a:gd name="connsiteY150" fmla="*/ 8249 h 10000"/>
              <a:gd name="connsiteX151" fmla="*/ 4823 w 10000"/>
              <a:gd name="connsiteY151" fmla="*/ 8082 h 10000"/>
              <a:gd name="connsiteX152" fmla="*/ 4557 w 10000"/>
              <a:gd name="connsiteY152" fmla="*/ 8000 h 10000"/>
              <a:gd name="connsiteX153" fmla="*/ 4740 w 10000"/>
              <a:gd name="connsiteY153" fmla="*/ 7916 h 10000"/>
              <a:gd name="connsiteX154" fmla="*/ 4647 w 10000"/>
              <a:gd name="connsiteY154" fmla="*/ 7833 h 10000"/>
              <a:gd name="connsiteX155" fmla="*/ 4740 w 10000"/>
              <a:gd name="connsiteY155" fmla="*/ 7750 h 10000"/>
              <a:gd name="connsiteX156" fmla="*/ 4740 w 10000"/>
              <a:gd name="connsiteY156" fmla="*/ 7500 h 10000"/>
              <a:gd name="connsiteX157" fmla="*/ 4908 w 10000"/>
              <a:gd name="connsiteY157" fmla="*/ 7584 h 10000"/>
              <a:gd name="connsiteX158" fmla="*/ 5701 w 10000"/>
              <a:gd name="connsiteY158" fmla="*/ 7334 h 10000"/>
              <a:gd name="connsiteX159" fmla="*/ 5701 w 10000"/>
              <a:gd name="connsiteY159" fmla="*/ 7250 h 10000"/>
              <a:gd name="connsiteX160" fmla="*/ 5793 w 10000"/>
              <a:gd name="connsiteY160" fmla="*/ 7250 h 10000"/>
              <a:gd name="connsiteX161" fmla="*/ 6046 w 10000"/>
              <a:gd name="connsiteY161" fmla="*/ 7250 h 10000"/>
              <a:gd name="connsiteX162" fmla="*/ 6145 w 10000"/>
              <a:gd name="connsiteY162" fmla="*/ 7417 h 10000"/>
              <a:gd name="connsiteX163" fmla="*/ 6145 w 10000"/>
              <a:gd name="connsiteY163" fmla="*/ 7500 h 10000"/>
              <a:gd name="connsiteX164" fmla="*/ 6228 w 10000"/>
              <a:gd name="connsiteY164" fmla="*/ 7500 h 10000"/>
              <a:gd name="connsiteX165" fmla="*/ 6401 w 10000"/>
              <a:gd name="connsiteY165" fmla="*/ 7584 h 10000"/>
              <a:gd name="connsiteX166" fmla="*/ 6401 w 10000"/>
              <a:gd name="connsiteY166" fmla="*/ 7668 h 10000"/>
              <a:gd name="connsiteX167" fmla="*/ 6577 w 10000"/>
              <a:gd name="connsiteY167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1665 h 10000"/>
              <a:gd name="connsiteX13" fmla="*/ 6401 w 10000"/>
              <a:gd name="connsiteY13" fmla="*/ 2416 h 10000"/>
              <a:gd name="connsiteX14" fmla="*/ 6577 w 10000"/>
              <a:gd name="connsiteY14" fmla="*/ 2748 h 10000"/>
              <a:gd name="connsiteX15" fmla="*/ 6489 w 10000"/>
              <a:gd name="connsiteY15" fmla="*/ 3083 h 10000"/>
              <a:gd name="connsiteX16" fmla="*/ 6489 w 10000"/>
              <a:gd name="connsiteY16" fmla="*/ 3333 h 10000"/>
              <a:gd name="connsiteX17" fmla="*/ 6753 w 10000"/>
              <a:gd name="connsiteY17" fmla="*/ 3333 h 10000"/>
              <a:gd name="connsiteX18" fmla="*/ 6577 w 10000"/>
              <a:gd name="connsiteY18" fmla="*/ 3416 h 10000"/>
              <a:gd name="connsiteX19" fmla="*/ 6674 w 10000"/>
              <a:gd name="connsiteY19" fmla="*/ 3832 h 10000"/>
              <a:gd name="connsiteX20" fmla="*/ 6145 w 10000"/>
              <a:gd name="connsiteY20" fmla="*/ 4250 h 10000"/>
              <a:gd name="connsiteX21" fmla="*/ 6046 w 10000"/>
              <a:gd name="connsiteY21" fmla="*/ 4167 h 10000"/>
              <a:gd name="connsiteX22" fmla="*/ 6401 w 10000"/>
              <a:gd name="connsiteY22" fmla="*/ 3748 h 10000"/>
              <a:gd name="connsiteX23" fmla="*/ 6489 w 10000"/>
              <a:gd name="connsiteY23" fmla="*/ 3500 h 10000"/>
              <a:gd name="connsiteX24" fmla="*/ 6305 w 10000"/>
              <a:gd name="connsiteY24" fmla="*/ 3333 h 10000"/>
              <a:gd name="connsiteX25" fmla="*/ 6305 w 10000"/>
              <a:gd name="connsiteY25" fmla="*/ 2498 h 10000"/>
              <a:gd name="connsiteX26" fmla="*/ 6228 w 10000"/>
              <a:gd name="connsiteY26" fmla="*/ 2332 h 10000"/>
              <a:gd name="connsiteX27" fmla="*/ 4557 w 10000"/>
              <a:gd name="connsiteY27" fmla="*/ 3416 h 10000"/>
              <a:gd name="connsiteX28" fmla="*/ 4480 w 10000"/>
              <a:gd name="connsiteY28" fmla="*/ 3333 h 10000"/>
              <a:gd name="connsiteX29" fmla="*/ 3953 w 10000"/>
              <a:gd name="connsiteY29" fmla="*/ 3500 h 10000"/>
              <a:gd name="connsiteX30" fmla="*/ 3865 w 10000"/>
              <a:gd name="connsiteY30" fmla="*/ 3665 h 10000"/>
              <a:gd name="connsiteX31" fmla="*/ 3777 w 10000"/>
              <a:gd name="connsiteY31" fmla="*/ 3500 h 10000"/>
              <a:gd name="connsiteX32" fmla="*/ 3777 w 10000"/>
              <a:gd name="connsiteY32" fmla="*/ 3333 h 10000"/>
              <a:gd name="connsiteX33" fmla="*/ 2891 w 10000"/>
              <a:gd name="connsiteY33" fmla="*/ 3832 h 10000"/>
              <a:gd name="connsiteX34" fmla="*/ 2891 w 10000"/>
              <a:gd name="connsiteY34" fmla="*/ 3998 h 10000"/>
              <a:gd name="connsiteX35" fmla="*/ 2721 w 10000"/>
              <a:gd name="connsiteY35" fmla="*/ 4082 h 10000"/>
              <a:gd name="connsiteX36" fmla="*/ 2458 w 10000"/>
              <a:gd name="connsiteY36" fmla="*/ 3916 h 10000"/>
              <a:gd name="connsiteX37" fmla="*/ 2721 w 10000"/>
              <a:gd name="connsiteY37" fmla="*/ 3748 h 10000"/>
              <a:gd name="connsiteX38" fmla="*/ 2627 w 10000"/>
              <a:gd name="connsiteY38" fmla="*/ 3500 h 10000"/>
              <a:gd name="connsiteX39" fmla="*/ 2281 w 10000"/>
              <a:gd name="connsiteY39" fmla="*/ 3416 h 10000"/>
              <a:gd name="connsiteX40" fmla="*/ 2369 w 10000"/>
              <a:gd name="connsiteY40" fmla="*/ 3582 h 10000"/>
              <a:gd name="connsiteX41" fmla="*/ 2369 w 10000"/>
              <a:gd name="connsiteY41" fmla="*/ 3998 h 10000"/>
              <a:gd name="connsiteX42" fmla="*/ 2458 w 10000"/>
              <a:gd name="connsiteY42" fmla="*/ 4167 h 10000"/>
              <a:gd name="connsiteX43" fmla="*/ 2369 w 10000"/>
              <a:gd name="connsiteY43" fmla="*/ 4334 h 10000"/>
              <a:gd name="connsiteX44" fmla="*/ 2100 w 10000"/>
              <a:gd name="connsiteY44" fmla="*/ 4250 h 10000"/>
              <a:gd name="connsiteX45" fmla="*/ 1757 w 10000"/>
              <a:gd name="connsiteY45" fmla="*/ 4498 h 10000"/>
              <a:gd name="connsiteX46" fmla="*/ 1928 w 10000"/>
              <a:gd name="connsiteY46" fmla="*/ 4833 h 10000"/>
              <a:gd name="connsiteX47" fmla="*/ 1399 w 10000"/>
              <a:gd name="connsiteY47" fmla="*/ 4666 h 10000"/>
              <a:gd name="connsiteX48" fmla="*/ 1315 w 10000"/>
              <a:gd name="connsiteY48" fmla="*/ 4748 h 10000"/>
              <a:gd name="connsiteX49" fmla="*/ 1494 w 10000"/>
              <a:gd name="connsiteY49" fmla="*/ 4999 h 10000"/>
              <a:gd name="connsiteX50" fmla="*/ 1315 w 10000"/>
              <a:gd name="connsiteY50" fmla="*/ 4999 h 10000"/>
              <a:gd name="connsiteX51" fmla="*/ 1055 w 10000"/>
              <a:gd name="connsiteY51" fmla="*/ 4833 h 10000"/>
              <a:gd name="connsiteX52" fmla="*/ 1055 w 10000"/>
              <a:gd name="connsiteY52" fmla="*/ 4334 h 10000"/>
              <a:gd name="connsiteX53" fmla="*/ 793 w 10000"/>
              <a:gd name="connsiteY53" fmla="*/ 4167 h 10000"/>
              <a:gd name="connsiteX54" fmla="*/ 702 w 10000"/>
              <a:gd name="connsiteY54" fmla="*/ 3998 h 10000"/>
              <a:gd name="connsiteX55" fmla="*/ 873 w 10000"/>
              <a:gd name="connsiteY55" fmla="*/ 4082 h 10000"/>
              <a:gd name="connsiteX56" fmla="*/ 1574 w 10000"/>
              <a:gd name="connsiteY56" fmla="*/ 4334 h 10000"/>
              <a:gd name="connsiteX57" fmla="*/ 2009 w 10000"/>
              <a:gd name="connsiteY57" fmla="*/ 4082 h 10000"/>
              <a:gd name="connsiteX58" fmla="*/ 1928 w 10000"/>
              <a:gd name="connsiteY58" fmla="*/ 3832 h 10000"/>
              <a:gd name="connsiteX59" fmla="*/ 1399 w 10000"/>
              <a:gd name="connsiteY59" fmla="*/ 3333 h 10000"/>
              <a:gd name="connsiteX60" fmla="*/ 873 w 10000"/>
              <a:gd name="connsiteY60" fmla="*/ 3166 h 10000"/>
              <a:gd name="connsiteX61" fmla="*/ 873 w 10000"/>
              <a:gd name="connsiteY61" fmla="*/ 3083 h 10000"/>
              <a:gd name="connsiteX62" fmla="*/ 702 w 10000"/>
              <a:gd name="connsiteY62" fmla="*/ 2997 h 10000"/>
              <a:gd name="connsiteX63" fmla="*/ 523 w 10000"/>
              <a:gd name="connsiteY63" fmla="*/ 3083 h 10000"/>
              <a:gd name="connsiteX64" fmla="*/ 523 w 10000"/>
              <a:gd name="connsiteY64" fmla="*/ 3166 h 10000"/>
              <a:gd name="connsiteX65" fmla="*/ 437 w 10000"/>
              <a:gd name="connsiteY65" fmla="*/ 3166 h 10000"/>
              <a:gd name="connsiteX66" fmla="*/ 263 w 10000"/>
              <a:gd name="connsiteY66" fmla="*/ 3333 h 10000"/>
              <a:gd name="connsiteX67" fmla="*/ 263 w 10000"/>
              <a:gd name="connsiteY67" fmla="*/ 3582 h 10000"/>
              <a:gd name="connsiteX68" fmla="*/ 437 w 10000"/>
              <a:gd name="connsiteY68" fmla="*/ 3748 h 10000"/>
              <a:gd name="connsiteX69" fmla="*/ 353 w 10000"/>
              <a:gd name="connsiteY69" fmla="*/ 3998 h 10000"/>
              <a:gd name="connsiteX70" fmla="*/ 437 w 10000"/>
              <a:gd name="connsiteY70" fmla="*/ 4417 h 10000"/>
              <a:gd name="connsiteX71" fmla="*/ 353 w 10000"/>
              <a:gd name="connsiteY71" fmla="*/ 4666 h 10000"/>
              <a:gd name="connsiteX72" fmla="*/ 523 w 10000"/>
              <a:gd name="connsiteY72" fmla="*/ 4916 h 10000"/>
              <a:gd name="connsiteX73" fmla="*/ 437 w 10000"/>
              <a:gd name="connsiteY73" fmla="*/ 5083 h 10000"/>
              <a:gd name="connsiteX74" fmla="*/ 611 w 10000"/>
              <a:gd name="connsiteY74" fmla="*/ 5250 h 10000"/>
              <a:gd name="connsiteX75" fmla="*/ 611 w 10000"/>
              <a:gd name="connsiteY75" fmla="*/ 5333 h 10000"/>
              <a:gd name="connsiteX76" fmla="*/ 353 w 10000"/>
              <a:gd name="connsiteY76" fmla="*/ 5750 h 10000"/>
              <a:gd name="connsiteX77" fmla="*/ 80 w 10000"/>
              <a:gd name="connsiteY77" fmla="*/ 5917 h 10000"/>
              <a:gd name="connsiteX78" fmla="*/ 172 w 10000"/>
              <a:gd name="connsiteY78" fmla="*/ 5917 h 10000"/>
              <a:gd name="connsiteX79" fmla="*/ 353 w 10000"/>
              <a:gd name="connsiteY79" fmla="*/ 6083 h 10000"/>
              <a:gd name="connsiteX80" fmla="*/ 172 w 10000"/>
              <a:gd name="connsiteY80" fmla="*/ 6249 h 10000"/>
              <a:gd name="connsiteX81" fmla="*/ 80 w 10000"/>
              <a:gd name="connsiteY81" fmla="*/ 6334 h 10000"/>
              <a:gd name="connsiteX82" fmla="*/ 0 w 10000"/>
              <a:gd name="connsiteY82" fmla="*/ 6334 h 10000"/>
              <a:gd name="connsiteX83" fmla="*/ 80 w 10000"/>
              <a:gd name="connsiteY83" fmla="*/ 6584 h 10000"/>
              <a:gd name="connsiteX84" fmla="*/ 80 w 10000"/>
              <a:gd name="connsiteY84" fmla="*/ 6667 h 10000"/>
              <a:gd name="connsiteX85" fmla="*/ 80 w 10000"/>
              <a:gd name="connsiteY85" fmla="*/ 6749 h 10000"/>
              <a:gd name="connsiteX86" fmla="*/ 80 w 10000"/>
              <a:gd name="connsiteY86" fmla="*/ 6834 h 10000"/>
              <a:gd name="connsiteX87" fmla="*/ 172 w 10000"/>
              <a:gd name="connsiteY87" fmla="*/ 6998 h 10000"/>
              <a:gd name="connsiteX88" fmla="*/ 437 w 10000"/>
              <a:gd name="connsiteY88" fmla="*/ 7083 h 10000"/>
              <a:gd name="connsiteX89" fmla="*/ 523 w 10000"/>
              <a:gd name="connsiteY89" fmla="*/ 7165 h 10000"/>
              <a:gd name="connsiteX90" fmla="*/ 523 w 10000"/>
              <a:gd name="connsiteY90" fmla="*/ 7334 h 10000"/>
              <a:gd name="connsiteX91" fmla="*/ 702 w 10000"/>
              <a:gd name="connsiteY91" fmla="*/ 7584 h 10000"/>
              <a:gd name="connsiteX92" fmla="*/ 793 w 10000"/>
              <a:gd name="connsiteY92" fmla="*/ 7584 h 10000"/>
              <a:gd name="connsiteX93" fmla="*/ 702 w 10000"/>
              <a:gd name="connsiteY93" fmla="*/ 7750 h 10000"/>
              <a:gd name="connsiteX94" fmla="*/ 611 w 10000"/>
              <a:gd name="connsiteY94" fmla="*/ 7668 h 10000"/>
              <a:gd name="connsiteX95" fmla="*/ 611 w 10000"/>
              <a:gd name="connsiteY95" fmla="*/ 7750 h 10000"/>
              <a:gd name="connsiteX96" fmla="*/ 702 w 10000"/>
              <a:gd name="connsiteY96" fmla="*/ 7916 h 10000"/>
              <a:gd name="connsiteX97" fmla="*/ 971 w 10000"/>
              <a:gd name="connsiteY97" fmla="*/ 7916 h 10000"/>
              <a:gd name="connsiteX98" fmla="*/ 1055 w 10000"/>
              <a:gd name="connsiteY98" fmla="*/ 8000 h 10000"/>
              <a:gd name="connsiteX99" fmla="*/ 971 w 10000"/>
              <a:gd name="connsiteY99" fmla="*/ 8000 h 10000"/>
              <a:gd name="connsiteX100" fmla="*/ 1055 w 10000"/>
              <a:gd name="connsiteY100" fmla="*/ 8082 h 10000"/>
              <a:gd name="connsiteX101" fmla="*/ 1139 w 10000"/>
              <a:gd name="connsiteY101" fmla="*/ 8082 h 10000"/>
              <a:gd name="connsiteX102" fmla="*/ 1224 w 10000"/>
              <a:gd name="connsiteY102" fmla="*/ 8249 h 10000"/>
              <a:gd name="connsiteX103" fmla="*/ 1315 w 10000"/>
              <a:gd name="connsiteY103" fmla="*/ 8332 h 10000"/>
              <a:gd name="connsiteX104" fmla="*/ 1399 w 10000"/>
              <a:gd name="connsiteY104" fmla="*/ 8249 h 10000"/>
              <a:gd name="connsiteX105" fmla="*/ 1843 w 10000"/>
              <a:gd name="connsiteY105" fmla="*/ 8500 h 10000"/>
              <a:gd name="connsiteX106" fmla="*/ 1757 w 10000"/>
              <a:gd name="connsiteY106" fmla="*/ 8833 h 10000"/>
              <a:gd name="connsiteX107" fmla="*/ 1668 w 10000"/>
              <a:gd name="connsiteY107" fmla="*/ 8750 h 10000"/>
              <a:gd name="connsiteX108" fmla="*/ 1574 w 10000"/>
              <a:gd name="connsiteY108" fmla="*/ 8833 h 10000"/>
              <a:gd name="connsiteX109" fmla="*/ 1574 w 10000"/>
              <a:gd name="connsiteY109" fmla="*/ 8999 h 10000"/>
              <a:gd name="connsiteX110" fmla="*/ 1668 w 10000"/>
              <a:gd name="connsiteY110" fmla="*/ 8917 h 10000"/>
              <a:gd name="connsiteX111" fmla="*/ 1757 w 10000"/>
              <a:gd name="connsiteY111" fmla="*/ 8999 h 10000"/>
              <a:gd name="connsiteX112" fmla="*/ 1494 w 10000"/>
              <a:gd name="connsiteY112" fmla="*/ 9083 h 10000"/>
              <a:gd name="connsiteX113" fmla="*/ 1574 w 10000"/>
              <a:gd name="connsiteY113" fmla="*/ 9167 h 10000"/>
              <a:gd name="connsiteX114" fmla="*/ 1399 w 10000"/>
              <a:gd name="connsiteY114" fmla="*/ 9333 h 10000"/>
              <a:gd name="connsiteX115" fmla="*/ 1315 w 10000"/>
              <a:gd name="connsiteY115" fmla="*/ 9333 h 10000"/>
              <a:gd name="connsiteX116" fmla="*/ 1399 w 10000"/>
              <a:gd name="connsiteY116" fmla="*/ 9333 h 10000"/>
              <a:gd name="connsiteX117" fmla="*/ 1757 w 10000"/>
              <a:gd name="connsiteY117" fmla="*/ 9668 h 10000"/>
              <a:gd name="connsiteX118" fmla="*/ 2195 w 10000"/>
              <a:gd name="connsiteY118" fmla="*/ 9668 h 10000"/>
              <a:gd name="connsiteX119" fmla="*/ 2369 w 10000"/>
              <a:gd name="connsiteY119" fmla="*/ 9750 h 10000"/>
              <a:gd name="connsiteX120" fmla="*/ 2543 w 10000"/>
              <a:gd name="connsiteY120" fmla="*/ 9750 h 10000"/>
              <a:gd name="connsiteX121" fmla="*/ 2721 w 10000"/>
              <a:gd name="connsiteY121" fmla="*/ 9918 h 10000"/>
              <a:gd name="connsiteX122" fmla="*/ 2807 w 10000"/>
              <a:gd name="connsiteY122" fmla="*/ 10000 h 10000"/>
              <a:gd name="connsiteX123" fmla="*/ 2891 w 10000"/>
              <a:gd name="connsiteY123" fmla="*/ 10000 h 10000"/>
              <a:gd name="connsiteX124" fmla="*/ 2984 w 10000"/>
              <a:gd name="connsiteY124" fmla="*/ 9918 h 10000"/>
              <a:gd name="connsiteX125" fmla="*/ 2807 w 10000"/>
              <a:gd name="connsiteY125" fmla="*/ 9750 h 10000"/>
              <a:gd name="connsiteX126" fmla="*/ 2807 w 10000"/>
              <a:gd name="connsiteY126" fmla="*/ 9584 h 10000"/>
              <a:gd name="connsiteX127" fmla="*/ 2721 w 10000"/>
              <a:gd name="connsiteY127" fmla="*/ 9416 h 10000"/>
              <a:gd name="connsiteX128" fmla="*/ 2891 w 10000"/>
              <a:gd name="connsiteY128" fmla="*/ 9167 h 10000"/>
              <a:gd name="connsiteX129" fmla="*/ 2984 w 10000"/>
              <a:gd name="connsiteY129" fmla="*/ 9250 h 10000"/>
              <a:gd name="connsiteX130" fmla="*/ 3069 w 10000"/>
              <a:gd name="connsiteY130" fmla="*/ 9167 h 10000"/>
              <a:gd name="connsiteX131" fmla="*/ 3069 w 10000"/>
              <a:gd name="connsiteY131" fmla="*/ 9083 h 10000"/>
              <a:gd name="connsiteX132" fmla="*/ 2984 w 10000"/>
              <a:gd name="connsiteY132" fmla="*/ 9083 h 10000"/>
              <a:gd name="connsiteX133" fmla="*/ 3069 w 10000"/>
              <a:gd name="connsiteY133" fmla="*/ 8999 h 10000"/>
              <a:gd name="connsiteX134" fmla="*/ 2984 w 10000"/>
              <a:gd name="connsiteY134" fmla="*/ 8833 h 10000"/>
              <a:gd name="connsiteX135" fmla="*/ 2807 w 10000"/>
              <a:gd name="connsiteY135" fmla="*/ 8833 h 10000"/>
              <a:gd name="connsiteX136" fmla="*/ 2721 w 10000"/>
              <a:gd name="connsiteY136" fmla="*/ 8667 h 10000"/>
              <a:gd name="connsiteX137" fmla="*/ 2807 w 10000"/>
              <a:gd name="connsiteY137" fmla="*/ 8249 h 10000"/>
              <a:gd name="connsiteX138" fmla="*/ 2984 w 10000"/>
              <a:gd name="connsiteY138" fmla="*/ 8418 h 10000"/>
              <a:gd name="connsiteX139" fmla="*/ 3069 w 10000"/>
              <a:gd name="connsiteY139" fmla="*/ 8418 h 10000"/>
              <a:gd name="connsiteX140" fmla="*/ 2984 w 10000"/>
              <a:gd name="connsiteY140" fmla="*/ 8249 h 10000"/>
              <a:gd name="connsiteX141" fmla="*/ 3249 w 10000"/>
              <a:gd name="connsiteY141" fmla="*/ 8000 h 10000"/>
              <a:gd name="connsiteX142" fmla="*/ 3426 w 10000"/>
              <a:gd name="connsiteY142" fmla="*/ 8082 h 10000"/>
              <a:gd name="connsiteX143" fmla="*/ 3511 w 10000"/>
              <a:gd name="connsiteY143" fmla="*/ 8000 h 10000"/>
              <a:gd name="connsiteX144" fmla="*/ 3678 w 10000"/>
              <a:gd name="connsiteY144" fmla="*/ 8082 h 10000"/>
              <a:gd name="connsiteX145" fmla="*/ 3953 w 10000"/>
              <a:gd name="connsiteY145" fmla="*/ 8249 h 10000"/>
              <a:gd name="connsiteX146" fmla="*/ 4121 w 10000"/>
              <a:gd name="connsiteY146" fmla="*/ 8167 h 10000"/>
              <a:gd name="connsiteX147" fmla="*/ 4300 w 10000"/>
              <a:gd name="connsiteY147" fmla="*/ 8167 h 10000"/>
              <a:gd name="connsiteX148" fmla="*/ 4389 w 10000"/>
              <a:gd name="connsiteY148" fmla="*/ 8249 h 10000"/>
              <a:gd name="connsiteX149" fmla="*/ 4740 w 10000"/>
              <a:gd name="connsiteY149" fmla="*/ 8249 h 10000"/>
              <a:gd name="connsiteX150" fmla="*/ 4823 w 10000"/>
              <a:gd name="connsiteY150" fmla="*/ 8082 h 10000"/>
              <a:gd name="connsiteX151" fmla="*/ 4557 w 10000"/>
              <a:gd name="connsiteY151" fmla="*/ 8000 h 10000"/>
              <a:gd name="connsiteX152" fmla="*/ 4740 w 10000"/>
              <a:gd name="connsiteY152" fmla="*/ 7916 h 10000"/>
              <a:gd name="connsiteX153" fmla="*/ 4647 w 10000"/>
              <a:gd name="connsiteY153" fmla="*/ 7833 h 10000"/>
              <a:gd name="connsiteX154" fmla="*/ 4740 w 10000"/>
              <a:gd name="connsiteY154" fmla="*/ 7750 h 10000"/>
              <a:gd name="connsiteX155" fmla="*/ 4740 w 10000"/>
              <a:gd name="connsiteY155" fmla="*/ 7500 h 10000"/>
              <a:gd name="connsiteX156" fmla="*/ 4908 w 10000"/>
              <a:gd name="connsiteY156" fmla="*/ 7584 h 10000"/>
              <a:gd name="connsiteX157" fmla="*/ 5701 w 10000"/>
              <a:gd name="connsiteY157" fmla="*/ 7334 h 10000"/>
              <a:gd name="connsiteX158" fmla="*/ 5701 w 10000"/>
              <a:gd name="connsiteY158" fmla="*/ 7250 h 10000"/>
              <a:gd name="connsiteX159" fmla="*/ 5793 w 10000"/>
              <a:gd name="connsiteY159" fmla="*/ 7250 h 10000"/>
              <a:gd name="connsiteX160" fmla="*/ 6046 w 10000"/>
              <a:gd name="connsiteY160" fmla="*/ 7250 h 10000"/>
              <a:gd name="connsiteX161" fmla="*/ 6145 w 10000"/>
              <a:gd name="connsiteY161" fmla="*/ 7417 h 10000"/>
              <a:gd name="connsiteX162" fmla="*/ 6145 w 10000"/>
              <a:gd name="connsiteY162" fmla="*/ 7500 h 10000"/>
              <a:gd name="connsiteX163" fmla="*/ 6228 w 10000"/>
              <a:gd name="connsiteY163" fmla="*/ 7500 h 10000"/>
              <a:gd name="connsiteX164" fmla="*/ 6401 w 10000"/>
              <a:gd name="connsiteY164" fmla="*/ 7584 h 10000"/>
              <a:gd name="connsiteX165" fmla="*/ 6401 w 10000"/>
              <a:gd name="connsiteY165" fmla="*/ 7668 h 10000"/>
              <a:gd name="connsiteX166" fmla="*/ 6577 w 10000"/>
              <a:gd name="connsiteY166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401 w 10000"/>
              <a:gd name="connsiteY12" fmla="*/ 2416 h 10000"/>
              <a:gd name="connsiteX13" fmla="*/ 6577 w 10000"/>
              <a:gd name="connsiteY13" fmla="*/ 2748 h 10000"/>
              <a:gd name="connsiteX14" fmla="*/ 6489 w 10000"/>
              <a:gd name="connsiteY14" fmla="*/ 3083 h 10000"/>
              <a:gd name="connsiteX15" fmla="*/ 6489 w 10000"/>
              <a:gd name="connsiteY15" fmla="*/ 3333 h 10000"/>
              <a:gd name="connsiteX16" fmla="*/ 6753 w 10000"/>
              <a:gd name="connsiteY16" fmla="*/ 3333 h 10000"/>
              <a:gd name="connsiteX17" fmla="*/ 6577 w 10000"/>
              <a:gd name="connsiteY17" fmla="*/ 3416 h 10000"/>
              <a:gd name="connsiteX18" fmla="*/ 6674 w 10000"/>
              <a:gd name="connsiteY18" fmla="*/ 3832 h 10000"/>
              <a:gd name="connsiteX19" fmla="*/ 6145 w 10000"/>
              <a:gd name="connsiteY19" fmla="*/ 4250 h 10000"/>
              <a:gd name="connsiteX20" fmla="*/ 6046 w 10000"/>
              <a:gd name="connsiteY20" fmla="*/ 4167 h 10000"/>
              <a:gd name="connsiteX21" fmla="*/ 6401 w 10000"/>
              <a:gd name="connsiteY21" fmla="*/ 3748 h 10000"/>
              <a:gd name="connsiteX22" fmla="*/ 6489 w 10000"/>
              <a:gd name="connsiteY22" fmla="*/ 3500 h 10000"/>
              <a:gd name="connsiteX23" fmla="*/ 6305 w 10000"/>
              <a:gd name="connsiteY23" fmla="*/ 3333 h 10000"/>
              <a:gd name="connsiteX24" fmla="*/ 6305 w 10000"/>
              <a:gd name="connsiteY24" fmla="*/ 2498 h 10000"/>
              <a:gd name="connsiteX25" fmla="*/ 6228 w 10000"/>
              <a:gd name="connsiteY25" fmla="*/ 2332 h 10000"/>
              <a:gd name="connsiteX26" fmla="*/ 4557 w 10000"/>
              <a:gd name="connsiteY26" fmla="*/ 3416 h 10000"/>
              <a:gd name="connsiteX27" fmla="*/ 4480 w 10000"/>
              <a:gd name="connsiteY27" fmla="*/ 3333 h 10000"/>
              <a:gd name="connsiteX28" fmla="*/ 3953 w 10000"/>
              <a:gd name="connsiteY28" fmla="*/ 3500 h 10000"/>
              <a:gd name="connsiteX29" fmla="*/ 3865 w 10000"/>
              <a:gd name="connsiteY29" fmla="*/ 3665 h 10000"/>
              <a:gd name="connsiteX30" fmla="*/ 3777 w 10000"/>
              <a:gd name="connsiteY30" fmla="*/ 3500 h 10000"/>
              <a:gd name="connsiteX31" fmla="*/ 3777 w 10000"/>
              <a:gd name="connsiteY31" fmla="*/ 3333 h 10000"/>
              <a:gd name="connsiteX32" fmla="*/ 2891 w 10000"/>
              <a:gd name="connsiteY32" fmla="*/ 3832 h 10000"/>
              <a:gd name="connsiteX33" fmla="*/ 2891 w 10000"/>
              <a:gd name="connsiteY33" fmla="*/ 3998 h 10000"/>
              <a:gd name="connsiteX34" fmla="*/ 2721 w 10000"/>
              <a:gd name="connsiteY34" fmla="*/ 4082 h 10000"/>
              <a:gd name="connsiteX35" fmla="*/ 2458 w 10000"/>
              <a:gd name="connsiteY35" fmla="*/ 3916 h 10000"/>
              <a:gd name="connsiteX36" fmla="*/ 2721 w 10000"/>
              <a:gd name="connsiteY36" fmla="*/ 3748 h 10000"/>
              <a:gd name="connsiteX37" fmla="*/ 2627 w 10000"/>
              <a:gd name="connsiteY37" fmla="*/ 3500 h 10000"/>
              <a:gd name="connsiteX38" fmla="*/ 2281 w 10000"/>
              <a:gd name="connsiteY38" fmla="*/ 3416 h 10000"/>
              <a:gd name="connsiteX39" fmla="*/ 2369 w 10000"/>
              <a:gd name="connsiteY39" fmla="*/ 3582 h 10000"/>
              <a:gd name="connsiteX40" fmla="*/ 2369 w 10000"/>
              <a:gd name="connsiteY40" fmla="*/ 3998 h 10000"/>
              <a:gd name="connsiteX41" fmla="*/ 2458 w 10000"/>
              <a:gd name="connsiteY41" fmla="*/ 4167 h 10000"/>
              <a:gd name="connsiteX42" fmla="*/ 2369 w 10000"/>
              <a:gd name="connsiteY42" fmla="*/ 4334 h 10000"/>
              <a:gd name="connsiteX43" fmla="*/ 2100 w 10000"/>
              <a:gd name="connsiteY43" fmla="*/ 4250 h 10000"/>
              <a:gd name="connsiteX44" fmla="*/ 1757 w 10000"/>
              <a:gd name="connsiteY44" fmla="*/ 4498 h 10000"/>
              <a:gd name="connsiteX45" fmla="*/ 1928 w 10000"/>
              <a:gd name="connsiteY45" fmla="*/ 4833 h 10000"/>
              <a:gd name="connsiteX46" fmla="*/ 1399 w 10000"/>
              <a:gd name="connsiteY46" fmla="*/ 4666 h 10000"/>
              <a:gd name="connsiteX47" fmla="*/ 1315 w 10000"/>
              <a:gd name="connsiteY47" fmla="*/ 4748 h 10000"/>
              <a:gd name="connsiteX48" fmla="*/ 1494 w 10000"/>
              <a:gd name="connsiteY48" fmla="*/ 4999 h 10000"/>
              <a:gd name="connsiteX49" fmla="*/ 1315 w 10000"/>
              <a:gd name="connsiteY49" fmla="*/ 4999 h 10000"/>
              <a:gd name="connsiteX50" fmla="*/ 1055 w 10000"/>
              <a:gd name="connsiteY50" fmla="*/ 4833 h 10000"/>
              <a:gd name="connsiteX51" fmla="*/ 1055 w 10000"/>
              <a:gd name="connsiteY51" fmla="*/ 4334 h 10000"/>
              <a:gd name="connsiteX52" fmla="*/ 793 w 10000"/>
              <a:gd name="connsiteY52" fmla="*/ 4167 h 10000"/>
              <a:gd name="connsiteX53" fmla="*/ 702 w 10000"/>
              <a:gd name="connsiteY53" fmla="*/ 3998 h 10000"/>
              <a:gd name="connsiteX54" fmla="*/ 873 w 10000"/>
              <a:gd name="connsiteY54" fmla="*/ 4082 h 10000"/>
              <a:gd name="connsiteX55" fmla="*/ 1574 w 10000"/>
              <a:gd name="connsiteY55" fmla="*/ 4334 h 10000"/>
              <a:gd name="connsiteX56" fmla="*/ 2009 w 10000"/>
              <a:gd name="connsiteY56" fmla="*/ 4082 h 10000"/>
              <a:gd name="connsiteX57" fmla="*/ 1928 w 10000"/>
              <a:gd name="connsiteY57" fmla="*/ 3832 h 10000"/>
              <a:gd name="connsiteX58" fmla="*/ 1399 w 10000"/>
              <a:gd name="connsiteY58" fmla="*/ 3333 h 10000"/>
              <a:gd name="connsiteX59" fmla="*/ 873 w 10000"/>
              <a:gd name="connsiteY59" fmla="*/ 3166 h 10000"/>
              <a:gd name="connsiteX60" fmla="*/ 873 w 10000"/>
              <a:gd name="connsiteY60" fmla="*/ 3083 h 10000"/>
              <a:gd name="connsiteX61" fmla="*/ 702 w 10000"/>
              <a:gd name="connsiteY61" fmla="*/ 2997 h 10000"/>
              <a:gd name="connsiteX62" fmla="*/ 523 w 10000"/>
              <a:gd name="connsiteY62" fmla="*/ 3083 h 10000"/>
              <a:gd name="connsiteX63" fmla="*/ 523 w 10000"/>
              <a:gd name="connsiteY63" fmla="*/ 3166 h 10000"/>
              <a:gd name="connsiteX64" fmla="*/ 437 w 10000"/>
              <a:gd name="connsiteY64" fmla="*/ 3166 h 10000"/>
              <a:gd name="connsiteX65" fmla="*/ 263 w 10000"/>
              <a:gd name="connsiteY65" fmla="*/ 3333 h 10000"/>
              <a:gd name="connsiteX66" fmla="*/ 263 w 10000"/>
              <a:gd name="connsiteY66" fmla="*/ 3582 h 10000"/>
              <a:gd name="connsiteX67" fmla="*/ 437 w 10000"/>
              <a:gd name="connsiteY67" fmla="*/ 3748 h 10000"/>
              <a:gd name="connsiteX68" fmla="*/ 353 w 10000"/>
              <a:gd name="connsiteY68" fmla="*/ 3998 h 10000"/>
              <a:gd name="connsiteX69" fmla="*/ 437 w 10000"/>
              <a:gd name="connsiteY69" fmla="*/ 4417 h 10000"/>
              <a:gd name="connsiteX70" fmla="*/ 353 w 10000"/>
              <a:gd name="connsiteY70" fmla="*/ 4666 h 10000"/>
              <a:gd name="connsiteX71" fmla="*/ 523 w 10000"/>
              <a:gd name="connsiteY71" fmla="*/ 4916 h 10000"/>
              <a:gd name="connsiteX72" fmla="*/ 437 w 10000"/>
              <a:gd name="connsiteY72" fmla="*/ 5083 h 10000"/>
              <a:gd name="connsiteX73" fmla="*/ 611 w 10000"/>
              <a:gd name="connsiteY73" fmla="*/ 5250 h 10000"/>
              <a:gd name="connsiteX74" fmla="*/ 611 w 10000"/>
              <a:gd name="connsiteY74" fmla="*/ 5333 h 10000"/>
              <a:gd name="connsiteX75" fmla="*/ 353 w 10000"/>
              <a:gd name="connsiteY75" fmla="*/ 5750 h 10000"/>
              <a:gd name="connsiteX76" fmla="*/ 80 w 10000"/>
              <a:gd name="connsiteY76" fmla="*/ 5917 h 10000"/>
              <a:gd name="connsiteX77" fmla="*/ 172 w 10000"/>
              <a:gd name="connsiteY77" fmla="*/ 5917 h 10000"/>
              <a:gd name="connsiteX78" fmla="*/ 353 w 10000"/>
              <a:gd name="connsiteY78" fmla="*/ 6083 h 10000"/>
              <a:gd name="connsiteX79" fmla="*/ 172 w 10000"/>
              <a:gd name="connsiteY79" fmla="*/ 6249 h 10000"/>
              <a:gd name="connsiteX80" fmla="*/ 80 w 10000"/>
              <a:gd name="connsiteY80" fmla="*/ 6334 h 10000"/>
              <a:gd name="connsiteX81" fmla="*/ 0 w 10000"/>
              <a:gd name="connsiteY81" fmla="*/ 6334 h 10000"/>
              <a:gd name="connsiteX82" fmla="*/ 80 w 10000"/>
              <a:gd name="connsiteY82" fmla="*/ 6584 h 10000"/>
              <a:gd name="connsiteX83" fmla="*/ 80 w 10000"/>
              <a:gd name="connsiteY83" fmla="*/ 6667 h 10000"/>
              <a:gd name="connsiteX84" fmla="*/ 80 w 10000"/>
              <a:gd name="connsiteY84" fmla="*/ 6749 h 10000"/>
              <a:gd name="connsiteX85" fmla="*/ 80 w 10000"/>
              <a:gd name="connsiteY85" fmla="*/ 6834 h 10000"/>
              <a:gd name="connsiteX86" fmla="*/ 172 w 10000"/>
              <a:gd name="connsiteY86" fmla="*/ 6998 h 10000"/>
              <a:gd name="connsiteX87" fmla="*/ 437 w 10000"/>
              <a:gd name="connsiteY87" fmla="*/ 7083 h 10000"/>
              <a:gd name="connsiteX88" fmla="*/ 523 w 10000"/>
              <a:gd name="connsiteY88" fmla="*/ 7165 h 10000"/>
              <a:gd name="connsiteX89" fmla="*/ 523 w 10000"/>
              <a:gd name="connsiteY89" fmla="*/ 7334 h 10000"/>
              <a:gd name="connsiteX90" fmla="*/ 702 w 10000"/>
              <a:gd name="connsiteY90" fmla="*/ 7584 h 10000"/>
              <a:gd name="connsiteX91" fmla="*/ 793 w 10000"/>
              <a:gd name="connsiteY91" fmla="*/ 7584 h 10000"/>
              <a:gd name="connsiteX92" fmla="*/ 702 w 10000"/>
              <a:gd name="connsiteY92" fmla="*/ 7750 h 10000"/>
              <a:gd name="connsiteX93" fmla="*/ 611 w 10000"/>
              <a:gd name="connsiteY93" fmla="*/ 7668 h 10000"/>
              <a:gd name="connsiteX94" fmla="*/ 611 w 10000"/>
              <a:gd name="connsiteY94" fmla="*/ 7750 h 10000"/>
              <a:gd name="connsiteX95" fmla="*/ 702 w 10000"/>
              <a:gd name="connsiteY95" fmla="*/ 7916 h 10000"/>
              <a:gd name="connsiteX96" fmla="*/ 971 w 10000"/>
              <a:gd name="connsiteY96" fmla="*/ 7916 h 10000"/>
              <a:gd name="connsiteX97" fmla="*/ 1055 w 10000"/>
              <a:gd name="connsiteY97" fmla="*/ 8000 h 10000"/>
              <a:gd name="connsiteX98" fmla="*/ 971 w 10000"/>
              <a:gd name="connsiteY98" fmla="*/ 8000 h 10000"/>
              <a:gd name="connsiteX99" fmla="*/ 1055 w 10000"/>
              <a:gd name="connsiteY99" fmla="*/ 8082 h 10000"/>
              <a:gd name="connsiteX100" fmla="*/ 1139 w 10000"/>
              <a:gd name="connsiteY100" fmla="*/ 8082 h 10000"/>
              <a:gd name="connsiteX101" fmla="*/ 1224 w 10000"/>
              <a:gd name="connsiteY101" fmla="*/ 8249 h 10000"/>
              <a:gd name="connsiteX102" fmla="*/ 1315 w 10000"/>
              <a:gd name="connsiteY102" fmla="*/ 8332 h 10000"/>
              <a:gd name="connsiteX103" fmla="*/ 1399 w 10000"/>
              <a:gd name="connsiteY103" fmla="*/ 8249 h 10000"/>
              <a:gd name="connsiteX104" fmla="*/ 1843 w 10000"/>
              <a:gd name="connsiteY104" fmla="*/ 8500 h 10000"/>
              <a:gd name="connsiteX105" fmla="*/ 1757 w 10000"/>
              <a:gd name="connsiteY105" fmla="*/ 8833 h 10000"/>
              <a:gd name="connsiteX106" fmla="*/ 1668 w 10000"/>
              <a:gd name="connsiteY106" fmla="*/ 8750 h 10000"/>
              <a:gd name="connsiteX107" fmla="*/ 1574 w 10000"/>
              <a:gd name="connsiteY107" fmla="*/ 8833 h 10000"/>
              <a:gd name="connsiteX108" fmla="*/ 1574 w 10000"/>
              <a:gd name="connsiteY108" fmla="*/ 8999 h 10000"/>
              <a:gd name="connsiteX109" fmla="*/ 1668 w 10000"/>
              <a:gd name="connsiteY109" fmla="*/ 8917 h 10000"/>
              <a:gd name="connsiteX110" fmla="*/ 1757 w 10000"/>
              <a:gd name="connsiteY110" fmla="*/ 8999 h 10000"/>
              <a:gd name="connsiteX111" fmla="*/ 1494 w 10000"/>
              <a:gd name="connsiteY111" fmla="*/ 9083 h 10000"/>
              <a:gd name="connsiteX112" fmla="*/ 1574 w 10000"/>
              <a:gd name="connsiteY112" fmla="*/ 9167 h 10000"/>
              <a:gd name="connsiteX113" fmla="*/ 1399 w 10000"/>
              <a:gd name="connsiteY113" fmla="*/ 9333 h 10000"/>
              <a:gd name="connsiteX114" fmla="*/ 1315 w 10000"/>
              <a:gd name="connsiteY114" fmla="*/ 9333 h 10000"/>
              <a:gd name="connsiteX115" fmla="*/ 1399 w 10000"/>
              <a:gd name="connsiteY115" fmla="*/ 9333 h 10000"/>
              <a:gd name="connsiteX116" fmla="*/ 1757 w 10000"/>
              <a:gd name="connsiteY116" fmla="*/ 9668 h 10000"/>
              <a:gd name="connsiteX117" fmla="*/ 2195 w 10000"/>
              <a:gd name="connsiteY117" fmla="*/ 9668 h 10000"/>
              <a:gd name="connsiteX118" fmla="*/ 2369 w 10000"/>
              <a:gd name="connsiteY118" fmla="*/ 9750 h 10000"/>
              <a:gd name="connsiteX119" fmla="*/ 2543 w 10000"/>
              <a:gd name="connsiteY119" fmla="*/ 9750 h 10000"/>
              <a:gd name="connsiteX120" fmla="*/ 2721 w 10000"/>
              <a:gd name="connsiteY120" fmla="*/ 9918 h 10000"/>
              <a:gd name="connsiteX121" fmla="*/ 2807 w 10000"/>
              <a:gd name="connsiteY121" fmla="*/ 10000 h 10000"/>
              <a:gd name="connsiteX122" fmla="*/ 2891 w 10000"/>
              <a:gd name="connsiteY122" fmla="*/ 10000 h 10000"/>
              <a:gd name="connsiteX123" fmla="*/ 2984 w 10000"/>
              <a:gd name="connsiteY123" fmla="*/ 9918 h 10000"/>
              <a:gd name="connsiteX124" fmla="*/ 2807 w 10000"/>
              <a:gd name="connsiteY124" fmla="*/ 9750 h 10000"/>
              <a:gd name="connsiteX125" fmla="*/ 2807 w 10000"/>
              <a:gd name="connsiteY125" fmla="*/ 9584 h 10000"/>
              <a:gd name="connsiteX126" fmla="*/ 2721 w 10000"/>
              <a:gd name="connsiteY126" fmla="*/ 9416 h 10000"/>
              <a:gd name="connsiteX127" fmla="*/ 2891 w 10000"/>
              <a:gd name="connsiteY127" fmla="*/ 9167 h 10000"/>
              <a:gd name="connsiteX128" fmla="*/ 2984 w 10000"/>
              <a:gd name="connsiteY128" fmla="*/ 9250 h 10000"/>
              <a:gd name="connsiteX129" fmla="*/ 3069 w 10000"/>
              <a:gd name="connsiteY129" fmla="*/ 9167 h 10000"/>
              <a:gd name="connsiteX130" fmla="*/ 3069 w 10000"/>
              <a:gd name="connsiteY130" fmla="*/ 9083 h 10000"/>
              <a:gd name="connsiteX131" fmla="*/ 2984 w 10000"/>
              <a:gd name="connsiteY131" fmla="*/ 9083 h 10000"/>
              <a:gd name="connsiteX132" fmla="*/ 3069 w 10000"/>
              <a:gd name="connsiteY132" fmla="*/ 8999 h 10000"/>
              <a:gd name="connsiteX133" fmla="*/ 2984 w 10000"/>
              <a:gd name="connsiteY133" fmla="*/ 8833 h 10000"/>
              <a:gd name="connsiteX134" fmla="*/ 2807 w 10000"/>
              <a:gd name="connsiteY134" fmla="*/ 8833 h 10000"/>
              <a:gd name="connsiteX135" fmla="*/ 2721 w 10000"/>
              <a:gd name="connsiteY135" fmla="*/ 8667 h 10000"/>
              <a:gd name="connsiteX136" fmla="*/ 2807 w 10000"/>
              <a:gd name="connsiteY136" fmla="*/ 8249 h 10000"/>
              <a:gd name="connsiteX137" fmla="*/ 2984 w 10000"/>
              <a:gd name="connsiteY137" fmla="*/ 8418 h 10000"/>
              <a:gd name="connsiteX138" fmla="*/ 3069 w 10000"/>
              <a:gd name="connsiteY138" fmla="*/ 8418 h 10000"/>
              <a:gd name="connsiteX139" fmla="*/ 2984 w 10000"/>
              <a:gd name="connsiteY139" fmla="*/ 8249 h 10000"/>
              <a:gd name="connsiteX140" fmla="*/ 3249 w 10000"/>
              <a:gd name="connsiteY140" fmla="*/ 8000 h 10000"/>
              <a:gd name="connsiteX141" fmla="*/ 3426 w 10000"/>
              <a:gd name="connsiteY141" fmla="*/ 8082 h 10000"/>
              <a:gd name="connsiteX142" fmla="*/ 3511 w 10000"/>
              <a:gd name="connsiteY142" fmla="*/ 8000 h 10000"/>
              <a:gd name="connsiteX143" fmla="*/ 3678 w 10000"/>
              <a:gd name="connsiteY143" fmla="*/ 8082 h 10000"/>
              <a:gd name="connsiteX144" fmla="*/ 3953 w 10000"/>
              <a:gd name="connsiteY144" fmla="*/ 8249 h 10000"/>
              <a:gd name="connsiteX145" fmla="*/ 4121 w 10000"/>
              <a:gd name="connsiteY145" fmla="*/ 8167 h 10000"/>
              <a:gd name="connsiteX146" fmla="*/ 4300 w 10000"/>
              <a:gd name="connsiteY146" fmla="*/ 8167 h 10000"/>
              <a:gd name="connsiteX147" fmla="*/ 4389 w 10000"/>
              <a:gd name="connsiteY147" fmla="*/ 8249 h 10000"/>
              <a:gd name="connsiteX148" fmla="*/ 4740 w 10000"/>
              <a:gd name="connsiteY148" fmla="*/ 8249 h 10000"/>
              <a:gd name="connsiteX149" fmla="*/ 4823 w 10000"/>
              <a:gd name="connsiteY149" fmla="*/ 8082 h 10000"/>
              <a:gd name="connsiteX150" fmla="*/ 4557 w 10000"/>
              <a:gd name="connsiteY150" fmla="*/ 8000 h 10000"/>
              <a:gd name="connsiteX151" fmla="*/ 4740 w 10000"/>
              <a:gd name="connsiteY151" fmla="*/ 7916 h 10000"/>
              <a:gd name="connsiteX152" fmla="*/ 4647 w 10000"/>
              <a:gd name="connsiteY152" fmla="*/ 7833 h 10000"/>
              <a:gd name="connsiteX153" fmla="*/ 4740 w 10000"/>
              <a:gd name="connsiteY153" fmla="*/ 7750 h 10000"/>
              <a:gd name="connsiteX154" fmla="*/ 4740 w 10000"/>
              <a:gd name="connsiteY154" fmla="*/ 7500 h 10000"/>
              <a:gd name="connsiteX155" fmla="*/ 4908 w 10000"/>
              <a:gd name="connsiteY155" fmla="*/ 7584 h 10000"/>
              <a:gd name="connsiteX156" fmla="*/ 5701 w 10000"/>
              <a:gd name="connsiteY156" fmla="*/ 7334 h 10000"/>
              <a:gd name="connsiteX157" fmla="*/ 5701 w 10000"/>
              <a:gd name="connsiteY157" fmla="*/ 7250 h 10000"/>
              <a:gd name="connsiteX158" fmla="*/ 5793 w 10000"/>
              <a:gd name="connsiteY158" fmla="*/ 7250 h 10000"/>
              <a:gd name="connsiteX159" fmla="*/ 6046 w 10000"/>
              <a:gd name="connsiteY159" fmla="*/ 7250 h 10000"/>
              <a:gd name="connsiteX160" fmla="*/ 6145 w 10000"/>
              <a:gd name="connsiteY160" fmla="*/ 7417 h 10000"/>
              <a:gd name="connsiteX161" fmla="*/ 6145 w 10000"/>
              <a:gd name="connsiteY161" fmla="*/ 7500 h 10000"/>
              <a:gd name="connsiteX162" fmla="*/ 6228 w 10000"/>
              <a:gd name="connsiteY162" fmla="*/ 7500 h 10000"/>
              <a:gd name="connsiteX163" fmla="*/ 6401 w 10000"/>
              <a:gd name="connsiteY163" fmla="*/ 7584 h 10000"/>
              <a:gd name="connsiteX164" fmla="*/ 6401 w 10000"/>
              <a:gd name="connsiteY164" fmla="*/ 7668 h 10000"/>
              <a:gd name="connsiteX165" fmla="*/ 6577 w 10000"/>
              <a:gd name="connsiteY165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753 w 10000"/>
              <a:gd name="connsiteY15" fmla="*/ 3333 h 10000"/>
              <a:gd name="connsiteX16" fmla="*/ 6577 w 10000"/>
              <a:gd name="connsiteY16" fmla="*/ 3416 h 10000"/>
              <a:gd name="connsiteX17" fmla="*/ 6674 w 10000"/>
              <a:gd name="connsiteY17" fmla="*/ 3832 h 10000"/>
              <a:gd name="connsiteX18" fmla="*/ 6145 w 10000"/>
              <a:gd name="connsiteY18" fmla="*/ 4250 h 10000"/>
              <a:gd name="connsiteX19" fmla="*/ 6046 w 10000"/>
              <a:gd name="connsiteY19" fmla="*/ 4167 h 10000"/>
              <a:gd name="connsiteX20" fmla="*/ 6401 w 10000"/>
              <a:gd name="connsiteY20" fmla="*/ 3748 h 10000"/>
              <a:gd name="connsiteX21" fmla="*/ 6489 w 10000"/>
              <a:gd name="connsiteY21" fmla="*/ 3500 h 10000"/>
              <a:gd name="connsiteX22" fmla="*/ 6305 w 10000"/>
              <a:gd name="connsiteY22" fmla="*/ 3333 h 10000"/>
              <a:gd name="connsiteX23" fmla="*/ 6305 w 10000"/>
              <a:gd name="connsiteY23" fmla="*/ 2498 h 10000"/>
              <a:gd name="connsiteX24" fmla="*/ 6228 w 10000"/>
              <a:gd name="connsiteY24" fmla="*/ 2332 h 10000"/>
              <a:gd name="connsiteX25" fmla="*/ 4557 w 10000"/>
              <a:gd name="connsiteY25" fmla="*/ 3416 h 10000"/>
              <a:gd name="connsiteX26" fmla="*/ 4480 w 10000"/>
              <a:gd name="connsiteY26" fmla="*/ 3333 h 10000"/>
              <a:gd name="connsiteX27" fmla="*/ 3953 w 10000"/>
              <a:gd name="connsiteY27" fmla="*/ 3500 h 10000"/>
              <a:gd name="connsiteX28" fmla="*/ 3865 w 10000"/>
              <a:gd name="connsiteY28" fmla="*/ 3665 h 10000"/>
              <a:gd name="connsiteX29" fmla="*/ 3777 w 10000"/>
              <a:gd name="connsiteY29" fmla="*/ 3500 h 10000"/>
              <a:gd name="connsiteX30" fmla="*/ 3777 w 10000"/>
              <a:gd name="connsiteY30" fmla="*/ 3333 h 10000"/>
              <a:gd name="connsiteX31" fmla="*/ 2891 w 10000"/>
              <a:gd name="connsiteY31" fmla="*/ 3832 h 10000"/>
              <a:gd name="connsiteX32" fmla="*/ 2891 w 10000"/>
              <a:gd name="connsiteY32" fmla="*/ 3998 h 10000"/>
              <a:gd name="connsiteX33" fmla="*/ 2721 w 10000"/>
              <a:gd name="connsiteY33" fmla="*/ 4082 h 10000"/>
              <a:gd name="connsiteX34" fmla="*/ 2458 w 10000"/>
              <a:gd name="connsiteY34" fmla="*/ 3916 h 10000"/>
              <a:gd name="connsiteX35" fmla="*/ 2721 w 10000"/>
              <a:gd name="connsiteY35" fmla="*/ 3748 h 10000"/>
              <a:gd name="connsiteX36" fmla="*/ 2627 w 10000"/>
              <a:gd name="connsiteY36" fmla="*/ 3500 h 10000"/>
              <a:gd name="connsiteX37" fmla="*/ 2281 w 10000"/>
              <a:gd name="connsiteY37" fmla="*/ 3416 h 10000"/>
              <a:gd name="connsiteX38" fmla="*/ 2369 w 10000"/>
              <a:gd name="connsiteY38" fmla="*/ 3582 h 10000"/>
              <a:gd name="connsiteX39" fmla="*/ 2369 w 10000"/>
              <a:gd name="connsiteY39" fmla="*/ 3998 h 10000"/>
              <a:gd name="connsiteX40" fmla="*/ 2458 w 10000"/>
              <a:gd name="connsiteY40" fmla="*/ 4167 h 10000"/>
              <a:gd name="connsiteX41" fmla="*/ 2369 w 10000"/>
              <a:gd name="connsiteY41" fmla="*/ 4334 h 10000"/>
              <a:gd name="connsiteX42" fmla="*/ 2100 w 10000"/>
              <a:gd name="connsiteY42" fmla="*/ 4250 h 10000"/>
              <a:gd name="connsiteX43" fmla="*/ 1757 w 10000"/>
              <a:gd name="connsiteY43" fmla="*/ 4498 h 10000"/>
              <a:gd name="connsiteX44" fmla="*/ 1928 w 10000"/>
              <a:gd name="connsiteY44" fmla="*/ 4833 h 10000"/>
              <a:gd name="connsiteX45" fmla="*/ 1399 w 10000"/>
              <a:gd name="connsiteY45" fmla="*/ 4666 h 10000"/>
              <a:gd name="connsiteX46" fmla="*/ 1315 w 10000"/>
              <a:gd name="connsiteY46" fmla="*/ 4748 h 10000"/>
              <a:gd name="connsiteX47" fmla="*/ 1494 w 10000"/>
              <a:gd name="connsiteY47" fmla="*/ 4999 h 10000"/>
              <a:gd name="connsiteX48" fmla="*/ 1315 w 10000"/>
              <a:gd name="connsiteY48" fmla="*/ 4999 h 10000"/>
              <a:gd name="connsiteX49" fmla="*/ 1055 w 10000"/>
              <a:gd name="connsiteY49" fmla="*/ 4833 h 10000"/>
              <a:gd name="connsiteX50" fmla="*/ 1055 w 10000"/>
              <a:gd name="connsiteY50" fmla="*/ 4334 h 10000"/>
              <a:gd name="connsiteX51" fmla="*/ 793 w 10000"/>
              <a:gd name="connsiteY51" fmla="*/ 4167 h 10000"/>
              <a:gd name="connsiteX52" fmla="*/ 702 w 10000"/>
              <a:gd name="connsiteY52" fmla="*/ 3998 h 10000"/>
              <a:gd name="connsiteX53" fmla="*/ 873 w 10000"/>
              <a:gd name="connsiteY53" fmla="*/ 4082 h 10000"/>
              <a:gd name="connsiteX54" fmla="*/ 1574 w 10000"/>
              <a:gd name="connsiteY54" fmla="*/ 4334 h 10000"/>
              <a:gd name="connsiteX55" fmla="*/ 2009 w 10000"/>
              <a:gd name="connsiteY55" fmla="*/ 4082 h 10000"/>
              <a:gd name="connsiteX56" fmla="*/ 1928 w 10000"/>
              <a:gd name="connsiteY56" fmla="*/ 3832 h 10000"/>
              <a:gd name="connsiteX57" fmla="*/ 1399 w 10000"/>
              <a:gd name="connsiteY57" fmla="*/ 3333 h 10000"/>
              <a:gd name="connsiteX58" fmla="*/ 873 w 10000"/>
              <a:gd name="connsiteY58" fmla="*/ 3166 h 10000"/>
              <a:gd name="connsiteX59" fmla="*/ 873 w 10000"/>
              <a:gd name="connsiteY59" fmla="*/ 3083 h 10000"/>
              <a:gd name="connsiteX60" fmla="*/ 702 w 10000"/>
              <a:gd name="connsiteY60" fmla="*/ 2997 h 10000"/>
              <a:gd name="connsiteX61" fmla="*/ 523 w 10000"/>
              <a:gd name="connsiteY61" fmla="*/ 3083 h 10000"/>
              <a:gd name="connsiteX62" fmla="*/ 523 w 10000"/>
              <a:gd name="connsiteY62" fmla="*/ 3166 h 10000"/>
              <a:gd name="connsiteX63" fmla="*/ 437 w 10000"/>
              <a:gd name="connsiteY63" fmla="*/ 3166 h 10000"/>
              <a:gd name="connsiteX64" fmla="*/ 263 w 10000"/>
              <a:gd name="connsiteY64" fmla="*/ 3333 h 10000"/>
              <a:gd name="connsiteX65" fmla="*/ 263 w 10000"/>
              <a:gd name="connsiteY65" fmla="*/ 3582 h 10000"/>
              <a:gd name="connsiteX66" fmla="*/ 437 w 10000"/>
              <a:gd name="connsiteY66" fmla="*/ 3748 h 10000"/>
              <a:gd name="connsiteX67" fmla="*/ 353 w 10000"/>
              <a:gd name="connsiteY67" fmla="*/ 3998 h 10000"/>
              <a:gd name="connsiteX68" fmla="*/ 437 w 10000"/>
              <a:gd name="connsiteY68" fmla="*/ 4417 h 10000"/>
              <a:gd name="connsiteX69" fmla="*/ 353 w 10000"/>
              <a:gd name="connsiteY69" fmla="*/ 4666 h 10000"/>
              <a:gd name="connsiteX70" fmla="*/ 523 w 10000"/>
              <a:gd name="connsiteY70" fmla="*/ 4916 h 10000"/>
              <a:gd name="connsiteX71" fmla="*/ 437 w 10000"/>
              <a:gd name="connsiteY71" fmla="*/ 5083 h 10000"/>
              <a:gd name="connsiteX72" fmla="*/ 611 w 10000"/>
              <a:gd name="connsiteY72" fmla="*/ 5250 h 10000"/>
              <a:gd name="connsiteX73" fmla="*/ 611 w 10000"/>
              <a:gd name="connsiteY73" fmla="*/ 5333 h 10000"/>
              <a:gd name="connsiteX74" fmla="*/ 353 w 10000"/>
              <a:gd name="connsiteY74" fmla="*/ 5750 h 10000"/>
              <a:gd name="connsiteX75" fmla="*/ 80 w 10000"/>
              <a:gd name="connsiteY75" fmla="*/ 5917 h 10000"/>
              <a:gd name="connsiteX76" fmla="*/ 172 w 10000"/>
              <a:gd name="connsiteY76" fmla="*/ 5917 h 10000"/>
              <a:gd name="connsiteX77" fmla="*/ 353 w 10000"/>
              <a:gd name="connsiteY77" fmla="*/ 6083 h 10000"/>
              <a:gd name="connsiteX78" fmla="*/ 172 w 10000"/>
              <a:gd name="connsiteY78" fmla="*/ 6249 h 10000"/>
              <a:gd name="connsiteX79" fmla="*/ 80 w 10000"/>
              <a:gd name="connsiteY79" fmla="*/ 6334 h 10000"/>
              <a:gd name="connsiteX80" fmla="*/ 0 w 10000"/>
              <a:gd name="connsiteY80" fmla="*/ 6334 h 10000"/>
              <a:gd name="connsiteX81" fmla="*/ 80 w 10000"/>
              <a:gd name="connsiteY81" fmla="*/ 6584 h 10000"/>
              <a:gd name="connsiteX82" fmla="*/ 80 w 10000"/>
              <a:gd name="connsiteY82" fmla="*/ 6667 h 10000"/>
              <a:gd name="connsiteX83" fmla="*/ 80 w 10000"/>
              <a:gd name="connsiteY83" fmla="*/ 6749 h 10000"/>
              <a:gd name="connsiteX84" fmla="*/ 80 w 10000"/>
              <a:gd name="connsiteY84" fmla="*/ 6834 h 10000"/>
              <a:gd name="connsiteX85" fmla="*/ 172 w 10000"/>
              <a:gd name="connsiteY85" fmla="*/ 6998 h 10000"/>
              <a:gd name="connsiteX86" fmla="*/ 437 w 10000"/>
              <a:gd name="connsiteY86" fmla="*/ 7083 h 10000"/>
              <a:gd name="connsiteX87" fmla="*/ 523 w 10000"/>
              <a:gd name="connsiteY87" fmla="*/ 7165 h 10000"/>
              <a:gd name="connsiteX88" fmla="*/ 523 w 10000"/>
              <a:gd name="connsiteY88" fmla="*/ 7334 h 10000"/>
              <a:gd name="connsiteX89" fmla="*/ 702 w 10000"/>
              <a:gd name="connsiteY89" fmla="*/ 7584 h 10000"/>
              <a:gd name="connsiteX90" fmla="*/ 793 w 10000"/>
              <a:gd name="connsiteY90" fmla="*/ 7584 h 10000"/>
              <a:gd name="connsiteX91" fmla="*/ 702 w 10000"/>
              <a:gd name="connsiteY91" fmla="*/ 7750 h 10000"/>
              <a:gd name="connsiteX92" fmla="*/ 611 w 10000"/>
              <a:gd name="connsiteY92" fmla="*/ 7668 h 10000"/>
              <a:gd name="connsiteX93" fmla="*/ 611 w 10000"/>
              <a:gd name="connsiteY93" fmla="*/ 7750 h 10000"/>
              <a:gd name="connsiteX94" fmla="*/ 702 w 10000"/>
              <a:gd name="connsiteY94" fmla="*/ 7916 h 10000"/>
              <a:gd name="connsiteX95" fmla="*/ 971 w 10000"/>
              <a:gd name="connsiteY95" fmla="*/ 7916 h 10000"/>
              <a:gd name="connsiteX96" fmla="*/ 1055 w 10000"/>
              <a:gd name="connsiteY96" fmla="*/ 8000 h 10000"/>
              <a:gd name="connsiteX97" fmla="*/ 971 w 10000"/>
              <a:gd name="connsiteY97" fmla="*/ 8000 h 10000"/>
              <a:gd name="connsiteX98" fmla="*/ 1055 w 10000"/>
              <a:gd name="connsiteY98" fmla="*/ 8082 h 10000"/>
              <a:gd name="connsiteX99" fmla="*/ 1139 w 10000"/>
              <a:gd name="connsiteY99" fmla="*/ 8082 h 10000"/>
              <a:gd name="connsiteX100" fmla="*/ 1224 w 10000"/>
              <a:gd name="connsiteY100" fmla="*/ 8249 h 10000"/>
              <a:gd name="connsiteX101" fmla="*/ 1315 w 10000"/>
              <a:gd name="connsiteY101" fmla="*/ 8332 h 10000"/>
              <a:gd name="connsiteX102" fmla="*/ 1399 w 10000"/>
              <a:gd name="connsiteY102" fmla="*/ 8249 h 10000"/>
              <a:gd name="connsiteX103" fmla="*/ 1843 w 10000"/>
              <a:gd name="connsiteY103" fmla="*/ 8500 h 10000"/>
              <a:gd name="connsiteX104" fmla="*/ 1757 w 10000"/>
              <a:gd name="connsiteY104" fmla="*/ 8833 h 10000"/>
              <a:gd name="connsiteX105" fmla="*/ 1668 w 10000"/>
              <a:gd name="connsiteY105" fmla="*/ 8750 h 10000"/>
              <a:gd name="connsiteX106" fmla="*/ 1574 w 10000"/>
              <a:gd name="connsiteY106" fmla="*/ 8833 h 10000"/>
              <a:gd name="connsiteX107" fmla="*/ 1574 w 10000"/>
              <a:gd name="connsiteY107" fmla="*/ 8999 h 10000"/>
              <a:gd name="connsiteX108" fmla="*/ 1668 w 10000"/>
              <a:gd name="connsiteY108" fmla="*/ 8917 h 10000"/>
              <a:gd name="connsiteX109" fmla="*/ 1757 w 10000"/>
              <a:gd name="connsiteY109" fmla="*/ 8999 h 10000"/>
              <a:gd name="connsiteX110" fmla="*/ 1494 w 10000"/>
              <a:gd name="connsiteY110" fmla="*/ 9083 h 10000"/>
              <a:gd name="connsiteX111" fmla="*/ 1574 w 10000"/>
              <a:gd name="connsiteY111" fmla="*/ 9167 h 10000"/>
              <a:gd name="connsiteX112" fmla="*/ 1399 w 10000"/>
              <a:gd name="connsiteY112" fmla="*/ 9333 h 10000"/>
              <a:gd name="connsiteX113" fmla="*/ 1315 w 10000"/>
              <a:gd name="connsiteY113" fmla="*/ 9333 h 10000"/>
              <a:gd name="connsiteX114" fmla="*/ 1399 w 10000"/>
              <a:gd name="connsiteY114" fmla="*/ 9333 h 10000"/>
              <a:gd name="connsiteX115" fmla="*/ 1757 w 10000"/>
              <a:gd name="connsiteY115" fmla="*/ 9668 h 10000"/>
              <a:gd name="connsiteX116" fmla="*/ 2195 w 10000"/>
              <a:gd name="connsiteY116" fmla="*/ 9668 h 10000"/>
              <a:gd name="connsiteX117" fmla="*/ 2369 w 10000"/>
              <a:gd name="connsiteY117" fmla="*/ 9750 h 10000"/>
              <a:gd name="connsiteX118" fmla="*/ 2543 w 10000"/>
              <a:gd name="connsiteY118" fmla="*/ 9750 h 10000"/>
              <a:gd name="connsiteX119" fmla="*/ 2721 w 10000"/>
              <a:gd name="connsiteY119" fmla="*/ 9918 h 10000"/>
              <a:gd name="connsiteX120" fmla="*/ 2807 w 10000"/>
              <a:gd name="connsiteY120" fmla="*/ 10000 h 10000"/>
              <a:gd name="connsiteX121" fmla="*/ 2891 w 10000"/>
              <a:gd name="connsiteY121" fmla="*/ 10000 h 10000"/>
              <a:gd name="connsiteX122" fmla="*/ 2984 w 10000"/>
              <a:gd name="connsiteY122" fmla="*/ 9918 h 10000"/>
              <a:gd name="connsiteX123" fmla="*/ 2807 w 10000"/>
              <a:gd name="connsiteY123" fmla="*/ 9750 h 10000"/>
              <a:gd name="connsiteX124" fmla="*/ 2807 w 10000"/>
              <a:gd name="connsiteY124" fmla="*/ 9584 h 10000"/>
              <a:gd name="connsiteX125" fmla="*/ 2721 w 10000"/>
              <a:gd name="connsiteY125" fmla="*/ 9416 h 10000"/>
              <a:gd name="connsiteX126" fmla="*/ 2891 w 10000"/>
              <a:gd name="connsiteY126" fmla="*/ 9167 h 10000"/>
              <a:gd name="connsiteX127" fmla="*/ 2984 w 10000"/>
              <a:gd name="connsiteY127" fmla="*/ 9250 h 10000"/>
              <a:gd name="connsiteX128" fmla="*/ 3069 w 10000"/>
              <a:gd name="connsiteY128" fmla="*/ 9167 h 10000"/>
              <a:gd name="connsiteX129" fmla="*/ 3069 w 10000"/>
              <a:gd name="connsiteY129" fmla="*/ 9083 h 10000"/>
              <a:gd name="connsiteX130" fmla="*/ 2984 w 10000"/>
              <a:gd name="connsiteY130" fmla="*/ 9083 h 10000"/>
              <a:gd name="connsiteX131" fmla="*/ 3069 w 10000"/>
              <a:gd name="connsiteY131" fmla="*/ 8999 h 10000"/>
              <a:gd name="connsiteX132" fmla="*/ 2984 w 10000"/>
              <a:gd name="connsiteY132" fmla="*/ 8833 h 10000"/>
              <a:gd name="connsiteX133" fmla="*/ 2807 w 10000"/>
              <a:gd name="connsiteY133" fmla="*/ 8833 h 10000"/>
              <a:gd name="connsiteX134" fmla="*/ 2721 w 10000"/>
              <a:gd name="connsiteY134" fmla="*/ 8667 h 10000"/>
              <a:gd name="connsiteX135" fmla="*/ 2807 w 10000"/>
              <a:gd name="connsiteY135" fmla="*/ 8249 h 10000"/>
              <a:gd name="connsiteX136" fmla="*/ 2984 w 10000"/>
              <a:gd name="connsiteY136" fmla="*/ 8418 h 10000"/>
              <a:gd name="connsiteX137" fmla="*/ 3069 w 10000"/>
              <a:gd name="connsiteY137" fmla="*/ 8418 h 10000"/>
              <a:gd name="connsiteX138" fmla="*/ 2984 w 10000"/>
              <a:gd name="connsiteY138" fmla="*/ 8249 h 10000"/>
              <a:gd name="connsiteX139" fmla="*/ 3249 w 10000"/>
              <a:gd name="connsiteY139" fmla="*/ 8000 h 10000"/>
              <a:gd name="connsiteX140" fmla="*/ 3426 w 10000"/>
              <a:gd name="connsiteY140" fmla="*/ 8082 h 10000"/>
              <a:gd name="connsiteX141" fmla="*/ 3511 w 10000"/>
              <a:gd name="connsiteY141" fmla="*/ 8000 h 10000"/>
              <a:gd name="connsiteX142" fmla="*/ 3678 w 10000"/>
              <a:gd name="connsiteY142" fmla="*/ 8082 h 10000"/>
              <a:gd name="connsiteX143" fmla="*/ 3953 w 10000"/>
              <a:gd name="connsiteY143" fmla="*/ 8249 h 10000"/>
              <a:gd name="connsiteX144" fmla="*/ 4121 w 10000"/>
              <a:gd name="connsiteY144" fmla="*/ 8167 h 10000"/>
              <a:gd name="connsiteX145" fmla="*/ 4300 w 10000"/>
              <a:gd name="connsiteY145" fmla="*/ 8167 h 10000"/>
              <a:gd name="connsiteX146" fmla="*/ 4389 w 10000"/>
              <a:gd name="connsiteY146" fmla="*/ 8249 h 10000"/>
              <a:gd name="connsiteX147" fmla="*/ 4740 w 10000"/>
              <a:gd name="connsiteY147" fmla="*/ 8249 h 10000"/>
              <a:gd name="connsiteX148" fmla="*/ 4823 w 10000"/>
              <a:gd name="connsiteY148" fmla="*/ 8082 h 10000"/>
              <a:gd name="connsiteX149" fmla="*/ 4557 w 10000"/>
              <a:gd name="connsiteY149" fmla="*/ 8000 h 10000"/>
              <a:gd name="connsiteX150" fmla="*/ 4740 w 10000"/>
              <a:gd name="connsiteY150" fmla="*/ 7916 h 10000"/>
              <a:gd name="connsiteX151" fmla="*/ 4647 w 10000"/>
              <a:gd name="connsiteY151" fmla="*/ 7833 h 10000"/>
              <a:gd name="connsiteX152" fmla="*/ 4740 w 10000"/>
              <a:gd name="connsiteY152" fmla="*/ 7750 h 10000"/>
              <a:gd name="connsiteX153" fmla="*/ 4740 w 10000"/>
              <a:gd name="connsiteY153" fmla="*/ 7500 h 10000"/>
              <a:gd name="connsiteX154" fmla="*/ 4908 w 10000"/>
              <a:gd name="connsiteY154" fmla="*/ 7584 h 10000"/>
              <a:gd name="connsiteX155" fmla="*/ 5701 w 10000"/>
              <a:gd name="connsiteY155" fmla="*/ 7334 h 10000"/>
              <a:gd name="connsiteX156" fmla="*/ 5701 w 10000"/>
              <a:gd name="connsiteY156" fmla="*/ 7250 h 10000"/>
              <a:gd name="connsiteX157" fmla="*/ 5793 w 10000"/>
              <a:gd name="connsiteY157" fmla="*/ 7250 h 10000"/>
              <a:gd name="connsiteX158" fmla="*/ 6046 w 10000"/>
              <a:gd name="connsiteY158" fmla="*/ 7250 h 10000"/>
              <a:gd name="connsiteX159" fmla="*/ 6145 w 10000"/>
              <a:gd name="connsiteY159" fmla="*/ 7417 h 10000"/>
              <a:gd name="connsiteX160" fmla="*/ 6145 w 10000"/>
              <a:gd name="connsiteY160" fmla="*/ 7500 h 10000"/>
              <a:gd name="connsiteX161" fmla="*/ 6228 w 10000"/>
              <a:gd name="connsiteY161" fmla="*/ 7500 h 10000"/>
              <a:gd name="connsiteX162" fmla="*/ 6401 w 10000"/>
              <a:gd name="connsiteY162" fmla="*/ 7584 h 10000"/>
              <a:gd name="connsiteX163" fmla="*/ 6401 w 10000"/>
              <a:gd name="connsiteY163" fmla="*/ 7668 h 10000"/>
              <a:gd name="connsiteX164" fmla="*/ 6577 w 10000"/>
              <a:gd name="connsiteY164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753 w 10000"/>
              <a:gd name="connsiteY15" fmla="*/ 3333 h 10000"/>
              <a:gd name="connsiteX16" fmla="*/ 6577 w 10000"/>
              <a:gd name="connsiteY16" fmla="*/ 3416 h 10000"/>
              <a:gd name="connsiteX17" fmla="*/ 6674 w 10000"/>
              <a:gd name="connsiteY17" fmla="*/ 3832 h 10000"/>
              <a:gd name="connsiteX18" fmla="*/ 6145 w 10000"/>
              <a:gd name="connsiteY18" fmla="*/ 4250 h 10000"/>
              <a:gd name="connsiteX19" fmla="*/ 6046 w 10000"/>
              <a:gd name="connsiteY19" fmla="*/ 4167 h 10000"/>
              <a:gd name="connsiteX20" fmla="*/ 6401 w 10000"/>
              <a:gd name="connsiteY20" fmla="*/ 3748 h 10000"/>
              <a:gd name="connsiteX21" fmla="*/ 6489 w 10000"/>
              <a:gd name="connsiteY21" fmla="*/ 3500 h 10000"/>
              <a:gd name="connsiteX22" fmla="*/ 6305 w 10000"/>
              <a:gd name="connsiteY22" fmla="*/ 3333 h 10000"/>
              <a:gd name="connsiteX23" fmla="*/ 6305 w 10000"/>
              <a:gd name="connsiteY23" fmla="*/ 2498 h 10000"/>
              <a:gd name="connsiteX24" fmla="*/ 4557 w 10000"/>
              <a:gd name="connsiteY24" fmla="*/ 3416 h 10000"/>
              <a:gd name="connsiteX25" fmla="*/ 4480 w 10000"/>
              <a:gd name="connsiteY25" fmla="*/ 3333 h 10000"/>
              <a:gd name="connsiteX26" fmla="*/ 3953 w 10000"/>
              <a:gd name="connsiteY26" fmla="*/ 3500 h 10000"/>
              <a:gd name="connsiteX27" fmla="*/ 3865 w 10000"/>
              <a:gd name="connsiteY27" fmla="*/ 3665 h 10000"/>
              <a:gd name="connsiteX28" fmla="*/ 3777 w 10000"/>
              <a:gd name="connsiteY28" fmla="*/ 3500 h 10000"/>
              <a:gd name="connsiteX29" fmla="*/ 3777 w 10000"/>
              <a:gd name="connsiteY29" fmla="*/ 3333 h 10000"/>
              <a:gd name="connsiteX30" fmla="*/ 2891 w 10000"/>
              <a:gd name="connsiteY30" fmla="*/ 3832 h 10000"/>
              <a:gd name="connsiteX31" fmla="*/ 2891 w 10000"/>
              <a:gd name="connsiteY31" fmla="*/ 3998 h 10000"/>
              <a:gd name="connsiteX32" fmla="*/ 2721 w 10000"/>
              <a:gd name="connsiteY32" fmla="*/ 4082 h 10000"/>
              <a:gd name="connsiteX33" fmla="*/ 2458 w 10000"/>
              <a:gd name="connsiteY33" fmla="*/ 3916 h 10000"/>
              <a:gd name="connsiteX34" fmla="*/ 2721 w 10000"/>
              <a:gd name="connsiteY34" fmla="*/ 3748 h 10000"/>
              <a:gd name="connsiteX35" fmla="*/ 2627 w 10000"/>
              <a:gd name="connsiteY35" fmla="*/ 3500 h 10000"/>
              <a:gd name="connsiteX36" fmla="*/ 2281 w 10000"/>
              <a:gd name="connsiteY36" fmla="*/ 3416 h 10000"/>
              <a:gd name="connsiteX37" fmla="*/ 2369 w 10000"/>
              <a:gd name="connsiteY37" fmla="*/ 3582 h 10000"/>
              <a:gd name="connsiteX38" fmla="*/ 2369 w 10000"/>
              <a:gd name="connsiteY38" fmla="*/ 3998 h 10000"/>
              <a:gd name="connsiteX39" fmla="*/ 2458 w 10000"/>
              <a:gd name="connsiteY39" fmla="*/ 4167 h 10000"/>
              <a:gd name="connsiteX40" fmla="*/ 2369 w 10000"/>
              <a:gd name="connsiteY40" fmla="*/ 4334 h 10000"/>
              <a:gd name="connsiteX41" fmla="*/ 2100 w 10000"/>
              <a:gd name="connsiteY41" fmla="*/ 4250 h 10000"/>
              <a:gd name="connsiteX42" fmla="*/ 1757 w 10000"/>
              <a:gd name="connsiteY42" fmla="*/ 4498 h 10000"/>
              <a:gd name="connsiteX43" fmla="*/ 1928 w 10000"/>
              <a:gd name="connsiteY43" fmla="*/ 4833 h 10000"/>
              <a:gd name="connsiteX44" fmla="*/ 1399 w 10000"/>
              <a:gd name="connsiteY44" fmla="*/ 4666 h 10000"/>
              <a:gd name="connsiteX45" fmla="*/ 1315 w 10000"/>
              <a:gd name="connsiteY45" fmla="*/ 4748 h 10000"/>
              <a:gd name="connsiteX46" fmla="*/ 1494 w 10000"/>
              <a:gd name="connsiteY46" fmla="*/ 4999 h 10000"/>
              <a:gd name="connsiteX47" fmla="*/ 1315 w 10000"/>
              <a:gd name="connsiteY47" fmla="*/ 4999 h 10000"/>
              <a:gd name="connsiteX48" fmla="*/ 1055 w 10000"/>
              <a:gd name="connsiteY48" fmla="*/ 4833 h 10000"/>
              <a:gd name="connsiteX49" fmla="*/ 1055 w 10000"/>
              <a:gd name="connsiteY49" fmla="*/ 4334 h 10000"/>
              <a:gd name="connsiteX50" fmla="*/ 793 w 10000"/>
              <a:gd name="connsiteY50" fmla="*/ 4167 h 10000"/>
              <a:gd name="connsiteX51" fmla="*/ 702 w 10000"/>
              <a:gd name="connsiteY51" fmla="*/ 3998 h 10000"/>
              <a:gd name="connsiteX52" fmla="*/ 873 w 10000"/>
              <a:gd name="connsiteY52" fmla="*/ 4082 h 10000"/>
              <a:gd name="connsiteX53" fmla="*/ 1574 w 10000"/>
              <a:gd name="connsiteY53" fmla="*/ 4334 h 10000"/>
              <a:gd name="connsiteX54" fmla="*/ 2009 w 10000"/>
              <a:gd name="connsiteY54" fmla="*/ 4082 h 10000"/>
              <a:gd name="connsiteX55" fmla="*/ 1928 w 10000"/>
              <a:gd name="connsiteY55" fmla="*/ 3832 h 10000"/>
              <a:gd name="connsiteX56" fmla="*/ 1399 w 10000"/>
              <a:gd name="connsiteY56" fmla="*/ 3333 h 10000"/>
              <a:gd name="connsiteX57" fmla="*/ 873 w 10000"/>
              <a:gd name="connsiteY57" fmla="*/ 3166 h 10000"/>
              <a:gd name="connsiteX58" fmla="*/ 873 w 10000"/>
              <a:gd name="connsiteY58" fmla="*/ 3083 h 10000"/>
              <a:gd name="connsiteX59" fmla="*/ 702 w 10000"/>
              <a:gd name="connsiteY59" fmla="*/ 2997 h 10000"/>
              <a:gd name="connsiteX60" fmla="*/ 523 w 10000"/>
              <a:gd name="connsiteY60" fmla="*/ 3083 h 10000"/>
              <a:gd name="connsiteX61" fmla="*/ 523 w 10000"/>
              <a:gd name="connsiteY61" fmla="*/ 3166 h 10000"/>
              <a:gd name="connsiteX62" fmla="*/ 437 w 10000"/>
              <a:gd name="connsiteY62" fmla="*/ 3166 h 10000"/>
              <a:gd name="connsiteX63" fmla="*/ 263 w 10000"/>
              <a:gd name="connsiteY63" fmla="*/ 3333 h 10000"/>
              <a:gd name="connsiteX64" fmla="*/ 263 w 10000"/>
              <a:gd name="connsiteY64" fmla="*/ 3582 h 10000"/>
              <a:gd name="connsiteX65" fmla="*/ 437 w 10000"/>
              <a:gd name="connsiteY65" fmla="*/ 3748 h 10000"/>
              <a:gd name="connsiteX66" fmla="*/ 353 w 10000"/>
              <a:gd name="connsiteY66" fmla="*/ 3998 h 10000"/>
              <a:gd name="connsiteX67" fmla="*/ 437 w 10000"/>
              <a:gd name="connsiteY67" fmla="*/ 4417 h 10000"/>
              <a:gd name="connsiteX68" fmla="*/ 353 w 10000"/>
              <a:gd name="connsiteY68" fmla="*/ 4666 h 10000"/>
              <a:gd name="connsiteX69" fmla="*/ 523 w 10000"/>
              <a:gd name="connsiteY69" fmla="*/ 4916 h 10000"/>
              <a:gd name="connsiteX70" fmla="*/ 437 w 10000"/>
              <a:gd name="connsiteY70" fmla="*/ 5083 h 10000"/>
              <a:gd name="connsiteX71" fmla="*/ 611 w 10000"/>
              <a:gd name="connsiteY71" fmla="*/ 5250 h 10000"/>
              <a:gd name="connsiteX72" fmla="*/ 611 w 10000"/>
              <a:gd name="connsiteY72" fmla="*/ 5333 h 10000"/>
              <a:gd name="connsiteX73" fmla="*/ 353 w 10000"/>
              <a:gd name="connsiteY73" fmla="*/ 5750 h 10000"/>
              <a:gd name="connsiteX74" fmla="*/ 80 w 10000"/>
              <a:gd name="connsiteY74" fmla="*/ 5917 h 10000"/>
              <a:gd name="connsiteX75" fmla="*/ 172 w 10000"/>
              <a:gd name="connsiteY75" fmla="*/ 5917 h 10000"/>
              <a:gd name="connsiteX76" fmla="*/ 353 w 10000"/>
              <a:gd name="connsiteY76" fmla="*/ 6083 h 10000"/>
              <a:gd name="connsiteX77" fmla="*/ 172 w 10000"/>
              <a:gd name="connsiteY77" fmla="*/ 6249 h 10000"/>
              <a:gd name="connsiteX78" fmla="*/ 80 w 10000"/>
              <a:gd name="connsiteY78" fmla="*/ 6334 h 10000"/>
              <a:gd name="connsiteX79" fmla="*/ 0 w 10000"/>
              <a:gd name="connsiteY79" fmla="*/ 6334 h 10000"/>
              <a:gd name="connsiteX80" fmla="*/ 80 w 10000"/>
              <a:gd name="connsiteY80" fmla="*/ 6584 h 10000"/>
              <a:gd name="connsiteX81" fmla="*/ 80 w 10000"/>
              <a:gd name="connsiteY81" fmla="*/ 6667 h 10000"/>
              <a:gd name="connsiteX82" fmla="*/ 80 w 10000"/>
              <a:gd name="connsiteY82" fmla="*/ 6749 h 10000"/>
              <a:gd name="connsiteX83" fmla="*/ 80 w 10000"/>
              <a:gd name="connsiteY83" fmla="*/ 6834 h 10000"/>
              <a:gd name="connsiteX84" fmla="*/ 172 w 10000"/>
              <a:gd name="connsiteY84" fmla="*/ 6998 h 10000"/>
              <a:gd name="connsiteX85" fmla="*/ 437 w 10000"/>
              <a:gd name="connsiteY85" fmla="*/ 7083 h 10000"/>
              <a:gd name="connsiteX86" fmla="*/ 523 w 10000"/>
              <a:gd name="connsiteY86" fmla="*/ 7165 h 10000"/>
              <a:gd name="connsiteX87" fmla="*/ 523 w 10000"/>
              <a:gd name="connsiteY87" fmla="*/ 7334 h 10000"/>
              <a:gd name="connsiteX88" fmla="*/ 702 w 10000"/>
              <a:gd name="connsiteY88" fmla="*/ 7584 h 10000"/>
              <a:gd name="connsiteX89" fmla="*/ 793 w 10000"/>
              <a:gd name="connsiteY89" fmla="*/ 7584 h 10000"/>
              <a:gd name="connsiteX90" fmla="*/ 702 w 10000"/>
              <a:gd name="connsiteY90" fmla="*/ 7750 h 10000"/>
              <a:gd name="connsiteX91" fmla="*/ 611 w 10000"/>
              <a:gd name="connsiteY91" fmla="*/ 7668 h 10000"/>
              <a:gd name="connsiteX92" fmla="*/ 611 w 10000"/>
              <a:gd name="connsiteY92" fmla="*/ 7750 h 10000"/>
              <a:gd name="connsiteX93" fmla="*/ 702 w 10000"/>
              <a:gd name="connsiteY93" fmla="*/ 7916 h 10000"/>
              <a:gd name="connsiteX94" fmla="*/ 971 w 10000"/>
              <a:gd name="connsiteY94" fmla="*/ 7916 h 10000"/>
              <a:gd name="connsiteX95" fmla="*/ 1055 w 10000"/>
              <a:gd name="connsiteY95" fmla="*/ 8000 h 10000"/>
              <a:gd name="connsiteX96" fmla="*/ 971 w 10000"/>
              <a:gd name="connsiteY96" fmla="*/ 8000 h 10000"/>
              <a:gd name="connsiteX97" fmla="*/ 1055 w 10000"/>
              <a:gd name="connsiteY97" fmla="*/ 8082 h 10000"/>
              <a:gd name="connsiteX98" fmla="*/ 1139 w 10000"/>
              <a:gd name="connsiteY98" fmla="*/ 8082 h 10000"/>
              <a:gd name="connsiteX99" fmla="*/ 1224 w 10000"/>
              <a:gd name="connsiteY99" fmla="*/ 8249 h 10000"/>
              <a:gd name="connsiteX100" fmla="*/ 1315 w 10000"/>
              <a:gd name="connsiteY100" fmla="*/ 8332 h 10000"/>
              <a:gd name="connsiteX101" fmla="*/ 1399 w 10000"/>
              <a:gd name="connsiteY101" fmla="*/ 8249 h 10000"/>
              <a:gd name="connsiteX102" fmla="*/ 1843 w 10000"/>
              <a:gd name="connsiteY102" fmla="*/ 8500 h 10000"/>
              <a:gd name="connsiteX103" fmla="*/ 1757 w 10000"/>
              <a:gd name="connsiteY103" fmla="*/ 8833 h 10000"/>
              <a:gd name="connsiteX104" fmla="*/ 1668 w 10000"/>
              <a:gd name="connsiteY104" fmla="*/ 8750 h 10000"/>
              <a:gd name="connsiteX105" fmla="*/ 1574 w 10000"/>
              <a:gd name="connsiteY105" fmla="*/ 8833 h 10000"/>
              <a:gd name="connsiteX106" fmla="*/ 1574 w 10000"/>
              <a:gd name="connsiteY106" fmla="*/ 8999 h 10000"/>
              <a:gd name="connsiteX107" fmla="*/ 1668 w 10000"/>
              <a:gd name="connsiteY107" fmla="*/ 8917 h 10000"/>
              <a:gd name="connsiteX108" fmla="*/ 1757 w 10000"/>
              <a:gd name="connsiteY108" fmla="*/ 8999 h 10000"/>
              <a:gd name="connsiteX109" fmla="*/ 1494 w 10000"/>
              <a:gd name="connsiteY109" fmla="*/ 9083 h 10000"/>
              <a:gd name="connsiteX110" fmla="*/ 1574 w 10000"/>
              <a:gd name="connsiteY110" fmla="*/ 9167 h 10000"/>
              <a:gd name="connsiteX111" fmla="*/ 1399 w 10000"/>
              <a:gd name="connsiteY111" fmla="*/ 9333 h 10000"/>
              <a:gd name="connsiteX112" fmla="*/ 1315 w 10000"/>
              <a:gd name="connsiteY112" fmla="*/ 9333 h 10000"/>
              <a:gd name="connsiteX113" fmla="*/ 1399 w 10000"/>
              <a:gd name="connsiteY113" fmla="*/ 9333 h 10000"/>
              <a:gd name="connsiteX114" fmla="*/ 1757 w 10000"/>
              <a:gd name="connsiteY114" fmla="*/ 9668 h 10000"/>
              <a:gd name="connsiteX115" fmla="*/ 2195 w 10000"/>
              <a:gd name="connsiteY115" fmla="*/ 9668 h 10000"/>
              <a:gd name="connsiteX116" fmla="*/ 2369 w 10000"/>
              <a:gd name="connsiteY116" fmla="*/ 9750 h 10000"/>
              <a:gd name="connsiteX117" fmla="*/ 2543 w 10000"/>
              <a:gd name="connsiteY117" fmla="*/ 9750 h 10000"/>
              <a:gd name="connsiteX118" fmla="*/ 2721 w 10000"/>
              <a:gd name="connsiteY118" fmla="*/ 9918 h 10000"/>
              <a:gd name="connsiteX119" fmla="*/ 2807 w 10000"/>
              <a:gd name="connsiteY119" fmla="*/ 10000 h 10000"/>
              <a:gd name="connsiteX120" fmla="*/ 2891 w 10000"/>
              <a:gd name="connsiteY120" fmla="*/ 10000 h 10000"/>
              <a:gd name="connsiteX121" fmla="*/ 2984 w 10000"/>
              <a:gd name="connsiteY121" fmla="*/ 9918 h 10000"/>
              <a:gd name="connsiteX122" fmla="*/ 2807 w 10000"/>
              <a:gd name="connsiteY122" fmla="*/ 9750 h 10000"/>
              <a:gd name="connsiteX123" fmla="*/ 2807 w 10000"/>
              <a:gd name="connsiteY123" fmla="*/ 9584 h 10000"/>
              <a:gd name="connsiteX124" fmla="*/ 2721 w 10000"/>
              <a:gd name="connsiteY124" fmla="*/ 9416 h 10000"/>
              <a:gd name="connsiteX125" fmla="*/ 2891 w 10000"/>
              <a:gd name="connsiteY125" fmla="*/ 9167 h 10000"/>
              <a:gd name="connsiteX126" fmla="*/ 2984 w 10000"/>
              <a:gd name="connsiteY126" fmla="*/ 9250 h 10000"/>
              <a:gd name="connsiteX127" fmla="*/ 3069 w 10000"/>
              <a:gd name="connsiteY127" fmla="*/ 9167 h 10000"/>
              <a:gd name="connsiteX128" fmla="*/ 3069 w 10000"/>
              <a:gd name="connsiteY128" fmla="*/ 9083 h 10000"/>
              <a:gd name="connsiteX129" fmla="*/ 2984 w 10000"/>
              <a:gd name="connsiteY129" fmla="*/ 9083 h 10000"/>
              <a:gd name="connsiteX130" fmla="*/ 3069 w 10000"/>
              <a:gd name="connsiteY130" fmla="*/ 8999 h 10000"/>
              <a:gd name="connsiteX131" fmla="*/ 2984 w 10000"/>
              <a:gd name="connsiteY131" fmla="*/ 8833 h 10000"/>
              <a:gd name="connsiteX132" fmla="*/ 2807 w 10000"/>
              <a:gd name="connsiteY132" fmla="*/ 8833 h 10000"/>
              <a:gd name="connsiteX133" fmla="*/ 2721 w 10000"/>
              <a:gd name="connsiteY133" fmla="*/ 8667 h 10000"/>
              <a:gd name="connsiteX134" fmla="*/ 2807 w 10000"/>
              <a:gd name="connsiteY134" fmla="*/ 8249 h 10000"/>
              <a:gd name="connsiteX135" fmla="*/ 2984 w 10000"/>
              <a:gd name="connsiteY135" fmla="*/ 8418 h 10000"/>
              <a:gd name="connsiteX136" fmla="*/ 3069 w 10000"/>
              <a:gd name="connsiteY136" fmla="*/ 8418 h 10000"/>
              <a:gd name="connsiteX137" fmla="*/ 2984 w 10000"/>
              <a:gd name="connsiteY137" fmla="*/ 8249 h 10000"/>
              <a:gd name="connsiteX138" fmla="*/ 3249 w 10000"/>
              <a:gd name="connsiteY138" fmla="*/ 8000 h 10000"/>
              <a:gd name="connsiteX139" fmla="*/ 3426 w 10000"/>
              <a:gd name="connsiteY139" fmla="*/ 8082 h 10000"/>
              <a:gd name="connsiteX140" fmla="*/ 3511 w 10000"/>
              <a:gd name="connsiteY140" fmla="*/ 8000 h 10000"/>
              <a:gd name="connsiteX141" fmla="*/ 3678 w 10000"/>
              <a:gd name="connsiteY141" fmla="*/ 8082 h 10000"/>
              <a:gd name="connsiteX142" fmla="*/ 3953 w 10000"/>
              <a:gd name="connsiteY142" fmla="*/ 8249 h 10000"/>
              <a:gd name="connsiteX143" fmla="*/ 4121 w 10000"/>
              <a:gd name="connsiteY143" fmla="*/ 8167 h 10000"/>
              <a:gd name="connsiteX144" fmla="*/ 4300 w 10000"/>
              <a:gd name="connsiteY144" fmla="*/ 8167 h 10000"/>
              <a:gd name="connsiteX145" fmla="*/ 4389 w 10000"/>
              <a:gd name="connsiteY145" fmla="*/ 8249 h 10000"/>
              <a:gd name="connsiteX146" fmla="*/ 4740 w 10000"/>
              <a:gd name="connsiteY146" fmla="*/ 8249 h 10000"/>
              <a:gd name="connsiteX147" fmla="*/ 4823 w 10000"/>
              <a:gd name="connsiteY147" fmla="*/ 8082 h 10000"/>
              <a:gd name="connsiteX148" fmla="*/ 4557 w 10000"/>
              <a:gd name="connsiteY148" fmla="*/ 8000 h 10000"/>
              <a:gd name="connsiteX149" fmla="*/ 4740 w 10000"/>
              <a:gd name="connsiteY149" fmla="*/ 7916 h 10000"/>
              <a:gd name="connsiteX150" fmla="*/ 4647 w 10000"/>
              <a:gd name="connsiteY150" fmla="*/ 7833 h 10000"/>
              <a:gd name="connsiteX151" fmla="*/ 4740 w 10000"/>
              <a:gd name="connsiteY151" fmla="*/ 7750 h 10000"/>
              <a:gd name="connsiteX152" fmla="*/ 4740 w 10000"/>
              <a:gd name="connsiteY152" fmla="*/ 7500 h 10000"/>
              <a:gd name="connsiteX153" fmla="*/ 4908 w 10000"/>
              <a:gd name="connsiteY153" fmla="*/ 7584 h 10000"/>
              <a:gd name="connsiteX154" fmla="*/ 5701 w 10000"/>
              <a:gd name="connsiteY154" fmla="*/ 7334 h 10000"/>
              <a:gd name="connsiteX155" fmla="*/ 5701 w 10000"/>
              <a:gd name="connsiteY155" fmla="*/ 7250 h 10000"/>
              <a:gd name="connsiteX156" fmla="*/ 5793 w 10000"/>
              <a:gd name="connsiteY156" fmla="*/ 7250 h 10000"/>
              <a:gd name="connsiteX157" fmla="*/ 6046 w 10000"/>
              <a:gd name="connsiteY157" fmla="*/ 7250 h 10000"/>
              <a:gd name="connsiteX158" fmla="*/ 6145 w 10000"/>
              <a:gd name="connsiteY158" fmla="*/ 7417 h 10000"/>
              <a:gd name="connsiteX159" fmla="*/ 6145 w 10000"/>
              <a:gd name="connsiteY159" fmla="*/ 7500 h 10000"/>
              <a:gd name="connsiteX160" fmla="*/ 6228 w 10000"/>
              <a:gd name="connsiteY160" fmla="*/ 7500 h 10000"/>
              <a:gd name="connsiteX161" fmla="*/ 6401 w 10000"/>
              <a:gd name="connsiteY161" fmla="*/ 7584 h 10000"/>
              <a:gd name="connsiteX162" fmla="*/ 6401 w 10000"/>
              <a:gd name="connsiteY162" fmla="*/ 7668 h 10000"/>
              <a:gd name="connsiteX163" fmla="*/ 6577 w 10000"/>
              <a:gd name="connsiteY163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753 w 10000"/>
              <a:gd name="connsiteY15" fmla="*/ 3333 h 10000"/>
              <a:gd name="connsiteX16" fmla="*/ 6577 w 10000"/>
              <a:gd name="connsiteY16" fmla="*/ 3416 h 10000"/>
              <a:gd name="connsiteX17" fmla="*/ 6674 w 10000"/>
              <a:gd name="connsiteY17" fmla="*/ 3832 h 10000"/>
              <a:gd name="connsiteX18" fmla="*/ 6145 w 10000"/>
              <a:gd name="connsiteY18" fmla="*/ 4250 h 10000"/>
              <a:gd name="connsiteX19" fmla="*/ 6046 w 10000"/>
              <a:gd name="connsiteY19" fmla="*/ 4167 h 10000"/>
              <a:gd name="connsiteX20" fmla="*/ 6401 w 10000"/>
              <a:gd name="connsiteY20" fmla="*/ 3748 h 10000"/>
              <a:gd name="connsiteX21" fmla="*/ 6489 w 10000"/>
              <a:gd name="connsiteY21" fmla="*/ 3500 h 10000"/>
              <a:gd name="connsiteX22" fmla="*/ 6305 w 10000"/>
              <a:gd name="connsiteY22" fmla="*/ 3333 h 10000"/>
              <a:gd name="connsiteX23" fmla="*/ 4557 w 10000"/>
              <a:gd name="connsiteY23" fmla="*/ 3416 h 10000"/>
              <a:gd name="connsiteX24" fmla="*/ 4480 w 10000"/>
              <a:gd name="connsiteY24" fmla="*/ 3333 h 10000"/>
              <a:gd name="connsiteX25" fmla="*/ 3953 w 10000"/>
              <a:gd name="connsiteY25" fmla="*/ 3500 h 10000"/>
              <a:gd name="connsiteX26" fmla="*/ 3865 w 10000"/>
              <a:gd name="connsiteY26" fmla="*/ 3665 h 10000"/>
              <a:gd name="connsiteX27" fmla="*/ 3777 w 10000"/>
              <a:gd name="connsiteY27" fmla="*/ 3500 h 10000"/>
              <a:gd name="connsiteX28" fmla="*/ 3777 w 10000"/>
              <a:gd name="connsiteY28" fmla="*/ 3333 h 10000"/>
              <a:gd name="connsiteX29" fmla="*/ 2891 w 10000"/>
              <a:gd name="connsiteY29" fmla="*/ 3832 h 10000"/>
              <a:gd name="connsiteX30" fmla="*/ 2891 w 10000"/>
              <a:gd name="connsiteY30" fmla="*/ 3998 h 10000"/>
              <a:gd name="connsiteX31" fmla="*/ 2721 w 10000"/>
              <a:gd name="connsiteY31" fmla="*/ 4082 h 10000"/>
              <a:gd name="connsiteX32" fmla="*/ 2458 w 10000"/>
              <a:gd name="connsiteY32" fmla="*/ 3916 h 10000"/>
              <a:gd name="connsiteX33" fmla="*/ 2721 w 10000"/>
              <a:gd name="connsiteY33" fmla="*/ 3748 h 10000"/>
              <a:gd name="connsiteX34" fmla="*/ 2627 w 10000"/>
              <a:gd name="connsiteY34" fmla="*/ 3500 h 10000"/>
              <a:gd name="connsiteX35" fmla="*/ 2281 w 10000"/>
              <a:gd name="connsiteY35" fmla="*/ 3416 h 10000"/>
              <a:gd name="connsiteX36" fmla="*/ 2369 w 10000"/>
              <a:gd name="connsiteY36" fmla="*/ 3582 h 10000"/>
              <a:gd name="connsiteX37" fmla="*/ 2369 w 10000"/>
              <a:gd name="connsiteY37" fmla="*/ 3998 h 10000"/>
              <a:gd name="connsiteX38" fmla="*/ 2458 w 10000"/>
              <a:gd name="connsiteY38" fmla="*/ 4167 h 10000"/>
              <a:gd name="connsiteX39" fmla="*/ 2369 w 10000"/>
              <a:gd name="connsiteY39" fmla="*/ 4334 h 10000"/>
              <a:gd name="connsiteX40" fmla="*/ 2100 w 10000"/>
              <a:gd name="connsiteY40" fmla="*/ 4250 h 10000"/>
              <a:gd name="connsiteX41" fmla="*/ 1757 w 10000"/>
              <a:gd name="connsiteY41" fmla="*/ 4498 h 10000"/>
              <a:gd name="connsiteX42" fmla="*/ 1928 w 10000"/>
              <a:gd name="connsiteY42" fmla="*/ 4833 h 10000"/>
              <a:gd name="connsiteX43" fmla="*/ 1399 w 10000"/>
              <a:gd name="connsiteY43" fmla="*/ 4666 h 10000"/>
              <a:gd name="connsiteX44" fmla="*/ 1315 w 10000"/>
              <a:gd name="connsiteY44" fmla="*/ 4748 h 10000"/>
              <a:gd name="connsiteX45" fmla="*/ 1494 w 10000"/>
              <a:gd name="connsiteY45" fmla="*/ 4999 h 10000"/>
              <a:gd name="connsiteX46" fmla="*/ 1315 w 10000"/>
              <a:gd name="connsiteY46" fmla="*/ 4999 h 10000"/>
              <a:gd name="connsiteX47" fmla="*/ 1055 w 10000"/>
              <a:gd name="connsiteY47" fmla="*/ 4833 h 10000"/>
              <a:gd name="connsiteX48" fmla="*/ 1055 w 10000"/>
              <a:gd name="connsiteY48" fmla="*/ 4334 h 10000"/>
              <a:gd name="connsiteX49" fmla="*/ 793 w 10000"/>
              <a:gd name="connsiteY49" fmla="*/ 4167 h 10000"/>
              <a:gd name="connsiteX50" fmla="*/ 702 w 10000"/>
              <a:gd name="connsiteY50" fmla="*/ 3998 h 10000"/>
              <a:gd name="connsiteX51" fmla="*/ 873 w 10000"/>
              <a:gd name="connsiteY51" fmla="*/ 4082 h 10000"/>
              <a:gd name="connsiteX52" fmla="*/ 1574 w 10000"/>
              <a:gd name="connsiteY52" fmla="*/ 4334 h 10000"/>
              <a:gd name="connsiteX53" fmla="*/ 2009 w 10000"/>
              <a:gd name="connsiteY53" fmla="*/ 4082 h 10000"/>
              <a:gd name="connsiteX54" fmla="*/ 1928 w 10000"/>
              <a:gd name="connsiteY54" fmla="*/ 3832 h 10000"/>
              <a:gd name="connsiteX55" fmla="*/ 1399 w 10000"/>
              <a:gd name="connsiteY55" fmla="*/ 3333 h 10000"/>
              <a:gd name="connsiteX56" fmla="*/ 873 w 10000"/>
              <a:gd name="connsiteY56" fmla="*/ 3166 h 10000"/>
              <a:gd name="connsiteX57" fmla="*/ 873 w 10000"/>
              <a:gd name="connsiteY57" fmla="*/ 3083 h 10000"/>
              <a:gd name="connsiteX58" fmla="*/ 702 w 10000"/>
              <a:gd name="connsiteY58" fmla="*/ 2997 h 10000"/>
              <a:gd name="connsiteX59" fmla="*/ 523 w 10000"/>
              <a:gd name="connsiteY59" fmla="*/ 3083 h 10000"/>
              <a:gd name="connsiteX60" fmla="*/ 523 w 10000"/>
              <a:gd name="connsiteY60" fmla="*/ 3166 h 10000"/>
              <a:gd name="connsiteX61" fmla="*/ 437 w 10000"/>
              <a:gd name="connsiteY61" fmla="*/ 3166 h 10000"/>
              <a:gd name="connsiteX62" fmla="*/ 263 w 10000"/>
              <a:gd name="connsiteY62" fmla="*/ 3333 h 10000"/>
              <a:gd name="connsiteX63" fmla="*/ 263 w 10000"/>
              <a:gd name="connsiteY63" fmla="*/ 3582 h 10000"/>
              <a:gd name="connsiteX64" fmla="*/ 437 w 10000"/>
              <a:gd name="connsiteY64" fmla="*/ 3748 h 10000"/>
              <a:gd name="connsiteX65" fmla="*/ 353 w 10000"/>
              <a:gd name="connsiteY65" fmla="*/ 3998 h 10000"/>
              <a:gd name="connsiteX66" fmla="*/ 437 w 10000"/>
              <a:gd name="connsiteY66" fmla="*/ 4417 h 10000"/>
              <a:gd name="connsiteX67" fmla="*/ 353 w 10000"/>
              <a:gd name="connsiteY67" fmla="*/ 4666 h 10000"/>
              <a:gd name="connsiteX68" fmla="*/ 523 w 10000"/>
              <a:gd name="connsiteY68" fmla="*/ 4916 h 10000"/>
              <a:gd name="connsiteX69" fmla="*/ 437 w 10000"/>
              <a:gd name="connsiteY69" fmla="*/ 5083 h 10000"/>
              <a:gd name="connsiteX70" fmla="*/ 611 w 10000"/>
              <a:gd name="connsiteY70" fmla="*/ 5250 h 10000"/>
              <a:gd name="connsiteX71" fmla="*/ 611 w 10000"/>
              <a:gd name="connsiteY71" fmla="*/ 5333 h 10000"/>
              <a:gd name="connsiteX72" fmla="*/ 353 w 10000"/>
              <a:gd name="connsiteY72" fmla="*/ 5750 h 10000"/>
              <a:gd name="connsiteX73" fmla="*/ 80 w 10000"/>
              <a:gd name="connsiteY73" fmla="*/ 5917 h 10000"/>
              <a:gd name="connsiteX74" fmla="*/ 172 w 10000"/>
              <a:gd name="connsiteY74" fmla="*/ 5917 h 10000"/>
              <a:gd name="connsiteX75" fmla="*/ 353 w 10000"/>
              <a:gd name="connsiteY75" fmla="*/ 6083 h 10000"/>
              <a:gd name="connsiteX76" fmla="*/ 172 w 10000"/>
              <a:gd name="connsiteY76" fmla="*/ 6249 h 10000"/>
              <a:gd name="connsiteX77" fmla="*/ 80 w 10000"/>
              <a:gd name="connsiteY77" fmla="*/ 6334 h 10000"/>
              <a:gd name="connsiteX78" fmla="*/ 0 w 10000"/>
              <a:gd name="connsiteY78" fmla="*/ 6334 h 10000"/>
              <a:gd name="connsiteX79" fmla="*/ 80 w 10000"/>
              <a:gd name="connsiteY79" fmla="*/ 6584 h 10000"/>
              <a:gd name="connsiteX80" fmla="*/ 80 w 10000"/>
              <a:gd name="connsiteY80" fmla="*/ 6667 h 10000"/>
              <a:gd name="connsiteX81" fmla="*/ 80 w 10000"/>
              <a:gd name="connsiteY81" fmla="*/ 6749 h 10000"/>
              <a:gd name="connsiteX82" fmla="*/ 80 w 10000"/>
              <a:gd name="connsiteY82" fmla="*/ 6834 h 10000"/>
              <a:gd name="connsiteX83" fmla="*/ 172 w 10000"/>
              <a:gd name="connsiteY83" fmla="*/ 6998 h 10000"/>
              <a:gd name="connsiteX84" fmla="*/ 437 w 10000"/>
              <a:gd name="connsiteY84" fmla="*/ 7083 h 10000"/>
              <a:gd name="connsiteX85" fmla="*/ 523 w 10000"/>
              <a:gd name="connsiteY85" fmla="*/ 7165 h 10000"/>
              <a:gd name="connsiteX86" fmla="*/ 523 w 10000"/>
              <a:gd name="connsiteY86" fmla="*/ 7334 h 10000"/>
              <a:gd name="connsiteX87" fmla="*/ 702 w 10000"/>
              <a:gd name="connsiteY87" fmla="*/ 7584 h 10000"/>
              <a:gd name="connsiteX88" fmla="*/ 793 w 10000"/>
              <a:gd name="connsiteY88" fmla="*/ 7584 h 10000"/>
              <a:gd name="connsiteX89" fmla="*/ 702 w 10000"/>
              <a:gd name="connsiteY89" fmla="*/ 7750 h 10000"/>
              <a:gd name="connsiteX90" fmla="*/ 611 w 10000"/>
              <a:gd name="connsiteY90" fmla="*/ 7668 h 10000"/>
              <a:gd name="connsiteX91" fmla="*/ 611 w 10000"/>
              <a:gd name="connsiteY91" fmla="*/ 7750 h 10000"/>
              <a:gd name="connsiteX92" fmla="*/ 702 w 10000"/>
              <a:gd name="connsiteY92" fmla="*/ 7916 h 10000"/>
              <a:gd name="connsiteX93" fmla="*/ 971 w 10000"/>
              <a:gd name="connsiteY93" fmla="*/ 7916 h 10000"/>
              <a:gd name="connsiteX94" fmla="*/ 1055 w 10000"/>
              <a:gd name="connsiteY94" fmla="*/ 8000 h 10000"/>
              <a:gd name="connsiteX95" fmla="*/ 971 w 10000"/>
              <a:gd name="connsiteY95" fmla="*/ 8000 h 10000"/>
              <a:gd name="connsiteX96" fmla="*/ 1055 w 10000"/>
              <a:gd name="connsiteY96" fmla="*/ 8082 h 10000"/>
              <a:gd name="connsiteX97" fmla="*/ 1139 w 10000"/>
              <a:gd name="connsiteY97" fmla="*/ 8082 h 10000"/>
              <a:gd name="connsiteX98" fmla="*/ 1224 w 10000"/>
              <a:gd name="connsiteY98" fmla="*/ 8249 h 10000"/>
              <a:gd name="connsiteX99" fmla="*/ 1315 w 10000"/>
              <a:gd name="connsiteY99" fmla="*/ 8332 h 10000"/>
              <a:gd name="connsiteX100" fmla="*/ 1399 w 10000"/>
              <a:gd name="connsiteY100" fmla="*/ 8249 h 10000"/>
              <a:gd name="connsiteX101" fmla="*/ 1843 w 10000"/>
              <a:gd name="connsiteY101" fmla="*/ 8500 h 10000"/>
              <a:gd name="connsiteX102" fmla="*/ 1757 w 10000"/>
              <a:gd name="connsiteY102" fmla="*/ 8833 h 10000"/>
              <a:gd name="connsiteX103" fmla="*/ 1668 w 10000"/>
              <a:gd name="connsiteY103" fmla="*/ 8750 h 10000"/>
              <a:gd name="connsiteX104" fmla="*/ 1574 w 10000"/>
              <a:gd name="connsiteY104" fmla="*/ 8833 h 10000"/>
              <a:gd name="connsiteX105" fmla="*/ 1574 w 10000"/>
              <a:gd name="connsiteY105" fmla="*/ 8999 h 10000"/>
              <a:gd name="connsiteX106" fmla="*/ 1668 w 10000"/>
              <a:gd name="connsiteY106" fmla="*/ 8917 h 10000"/>
              <a:gd name="connsiteX107" fmla="*/ 1757 w 10000"/>
              <a:gd name="connsiteY107" fmla="*/ 8999 h 10000"/>
              <a:gd name="connsiteX108" fmla="*/ 1494 w 10000"/>
              <a:gd name="connsiteY108" fmla="*/ 9083 h 10000"/>
              <a:gd name="connsiteX109" fmla="*/ 1574 w 10000"/>
              <a:gd name="connsiteY109" fmla="*/ 9167 h 10000"/>
              <a:gd name="connsiteX110" fmla="*/ 1399 w 10000"/>
              <a:gd name="connsiteY110" fmla="*/ 9333 h 10000"/>
              <a:gd name="connsiteX111" fmla="*/ 1315 w 10000"/>
              <a:gd name="connsiteY111" fmla="*/ 9333 h 10000"/>
              <a:gd name="connsiteX112" fmla="*/ 1399 w 10000"/>
              <a:gd name="connsiteY112" fmla="*/ 9333 h 10000"/>
              <a:gd name="connsiteX113" fmla="*/ 1757 w 10000"/>
              <a:gd name="connsiteY113" fmla="*/ 9668 h 10000"/>
              <a:gd name="connsiteX114" fmla="*/ 2195 w 10000"/>
              <a:gd name="connsiteY114" fmla="*/ 9668 h 10000"/>
              <a:gd name="connsiteX115" fmla="*/ 2369 w 10000"/>
              <a:gd name="connsiteY115" fmla="*/ 9750 h 10000"/>
              <a:gd name="connsiteX116" fmla="*/ 2543 w 10000"/>
              <a:gd name="connsiteY116" fmla="*/ 9750 h 10000"/>
              <a:gd name="connsiteX117" fmla="*/ 2721 w 10000"/>
              <a:gd name="connsiteY117" fmla="*/ 9918 h 10000"/>
              <a:gd name="connsiteX118" fmla="*/ 2807 w 10000"/>
              <a:gd name="connsiteY118" fmla="*/ 10000 h 10000"/>
              <a:gd name="connsiteX119" fmla="*/ 2891 w 10000"/>
              <a:gd name="connsiteY119" fmla="*/ 10000 h 10000"/>
              <a:gd name="connsiteX120" fmla="*/ 2984 w 10000"/>
              <a:gd name="connsiteY120" fmla="*/ 9918 h 10000"/>
              <a:gd name="connsiteX121" fmla="*/ 2807 w 10000"/>
              <a:gd name="connsiteY121" fmla="*/ 9750 h 10000"/>
              <a:gd name="connsiteX122" fmla="*/ 2807 w 10000"/>
              <a:gd name="connsiteY122" fmla="*/ 9584 h 10000"/>
              <a:gd name="connsiteX123" fmla="*/ 2721 w 10000"/>
              <a:gd name="connsiteY123" fmla="*/ 9416 h 10000"/>
              <a:gd name="connsiteX124" fmla="*/ 2891 w 10000"/>
              <a:gd name="connsiteY124" fmla="*/ 9167 h 10000"/>
              <a:gd name="connsiteX125" fmla="*/ 2984 w 10000"/>
              <a:gd name="connsiteY125" fmla="*/ 9250 h 10000"/>
              <a:gd name="connsiteX126" fmla="*/ 3069 w 10000"/>
              <a:gd name="connsiteY126" fmla="*/ 9167 h 10000"/>
              <a:gd name="connsiteX127" fmla="*/ 3069 w 10000"/>
              <a:gd name="connsiteY127" fmla="*/ 9083 h 10000"/>
              <a:gd name="connsiteX128" fmla="*/ 2984 w 10000"/>
              <a:gd name="connsiteY128" fmla="*/ 9083 h 10000"/>
              <a:gd name="connsiteX129" fmla="*/ 3069 w 10000"/>
              <a:gd name="connsiteY129" fmla="*/ 8999 h 10000"/>
              <a:gd name="connsiteX130" fmla="*/ 2984 w 10000"/>
              <a:gd name="connsiteY130" fmla="*/ 8833 h 10000"/>
              <a:gd name="connsiteX131" fmla="*/ 2807 w 10000"/>
              <a:gd name="connsiteY131" fmla="*/ 8833 h 10000"/>
              <a:gd name="connsiteX132" fmla="*/ 2721 w 10000"/>
              <a:gd name="connsiteY132" fmla="*/ 8667 h 10000"/>
              <a:gd name="connsiteX133" fmla="*/ 2807 w 10000"/>
              <a:gd name="connsiteY133" fmla="*/ 8249 h 10000"/>
              <a:gd name="connsiteX134" fmla="*/ 2984 w 10000"/>
              <a:gd name="connsiteY134" fmla="*/ 8418 h 10000"/>
              <a:gd name="connsiteX135" fmla="*/ 3069 w 10000"/>
              <a:gd name="connsiteY135" fmla="*/ 8418 h 10000"/>
              <a:gd name="connsiteX136" fmla="*/ 2984 w 10000"/>
              <a:gd name="connsiteY136" fmla="*/ 8249 h 10000"/>
              <a:gd name="connsiteX137" fmla="*/ 3249 w 10000"/>
              <a:gd name="connsiteY137" fmla="*/ 8000 h 10000"/>
              <a:gd name="connsiteX138" fmla="*/ 3426 w 10000"/>
              <a:gd name="connsiteY138" fmla="*/ 8082 h 10000"/>
              <a:gd name="connsiteX139" fmla="*/ 3511 w 10000"/>
              <a:gd name="connsiteY139" fmla="*/ 8000 h 10000"/>
              <a:gd name="connsiteX140" fmla="*/ 3678 w 10000"/>
              <a:gd name="connsiteY140" fmla="*/ 8082 h 10000"/>
              <a:gd name="connsiteX141" fmla="*/ 3953 w 10000"/>
              <a:gd name="connsiteY141" fmla="*/ 8249 h 10000"/>
              <a:gd name="connsiteX142" fmla="*/ 4121 w 10000"/>
              <a:gd name="connsiteY142" fmla="*/ 8167 h 10000"/>
              <a:gd name="connsiteX143" fmla="*/ 4300 w 10000"/>
              <a:gd name="connsiteY143" fmla="*/ 8167 h 10000"/>
              <a:gd name="connsiteX144" fmla="*/ 4389 w 10000"/>
              <a:gd name="connsiteY144" fmla="*/ 8249 h 10000"/>
              <a:gd name="connsiteX145" fmla="*/ 4740 w 10000"/>
              <a:gd name="connsiteY145" fmla="*/ 8249 h 10000"/>
              <a:gd name="connsiteX146" fmla="*/ 4823 w 10000"/>
              <a:gd name="connsiteY146" fmla="*/ 8082 h 10000"/>
              <a:gd name="connsiteX147" fmla="*/ 4557 w 10000"/>
              <a:gd name="connsiteY147" fmla="*/ 8000 h 10000"/>
              <a:gd name="connsiteX148" fmla="*/ 4740 w 10000"/>
              <a:gd name="connsiteY148" fmla="*/ 7916 h 10000"/>
              <a:gd name="connsiteX149" fmla="*/ 4647 w 10000"/>
              <a:gd name="connsiteY149" fmla="*/ 7833 h 10000"/>
              <a:gd name="connsiteX150" fmla="*/ 4740 w 10000"/>
              <a:gd name="connsiteY150" fmla="*/ 7750 h 10000"/>
              <a:gd name="connsiteX151" fmla="*/ 4740 w 10000"/>
              <a:gd name="connsiteY151" fmla="*/ 7500 h 10000"/>
              <a:gd name="connsiteX152" fmla="*/ 4908 w 10000"/>
              <a:gd name="connsiteY152" fmla="*/ 7584 h 10000"/>
              <a:gd name="connsiteX153" fmla="*/ 5701 w 10000"/>
              <a:gd name="connsiteY153" fmla="*/ 7334 h 10000"/>
              <a:gd name="connsiteX154" fmla="*/ 5701 w 10000"/>
              <a:gd name="connsiteY154" fmla="*/ 7250 h 10000"/>
              <a:gd name="connsiteX155" fmla="*/ 5793 w 10000"/>
              <a:gd name="connsiteY155" fmla="*/ 7250 h 10000"/>
              <a:gd name="connsiteX156" fmla="*/ 6046 w 10000"/>
              <a:gd name="connsiteY156" fmla="*/ 7250 h 10000"/>
              <a:gd name="connsiteX157" fmla="*/ 6145 w 10000"/>
              <a:gd name="connsiteY157" fmla="*/ 7417 h 10000"/>
              <a:gd name="connsiteX158" fmla="*/ 6145 w 10000"/>
              <a:gd name="connsiteY158" fmla="*/ 7500 h 10000"/>
              <a:gd name="connsiteX159" fmla="*/ 6228 w 10000"/>
              <a:gd name="connsiteY159" fmla="*/ 7500 h 10000"/>
              <a:gd name="connsiteX160" fmla="*/ 6401 w 10000"/>
              <a:gd name="connsiteY160" fmla="*/ 7584 h 10000"/>
              <a:gd name="connsiteX161" fmla="*/ 6401 w 10000"/>
              <a:gd name="connsiteY161" fmla="*/ 7668 h 10000"/>
              <a:gd name="connsiteX162" fmla="*/ 6577 w 10000"/>
              <a:gd name="connsiteY162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753 w 10000"/>
              <a:gd name="connsiteY15" fmla="*/ 3333 h 10000"/>
              <a:gd name="connsiteX16" fmla="*/ 6577 w 10000"/>
              <a:gd name="connsiteY16" fmla="*/ 3416 h 10000"/>
              <a:gd name="connsiteX17" fmla="*/ 6674 w 10000"/>
              <a:gd name="connsiteY17" fmla="*/ 3832 h 10000"/>
              <a:gd name="connsiteX18" fmla="*/ 6046 w 10000"/>
              <a:gd name="connsiteY18" fmla="*/ 4167 h 10000"/>
              <a:gd name="connsiteX19" fmla="*/ 6401 w 10000"/>
              <a:gd name="connsiteY19" fmla="*/ 3748 h 10000"/>
              <a:gd name="connsiteX20" fmla="*/ 6489 w 10000"/>
              <a:gd name="connsiteY20" fmla="*/ 3500 h 10000"/>
              <a:gd name="connsiteX21" fmla="*/ 6305 w 10000"/>
              <a:gd name="connsiteY21" fmla="*/ 3333 h 10000"/>
              <a:gd name="connsiteX22" fmla="*/ 4557 w 10000"/>
              <a:gd name="connsiteY22" fmla="*/ 3416 h 10000"/>
              <a:gd name="connsiteX23" fmla="*/ 4480 w 10000"/>
              <a:gd name="connsiteY23" fmla="*/ 3333 h 10000"/>
              <a:gd name="connsiteX24" fmla="*/ 3953 w 10000"/>
              <a:gd name="connsiteY24" fmla="*/ 3500 h 10000"/>
              <a:gd name="connsiteX25" fmla="*/ 3865 w 10000"/>
              <a:gd name="connsiteY25" fmla="*/ 3665 h 10000"/>
              <a:gd name="connsiteX26" fmla="*/ 3777 w 10000"/>
              <a:gd name="connsiteY26" fmla="*/ 3500 h 10000"/>
              <a:gd name="connsiteX27" fmla="*/ 3777 w 10000"/>
              <a:gd name="connsiteY27" fmla="*/ 3333 h 10000"/>
              <a:gd name="connsiteX28" fmla="*/ 2891 w 10000"/>
              <a:gd name="connsiteY28" fmla="*/ 3832 h 10000"/>
              <a:gd name="connsiteX29" fmla="*/ 2891 w 10000"/>
              <a:gd name="connsiteY29" fmla="*/ 3998 h 10000"/>
              <a:gd name="connsiteX30" fmla="*/ 2721 w 10000"/>
              <a:gd name="connsiteY30" fmla="*/ 4082 h 10000"/>
              <a:gd name="connsiteX31" fmla="*/ 2458 w 10000"/>
              <a:gd name="connsiteY31" fmla="*/ 3916 h 10000"/>
              <a:gd name="connsiteX32" fmla="*/ 2721 w 10000"/>
              <a:gd name="connsiteY32" fmla="*/ 3748 h 10000"/>
              <a:gd name="connsiteX33" fmla="*/ 2627 w 10000"/>
              <a:gd name="connsiteY33" fmla="*/ 3500 h 10000"/>
              <a:gd name="connsiteX34" fmla="*/ 2281 w 10000"/>
              <a:gd name="connsiteY34" fmla="*/ 3416 h 10000"/>
              <a:gd name="connsiteX35" fmla="*/ 2369 w 10000"/>
              <a:gd name="connsiteY35" fmla="*/ 3582 h 10000"/>
              <a:gd name="connsiteX36" fmla="*/ 2369 w 10000"/>
              <a:gd name="connsiteY36" fmla="*/ 3998 h 10000"/>
              <a:gd name="connsiteX37" fmla="*/ 2458 w 10000"/>
              <a:gd name="connsiteY37" fmla="*/ 4167 h 10000"/>
              <a:gd name="connsiteX38" fmla="*/ 2369 w 10000"/>
              <a:gd name="connsiteY38" fmla="*/ 4334 h 10000"/>
              <a:gd name="connsiteX39" fmla="*/ 2100 w 10000"/>
              <a:gd name="connsiteY39" fmla="*/ 4250 h 10000"/>
              <a:gd name="connsiteX40" fmla="*/ 1757 w 10000"/>
              <a:gd name="connsiteY40" fmla="*/ 4498 h 10000"/>
              <a:gd name="connsiteX41" fmla="*/ 1928 w 10000"/>
              <a:gd name="connsiteY41" fmla="*/ 4833 h 10000"/>
              <a:gd name="connsiteX42" fmla="*/ 1399 w 10000"/>
              <a:gd name="connsiteY42" fmla="*/ 4666 h 10000"/>
              <a:gd name="connsiteX43" fmla="*/ 1315 w 10000"/>
              <a:gd name="connsiteY43" fmla="*/ 4748 h 10000"/>
              <a:gd name="connsiteX44" fmla="*/ 1494 w 10000"/>
              <a:gd name="connsiteY44" fmla="*/ 4999 h 10000"/>
              <a:gd name="connsiteX45" fmla="*/ 1315 w 10000"/>
              <a:gd name="connsiteY45" fmla="*/ 4999 h 10000"/>
              <a:gd name="connsiteX46" fmla="*/ 1055 w 10000"/>
              <a:gd name="connsiteY46" fmla="*/ 4833 h 10000"/>
              <a:gd name="connsiteX47" fmla="*/ 1055 w 10000"/>
              <a:gd name="connsiteY47" fmla="*/ 4334 h 10000"/>
              <a:gd name="connsiteX48" fmla="*/ 793 w 10000"/>
              <a:gd name="connsiteY48" fmla="*/ 4167 h 10000"/>
              <a:gd name="connsiteX49" fmla="*/ 702 w 10000"/>
              <a:gd name="connsiteY49" fmla="*/ 3998 h 10000"/>
              <a:gd name="connsiteX50" fmla="*/ 873 w 10000"/>
              <a:gd name="connsiteY50" fmla="*/ 4082 h 10000"/>
              <a:gd name="connsiteX51" fmla="*/ 1574 w 10000"/>
              <a:gd name="connsiteY51" fmla="*/ 4334 h 10000"/>
              <a:gd name="connsiteX52" fmla="*/ 2009 w 10000"/>
              <a:gd name="connsiteY52" fmla="*/ 4082 h 10000"/>
              <a:gd name="connsiteX53" fmla="*/ 1928 w 10000"/>
              <a:gd name="connsiteY53" fmla="*/ 3832 h 10000"/>
              <a:gd name="connsiteX54" fmla="*/ 1399 w 10000"/>
              <a:gd name="connsiteY54" fmla="*/ 3333 h 10000"/>
              <a:gd name="connsiteX55" fmla="*/ 873 w 10000"/>
              <a:gd name="connsiteY55" fmla="*/ 3166 h 10000"/>
              <a:gd name="connsiteX56" fmla="*/ 873 w 10000"/>
              <a:gd name="connsiteY56" fmla="*/ 3083 h 10000"/>
              <a:gd name="connsiteX57" fmla="*/ 702 w 10000"/>
              <a:gd name="connsiteY57" fmla="*/ 2997 h 10000"/>
              <a:gd name="connsiteX58" fmla="*/ 523 w 10000"/>
              <a:gd name="connsiteY58" fmla="*/ 3083 h 10000"/>
              <a:gd name="connsiteX59" fmla="*/ 523 w 10000"/>
              <a:gd name="connsiteY59" fmla="*/ 3166 h 10000"/>
              <a:gd name="connsiteX60" fmla="*/ 437 w 10000"/>
              <a:gd name="connsiteY60" fmla="*/ 3166 h 10000"/>
              <a:gd name="connsiteX61" fmla="*/ 263 w 10000"/>
              <a:gd name="connsiteY61" fmla="*/ 3333 h 10000"/>
              <a:gd name="connsiteX62" fmla="*/ 263 w 10000"/>
              <a:gd name="connsiteY62" fmla="*/ 3582 h 10000"/>
              <a:gd name="connsiteX63" fmla="*/ 437 w 10000"/>
              <a:gd name="connsiteY63" fmla="*/ 3748 h 10000"/>
              <a:gd name="connsiteX64" fmla="*/ 353 w 10000"/>
              <a:gd name="connsiteY64" fmla="*/ 3998 h 10000"/>
              <a:gd name="connsiteX65" fmla="*/ 437 w 10000"/>
              <a:gd name="connsiteY65" fmla="*/ 4417 h 10000"/>
              <a:gd name="connsiteX66" fmla="*/ 353 w 10000"/>
              <a:gd name="connsiteY66" fmla="*/ 4666 h 10000"/>
              <a:gd name="connsiteX67" fmla="*/ 523 w 10000"/>
              <a:gd name="connsiteY67" fmla="*/ 4916 h 10000"/>
              <a:gd name="connsiteX68" fmla="*/ 437 w 10000"/>
              <a:gd name="connsiteY68" fmla="*/ 5083 h 10000"/>
              <a:gd name="connsiteX69" fmla="*/ 611 w 10000"/>
              <a:gd name="connsiteY69" fmla="*/ 5250 h 10000"/>
              <a:gd name="connsiteX70" fmla="*/ 611 w 10000"/>
              <a:gd name="connsiteY70" fmla="*/ 5333 h 10000"/>
              <a:gd name="connsiteX71" fmla="*/ 353 w 10000"/>
              <a:gd name="connsiteY71" fmla="*/ 5750 h 10000"/>
              <a:gd name="connsiteX72" fmla="*/ 80 w 10000"/>
              <a:gd name="connsiteY72" fmla="*/ 5917 h 10000"/>
              <a:gd name="connsiteX73" fmla="*/ 172 w 10000"/>
              <a:gd name="connsiteY73" fmla="*/ 5917 h 10000"/>
              <a:gd name="connsiteX74" fmla="*/ 353 w 10000"/>
              <a:gd name="connsiteY74" fmla="*/ 6083 h 10000"/>
              <a:gd name="connsiteX75" fmla="*/ 172 w 10000"/>
              <a:gd name="connsiteY75" fmla="*/ 6249 h 10000"/>
              <a:gd name="connsiteX76" fmla="*/ 80 w 10000"/>
              <a:gd name="connsiteY76" fmla="*/ 6334 h 10000"/>
              <a:gd name="connsiteX77" fmla="*/ 0 w 10000"/>
              <a:gd name="connsiteY77" fmla="*/ 6334 h 10000"/>
              <a:gd name="connsiteX78" fmla="*/ 80 w 10000"/>
              <a:gd name="connsiteY78" fmla="*/ 6584 h 10000"/>
              <a:gd name="connsiteX79" fmla="*/ 80 w 10000"/>
              <a:gd name="connsiteY79" fmla="*/ 6667 h 10000"/>
              <a:gd name="connsiteX80" fmla="*/ 80 w 10000"/>
              <a:gd name="connsiteY80" fmla="*/ 6749 h 10000"/>
              <a:gd name="connsiteX81" fmla="*/ 80 w 10000"/>
              <a:gd name="connsiteY81" fmla="*/ 6834 h 10000"/>
              <a:gd name="connsiteX82" fmla="*/ 172 w 10000"/>
              <a:gd name="connsiteY82" fmla="*/ 6998 h 10000"/>
              <a:gd name="connsiteX83" fmla="*/ 437 w 10000"/>
              <a:gd name="connsiteY83" fmla="*/ 7083 h 10000"/>
              <a:gd name="connsiteX84" fmla="*/ 523 w 10000"/>
              <a:gd name="connsiteY84" fmla="*/ 7165 h 10000"/>
              <a:gd name="connsiteX85" fmla="*/ 523 w 10000"/>
              <a:gd name="connsiteY85" fmla="*/ 7334 h 10000"/>
              <a:gd name="connsiteX86" fmla="*/ 702 w 10000"/>
              <a:gd name="connsiteY86" fmla="*/ 7584 h 10000"/>
              <a:gd name="connsiteX87" fmla="*/ 793 w 10000"/>
              <a:gd name="connsiteY87" fmla="*/ 7584 h 10000"/>
              <a:gd name="connsiteX88" fmla="*/ 702 w 10000"/>
              <a:gd name="connsiteY88" fmla="*/ 7750 h 10000"/>
              <a:gd name="connsiteX89" fmla="*/ 611 w 10000"/>
              <a:gd name="connsiteY89" fmla="*/ 7668 h 10000"/>
              <a:gd name="connsiteX90" fmla="*/ 611 w 10000"/>
              <a:gd name="connsiteY90" fmla="*/ 7750 h 10000"/>
              <a:gd name="connsiteX91" fmla="*/ 702 w 10000"/>
              <a:gd name="connsiteY91" fmla="*/ 7916 h 10000"/>
              <a:gd name="connsiteX92" fmla="*/ 971 w 10000"/>
              <a:gd name="connsiteY92" fmla="*/ 7916 h 10000"/>
              <a:gd name="connsiteX93" fmla="*/ 1055 w 10000"/>
              <a:gd name="connsiteY93" fmla="*/ 8000 h 10000"/>
              <a:gd name="connsiteX94" fmla="*/ 971 w 10000"/>
              <a:gd name="connsiteY94" fmla="*/ 8000 h 10000"/>
              <a:gd name="connsiteX95" fmla="*/ 1055 w 10000"/>
              <a:gd name="connsiteY95" fmla="*/ 8082 h 10000"/>
              <a:gd name="connsiteX96" fmla="*/ 1139 w 10000"/>
              <a:gd name="connsiteY96" fmla="*/ 8082 h 10000"/>
              <a:gd name="connsiteX97" fmla="*/ 1224 w 10000"/>
              <a:gd name="connsiteY97" fmla="*/ 8249 h 10000"/>
              <a:gd name="connsiteX98" fmla="*/ 1315 w 10000"/>
              <a:gd name="connsiteY98" fmla="*/ 8332 h 10000"/>
              <a:gd name="connsiteX99" fmla="*/ 1399 w 10000"/>
              <a:gd name="connsiteY99" fmla="*/ 8249 h 10000"/>
              <a:gd name="connsiteX100" fmla="*/ 1843 w 10000"/>
              <a:gd name="connsiteY100" fmla="*/ 8500 h 10000"/>
              <a:gd name="connsiteX101" fmla="*/ 1757 w 10000"/>
              <a:gd name="connsiteY101" fmla="*/ 8833 h 10000"/>
              <a:gd name="connsiteX102" fmla="*/ 1668 w 10000"/>
              <a:gd name="connsiteY102" fmla="*/ 8750 h 10000"/>
              <a:gd name="connsiteX103" fmla="*/ 1574 w 10000"/>
              <a:gd name="connsiteY103" fmla="*/ 8833 h 10000"/>
              <a:gd name="connsiteX104" fmla="*/ 1574 w 10000"/>
              <a:gd name="connsiteY104" fmla="*/ 8999 h 10000"/>
              <a:gd name="connsiteX105" fmla="*/ 1668 w 10000"/>
              <a:gd name="connsiteY105" fmla="*/ 8917 h 10000"/>
              <a:gd name="connsiteX106" fmla="*/ 1757 w 10000"/>
              <a:gd name="connsiteY106" fmla="*/ 8999 h 10000"/>
              <a:gd name="connsiteX107" fmla="*/ 1494 w 10000"/>
              <a:gd name="connsiteY107" fmla="*/ 9083 h 10000"/>
              <a:gd name="connsiteX108" fmla="*/ 1574 w 10000"/>
              <a:gd name="connsiteY108" fmla="*/ 9167 h 10000"/>
              <a:gd name="connsiteX109" fmla="*/ 1399 w 10000"/>
              <a:gd name="connsiteY109" fmla="*/ 9333 h 10000"/>
              <a:gd name="connsiteX110" fmla="*/ 1315 w 10000"/>
              <a:gd name="connsiteY110" fmla="*/ 9333 h 10000"/>
              <a:gd name="connsiteX111" fmla="*/ 1399 w 10000"/>
              <a:gd name="connsiteY111" fmla="*/ 9333 h 10000"/>
              <a:gd name="connsiteX112" fmla="*/ 1757 w 10000"/>
              <a:gd name="connsiteY112" fmla="*/ 9668 h 10000"/>
              <a:gd name="connsiteX113" fmla="*/ 2195 w 10000"/>
              <a:gd name="connsiteY113" fmla="*/ 9668 h 10000"/>
              <a:gd name="connsiteX114" fmla="*/ 2369 w 10000"/>
              <a:gd name="connsiteY114" fmla="*/ 9750 h 10000"/>
              <a:gd name="connsiteX115" fmla="*/ 2543 w 10000"/>
              <a:gd name="connsiteY115" fmla="*/ 9750 h 10000"/>
              <a:gd name="connsiteX116" fmla="*/ 2721 w 10000"/>
              <a:gd name="connsiteY116" fmla="*/ 9918 h 10000"/>
              <a:gd name="connsiteX117" fmla="*/ 2807 w 10000"/>
              <a:gd name="connsiteY117" fmla="*/ 10000 h 10000"/>
              <a:gd name="connsiteX118" fmla="*/ 2891 w 10000"/>
              <a:gd name="connsiteY118" fmla="*/ 10000 h 10000"/>
              <a:gd name="connsiteX119" fmla="*/ 2984 w 10000"/>
              <a:gd name="connsiteY119" fmla="*/ 9918 h 10000"/>
              <a:gd name="connsiteX120" fmla="*/ 2807 w 10000"/>
              <a:gd name="connsiteY120" fmla="*/ 9750 h 10000"/>
              <a:gd name="connsiteX121" fmla="*/ 2807 w 10000"/>
              <a:gd name="connsiteY121" fmla="*/ 9584 h 10000"/>
              <a:gd name="connsiteX122" fmla="*/ 2721 w 10000"/>
              <a:gd name="connsiteY122" fmla="*/ 9416 h 10000"/>
              <a:gd name="connsiteX123" fmla="*/ 2891 w 10000"/>
              <a:gd name="connsiteY123" fmla="*/ 9167 h 10000"/>
              <a:gd name="connsiteX124" fmla="*/ 2984 w 10000"/>
              <a:gd name="connsiteY124" fmla="*/ 9250 h 10000"/>
              <a:gd name="connsiteX125" fmla="*/ 3069 w 10000"/>
              <a:gd name="connsiteY125" fmla="*/ 9167 h 10000"/>
              <a:gd name="connsiteX126" fmla="*/ 3069 w 10000"/>
              <a:gd name="connsiteY126" fmla="*/ 9083 h 10000"/>
              <a:gd name="connsiteX127" fmla="*/ 2984 w 10000"/>
              <a:gd name="connsiteY127" fmla="*/ 9083 h 10000"/>
              <a:gd name="connsiteX128" fmla="*/ 3069 w 10000"/>
              <a:gd name="connsiteY128" fmla="*/ 8999 h 10000"/>
              <a:gd name="connsiteX129" fmla="*/ 2984 w 10000"/>
              <a:gd name="connsiteY129" fmla="*/ 8833 h 10000"/>
              <a:gd name="connsiteX130" fmla="*/ 2807 w 10000"/>
              <a:gd name="connsiteY130" fmla="*/ 8833 h 10000"/>
              <a:gd name="connsiteX131" fmla="*/ 2721 w 10000"/>
              <a:gd name="connsiteY131" fmla="*/ 8667 h 10000"/>
              <a:gd name="connsiteX132" fmla="*/ 2807 w 10000"/>
              <a:gd name="connsiteY132" fmla="*/ 8249 h 10000"/>
              <a:gd name="connsiteX133" fmla="*/ 2984 w 10000"/>
              <a:gd name="connsiteY133" fmla="*/ 8418 h 10000"/>
              <a:gd name="connsiteX134" fmla="*/ 3069 w 10000"/>
              <a:gd name="connsiteY134" fmla="*/ 8418 h 10000"/>
              <a:gd name="connsiteX135" fmla="*/ 2984 w 10000"/>
              <a:gd name="connsiteY135" fmla="*/ 8249 h 10000"/>
              <a:gd name="connsiteX136" fmla="*/ 3249 w 10000"/>
              <a:gd name="connsiteY136" fmla="*/ 8000 h 10000"/>
              <a:gd name="connsiteX137" fmla="*/ 3426 w 10000"/>
              <a:gd name="connsiteY137" fmla="*/ 8082 h 10000"/>
              <a:gd name="connsiteX138" fmla="*/ 3511 w 10000"/>
              <a:gd name="connsiteY138" fmla="*/ 8000 h 10000"/>
              <a:gd name="connsiteX139" fmla="*/ 3678 w 10000"/>
              <a:gd name="connsiteY139" fmla="*/ 8082 h 10000"/>
              <a:gd name="connsiteX140" fmla="*/ 3953 w 10000"/>
              <a:gd name="connsiteY140" fmla="*/ 8249 h 10000"/>
              <a:gd name="connsiteX141" fmla="*/ 4121 w 10000"/>
              <a:gd name="connsiteY141" fmla="*/ 8167 h 10000"/>
              <a:gd name="connsiteX142" fmla="*/ 4300 w 10000"/>
              <a:gd name="connsiteY142" fmla="*/ 8167 h 10000"/>
              <a:gd name="connsiteX143" fmla="*/ 4389 w 10000"/>
              <a:gd name="connsiteY143" fmla="*/ 8249 h 10000"/>
              <a:gd name="connsiteX144" fmla="*/ 4740 w 10000"/>
              <a:gd name="connsiteY144" fmla="*/ 8249 h 10000"/>
              <a:gd name="connsiteX145" fmla="*/ 4823 w 10000"/>
              <a:gd name="connsiteY145" fmla="*/ 8082 h 10000"/>
              <a:gd name="connsiteX146" fmla="*/ 4557 w 10000"/>
              <a:gd name="connsiteY146" fmla="*/ 8000 h 10000"/>
              <a:gd name="connsiteX147" fmla="*/ 4740 w 10000"/>
              <a:gd name="connsiteY147" fmla="*/ 7916 h 10000"/>
              <a:gd name="connsiteX148" fmla="*/ 4647 w 10000"/>
              <a:gd name="connsiteY148" fmla="*/ 7833 h 10000"/>
              <a:gd name="connsiteX149" fmla="*/ 4740 w 10000"/>
              <a:gd name="connsiteY149" fmla="*/ 7750 h 10000"/>
              <a:gd name="connsiteX150" fmla="*/ 4740 w 10000"/>
              <a:gd name="connsiteY150" fmla="*/ 7500 h 10000"/>
              <a:gd name="connsiteX151" fmla="*/ 4908 w 10000"/>
              <a:gd name="connsiteY151" fmla="*/ 7584 h 10000"/>
              <a:gd name="connsiteX152" fmla="*/ 5701 w 10000"/>
              <a:gd name="connsiteY152" fmla="*/ 7334 h 10000"/>
              <a:gd name="connsiteX153" fmla="*/ 5701 w 10000"/>
              <a:gd name="connsiteY153" fmla="*/ 7250 h 10000"/>
              <a:gd name="connsiteX154" fmla="*/ 5793 w 10000"/>
              <a:gd name="connsiteY154" fmla="*/ 7250 h 10000"/>
              <a:gd name="connsiteX155" fmla="*/ 6046 w 10000"/>
              <a:gd name="connsiteY155" fmla="*/ 7250 h 10000"/>
              <a:gd name="connsiteX156" fmla="*/ 6145 w 10000"/>
              <a:gd name="connsiteY156" fmla="*/ 7417 h 10000"/>
              <a:gd name="connsiteX157" fmla="*/ 6145 w 10000"/>
              <a:gd name="connsiteY157" fmla="*/ 7500 h 10000"/>
              <a:gd name="connsiteX158" fmla="*/ 6228 w 10000"/>
              <a:gd name="connsiteY158" fmla="*/ 7500 h 10000"/>
              <a:gd name="connsiteX159" fmla="*/ 6401 w 10000"/>
              <a:gd name="connsiteY159" fmla="*/ 7584 h 10000"/>
              <a:gd name="connsiteX160" fmla="*/ 6401 w 10000"/>
              <a:gd name="connsiteY160" fmla="*/ 7668 h 10000"/>
              <a:gd name="connsiteX161" fmla="*/ 6577 w 10000"/>
              <a:gd name="connsiteY161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753 w 10000"/>
              <a:gd name="connsiteY15" fmla="*/ 3333 h 10000"/>
              <a:gd name="connsiteX16" fmla="*/ 6577 w 10000"/>
              <a:gd name="connsiteY16" fmla="*/ 3416 h 10000"/>
              <a:gd name="connsiteX17" fmla="*/ 6674 w 10000"/>
              <a:gd name="connsiteY17" fmla="*/ 3832 h 10000"/>
              <a:gd name="connsiteX18" fmla="*/ 6401 w 10000"/>
              <a:gd name="connsiteY18" fmla="*/ 3748 h 10000"/>
              <a:gd name="connsiteX19" fmla="*/ 6489 w 10000"/>
              <a:gd name="connsiteY19" fmla="*/ 3500 h 10000"/>
              <a:gd name="connsiteX20" fmla="*/ 6305 w 10000"/>
              <a:gd name="connsiteY20" fmla="*/ 3333 h 10000"/>
              <a:gd name="connsiteX21" fmla="*/ 4557 w 10000"/>
              <a:gd name="connsiteY21" fmla="*/ 3416 h 10000"/>
              <a:gd name="connsiteX22" fmla="*/ 4480 w 10000"/>
              <a:gd name="connsiteY22" fmla="*/ 3333 h 10000"/>
              <a:gd name="connsiteX23" fmla="*/ 3953 w 10000"/>
              <a:gd name="connsiteY23" fmla="*/ 3500 h 10000"/>
              <a:gd name="connsiteX24" fmla="*/ 3865 w 10000"/>
              <a:gd name="connsiteY24" fmla="*/ 3665 h 10000"/>
              <a:gd name="connsiteX25" fmla="*/ 3777 w 10000"/>
              <a:gd name="connsiteY25" fmla="*/ 3500 h 10000"/>
              <a:gd name="connsiteX26" fmla="*/ 3777 w 10000"/>
              <a:gd name="connsiteY26" fmla="*/ 3333 h 10000"/>
              <a:gd name="connsiteX27" fmla="*/ 2891 w 10000"/>
              <a:gd name="connsiteY27" fmla="*/ 3832 h 10000"/>
              <a:gd name="connsiteX28" fmla="*/ 2891 w 10000"/>
              <a:gd name="connsiteY28" fmla="*/ 3998 h 10000"/>
              <a:gd name="connsiteX29" fmla="*/ 2721 w 10000"/>
              <a:gd name="connsiteY29" fmla="*/ 4082 h 10000"/>
              <a:gd name="connsiteX30" fmla="*/ 2458 w 10000"/>
              <a:gd name="connsiteY30" fmla="*/ 3916 h 10000"/>
              <a:gd name="connsiteX31" fmla="*/ 2721 w 10000"/>
              <a:gd name="connsiteY31" fmla="*/ 3748 h 10000"/>
              <a:gd name="connsiteX32" fmla="*/ 2627 w 10000"/>
              <a:gd name="connsiteY32" fmla="*/ 3500 h 10000"/>
              <a:gd name="connsiteX33" fmla="*/ 2281 w 10000"/>
              <a:gd name="connsiteY33" fmla="*/ 3416 h 10000"/>
              <a:gd name="connsiteX34" fmla="*/ 2369 w 10000"/>
              <a:gd name="connsiteY34" fmla="*/ 3582 h 10000"/>
              <a:gd name="connsiteX35" fmla="*/ 2369 w 10000"/>
              <a:gd name="connsiteY35" fmla="*/ 3998 h 10000"/>
              <a:gd name="connsiteX36" fmla="*/ 2458 w 10000"/>
              <a:gd name="connsiteY36" fmla="*/ 4167 h 10000"/>
              <a:gd name="connsiteX37" fmla="*/ 2369 w 10000"/>
              <a:gd name="connsiteY37" fmla="*/ 4334 h 10000"/>
              <a:gd name="connsiteX38" fmla="*/ 2100 w 10000"/>
              <a:gd name="connsiteY38" fmla="*/ 4250 h 10000"/>
              <a:gd name="connsiteX39" fmla="*/ 1757 w 10000"/>
              <a:gd name="connsiteY39" fmla="*/ 4498 h 10000"/>
              <a:gd name="connsiteX40" fmla="*/ 1928 w 10000"/>
              <a:gd name="connsiteY40" fmla="*/ 4833 h 10000"/>
              <a:gd name="connsiteX41" fmla="*/ 1399 w 10000"/>
              <a:gd name="connsiteY41" fmla="*/ 4666 h 10000"/>
              <a:gd name="connsiteX42" fmla="*/ 1315 w 10000"/>
              <a:gd name="connsiteY42" fmla="*/ 4748 h 10000"/>
              <a:gd name="connsiteX43" fmla="*/ 1494 w 10000"/>
              <a:gd name="connsiteY43" fmla="*/ 4999 h 10000"/>
              <a:gd name="connsiteX44" fmla="*/ 1315 w 10000"/>
              <a:gd name="connsiteY44" fmla="*/ 4999 h 10000"/>
              <a:gd name="connsiteX45" fmla="*/ 1055 w 10000"/>
              <a:gd name="connsiteY45" fmla="*/ 4833 h 10000"/>
              <a:gd name="connsiteX46" fmla="*/ 1055 w 10000"/>
              <a:gd name="connsiteY46" fmla="*/ 4334 h 10000"/>
              <a:gd name="connsiteX47" fmla="*/ 793 w 10000"/>
              <a:gd name="connsiteY47" fmla="*/ 4167 h 10000"/>
              <a:gd name="connsiteX48" fmla="*/ 702 w 10000"/>
              <a:gd name="connsiteY48" fmla="*/ 3998 h 10000"/>
              <a:gd name="connsiteX49" fmla="*/ 873 w 10000"/>
              <a:gd name="connsiteY49" fmla="*/ 4082 h 10000"/>
              <a:gd name="connsiteX50" fmla="*/ 1574 w 10000"/>
              <a:gd name="connsiteY50" fmla="*/ 4334 h 10000"/>
              <a:gd name="connsiteX51" fmla="*/ 2009 w 10000"/>
              <a:gd name="connsiteY51" fmla="*/ 4082 h 10000"/>
              <a:gd name="connsiteX52" fmla="*/ 1928 w 10000"/>
              <a:gd name="connsiteY52" fmla="*/ 3832 h 10000"/>
              <a:gd name="connsiteX53" fmla="*/ 1399 w 10000"/>
              <a:gd name="connsiteY53" fmla="*/ 3333 h 10000"/>
              <a:gd name="connsiteX54" fmla="*/ 873 w 10000"/>
              <a:gd name="connsiteY54" fmla="*/ 3166 h 10000"/>
              <a:gd name="connsiteX55" fmla="*/ 873 w 10000"/>
              <a:gd name="connsiteY55" fmla="*/ 3083 h 10000"/>
              <a:gd name="connsiteX56" fmla="*/ 702 w 10000"/>
              <a:gd name="connsiteY56" fmla="*/ 2997 h 10000"/>
              <a:gd name="connsiteX57" fmla="*/ 523 w 10000"/>
              <a:gd name="connsiteY57" fmla="*/ 3083 h 10000"/>
              <a:gd name="connsiteX58" fmla="*/ 523 w 10000"/>
              <a:gd name="connsiteY58" fmla="*/ 3166 h 10000"/>
              <a:gd name="connsiteX59" fmla="*/ 437 w 10000"/>
              <a:gd name="connsiteY59" fmla="*/ 3166 h 10000"/>
              <a:gd name="connsiteX60" fmla="*/ 263 w 10000"/>
              <a:gd name="connsiteY60" fmla="*/ 3333 h 10000"/>
              <a:gd name="connsiteX61" fmla="*/ 263 w 10000"/>
              <a:gd name="connsiteY61" fmla="*/ 3582 h 10000"/>
              <a:gd name="connsiteX62" fmla="*/ 437 w 10000"/>
              <a:gd name="connsiteY62" fmla="*/ 3748 h 10000"/>
              <a:gd name="connsiteX63" fmla="*/ 353 w 10000"/>
              <a:gd name="connsiteY63" fmla="*/ 3998 h 10000"/>
              <a:gd name="connsiteX64" fmla="*/ 437 w 10000"/>
              <a:gd name="connsiteY64" fmla="*/ 4417 h 10000"/>
              <a:gd name="connsiteX65" fmla="*/ 353 w 10000"/>
              <a:gd name="connsiteY65" fmla="*/ 4666 h 10000"/>
              <a:gd name="connsiteX66" fmla="*/ 523 w 10000"/>
              <a:gd name="connsiteY66" fmla="*/ 4916 h 10000"/>
              <a:gd name="connsiteX67" fmla="*/ 437 w 10000"/>
              <a:gd name="connsiteY67" fmla="*/ 5083 h 10000"/>
              <a:gd name="connsiteX68" fmla="*/ 611 w 10000"/>
              <a:gd name="connsiteY68" fmla="*/ 5250 h 10000"/>
              <a:gd name="connsiteX69" fmla="*/ 611 w 10000"/>
              <a:gd name="connsiteY69" fmla="*/ 5333 h 10000"/>
              <a:gd name="connsiteX70" fmla="*/ 353 w 10000"/>
              <a:gd name="connsiteY70" fmla="*/ 5750 h 10000"/>
              <a:gd name="connsiteX71" fmla="*/ 80 w 10000"/>
              <a:gd name="connsiteY71" fmla="*/ 5917 h 10000"/>
              <a:gd name="connsiteX72" fmla="*/ 172 w 10000"/>
              <a:gd name="connsiteY72" fmla="*/ 5917 h 10000"/>
              <a:gd name="connsiteX73" fmla="*/ 353 w 10000"/>
              <a:gd name="connsiteY73" fmla="*/ 6083 h 10000"/>
              <a:gd name="connsiteX74" fmla="*/ 172 w 10000"/>
              <a:gd name="connsiteY74" fmla="*/ 6249 h 10000"/>
              <a:gd name="connsiteX75" fmla="*/ 80 w 10000"/>
              <a:gd name="connsiteY75" fmla="*/ 6334 h 10000"/>
              <a:gd name="connsiteX76" fmla="*/ 0 w 10000"/>
              <a:gd name="connsiteY76" fmla="*/ 6334 h 10000"/>
              <a:gd name="connsiteX77" fmla="*/ 80 w 10000"/>
              <a:gd name="connsiteY77" fmla="*/ 6584 h 10000"/>
              <a:gd name="connsiteX78" fmla="*/ 80 w 10000"/>
              <a:gd name="connsiteY78" fmla="*/ 6667 h 10000"/>
              <a:gd name="connsiteX79" fmla="*/ 80 w 10000"/>
              <a:gd name="connsiteY79" fmla="*/ 6749 h 10000"/>
              <a:gd name="connsiteX80" fmla="*/ 80 w 10000"/>
              <a:gd name="connsiteY80" fmla="*/ 6834 h 10000"/>
              <a:gd name="connsiteX81" fmla="*/ 172 w 10000"/>
              <a:gd name="connsiteY81" fmla="*/ 6998 h 10000"/>
              <a:gd name="connsiteX82" fmla="*/ 437 w 10000"/>
              <a:gd name="connsiteY82" fmla="*/ 7083 h 10000"/>
              <a:gd name="connsiteX83" fmla="*/ 523 w 10000"/>
              <a:gd name="connsiteY83" fmla="*/ 7165 h 10000"/>
              <a:gd name="connsiteX84" fmla="*/ 523 w 10000"/>
              <a:gd name="connsiteY84" fmla="*/ 7334 h 10000"/>
              <a:gd name="connsiteX85" fmla="*/ 702 w 10000"/>
              <a:gd name="connsiteY85" fmla="*/ 7584 h 10000"/>
              <a:gd name="connsiteX86" fmla="*/ 793 w 10000"/>
              <a:gd name="connsiteY86" fmla="*/ 7584 h 10000"/>
              <a:gd name="connsiteX87" fmla="*/ 702 w 10000"/>
              <a:gd name="connsiteY87" fmla="*/ 7750 h 10000"/>
              <a:gd name="connsiteX88" fmla="*/ 611 w 10000"/>
              <a:gd name="connsiteY88" fmla="*/ 7668 h 10000"/>
              <a:gd name="connsiteX89" fmla="*/ 611 w 10000"/>
              <a:gd name="connsiteY89" fmla="*/ 7750 h 10000"/>
              <a:gd name="connsiteX90" fmla="*/ 702 w 10000"/>
              <a:gd name="connsiteY90" fmla="*/ 7916 h 10000"/>
              <a:gd name="connsiteX91" fmla="*/ 971 w 10000"/>
              <a:gd name="connsiteY91" fmla="*/ 7916 h 10000"/>
              <a:gd name="connsiteX92" fmla="*/ 1055 w 10000"/>
              <a:gd name="connsiteY92" fmla="*/ 8000 h 10000"/>
              <a:gd name="connsiteX93" fmla="*/ 971 w 10000"/>
              <a:gd name="connsiteY93" fmla="*/ 8000 h 10000"/>
              <a:gd name="connsiteX94" fmla="*/ 1055 w 10000"/>
              <a:gd name="connsiteY94" fmla="*/ 8082 h 10000"/>
              <a:gd name="connsiteX95" fmla="*/ 1139 w 10000"/>
              <a:gd name="connsiteY95" fmla="*/ 8082 h 10000"/>
              <a:gd name="connsiteX96" fmla="*/ 1224 w 10000"/>
              <a:gd name="connsiteY96" fmla="*/ 8249 h 10000"/>
              <a:gd name="connsiteX97" fmla="*/ 1315 w 10000"/>
              <a:gd name="connsiteY97" fmla="*/ 8332 h 10000"/>
              <a:gd name="connsiteX98" fmla="*/ 1399 w 10000"/>
              <a:gd name="connsiteY98" fmla="*/ 8249 h 10000"/>
              <a:gd name="connsiteX99" fmla="*/ 1843 w 10000"/>
              <a:gd name="connsiteY99" fmla="*/ 8500 h 10000"/>
              <a:gd name="connsiteX100" fmla="*/ 1757 w 10000"/>
              <a:gd name="connsiteY100" fmla="*/ 8833 h 10000"/>
              <a:gd name="connsiteX101" fmla="*/ 1668 w 10000"/>
              <a:gd name="connsiteY101" fmla="*/ 8750 h 10000"/>
              <a:gd name="connsiteX102" fmla="*/ 1574 w 10000"/>
              <a:gd name="connsiteY102" fmla="*/ 8833 h 10000"/>
              <a:gd name="connsiteX103" fmla="*/ 1574 w 10000"/>
              <a:gd name="connsiteY103" fmla="*/ 8999 h 10000"/>
              <a:gd name="connsiteX104" fmla="*/ 1668 w 10000"/>
              <a:gd name="connsiteY104" fmla="*/ 8917 h 10000"/>
              <a:gd name="connsiteX105" fmla="*/ 1757 w 10000"/>
              <a:gd name="connsiteY105" fmla="*/ 8999 h 10000"/>
              <a:gd name="connsiteX106" fmla="*/ 1494 w 10000"/>
              <a:gd name="connsiteY106" fmla="*/ 9083 h 10000"/>
              <a:gd name="connsiteX107" fmla="*/ 1574 w 10000"/>
              <a:gd name="connsiteY107" fmla="*/ 9167 h 10000"/>
              <a:gd name="connsiteX108" fmla="*/ 1399 w 10000"/>
              <a:gd name="connsiteY108" fmla="*/ 9333 h 10000"/>
              <a:gd name="connsiteX109" fmla="*/ 1315 w 10000"/>
              <a:gd name="connsiteY109" fmla="*/ 9333 h 10000"/>
              <a:gd name="connsiteX110" fmla="*/ 1399 w 10000"/>
              <a:gd name="connsiteY110" fmla="*/ 9333 h 10000"/>
              <a:gd name="connsiteX111" fmla="*/ 1757 w 10000"/>
              <a:gd name="connsiteY111" fmla="*/ 9668 h 10000"/>
              <a:gd name="connsiteX112" fmla="*/ 2195 w 10000"/>
              <a:gd name="connsiteY112" fmla="*/ 9668 h 10000"/>
              <a:gd name="connsiteX113" fmla="*/ 2369 w 10000"/>
              <a:gd name="connsiteY113" fmla="*/ 9750 h 10000"/>
              <a:gd name="connsiteX114" fmla="*/ 2543 w 10000"/>
              <a:gd name="connsiteY114" fmla="*/ 9750 h 10000"/>
              <a:gd name="connsiteX115" fmla="*/ 2721 w 10000"/>
              <a:gd name="connsiteY115" fmla="*/ 9918 h 10000"/>
              <a:gd name="connsiteX116" fmla="*/ 2807 w 10000"/>
              <a:gd name="connsiteY116" fmla="*/ 10000 h 10000"/>
              <a:gd name="connsiteX117" fmla="*/ 2891 w 10000"/>
              <a:gd name="connsiteY117" fmla="*/ 10000 h 10000"/>
              <a:gd name="connsiteX118" fmla="*/ 2984 w 10000"/>
              <a:gd name="connsiteY118" fmla="*/ 9918 h 10000"/>
              <a:gd name="connsiteX119" fmla="*/ 2807 w 10000"/>
              <a:gd name="connsiteY119" fmla="*/ 9750 h 10000"/>
              <a:gd name="connsiteX120" fmla="*/ 2807 w 10000"/>
              <a:gd name="connsiteY120" fmla="*/ 9584 h 10000"/>
              <a:gd name="connsiteX121" fmla="*/ 2721 w 10000"/>
              <a:gd name="connsiteY121" fmla="*/ 9416 h 10000"/>
              <a:gd name="connsiteX122" fmla="*/ 2891 w 10000"/>
              <a:gd name="connsiteY122" fmla="*/ 9167 h 10000"/>
              <a:gd name="connsiteX123" fmla="*/ 2984 w 10000"/>
              <a:gd name="connsiteY123" fmla="*/ 9250 h 10000"/>
              <a:gd name="connsiteX124" fmla="*/ 3069 w 10000"/>
              <a:gd name="connsiteY124" fmla="*/ 9167 h 10000"/>
              <a:gd name="connsiteX125" fmla="*/ 3069 w 10000"/>
              <a:gd name="connsiteY125" fmla="*/ 9083 h 10000"/>
              <a:gd name="connsiteX126" fmla="*/ 2984 w 10000"/>
              <a:gd name="connsiteY126" fmla="*/ 9083 h 10000"/>
              <a:gd name="connsiteX127" fmla="*/ 3069 w 10000"/>
              <a:gd name="connsiteY127" fmla="*/ 8999 h 10000"/>
              <a:gd name="connsiteX128" fmla="*/ 2984 w 10000"/>
              <a:gd name="connsiteY128" fmla="*/ 8833 h 10000"/>
              <a:gd name="connsiteX129" fmla="*/ 2807 w 10000"/>
              <a:gd name="connsiteY129" fmla="*/ 8833 h 10000"/>
              <a:gd name="connsiteX130" fmla="*/ 2721 w 10000"/>
              <a:gd name="connsiteY130" fmla="*/ 8667 h 10000"/>
              <a:gd name="connsiteX131" fmla="*/ 2807 w 10000"/>
              <a:gd name="connsiteY131" fmla="*/ 8249 h 10000"/>
              <a:gd name="connsiteX132" fmla="*/ 2984 w 10000"/>
              <a:gd name="connsiteY132" fmla="*/ 8418 h 10000"/>
              <a:gd name="connsiteX133" fmla="*/ 3069 w 10000"/>
              <a:gd name="connsiteY133" fmla="*/ 8418 h 10000"/>
              <a:gd name="connsiteX134" fmla="*/ 2984 w 10000"/>
              <a:gd name="connsiteY134" fmla="*/ 8249 h 10000"/>
              <a:gd name="connsiteX135" fmla="*/ 3249 w 10000"/>
              <a:gd name="connsiteY135" fmla="*/ 8000 h 10000"/>
              <a:gd name="connsiteX136" fmla="*/ 3426 w 10000"/>
              <a:gd name="connsiteY136" fmla="*/ 8082 h 10000"/>
              <a:gd name="connsiteX137" fmla="*/ 3511 w 10000"/>
              <a:gd name="connsiteY137" fmla="*/ 8000 h 10000"/>
              <a:gd name="connsiteX138" fmla="*/ 3678 w 10000"/>
              <a:gd name="connsiteY138" fmla="*/ 8082 h 10000"/>
              <a:gd name="connsiteX139" fmla="*/ 3953 w 10000"/>
              <a:gd name="connsiteY139" fmla="*/ 8249 h 10000"/>
              <a:gd name="connsiteX140" fmla="*/ 4121 w 10000"/>
              <a:gd name="connsiteY140" fmla="*/ 8167 h 10000"/>
              <a:gd name="connsiteX141" fmla="*/ 4300 w 10000"/>
              <a:gd name="connsiteY141" fmla="*/ 8167 h 10000"/>
              <a:gd name="connsiteX142" fmla="*/ 4389 w 10000"/>
              <a:gd name="connsiteY142" fmla="*/ 8249 h 10000"/>
              <a:gd name="connsiteX143" fmla="*/ 4740 w 10000"/>
              <a:gd name="connsiteY143" fmla="*/ 8249 h 10000"/>
              <a:gd name="connsiteX144" fmla="*/ 4823 w 10000"/>
              <a:gd name="connsiteY144" fmla="*/ 8082 h 10000"/>
              <a:gd name="connsiteX145" fmla="*/ 4557 w 10000"/>
              <a:gd name="connsiteY145" fmla="*/ 8000 h 10000"/>
              <a:gd name="connsiteX146" fmla="*/ 4740 w 10000"/>
              <a:gd name="connsiteY146" fmla="*/ 7916 h 10000"/>
              <a:gd name="connsiteX147" fmla="*/ 4647 w 10000"/>
              <a:gd name="connsiteY147" fmla="*/ 7833 h 10000"/>
              <a:gd name="connsiteX148" fmla="*/ 4740 w 10000"/>
              <a:gd name="connsiteY148" fmla="*/ 7750 h 10000"/>
              <a:gd name="connsiteX149" fmla="*/ 4740 w 10000"/>
              <a:gd name="connsiteY149" fmla="*/ 7500 h 10000"/>
              <a:gd name="connsiteX150" fmla="*/ 4908 w 10000"/>
              <a:gd name="connsiteY150" fmla="*/ 7584 h 10000"/>
              <a:gd name="connsiteX151" fmla="*/ 5701 w 10000"/>
              <a:gd name="connsiteY151" fmla="*/ 7334 h 10000"/>
              <a:gd name="connsiteX152" fmla="*/ 5701 w 10000"/>
              <a:gd name="connsiteY152" fmla="*/ 7250 h 10000"/>
              <a:gd name="connsiteX153" fmla="*/ 5793 w 10000"/>
              <a:gd name="connsiteY153" fmla="*/ 7250 h 10000"/>
              <a:gd name="connsiteX154" fmla="*/ 6046 w 10000"/>
              <a:gd name="connsiteY154" fmla="*/ 7250 h 10000"/>
              <a:gd name="connsiteX155" fmla="*/ 6145 w 10000"/>
              <a:gd name="connsiteY155" fmla="*/ 7417 h 10000"/>
              <a:gd name="connsiteX156" fmla="*/ 6145 w 10000"/>
              <a:gd name="connsiteY156" fmla="*/ 7500 h 10000"/>
              <a:gd name="connsiteX157" fmla="*/ 6228 w 10000"/>
              <a:gd name="connsiteY157" fmla="*/ 7500 h 10000"/>
              <a:gd name="connsiteX158" fmla="*/ 6401 w 10000"/>
              <a:gd name="connsiteY158" fmla="*/ 7584 h 10000"/>
              <a:gd name="connsiteX159" fmla="*/ 6401 w 10000"/>
              <a:gd name="connsiteY159" fmla="*/ 7668 h 10000"/>
              <a:gd name="connsiteX160" fmla="*/ 6577 w 10000"/>
              <a:gd name="connsiteY160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753 w 10000"/>
              <a:gd name="connsiteY15" fmla="*/ 3333 h 10000"/>
              <a:gd name="connsiteX16" fmla="*/ 6577 w 10000"/>
              <a:gd name="connsiteY16" fmla="*/ 3416 h 10000"/>
              <a:gd name="connsiteX17" fmla="*/ 6401 w 10000"/>
              <a:gd name="connsiteY17" fmla="*/ 3748 h 10000"/>
              <a:gd name="connsiteX18" fmla="*/ 6489 w 10000"/>
              <a:gd name="connsiteY18" fmla="*/ 3500 h 10000"/>
              <a:gd name="connsiteX19" fmla="*/ 6305 w 10000"/>
              <a:gd name="connsiteY19" fmla="*/ 3333 h 10000"/>
              <a:gd name="connsiteX20" fmla="*/ 4557 w 10000"/>
              <a:gd name="connsiteY20" fmla="*/ 3416 h 10000"/>
              <a:gd name="connsiteX21" fmla="*/ 4480 w 10000"/>
              <a:gd name="connsiteY21" fmla="*/ 3333 h 10000"/>
              <a:gd name="connsiteX22" fmla="*/ 3953 w 10000"/>
              <a:gd name="connsiteY22" fmla="*/ 3500 h 10000"/>
              <a:gd name="connsiteX23" fmla="*/ 3865 w 10000"/>
              <a:gd name="connsiteY23" fmla="*/ 3665 h 10000"/>
              <a:gd name="connsiteX24" fmla="*/ 3777 w 10000"/>
              <a:gd name="connsiteY24" fmla="*/ 3500 h 10000"/>
              <a:gd name="connsiteX25" fmla="*/ 3777 w 10000"/>
              <a:gd name="connsiteY25" fmla="*/ 3333 h 10000"/>
              <a:gd name="connsiteX26" fmla="*/ 2891 w 10000"/>
              <a:gd name="connsiteY26" fmla="*/ 3832 h 10000"/>
              <a:gd name="connsiteX27" fmla="*/ 2891 w 10000"/>
              <a:gd name="connsiteY27" fmla="*/ 3998 h 10000"/>
              <a:gd name="connsiteX28" fmla="*/ 2721 w 10000"/>
              <a:gd name="connsiteY28" fmla="*/ 4082 h 10000"/>
              <a:gd name="connsiteX29" fmla="*/ 2458 w 10000"/>
              <a:gd name="connsiteY29" fmla="*/ 3916 h 10000"/>
              <a:gd name="connsiteX30" fmla="*/ 2721 w 10000"/>
              <a:gd name="connsiteY30" fmla="*/ 3748 h 10000"/>
              <a:gd name="connsiteX31" fmla="*/ 2627 w 10000"/>
              <a:gd name="connsiteY31" fmla="*/ 3500 h 10000"/>
              <a:gd name="connsiteX32" fmla="*/ 2281 w 10000"/>
              <a:gd name="connsiteY32" fmla="*/ 3416 h 10000"/>
              <a:gd name="connsiteX33" fmla="*/ 2369 w 10000"/>
              <a:gd name="connsiteY33" fmla="*/ 3582 h 10000"/>
              <a:gd name="connsiteX34" fmla="*/ 2369 w 10000"/>
              <a:gd name="connsiteY34" fmla="*/ 3998 h 10000"/>
              <a:gd name="connsiteX35" fmla="*/ 2458 w 10000"/>
              <a:gd name="connsiteY35" fmla="*/ 4167 h 10000"/>
              <a:gd name="connsiteX36" fmla="*/ 2369 w 10000"/>
              <a:gd name="connsiteY36" fmla="*/ 4334 h 10000"/>
              <a:gd name="connsiteX37" fmla="*/ 2100 w 10000"/>
              <a:gd name="connsiteY37" fmla="*/ 4250 h 10000"/>
              <a:gd name="connsiteX38" fmla="*/ 1757 w 10000"/>
              <a:gd name="connsiteY38" fmla="*/ 4498 h 10000"/>
              <a:gd name="connsiteX39" fmla="*/ 1928 w 10000"/>
              <a:gd name="connsiteY39" fmla="*/ 4833 h 10000"/>
              <a:gd name="connsiteX40" fmla="*/ 1399 w 10000"/>
              <a:gd name="connsiteY40" fmla="*/ 4666 h 10000"/>
              <a:gd name="connsiteX41" fmla="*/ 1315 w 10000"/>
              <a:gd name="connsiteY41" fmla="*/ 4748 h 10000"/>
              <a:gd name="connsiteX42" fmla="*/ 1494 w 10000"/>
              <a:gd name="connsiteY42" fmla="*/ 4999 h 10000"/>
              <a:gd name="connsiteX43" fmla="*/ 1315 w 10000"/>
              <a:gd name="connsiteY43" fmla="*/ 4999 h 10000"/>
              <a:gd name="connsiteX44" fmla="*/ 1055 w 10000"/>
              <a:gd name="connsiteY44" fmla="*/ 4833 h 10000"/>
              <a:gd name="connsiteX45" fmla="*/ 1055 w 10000"/>
              <a:gd name="connsiteY45" fmla="*/ 4334 h 10000"/>
              <a:gd name="connsiteX46" fmla="*/ 793 w 10000"/>
              <a:gd name="connsiteY46" fmla="*/ 4167 h 10000"/>
              <a:gd name="connsiteX47" fmla="*/ 702 w 10000"/>
              <a:gd name="connsiteY47" fmla="*/ 3998 h 10000"/>
              <a:gd name="connsiteX48" fmla="*/ 873 w 10000"/>
              <a:gd name="connsiteY48" fmla="*/ 4082 h 10000"/>
              <a:gd name="connsiteX49" fmla="*/ 1574 w 10000"/>
              <a:gd name="connsiteY49" fmla="*/ 4334 h 10000"/>
              <a:gd name="connsiteX50" fmla="*/ 2009 w 10000"/>
              <a:gd name="connsiteY50" fmla="*/ 4082 h 10000"/>
              <a:gd name="connsiteX51" fmla="*/ 1928 w 10000"/>
              <a:gd name="connsiteY51" fmla="*/ 3832 h 10000"/>
              <a:gd name="connsiteX52" fmla="*/ 1399 w 10000"/>
              <a:gd name="connsiteY52" fmla="*/ 3333 h 10000"/>
              <a:gd name="connsiteX53" fmla="*/ 873 w 10000"/>
              <a:gd name="connsiteY53" fmla="*/ 3166 h 10000"/>
              <a:gd name="connsiteX54" fmla="*/ 873 w 10000"/>
              <a:gd name="connsiteY54" fmla="*/ 3083 h 10000"/>
              <a:gd name="connsiteX55" fmla="*/ 702 w 10000"/>
              <a:gd name="connsiteY55" fmla="*/ 2997 h 10000"/>
              <a:gd name="connsiteX56" fmla="*/ 523 w 10000"/>
              <a:gd name="connsiteY56" fmla="*/ 3083 h 10000"/>
              <a:gd name="connsiteX57" fmla="*/ 523 w 10000"/>
              <a:gd name="connsiteY57" fmla="*/ 3166 h 10000"/>
              <a:gd name="connsiteX58" fmla="*/ 437 w 10000"/>
              <a:gd name="connsiteY58" fmla="*/ 3166 h 10000"/>
              <a:gd name="connsiteX59" fmla="*/ 263 w 10000"/>
              <a:gd name="connsiteY59" fmla="*/ 3333 h 10000"/>
              <a:gd name="connsiteX60" fmla="*/ 263 w 10000"/>
              <a:gd name="connsiteY60" fmla="*/ 3582 h 10000"/>
              <a:gd name="connsiteX61" fmla="*/ 437 w 10000"/>
              <a:gd name="connsiteY61" fmla="*/ 3748 h 10000"/>
              <a:gd name="connsiteX62" fmla="*/ 353 w 10000"/>
              <a:gd name="connsiteY62" fmla="*/ 3998 h 10000"/>
              <a:gd name="connsiteX63" fmla="*/ 437 w 10000"/>
              <a:gd name="connsiteY63" fmla="*/ 4417 h 10000"/>
              <a:gd name="connsiteX64" fmla="*/ 353 w 10000"/>
              <a:gd name="connsiteY64" fmla="*/ 4666 h 10000"/>
              <a:gd name="connsiteX65" fmla="*/ 523 w 10000"/>
              <a:gd name="connsiteY65" fmla="*/ 4916 h 10000"/>
              <a:gd name="connsiteX66" fmla="*/ 437 w 10000"/>
              <a:gd name="connsiteY66" fmla="*/ 5083 h 10000"/>
              <a:gd name="connsiteX67" fmla="*/ 611 w 10000"/>
              <a:gd name="connsiteY67" fmla="*/ 5250 h 10000"/>
              <a:gd name="connsiteX68" fmla="*/ 611 w 10000"/>
              <a:gd name="connsiteY68" fmla="*/ 5333 h 10000"/>
              <a:gd name="connsiteX69" fmla="*/ 353 w 10000"/>
              <a:gd name="connsiteY69" fmla="*/ 5750 h 10000"/>
              <a:gd name="connsiteX70" fmla="*/ 80 w 10000"/>
              <a:gd name="connsiteY70" fmla="*/ 5917 h 10000"/>
              <a:gd name="connsiteX71" fmla="*/ 172 w 10000"/>
              <a:gd name="connsiteY71" fmla="*/ 5917 h 10000"/>
              <a:gd name="connsiteX72" fmla="*/ 353 w 10000"/>
              <a:gd name="connsiteY72" fmla="*/ 6083 h 10000"/>
              <a:gd name="connsiteX73" fmla="*/ 172 w 10000"/>
              <a:gd name="connsiteY73" fmla="*/ 6249 h 10000"/>
              <a:gd name="connsiteX74" fmla="*/ 80 w 10000"/>
              <a:gd name="connsiteY74" fmla="*/ 6334 h 10000"/>
              <a:gd name="connsiteX75" fmla="*/ 0 w 10000"/>
              <a:gd name="connsiteY75" fmla="*/ 6334 h 10000"/>
              <a:gd name="connsiteX76" fmla="*/ 80 w 10000"/>
              <a:gd name="connsiteY76" fmla="*/ 6584 h 10000"/>
              <a:gd name="connsiteX77" fmla="*/ 80 w 10000"/>
              <a:gd name="connsiteY77" fmla="*/ 6667 h 10000"/>
              <a:gd name="connsiteX78" fmla="*/ 80 w 10000"/>
              <a:gd name="connsiteY78" fmla="*/ 6749 h 10000"/>
              <a:gd name="connsiteX79" fmla="*/ 80 w 10000"/>
              <a:gd name="connsiteY79" fmla="*/ 6834 h 10000"/>
              <a:gd name="connsiteX80" fmla="*/ 172 w 10000"/>
              <a:gd name="connsiteY80" fmla="*/ 6998 h 10000"/>
              <a:gd name="connsiteX81" fmla="*/ 437 w 10000"/>
              <a:gd name="connsiteY81" fmla="*/ 7083 h 10000"/>
              <a:gd name="connsiteX82" fmla="*/ 523 w 10000"/>
              <a:gd name="connsiteY82" fmla="*/ 7165 h 10000"/>
              <a:gd name="connsiteX83" fmla="*/ 523 w 10000"/>
              <a:gd name="connsiteY83" fmla="*/ 7334 h 10000"/>
              <a:gd name="connsiteX84" fmla="*/ 702 w 10000"/>
              <a:gd name="connsiteY84" fmla="*/ 7584 h 10000"/>
              <a:gd name="connsiteX85" fmla="*/ 793 w 10000"/>
              <a:gd name="connsiteY85" fmla="*/ 7584 h 10000"/>
              <a:gd name="connsiteX86" fmla="*/ 702 w 10000"/>
              <a:gd name="connsiteY86" fmla="*/ 7750 h 10000"/>
              <a:gd name="connsiteX87" fmla="*/ 611 w 10000"/>
              <a:gd name="connsiteY87" fmla="*/ 7668 h 10000"/>
              <a:gd name="connsiteX88" fmla="*/ 611 w 10000"/>
              <a:gd name="connsiteY88" fmla="*/ 7750 h 10000"/>
              <a:gd name="connsiteX89" fmla="*/ 702 w 10000"/>
              <a:gd name="connsiteY89" fmla="*/ 7916 h 10000"/>
              <a:gd name="connsiteX90" fmla="*/ 971 w 10000"/>
              <a:gd name="connsiteY90" fmla="*/ 7916 h 10000"/>
              <a:gd name="connsiteX91" fmla="*/ 1055 w 10000"/>
              <a:gd name="connsiteY91" fmla="*/ 8000 h 10000"/>
              <a:gd name="connsiteX92" fmla="*/ 971 w 10000"/>
              <a:gd name="connsiteY92" fmla="*/ 8000 h 10000"/>
              <a:gd name="connsiteX93" fmla="*/ 1055 w 10000"/>
              <a:gd name="connsiteY93" fmla="*/ 8082 h 10000"/>
              <a:gd name="connsiteX94" fmla="*/ 1139 w 10000"/>
              <a:gd name="connsiteY94" fmla="*/ 8082 h 10000"/>
              <a:gd name="connsiteX95" fmla="*/ 1224 w 10000"/>
              <a:gd name="connsiteY95" fmla="*/ 8249 h 10000"/>
              <a:gd name="connsiteX96" fmla="*/ 1315 w 10000"/>
              <a:gd name="connsiteY96" fmla="*/ 8332 h 10000"/>
              <a:gd name="connsiteX97" fmla="*/ 1399 w 10000"/>
              <a:gd name="connsiteY97" fmla="*/ 8249 h 10000"/>
              <a:gd name="connsiteX98" fmla="*/ 1843 w 10000"/>
              <a:gd name="connsiteY98" fmla="*/ 8500 h 10000"/>
              <a:gd name="connsiteX99" fmla="*/ 1757 w 10000"/>
              <a:gd name="connsiteY99" fmla="*/ 8833 h 10000"/>
              <a:gd name="connsiteX100" fmla="*/ 1668 w 10000"/>
              <a:gd name="connsiteY100" fmla="*/ 8750 h 10000"/>
              <a:gd name="connsiteX101" fmla="*/ 1574 w 10000"/>
              <a:gd name="connsiteY101" fmla="*/ 8833 h 10000"/>
              <a:gd name="connsiteX102" fmla="*/ 1574 w 10000"/>
              <a:gd name="connsiteY102" fmla="*/ 8999 h 10000"/>
              <a:gd name="connsiteX103" fmla="*/ 1668 w 10000"/>
              <a:gd name="connsiteY103" fmla="*/ 8917 h 10000"/>
              <a:gd name="connsiteX104" fmla="*/ 1757 w 10000"/>
              <a:gd name="connsiteY104" fmla="*/ 8999 h 10000"/>
              <a:gd name="connsiteX105" fmla="*/ 1494 w 10000"/>
              <a:gd name="connsiteY105" fmla="*/ 9083 h 10000"/>
              <a:gd name="connsiteX106" fmla="*/ 1574 w 10000"/>
              <a:gd name="connsiteY106" fmla="*/ 9167 h 10000"/>
              <a:gd name="connsiteX107" fmla="*/ 1399 w 10000"/>
              <a:gd name="connsiteY107" fmla="*/ 9333 h 10000"/>
              <a:gd name="connsiteX108" fmla="*/ 1315 w 10000"/>
              <a:gd name="connsiteY108" fmla="*/ 9333 h 10000"/>
              <a:gd name="connsiteX109" fmla="*/ 1399 w 10000"/>
              <a:gd name="connsiteY109" fmla="*/ 9333 h 10000"/>
              <a:gd name="connsiteX110" fmla="*/ 1757 w 10000"/>
              <a:gd name="connsiteY110" fmla="*/ 9668 h 10000"/>
              <a:gd name="connsiteX111" fmla="*/ 2195 w 10000"/>
              <a:gd name="connsiteY111" fmla="*/ 9668 h 10000"/>
              <a:gd name="connsiteX112" fmla="*/ 2369 w 10000"/>
              <a:gd name="connsiteY112" fmla="*/ 9750 h 10000"/>
              <a:gd name="connsiteX113" fmla="*/ 2543 w 10000"/>
              <a:gd name="connsiteY113" fmla="*/ 9750 h 10000"/>
              <a:gd name="connsiteX114" fmla="*/ 2721 w 10000"/>
              <a:gd name="connsiteY114" fmla="*/ 9918 h 10000"/>
              <a:gd name="connsiteX115" fmla="*/ 2807 w 10000"/>
              <a:gd name="connsiteY115" fmla="*/ 10000 h 10000"/>
              <a:gd name="connsiteX116" fmla="*/ 2891 w 10000"/>
              <a:gd name="connsiteY116" fmla="*/ 10000 h 10000"/>
              <a:gd name="connsiteX117" fmla="*/ 2984 w 10000"/>
              <a:gd name="connsiteY117" fmla="*/ 9918 h 10000"/>
              <a:gd name="connsiteX118" fmla="*/ 2807 w 10000"/>
              <a:gd name="connsiteY118" fmla="*/ 9750 h 10000"/>
              <a:gd name="connsiteX119" fmla="*/ 2807 w 10000"/>
              <a:gd name="connsiteY119" fmla="*/ 9584 h 10000"/>
              <a:gd name="connsiteX120" fmla="*/ 2721 w 10000"/>
              <a:gd name="connsiteY120" fmla="*/ 9416 h 10000"/>
              <a:gd name="connsiteX121" fmla="*/ 2891 w 10000"/>
              <a:gd name="connsiteY121" fmla="*/ 9167 h 10000"/>
              <a:gd name="connsiteX122" fmla="*/ 2984 w 10000"/>
              <a:gd name="connsiteY122" fmla="*/ 9250 h 10000"/>
              <a:gd name="connsiteX123" fmla="*/ 3069 w 10000"/>
              <a:gd name="connsiteY123" fmla="*/ 9167 h 10000"/>
              <a:gd name="connsiteX124" fmla="*/ 3069 w 10000"/>
              <a:gd name="connsiteY124" fmla="*/ 9083 h 10000"/>
              <a:gd name="connsiteX125" fmla="*/ 2984 w 10000"/>
              <a:gd name="connsiteY125" fmla="*/ 9083 h 10000"/>
              <a:gd name="connsiteX126" fmla="*/ 3069 w 10000"/>
              <a:gd name="connsiteY126" fmla="*/ 8999 h 10000"/>
              <a:gd name="connsiteX127" fmla="*/ 2984 w 10000"/>
              <a:gd name="connsiteY127" fmla="*/ 8833 h 10000"/>
              <a:gd name="connsiteX128" fmla="*/ 2807 w 10000"/>
              <a:gd name="connsiteY128" fmla="*/ 8833 h 10000"/>
              <a:gd name="connsiteX129" fmla="*/ 2721 w 10000"/>
              <a:gd name="connsiteY129" fmla="*/ 8667 h 10000"/>
              <a:gd name="connsiteX130" fmla="*/ 2807 w 10000"/>
              <a:gd name="connsiteY130" fmla="*/ 8249 h 10000"/>
              <a:gd name="connsiteX131" fmla="*/ 2984 w 10000"/>
              <a:gd name="connsiteY131" fmla="*/ 8418 h 10000"/>
              <a:gd name="connsiteX132" fmla="*/ 3069 w 10000"/>
              <a:gd name="connsiteY132" fmla="*/ 8418 h 10000"/>
              <a:gd name="connsiteX133" fmla="*/ 2984 w 10000"/>
              <a:gd name="connsiteY133" fmla="*/ 8249 h 10000"/>
              <a:gd name="connsiteX134" fmla="*/ 3249 w 10000"/>
              <a:gd name="connsiteY134" fmla="*/ 8000 h 10000"/>
              <a:gd name="connsiteX135" fmla="*/ 3426 w 10000"/>
              <a:gd name="connsiteY135" fmla="*/ 8082 h 10000"/>
              <a:gd name="connsiteX136" fmla="*/ 3511 w 10000"/>
              <a:gd name="connsiteY136" fmla="*/ 8000 h 10000"/>
              <a:gd name="connsiteX137" fmla="*/ 3678 w 10000"/>
              <a:gd name="connsiteY137" fmla="*/ 8082 h 10000"/>
              <a:gd name="connsiteX138" fmla="*/ 3953 w 10000"/>
              <a:gd name="connsiteY138" fmla="*/ 8249 h 10000"/>
              <a:gd name="connsiteX139" fmla="*/ 4121 w 10000"/>
              <a:gd name="connsiteY139" fmla="*/ 8167 h 10000"/>
              <a:gd name="connsiteX140" fmla="*/ 4300 w 10000"/>
              <a:gd name="connsiteY140" fmla="*/ 8167 h 10000"/>
              <a:gd name="connsiteX141" fmla="*/ 4389 w 10000"/>
              <a:gd name="connsiteY141" fmla="*/ 8249 h 10000"/>
              <a:gd name="connsiteX142" fmla="*/ 4740 w 10000"/>
              <a:gd name="connsiteY142" fmla="*/ 8249 h 10000"/>
              <a:gd name="connsiteX143" fmla="*/ 4823 w 10000"/>
              <a:gd name="connsiteY143" fmla="*/ 8082 h 10000"/>
              <a:gd name="connsiteX144" fmla="*/ 4557 w 10000"/>
              <a:gd name="connsiteY144" fmla="*/ 8000 h 10000"/>
              <a:gd name="connsiteX145" fmla="*/ 4740 w 10000"/>
              <a:gd name="connsiteY145" fmla="*/ 7916 h 10000"/>
              <a:gd name="connsiteX146" fmla="*/ 4647 w 10000"/>
              <a:gd name="connsiteY146" fmla="*/ 7833 h 10000"/>
              <a:gd name="connsiteX147" fmla="*/ 4740 w 10000"/>
              <a:gd name="connsiteY147" fmla="*/ 7750 h 10000"/>
              <a:gd name="connsiteX148" fmla="*/ 4740 w 10000"/>
              <a:gd name="connsiteY148" fmla="*/ 7500 h 10000"/>
              <a:gd name="connsiteX149" fmla="*/ 4908 w 10000"/>
              <a:gd name="connsiteY149" fmla="*/ 7584 h 10000"/>
              <a:gd name="connsiteX150" fmla="*/ 5701 w 10000"/>
              <a:gd name="connsiteY150" fmla="*/ 7334 h 10000"/>
              <a:gd name="connsiteX151" fmla="*/ 5701 w 10000"/>
              <a:gd name="connsiteY151" fmla="*/ 7250 h 10000"/>
              <a:gd name="connsiteX152" fmla="*/ 5793 w 10000"/>
              <a:gd name="connsiteY152" fmla="*/ 7250 h 10000"/>
              <a:gd name="connsiteX153" fmla="*/ 6046 w 10000"/>
              <a:gd name="connsiteY153" fmla="*/ 7250 h 10000"/>
              <a:gd name="connsiteX154" fmla="*/ 6145 w 10000"/>
              <a:gd name="connsiteY154" fmla="*/ 7417 h 10000"/>
              <a:gd name="connsiteX155" fmla="*/ 6145 w 10000"/>
              <a:gd name="connsiteY155" fmla="*/ 7500 h 10000"/>
              <a:gd name="connsiteX156" fmla="*/ 6228 w 10000"/>
              <a:gd name="connsiteY156" fmla="*/ 7500 h 10000"/>
              <a:gd name="connsiteX157" fmla="*/ 6401 w 10000"/>
              <a:gd name="connsiteY157" fmla="*/ 7584 h 10000"/>
              <a:gd name="connsiteX158" fmla="*/ 6401 w 10000"/>
              <a:gd name="connsiteY158" fmla="*/ 7668 h 10000"/>
              <a:gd name="connsiteX159" fmla="*/ 6577 w 10000"/>
              <a:gd name="connsiteY159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753 w 10000"/>
              <a:gd name="connsiteY15" fmla="*/ 3333 h 10000"/>
              <a:gd name="connsiteX16" fmla="*/ 6577 w 10000"/>
              <a:gd name="connsiteY16" fmla="*/ 3416 h 10000"/>
              <a:gd name="connsiteX17" fmla="*/ 6489 w 10000"/>
              <a:gd name="connsiteY17" fmla="*/ 3500 h 10000"/>
              <a:gd name="connsiteX18" fmla="*/ 6305 w 10000"/>
              <a:gd name="connsiteY18" fmla="*/ 3333 h 10000"/>
              <a:gd name="connsiteX19" fmla="*/ 4557 w 10000"/>
              <a:gd name="connsiteY19" fmla="*/ 3416 h 10000"/>
              <a:gd name="connsiteX20" fmla="*/ 4480 w 10000"/>
              <a:gd name="connsiteY20" fmla="*/ 3333 h 10000"/>
              <a:gd name="connsiteX21" fmla="*/ 3953 w 10000"/>
              <a:gd name="connsiteY21" fmla="*/ 3500 h 10000"/>
              <a:gd name="connsiteX22" fmla="*/ 3865 w 10000"/>
              <a:gd name="connsiteY22" fmla="*/ 3665 h 10000"/>
              <a:gd name="connsiteX23" fmla="*/ 3777 w 10000"/>
              <a:gd name="connsiteY23" fmla="*/ 3500 h 10000"/>
              <a:gd name="connsiteX24" fmla="*/ 3777 w 10000"/>
              <a:gd name="connsiteY24" fmla="*/ 3333 h 10000"/>
              <a:gd name="connsiteX25" fmla="*/ 2891 w 10000"/>
              <a:gd name="connsiteY25" fmla="*/ 3832 h 10000"/>
              <a:gd name="connsiteX26" fmla="*/ 2891 w 10000"/>
              <a:gd name="connsiteY26" fmla="*/ 3998 h 10000"/>
              <a:gd name="connsiteX27" fmla="*/ 2721 w 10000"/>
              <a:gd name="connsiteY27" fmla="*/ 4082 h 10000"/>
              <a:gd name="connsiteX28" fmla="*/ 2458 w 10000"/>
              <a:gd name="connsiteY28" fmla="*/ 3916 h 10000"/>
              <a:gd name="connsiteX29" fmla="*/ 2721 w 10000"/>
              <a:gd name="connsiteY29" fmla="*/ 3748 h 10000"/>
              <a:gd name="connsiteX30" fmla="*/ 2627 w 10000"/>
              <a:gd name="connsiteY30" fmla="*/ 3500 h 10000"/>
              <a:gd name="connsiteX31" fmla="*/ 2281 w 10000"/>
              <a:gd name="connsiteY31" fmla="*/ 3416 h 10000"/>
              <a:gd name="connsiteX32" fmla="*/ 2369 w 10000"/>
              <a:gd name="connsiteY32" fmla="*/ 3582 h 10000"/>
              <a:gd name="connsiteX33" fmla="*/ 2369 w 10000"/>
              <a:gd name="connsiteY33" fmla="*/ 3998 h 10000"/>
              <a:gd name="connsiteX34" fmla="*/ 2458 w 10000"/>
              <a:gd name="connsiteY34" fmla="*/ 4167 h 10000"/>
              <a:gd name="connsiteX35" fmla="*/ 2369 w 10000"/>
              <a:gd name="connsiteY35" fmla="*/ 4334 h 10000"/>
              <a:gd name="connsiteX36" fmla="*/ 2100 w 10000"/>
              <a:gd name="connsiteY36" fmla="*/ 4250 h 10000"/>
              <a:gd name="connsiteX37" fmla="*/ 1757 w 10000"/>
              <a:gd name="connsiteY37" fmla="*/ 4498 h 10000"/>
              <a:gd name="connsiteX38" fmla="*/ 1928 w 10000"/>
              <a:gd name="connsiteY38" fmla="*/ 4833 h 10000"/>
              <a:gd name="connsiteX39" fmla="*/ 1399 w 10000"/>
              <a:gd name="connsiteY39" fmla="*/ 4666 h 10000"/>
              <a:gd name="connsiteX40" fmla="*/ 1315 w 10000"/>
              <a:gd name="connsiteY40" fmla="*/ 4748 h 10000"/>
              <a:gd name="connsiteX41" fmla="*/ 1494 w 10000"/>
              <a:gd name="connsiteY41" fmla="*/ 4999 h 10000"/>
              <a:gd name="connsiteX42" fmla="*/ 1315 w 10000"/>
              <a:gd name="connsiteY42" fmla="*/ 4999 h 10000"/>
              <a:gd name="connsiteX43" fmla="*/ 1055 w 10000"/>
              <a:gd name="connsiteY43" fmla="*/ 4833 h 10000"/>
              <a:gd name="connsiteX44" fmla="*/ 1055 w 10000"/>
              <a:gd name="connsiteY44" fmla="*/ 4334 h 10000"/>
              <a:gd name="connsiteX45" fmla="*/ 793 w 10000"/>
              <a:gd name="connsiteY45" fmla="*/ 4167 h 10000"/>
              <a:gd name="connsiteX46" fmla="*/ 702 w 10000"/>
              <a:gd name="connsiteY46" fmla="*/ 3998 h 10000"/>
              <a:gd name="connsiteX47" fmla="*/ 873 w 10000"/>
              <a:gd name="connsiteY47" fmla="*/ 4082 h 10000"/>
              <a:gd name="connsiteX48" fmla="*/ 1574 w 10000"/>
              <a:gd name="connsiteY48" fmla="*/ 4334 h 10000"/>
              <a:gd name="connsiteX49" fmla="*/ 2009 w 10000"/>
              <a:gd name="connsiteY49" fmla="*/ 4082 h 10000"/>
              <a:gd name="connsiteX50" fmla="*/ 1928 w 10000"/>
              <a:gd name="connsiteY50" fmla="*/ 3832 h 10000"/>
              <a:gd name="connsiteX51" fmla="*/ 1399 w 10000"/>
              <a:gd name="connsiteY51" fmla="*/ 3333 h 10000"/>
              <a:gd name="connsiteX52" fmla="*/ 873 w 10000"/>
              <a:gd name="connsiteY52" fmla="*/ 3166 h 10000"/>
              <a:gd name="connsiteX53" fmla="*/ 873 w 10000"/>
              <a:gd name="connsiteY53" fmla="*/ 3083 h 10000"/>
              <a:gd name="connsiteX54" fmla="*/ 702 w 10000"/>
              <a:gd name="connsiteY54" fmla="*/ 2997 h 10000"/>
              <a:gd name="connsiteX55" fmla="*/ 523 w 10000"/>
              <a:gd name="connsiteY55" fmla="*/ 3083 h 10000"/>
              <a:gd name="connsiteX56" fmla="*/ 523 w 10000"/>
              <a:gd name="connsiteY56" fmla="*/ 3166 h 10000"/>
              <a:gd name="connsiteX57" fmla="*/ 437 w 10000"/>
              <a:gd name="connsiteY57" fmla="*/ 3166 h 10000"/>
              <a:gd name="connsiteX58" fmla="*/ 263 w 10000"/>
              <a:gd name="connsiteY58" fmla="*/ 3333 h 10000"/>
              <a:gd name="connsiteX59" fmla="*/ 263 w 10000"/>
              <a:gd name="connsiteY59" fmla="*/ 3582 h 10000"/>
              <a:gd name="connsiteX60" fmla="*/ 437 w 10000"/>
              <a:gd name="connsiteY60" fmla="*/ 3748 h 10000"/>
              <a:gd name="connsiteX61" fmla="*/ 353 w 10000"/>
              <a:gd name="connsiteY61" fmla="*/ 3998 h 10000"/>
              <a:gd name="connsiteX62" fmla="*/ 437 w 10000"/>
              <a:gd name="connsiteY62" fmla="*/ 4417 h 10000"/>
              <a:gd name="connsiteX63" fmla="*/ 353 w 10000"/>
              <a:gd name="connsiteY63" fmla="*/ 4666 h 10000"/>
              <a:gd name="connsiteX64" fmla="*/ 523 w 10000"/>
              <a:gd name="connsiteY64" fmla="*/ 4916 h 10000"/>
              <a:gd name="connsiteX65" fmla="*/ 437 w 10000"/>
              <a:gd name="connsiteY65" fmla="*/ 5083 h 10000"/>
              <a:gd name="connsiteX66" fmla="*/ 611 w 10000"/>
              <a:gd name="connsiteY66" fmla="*/ 5250 h 10000"/>
              <a:gd name="connsiteX67" fmla="*/ 611 w 10000"/>
              <a:gd name="connsiteY67" fmla="*/ 5333 h 10000"/>
              <a:gd name="connsiteX68" fmla="*/ 353 w 10000"/>
              <a:gd name="connsiteY68" fmla="*/ 5750 h 10000"/>
              <a:gd name="connsiteX69" fmla="*/ 80 w 10000"/>
              <a:gd name="connsiteY69" fmla="*/ 5917 h 10000"/>
              <a:gd name="connsiteX70" fmla="*/ 172 w 10000"/>
              <a:gd name="connsiteY70" fmla="*/ 5917 h 10000"/>
              <a:gd name="connsiteX71" fmla="*/ 353 w 10000"/>
              <a:gd name="connsiteY71" fmla="*/ 6083 h 10000"/>
              <a:gd name="connsiteX72" fmla="*/ 172 w 10000"/>
              <a:gd name="connsiteY72" fmla="*/ 6249 h 10000"/>
              <a:gd name="connsiteX73" fmla="*/ 80 w 10000"/>
              <a:gd name="connsiteY73" fmla="*/ 6334 h 10000"/>
              <a:gd name="connsiteX74" fmla="*/ 0 w 10000"/>
              <a:gd name="connsiteY74" fmla="*/ 6334 h 10000"/>
              <a:gd name="connsiteX75" fmla="*/ 80 w 10000"/>
              <a:gd name="connsiteY75" fmla="*/ 6584 h 10000"/>
              <a:gd name="connsiteX76" fmla="*/ 80 w 10000"/>
              <a:gd name="connsiteY76" fmla="*/ 6667 h 10000"/>
              <a:gd name="connsiteX77" fmla="*/ 80 w 10000"/>
              <a:gd name="connsiteY77" fmla="*/ 6749 h 10000"/>
              <a:gd name="connsiteX78" fmla="*/ 80 w 10000"/>
              <a:gd name="connsiteY78" fmla="*/ 6834 h 10000"/>
              <a:gd name="connsiteX79" fmla="*/ 172 w 10000"/>
              <a:gd name="connsiteY79" fmla="*/ 6998 h 10000"/>
              <a:gd name="connsiteX80" fmla="*/ 437 w 10000"/>
              <a:gd name="connsiteY80" fmla="*/ 7083 h 10000"/>
              <a:gd name="connsiteX81" fmla="*/ 523 w 10000"/>
              <a:gd name="connsiteY81" fmla="*/ 7165 h 10000"/>
              <a:gd name="connsiteX82" fmla="*/ 523 w 10000"/>
              <a:gd name="connsiteY82" fmla="*/ 7334 h 10000"/>
              <a:gd name="connsiteX83" fmla="*/ 702 w 10000"/>
              <a:gd name="connsiteY83" fmla="*/ 7584 h 10000"/>
              <a:gd name="connsiteX84" fmla="*/ 793 w 10000"/>
              <a:gd name="connsiteY84" fmla="*/ 7584 h 10000"/>
              <a:gd name="connsiteX85" fmla="*/ 702 w 10000"/>
              <a:gd name="connsiteY85" fmla="*/ 7750 h 10000"/>
              <a:gd name="connsiteX86" fmla="*/ 611 w 10000"/>
              <a:gd name="connsiteY86" fmla="*/ 7668 h 10000"/>
              <a:gd name="connsiteX87" fmla="*/ 611 w 10000"/>
              <a:gd name="connsiteY87" fmla="*/ 7750 h 10000"/>
              <a:gd name="connsiteX88" fmla="*/ 702 w 10000"/>
              <a:gd name="connsiteY88" fmla="*/ 7916 h 10000"/>
              <a:gd name="connsiteX89" fmla="*/ 971 w 10000"/>
              <a:gd name="connsiteY89" fmla="*/ 7916 h 10000"/>
              <a:gd name="connsiteX90" fmla="*/ 1055 w 10000"/>
              <a:gd name="connsiteY90" fmla="*/ 8000 h 10000"/>
              <a:gd name="connsiteX91" fmla="*/ 971 w 10000"/>
              <a:gd name="connsiteY91" fmla="*/ 8000 h 10000"/>
              <a:gd name="connsiteX92" fmla="*/ 1055 w 10000"/>
              <a:gd name="connsiteY92" fmla="*/ 8082 h 10000"/>
              <a:gd name="connsiteX93" fmla="*/ 1139 w 10000"/>
              <a:gd name="connsiteY93" fmla="*/ 8082 h 10000"/>
              <a:gd name="connsiteX94" fmla="*/ 1224 w 10000"/>
              <a:gd name="connsiteY94" fmla="*/ 8249 h 10000"/>
              <a:gd name="connsiteX95" fmla="*/ 1315 w 10000"/>
              <a:gd name="connsiteY95" fmla="*/ 8332 h 10000"/>
              <a:gd name="connsiteX96" fmla="*/ 1399 w 10000"/>
              <a:gd name="connsiteY96" fmla="*/ 8249 h 10000"/>
              <a:gd name="connsiteX97" fmla="*/ 1843 w 10000"/>
              <a:gd name="connsiteY97" fmla="*/ 8500 h 10000"/>
              <a:gd name="connsiteX98" fmla="*/ 1757 w 10000"/>
              <a:gd name="connsiteY98" fmla="*/ 8833 h 10000"/>
              <a:gd name="connsiteX99" fmla="*/ 1668 w 10000"/>
              <a:gd name="connsiteY99" fmla="*/ 8750 h 10000"/>
              <a:gd name="connsiteX100" fmla="*/ 1574 w 10000"/>
              <a:gd name="connsiteY100" fmla="*/ 8833 h 10000"/>
              <a:gd name="connsiteX101" fmla="*/ 1574 w 10000"/>
              <a:gd name="connsiteY101" fmla="*/ 8999 h 10000"/>
              <a:gd name="connsiteX102" fmla="*/ 1668 w 10000"/>
              <a:gd name="connsiteY102" fmla="*/ 8917 h 10000"/>
              <a:gd name="connsiteX103" fmla="*/ 1757 w 10000"/>
              <a:gd name="connsiteY103" fmla="*/ 8999 h 10000"/>
              <a:gd name="connsiteX104" fmla="*/ 1494 w 10000"/>
              <a:gd name="connsiteY104" fmla="*/ 9083 h 10000"/>
              <a:gd name="connsiteX105" fmla="*/ 1574 w 10000"/>
              <a:gd name="connsiteY105" fmla="*/ 9167 h 10000"/>
              <a:gd name="connsiteX106" fmla="*/ 1399 w 10000"/>
              <a:gd name="connsiteY106" fmla="*/ 9333 h 10000"/>
              <a:gd name="connsiteX107" fmla="*/ 1315 w 10000"/>
              <a:gd name="connsiteY107" fmla="*/ 9333 h 10000"/>
              <a:gd name="connsiteX108" fmla="*/ 1399 w 10000"/>
              <a:gd name="connsiteY108" fmla="*/ 9333 h 10000"/>
              <a:gd name="connsiteX109" fmla="*/ 1757 w 10000"/>
              <a:gd name="connsiteY109" fmla="*/ 9668 h 10000"/>
              <a:gd name="connsiteX110" fmla="*/ 2195 w 10000"/>
              <a:gd name="connsiteY110" fmla="*/ 9668 h 10000"/>
              <a:gd name="connsiteX111" fmla="*/ 2369 w 10000"/>
              <a:gd name="connsiteY111" fmla="*/ 9750 h 10000"/>
              <a:gd name="connsiteX112" fmla="*/ 2543 w 10000"/>
              <a:gd name="connsiteY112" fmla="*/ 9750 h 10000"/>
              <a:gd name="connsiteX113" fmla="*/ 2721 w 10000"/>
              <a:gd name="connsiteY113" fmla="*/ 9918 h 10000"/>
              <a:gd name="connsiteX114" fmla="*/ 2807 w 10000"/>
              <a:gd name="connsiteY114" fmla="*/ 10000 h 10000"/>
              <a:gd name="connsiteX115" fmla="*/ 2891 w 10000"/>
              <a:gd name="connsiteY115" fmla="*/ 10000 h 10000"/>
              <a:gd name="connsiteX116" fmla="*/ 2984 w 10000"/>
              <a:gd name="connsiteY116" fmla="*/ 9918 h 10000"/>
              <a:gd name="connsiteX117" fmla="*/ 2807 w 10000"/>
              <a:gd name="connsiteY117" fmla="*/ 9750 h 10000"/>
              <a:gd name="connsiteX118" fmla="*/ 2807 w 10000"/>
              <a:gd name="connsiteY118" fmla="*/ 9584 h 10000"/>
              <a:gd name="connsiteX119" fmla="*/ 2721 w 10000"/>
              <a:gd name="connsiteY119" fmla="*/ 9416 h 10000"/>
              <a:gd name="connsiteX120" fmla="*/ 2891 w 10000"/>
              <a:gd name="connsiteY120" fmla="*/ 9167 h 10000"/>
              <a:gd name="connsiteX121" fmla="*/ 2984 w 10000"/>
              <a:gd name="connsiteY121" fmla="*/ 9250 h 10000"/>
              <a:gd name="connsiteX122" fmla="*/ 3069 w 10000"/>
              <a:gd name="connsiteY122" fmla="*/ 9167 h 10000"/>
              <a:gd name="connsiteX123" fmla="*/ 3069 w 10000"/>
              <a:gd name="connsiteY123" fmla="*/ 9083 h 10000"/>
              <a:gd name="connsiteX124" fmla="*/ 2984 w 10000"/>
              <a:gd name="connsiteY124" fmla="*/ 9083 h 10000"/>
              <a:gd name="connsiteX125" fmla="*/ 3069 w 10000"/>
              <a:gd name="connsiteY125" fmla="*/ 8999 h 10000"/>
              <a:gd name="connsiteX126" fmla="*/ 2984 w 10000"/>
              <a:gd name="connsiteY126" fmla="*/ 8833 h 10000"/>
              <a:gd name="connsiteX127" fmla="*/ 2807 w 10000"/>
              <a:gd name="connsiteY127" fmla="*/ 8833 h 10000"/>
              <a:gd name="connsiteX128" fmla="*/ 2721 w 10000"/>
              <a:gd name="connsiteY128" fmla="*/ 8667 h 10000"/>
              <a:gd name="connsiteX129" fmla="*/ 2807 w 10000"/>
              <a:gd name="connsiteY129" fmla="*/ 8249 h 10000"/>
              <a:gd name="connsiteX130" fmla="*/ 2984 w 10000"/>
              <a:gd name="connsiteY130" fmla="*/ 8418 h 10000"/>
              <a:gd name="connsiteX131" fmla="*/ 3069 w 10000"/>
              <a:gd name="connsiteY131" fmla="*/ 8418 h 10000"/>
              <a:gd name="connsiteX132" fmla="*/ 2984 w 10000"/>
              <a:gd name="connsiteY132" fmla="*/ 8249 h 10000"/>
              <a:gd name="connsiteX133" fmla="*/ 3249 w 10000"/>
              <a:gd name="connsiteY133" fmla="*/ 8000 h 10000"/>
              <a:gd name="connsiteX134" fmla="*/ 3426 w 10000"/>
              <a:gd name="connsiteY134" fmla="*/ 8082 h 10000"/>
              <a:gd name="connsiteX135" fmla="*/ 3511 w 10000"/>
              <a:gd name="connsiteY135" fmla="*/ 8000 h 10000"/>
              <a:gd name="connsiteX136" fmla="*/ 3678 w 10000"/>
              <a:gd name="connsiteY136" fmla="*/ 8082 h 10000"/>
              <a:gd name="connsiteX137" fmla="*/ 3953 w 10000"/>
              <a:gd name="connsiteY137" fmla="*/ 8249 h 10000"/>
              <a:gd name="connsiteX138" fmla="*/ 4121 w 10000"/>
              <a:gd name="connsiteY138" fmla="*/ 8167 h 10000"/>
              <a:gd name="connsiteX139" fmla="*/ 4300 w 10000"/>
              <a:gd name="connsiteY139" fmla="*/ 8167 h 10000"/>
              <a:gd name="connsiteX140" fmla="*/ 4389 w 10000"/>
              <a:gd name="connsiteY140" fmla="*/ 8249 h 10000"/>
              <a:gd name="connsiteX141" fmla="*/ 4740 w 10000"/>
              <a:gd name="connsiteY141" fmla="*/ 8249 h 10000"/>
              <a:gd name="connsiteX142" fmla="*/ 4823 w 10000"/>
              <a:gd name="connsiteY142" fmla="*/ 8082 h 10000"/>
              <a:gd name="connsiteX143" fmla="*/ 4557 w 10000"/>
              <a:gd name="connsiteY143" fmla="*/ 8000 h 10000"/>
              <a:gd name="connsiteX144" fmla="*/ 4740 w 10000"/>
              <a:gd name="connsiteY144" fmla="*/ 7916 h 10000"/>
              <a:gd name="connsiteX145" fmla="*/ 4647 w 10000"/>
              <a:gd name="connsiteY145" fmla="*/ 7833 h 10000"/>
              <a:gd name="connsiteX146" fmla="*/ 4740 w 10000"/>
              <a:gd name="connsiteY146" fmla="*/ 7750 h 10000"/>
              <a:gd name="connsiteX147" fmla="*/ 4740 w 10000"/>
              <a:gd name="connsiteY147" fmla="*/ 7500 h 10000"/>
              <a:gd name="connsiteX148" fmla="*/ 4908 w 10000"/>
              <a:gd name="connsiteY148" fmla="*/ 7584 h 10000"/>
              <a:gd name="connsiteX149" fmla="*/ 5701 w 10000"/>
              <a:gd name="connsiteY149" fmla="*/ 7334 h 10000"/>
              <a:gd name="connsiteX150" fmla="*/ 5701 w 10000"/>
              <a:gd name="connsiteY150" fmla="*/ 7250 h 10000"/>
              <a:gd name="connsiteX151" fmla="*/ 5793 w 10000"/>
              <a:gd name="connsiteY151" fmla="*/ 7250 h 10000"/>
              <a:gd name="connsiteX152" fmla="*/ 6046 w 10000"/>
              <a:gd name="connsiteY152" fmla="*/ 7250 h 10000"/>
              <a:gd name="connsiteX153" fmla="*/ 6145 w 10000"/>
              <a:gd name="connsiteY153" fmla="*/ 7417 h 10000"/>
              <a:gd name="connsiteX154" fmla="*/ 6145 w 10000"/>
              <a:gd name="connsiteY154" fmla="*/ 7500 h 10000"/>
              <a:gd name="connsiteX155" fmla="*/ 6228 w 10000"/>
              <a:gd name="connsiteY155" fmla="*/ 7500 h 10000"/>
              <a:gd name="connsiteX156" fmla="*/ 6401 w 10000"/>
              <a:gd name="connsiteY156" fmla="*/ 7584 h 10000"/>
              <a:gd name="connsiteX157" fmla="*/ 6401 w 10000"/>
              <a:gd name="connsiteY157" fmla="*/ 7668 h 10000"/>
              <a:gd name="connsiteX158" fmla="*/ 6577 w 10000"/>
              <a:gd name="connsiteY158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577 w 10000"/>
              <a:gd name="connsiteY15" fmla="*/ 3416 h 10000"/>
              <a:gd name="connsiteX16" fmla="*/ 6489 w 10000"/>
              <a:gd name="connsiteY16" fmla="*/ 3500 h 10000"/>
              <a:gd name="connsiteX17" fmla="*/ 6305 w 10000"/>
              <a:gd name="connsiteY17" fmla="*/ 3333 h 10000"/>
              <a:gd name="connsiteX18" fmla="*/ 4557 w 10000"/>
              <a:gd name="connsiteY18" fmla="*/ 3416 h 10000"/>
              <a:gd name="connsiteX19" fmla="*/ 4480 w 10000"/>
              <a:gd name="connsiteY19" fmla="*/ 3333 h 10000"/>
              <a:gd name="connsiteX20" fmla="*/ 3953 w 10000"/>
              <a:gd name="connsiteY20" fmla="*/ 3500 h 10000"/>
              <a:gd name="connsiteX21" fmla="*/ 3865 w 10000"/>
              <a:gd name="connsiteY21" fmla="*/ 3665 h 10000"/>
              <a:gd name="connsiteX22" fmla="*/ 3777 w 10000"/>
              <a:gd name="connsiteY22" fmla="*/ 3500 h 10000"/>
              <a:gd name="connsiteX23" fmla="*/ 3777 w 10000"/>
              <a:gd name="connsiteY23" fmla="*/ 3333 h 10000"/>
              <a:gd name="connsiteX24" fmla="*/ 2891 w 10000"/>
              <a:gd name="connsiteY24" fmla="*/ 3832 h 10000"/>
              <a:gd name="connsiteX25" fmla="*/ 2891 w 10000"/>
              <a:gd name="connsiteY25" fmla="*/ 3998 h 10000"/>
              <a:gd name="connsiteX26" fmla="*/ 2721 w 10000"/>
              <a:gd name="connsiteY26" fmla="*/ 4082 h 10000"/>
              <a:gd name="connsiteX27" fmla="*/ 2458 w 10000"/>
              <a:gd name="connsiteY27" fmla="*/ 3916 h 10000"/>
              <a:gd name="connsiteX28" fmla="*/ 2721 w 10000"/>
              <a:gd name="connsiteY28" fmla="*/ 3748 h 10000"/>
              <a:gd name="connsiteX29" fmla="*/ 2627 w 10000"/>
              <a:gd name="connsiteY29" fmla="*/ 3500 h 10000"/>
              <a:gd name="connsiteX30" fmla="*/ 2281 w 10000"/>
              <a:gd name="connsiteY30" fmla="*/ 3416 h 10000"/>
              <a:gd name="connsiteX31" fmla="*/ 2369 w 10000"/>
              <a:gd name="connsiteY31" fmla="*/ 3582 h 10000"/>
              <a:gd name="connsiteX32" fmla="*/ 2369 w 10000"/>
              <a:gd name="connsiteY32" fmla="*/ 3998 h 10000"/>
              <a:gd name="connsiteX33" fmla="*/ 2458 w 10000"/>
              <a:gd name="connsiteY33" fmla="*/ 4167 h 10000"/>
              <a:gd name="connsiteX34" fmla="*/ 2369 w 10000"/>
              <a:gd name="connsiteY34" fmla="*/ 4334 h 10000"/>
              <a:gd name="connsiteX35" fmla="*/ 2100 w 10000"/>
              <a:gd name="connsiteY35" fmla="*/ 4250 h 10000"/>
              <a:gd name="connsiteX36" fmla="*/ 1757 w 10000"/>
              <a:gd name="connsiteY36" fmla="*/ 4498 h 10000"/>
              <a:gd name="connsiteX37" fmla="*/ 1928 w 10000"/>
              <a:gd name="connsiteY37" fmla="*/ 4833 h 10000"/>
              <a:gd name="connsiteX38" fmla="*/ 1399 w 10000"/>
              <a:gd name="connsiteY38" fmla="*/ 4666 h 10000"/>
              <a:gd name="connsiteX39" fmla="*/ 1315 w 10000"/>
              <a:gd name="connsiteY39" fmla="*/ 4748 h 10000"/>
              <a:gd name="connsiteX40" fmla="*/ 1494 w 10000"/>
              <a:gd name="connsiteY40" fmla="*/ 4999 h 10000"/>
              <a:gd name="connsiteX41" fmla="*/ 1315 w 10000"/>
              <a:gd name="connsiteY41" fmla="*/ 4999 h 10000"/>
              <a:gd name="connsiteX42" fmla="*/ 1055 w 10000"/>
              <a:gd name="connsiteY42" fmla="*/ 4833 h 10000"/>
              <a:gd name="connsiteX43" fmla="*/ 1055 w 10000"/>
              <a:gd name="connsiteY43" fmla="*/ 4334 h 10000"/>
              <a:gd name="connsiteX44" fmla="*/ 793 w 10000"/>
              <a:gd name="connsiteY44" fmla="*/ 4167 h 10000"/>
              <a:gd name="connsiteX45" fmla="*/ 702 w 10000"/>
              <a:gd name="connsiteY45" fmla="*/ 3998 h 10000"/>
              <a:gd name="connsiteX46" fmla="*/ 873 w 10000"/>
              <a:gd name="connsiteY46" fmla="*/ 4082 h 10000"/>
              <a:gd name="connsiteX47" fmla="*/ 1574 w 10000"/>
              <a:gd name="connsiteY47" fmla="*/ 4334 h 10000"/>
              <a:gd name="connsiteX48" fmla="*/ 2009 w 10000"/>
              <a:gd name="connsiteY48" fmla="*/ 4082 h 10000"/>
              <a:gd name="connsiteX49" fmla="*/ 1928 w 10000"/>
              <a:gd name="connsiteY49" fmla="*/ 3832 h 10000"/>
              <a:gd name="connsiteX50" fmla="*/ 1399 w 10000"/>
              <a:gd name="connsiteY50" fmla="*/ 3333 h 10000"/>
              <a:gd name="connsiteX51" fmla="*/ 873 w 10000"/>
              <a:gd name="connsiteY51" fmla="*/ 3166 h 10000"/>
              <a:gd name="connsiteX52" fmla="*/ 873 w 10000"/>
              <a:gd name="connsiteY52" fmla="*/ 3083 h 10000"/>
              <a:gd name="connsiteX53" fmla="*/ 702 w 10000"/>
              <a:gd name="connsiteY53" fmla="*/ 2997 h 10000"/>
              <a:gd name="connsiteX54" fmla="*/ 523 w 10000"/>
              <a:gd name="connsiteY54" fmla="*/ 3083 h 10000"/>
              <a:gd name="connsiteX55" fmla="*/ 523 w 10000"/>
              <a:gd name="connsiteY55" fmla="*/ 3166 h 10000"/>
              <a:gd name="connsiteX56" fmla="*/ 437 w 10000"/>
              <a:gd name="connsiteY56" fmla="*/ 3166 h 10000"/>
              <a:gd name="connsiteX57" fmla="*/ 263 w 10000"/>
              <a:gd name="connsiteY57" fmla="*/ 3333 h 10000"/>
              <a:gd name="connsiteX58" fmla="*/ 263 w 10000"/>
              <a:gd name="connsiteY58" fmla="*/ 3582 h 10000"/>
              <a:gd name="connsiteX59" fmla="*/ 437 w 10000"/>
              <a:gd name="connsiteY59" fmla="*/ 3748 h 10000"/>
              <a:gd name="connsiteX60" fmla="*/ 353 w 10000"/>
              <a:gd name="connsiteY60" fmla="*/ 3998 h 10000"/>
              <a:gd name="connsiteX61" fmla="*/ 437 w 10000"/>
              <a:gd name="connsiteY61" fmla="*/ 4417 h 10000"/>
              <a:gd name="connsiteX62" fmla="*/ 353 w 10000"/>
              <a:gd name="connsiteY62" fmla="*/ 4666 h 10000"/>
              <a:gd name="connsiteX63" fmla="*/ 523 w 10000"/>
              <a:gd name="connsiteY63" fmla="*/ 4916 h 10000"/>
              <a:gd name="connsiteX64" fmla="*/ 437 w 10000"/>
              <a:gd name="connsiteY64" fmla="*/ 5083 h 10000"/>
              <a:gd name="connsiteX65" fmla="*/ 611 w 10000"/>
              <a:gd name="connsiteY65" fmla="*/ 5250 h 10000"/>
              <a:gd name="connsiteX66" fmla="*/ 611 w 10000"/>
              <a:gd name="connsiteY66" fmla="*/ 5333 h 10000"/>
              <a:gd name="connsiteX67" fmla="*/ 353 w 10000"/>
              <a:gd name="connsiteY67" fmla="*/ 5750 h 10000"/>
              <a:gd name="connsiteX68" fmla="*/ 80 w 10000"/>
              <a:gd name="connsiteY68" fmla="*/ 5917 h 10000"/>
              <a:gd name="connsiteX69" fmla="*/ 172 w 10000"/>
              <a:gd name="connsiteY69" fmla="*/ 5917 h 10000"/>
              <a:gd name="connsiteX70" fmla="*/ 353 w 10000"/>
              <a:gd name="connsiteY70" fmla="*/ 6083 h 10000"/>
              <a:gd name="connsiteX71" fmla="*/ 172 w 10000"/>
              <a:gd name="connsiteY71" fmla="*/ 6249 h 10000"/>
              <a:gd name="connsiteX72" fmla="*/ 80 w 10000"/>
              <a:gd name="connsiteY72" fmla="*/ 6334 h 10000"/>
              <a:gd name="connsiteX73" fmla="*/ 0 w 10000"/>
              <a:gd name="connsiteY73" fmla="*/ 6334 h 10000"/>
              <a:gd name="connsiteX74" fmla="*/ 80 w 10000"/>
              <a:gd name="connsiteY74" fmla="*/ 6584 h 10000"/>
              <a:gd name="connsiteX75" fmla="*/ 80 w 10000"/>
              <a:gd name="connsiteY75" fmla="*/ 6667 h 10000"/>
              <a:gd name="connsiteX76" fmla="*/ 80 w 10000"/>
              <a:gd name="connsiteY76" fmla="*/ 6749 h 10000"/>
              <a:gd name="connsiteX77" fmla="*/ 80 w 10000"/>
              <a:gd name="connsiteY77" fmla="*/ 6834 h 10000"/>
              <a:gd name="connsiteX78" fmla="*/ 172 w 10000"/>
              <a:gd name="connsiteY78" fmla="*/ 6998 h 10000"/>
              <a:gd name="connsiteX79" fmla="*/ 437 w 10000"/>
              <a:gd name="connsiteY79" fmla="*/ 7083 h 10000"/>
              <a:gd name="connsiteX80" fmla="*/ 523 w 10000"/>
              <a:gd name="connsiteY80" fmla="*/ 7165 h 10000"/>
              <a:gd name="connsiteX81" fmla="*/ 523 w 10000"/>
              <a:gd name="connsiteY81" fmla="*/ 7334 h 10000"/>
              <a:gd name="connsiteX82" fmla="*/ 702 w 10000"/>
              <a:gd name="connsiteY82" fmla="*/ 7584 h 10000"/>
              <a:gd name="connsiteX83" fmla="*/ 793 w 10000"/>
              <a:gd name="connsiteY83" fmla="*/ 7584 h 10000"/>
              <a:gd name="connsiteX84" fmla="*/ 702 w 10000"/>
              <a:gd name="connsiteY84" fmla="*/ 7750 h 10000"/>
              <a:gd name="connsiteX85" fmla="*/ 611 w 10000"/>
              <a:gd name="connsiteY85" fmla="*/ 7668 h 10000"/>
              <a:gd name="connsiteX86" fmla="*/ 611 w 10000"/>
              <a:gd name="connsiteY86" fmla="*/ 7750 h 10000"/>
              <a:gd name="connsiteX87" fmla="*/ 702 w 10000"/>
              <a:gd name="connsiteY87" fmla="*/ 7916 h 10000"/>
              <a:gd name="connsiteX88" fmla="*/ 971 w 10000"/>
              <a:gd name="connsiteY88" fmla="*/ 7916 h 10000"/>
              <a:gd name="connsiteX89" fmla="*/ 1055 w 10000"/>
              <a:gd name="connsiteY89" fmla="*/ 8000 h 10000"/>
              <a:gd name="connsiteX90" fmla="*/ 971 w 10000"/>
              <a:gd name="connsiteY90" fmla="*/ 8000 h 10000"/>
              <a:gd name="connsiteX91" fmla="*/ 1055 w 10000"/>
              <a:gd name="connsiteY91" fmla="*/ 8082 h 10000"/>
              <a:gd name="connsiteX92" fmla="*/ 1139 w 10000"/>
              <a:gd name="connsiteY92" fmla="*/ 8082 h 10000"/>
              <a:gd name="connsiteX93" fmla="*/ 1224 w 10000"/>
              <a:gd name="connsiteY93" fmla="*/ 8249 h 10000"/>
              <a:gd name="connsiteX94" fmla="*/ 1315 w 10000"/>
              <a:gd name="connsiteY94" fmla="*/ 8332 h 10000"/>
              <a:gd name="connsiteX95" fmla="*/ 1399 w 10000"/>
              <a:gd name="connsiteY95" fmla="*/ 8249 h 10000"/>
              <a:gd name="connsiteX96" fmla="*/ 1843 w 10000"/>
              <a:gd name="connsiteY96" fmla="*/ 8500 h 10000"/>
              <a:gd name="connsiteX97" fmla="*/ 1757 w 10000"/>
              <a:gd name="connsiteY97" fmla="*/ 8833 h 10000"/>
              <a:gd name="connsiteX98" fmla="*/ 1668 w 10000"/>
              <a:gd name="connsiteY98" fmla="*/ 8750 h 10000"/>
              <a:gd name="connsiteX99" fmla="*/ 1574 w 10000"/>
              <a:gd name="connsiteY99" fmla="*/ 8833 h 10000"/>
              <a:gd name="connsiteX100" fmla="*/ 1574 w 10000"/>
              <a:gd name="connsiteY100" fmla="*/ 8999 h 10000"/>
              <a:gd name="connsiteX101" fmla="*/ 1668 w 10000"/>
              <a:gd name="connsiteY101" fmla="*/ 8917 h 10000"/>
              <a:gd name="connsiteX102" fmla="*/ 1757 w 10000"/>
              <a:gd name="connsiteY102" fmla="*/ 8999 h 10000"/>
              <a:gd name="connsiteX103" fmla="*/ 1494 w 10000"/>
              <a:gd name="connsiteY103" fmla="*/ 9083 h 10000"/>
              <a:gd name="connsiteX104" fmla="*/ 1574 w 10000"/>
              <a:gd name="connsiteY104" fmla="*/ 9167 h 10000"/>
              <a:gd name="connsiteX105" fmla="*/ 1399 w 10000"/>
              <a:gd name="connsiteY105" fmla="*/ 9333 h 10000"/>
              <a:gd name="connsiteX106" fmla="*/ 1315 w 10000"/>
              <a:gd name="connsiteY106" fmla="*/ 9333 h 10000"/>
              <a:gd name="connsiteX107" fmla="*/ 1399 w 10000"/>
              <a:gd name="connsiteY107" fmla="*/ 9333 h 10000"/>
              <a:gd name="connsiteX108" fmla="*/ 1757 w 10000"/>
              <a:gd name="connsiteY108" fmla="*/ 9668 h 10000"/>
              <a:gd name="connsiteX109" fmla="*/ 2195 w 10000"/>
              <a:gd name="connsiteY109" fmla="*/ 9668 h 10000"/>
              <a:gd name="connsiteX110" fmla="*/ 2369 w 10000"/>
              <a:gd name="connsiteY110" fmla="*/ 9750 h 10000"/>
              <a:gd name="connsiteX111" fmla="*/ 2543 w 10000"/>
              <a:gd name="connsiteY111" fmla="*/ 9750 h 10000"/>
              <a:gd name="connsiteX112" fmla="*/ 2721 w 10000"/>
              <a:gd name="connsiteY112" fmla="*/ 9918 h 10000"/>
              <a:gd name="connsiteX113" fmla="*/ 2807 w 10000"/>
              <a:gd name="connsiteY113" fmla="*/ 10000 h 10000"/>
              <a:gd name="connsiteX114" fmla="*/ 2891 w 10000"/>
              <a:gd name="connsiteY114" fmla="*/ 10000 h 10000"/>
              <a:gd name="connsiteX115" fmla="*/ 2984 w 10000"/>
              <a:gd name="connsiteY115" fmla="*/ 9918 h 10000"/>
              <a:gd name="connsiteX116" fmla="*/ 2807 w 10000"/>
              <a:gd name="connsiteY116" fmla="*/ 9750 h 10000"/>
              <a:gd name="connsiteX117" fmla="*/ 2807 w 10000"/>
              <a:gd name="connsiteY117" fmla="*/ 9584 h 10000"/>
              <a:gd name="connsiteX118" fmla="*/ 2721 w 10000"/>
              <a:gd name="connsiteY118" fmla="*/ 9416 h 10000"/>
              <a:gd name="connsiteX119" fmla="*/ 2891 w 10000"/>
              <a:gd name="connsiteY119" fmla="*/ 9167 h 10000"/>
              <a:gd name="connsiteX120" fmla="*/ 2984 w 10000"/>
              <a:gd name="connsiteY120" fmla="*/ 9250 h 10000"/>
              <a:gd name="connsiteX121" fmla="*/ 3069 w 10000"/>
              <a:gd name="connsiteY121" fmla="*/ 9167 h 10000"/>
              <a:gd name="connsiteX122" fmla="*/ 3069 w 10000"/>
              <a:gd name="connsiteY122" fmla="*/ 9083 h 10000"/>
              <a:gd name="connsiteX123" fmla="*/ 2984 w 10000"/>
              <a:gd name="connsiteY123" fmla="*/ 9083 h 10000"/>
              <a:gd name="connsiteX124" fmla="*/ 3069 w 10000"/>
              <a:gd name="connsiteY124" fmla="*/ 8999 h 10000"/>
              <a:gd name="connsiteX125" fmla="*/ 2984 w 10000"/>
              <a:gd name="connsiteY125" fmla="*/ 8833 h 10000"/>
              <a:gd name="connsiteX126" fmla="*/ 2807 w 10000"/>
              <a:gd name="connsiteY126" fmla="*/ 8833 h 10000"/>
              <a:gd name="connsiteX127" fmla="*/ 2721 w 10000"/>
              <a:gd name="connsiteY127" fmla="*/ 8667 h 10000"/>
              <a:gd name="connsiteX128" fmla="*/ 2807 w 10000"/>
              <a:gd name="connsiteY128" fmla="*/ 8249 h 10000"/>
              <a:gd name="connsiteX129" fmla="*/ 2984 w 10000"/>
              <a:gd name="connsiteY129" fmla="*/ 8418 h 10000"/>
              <a:gd name="connsiteX130" fmla="*/ 3069 w 10000"/>
              <a:gd name="connsiteY130" fmla="*/ 8418 h 10000"/>
              <a:gd name="connsiteX131" fmla="*/ 2984 w 10000"/>
              <a:gd name="connsiteY131" fmla="*/ 8249 h 10000"/>
              <a:gd name="connsiteX132" fmla="*/ 3249 w 10000"/>
              <a:gd name="connsiteY132" fmla="*/ 8000 h 10000"/>
              <a:gd name="connsiteX133" fmla="*/ 3426 w 10000"/>
              <a:gd name="connsiteY133" fmla="*/ 8082 h 10000"/>
              <a:gd name="connsiteX134" fmla="*/ 3511 w 10000"/>
              <a:gd name="connsiteY134" fmla="*/ 8000 h 10000"/>
              <a:gd name="connsiteX135" fmla="*/ 3678 w 10000"/>
              <a:gd name="connsiteY135" fmla="*/ 8082 h 10000"/>
              <a:gd name="connsiteX136" fmla="*/ 3953 w 10000"/>
              <a:gd name="connsiteY136" fmla="*/ 8249 h 10000"/>
              <a:gd name="connsiteX137" fmla="*/ 4121 w 10000"/>
              <a:gd name="connsiteY137" fmla="*/ 8167 h 10000"/>
              <a:gd name="connsiteX138" fmla="*/ 4300 w 10000"/>
              <a:gd name="connsiteY138" fmla="*/ 8167 h 10000"/>
              <a:gd name="connsiteX139" fmla="*/ 4389 w 10000"/>
              <a:gd name="connsiteY139" fmla="*/ 8249 h 10000"/>
              <a:gd name="connsiteX140" fmla="*/ 4740 w 10000"/>
              <a:gd name="connsiteY140" fmla="*/ 8249 h 10000"/>
              <a:gd name="connsiteX141" fmla="*/ 4823 w 10000"/>
              <a:gd name="connsiteY141" fmla="*/ 8082 h 10000"/>
              <a:gd name="connsiteX142" fmla="*/ 4557 w 10000"/>
              <a:gd name="connsiteY142" fmla="*/ 8000 h 10000"/>
              <a:gd name="connsiteX143" fmla="*/ 4740 w 10000"/>
              <a:gd name="connsiteY143" fmla="*/ 7916 h 10000"/>
              <a:gd name="connsiteX144" fmla="*/ 4647 w 10000"/>
              <a:gd name="connsiteY144" fmla="*/ 7833 h 10000"/>
              <a:gd name="connsiteX145" fmla="*/ 4740 w 10000"/>
              <a:gd name="connsiteY145" fmla="*/ 7750 h 10000"/>
              <a:gd name="connsiteX146" fmla="*/ 4740 w 10000"/>
              <a:gd name="connsiteY146" fmla="*/ 7500 h 10000"/>
              <a:gd name="connsiteX147" fmla="*/ 4908 w 10000"/>
              <a:gd name="connsiteY147" fmla="*/ 7584 h 10000"/>
              <a:gd name="connsiteX148" fmla="*/ 5701 w 10000"/>
              <a:gd name="connsiteY148" fmla="*/ 7334 h 10000"/>
              <a:gd name="connsiteX149" fmla="*/ 5701 w 10000"/>
              <a:gd name="connsiteY149" fmla="*/ 7250 h 10000"/>
              <a:gd name="connsiteX150" fmla="*/ 5793 w 10000"/>
              <a:gd name="connsiteY150" fmla="*/ 7250 h 10000"/>
              <a:gd name="connsiteX151" fmla="*/ 6046 w 10000"/>
              <a:gd name="connsiteY151" fmla="*/ 7250 h 10000"/>
              <a:gd name="connsiteX152" fmla="*/ 6145 w 10000"/>
              <a:gd name="connsiteY152" fmla="*/ 7417 h 10000"/>
              <a:gd name="connsiteX153" fmla="*/ 6145 w 10000"/>
              <a:gd name="connsiteY153" fmla="*/ 7500 h 10000"/>
              <a:gd name="connsiteX154" fmla="*/ 6228 w 10000"/>
              <a:gd name="connsiteY154" fmla="*/ 7500 h 10000"/>
              <a:gd name="connsiteX155" fmla="*/ 6401 w 10000"/>
              <a:gd name="connsiteY155" fmla="*/ 7584 h 10000"/>
              <a:gd name="connsiteX156" fmla="*/ 6401 w 10000"/>
              <a:gd name="connsiteY156" fmla="*/ 7668 h 10000"/>
              <a:gd name="connsiteX157" fmla="*/ 6577 w 10000"/>
              <a:gd name="connsiteY157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333 h 10000"/>
              <a:gd name="connsiteX15" fmla="*/ 6489 w 10000"/>
              <a:gd name="connsiteY15" fmla="*/ 3500 h 10000"/>
              <a:gd name="connsiteX16" fmla="*/ 6305 w 10000"/>
              <a:gd name="connsiteY16" fmla="*/ 3333 h 10000"/>
              <a:gd name="connsiteX17" fmla="*/ 4557 w 10000"/>
              <a:gd name="connsiteY17" fmla="*/ 3416 h 10000"/>
              <a:gd name="connsiteX18" fmla="*/ 4480 w 10000"/>
              <a:gd name="connsiteY18" fmla="*/ 3333 h 10000"/>
              <a:gd name="connsiteX19" fmla="*/ 3953 w 10000"/>
              <a:gd name="connsiteY19" fmla="*/ 3500 h 10000"/>
              <a:gd name="connsiteX20" fmla="*/ 3865 w 10000"/>
              <a:gd name="connsiteY20" fmla="*/ 3665 h 10000"/>
              <a:gd name="connsiteX21" fmla="*/ 3777 w 10000"/>
              <a:gd name="connsiteY21" fmla="*/ 3500 h 10000"/>
              <a:gd name="connsiteX22" fmla="*/ 3777 w 10000"/>
              <a:gd name="connsiteY22" fmla="*/ 3333 h 10000"/>
              <a:gd name="connsiteX23" fmla="*/ 2891 w 10000"/>
              <a:gd name="connsiteY23" fmla="*/ 3832 h 10000"/>
              <a:gd name="connsiteX24" fmla="*/ 2891 w 10000"/>
              <a:gd name="connsiteY24" fmla="*/ 3998 h 10000"/>
              <a:gd name="connsiteX25" fmla="*/ 2721 w 10000"/>
              <a:gd name="connsiteY25" fmla="*/ 4082 h 10000"/>
              <a:gd name="connsiteX26" fmla="*/ 2458 w 10000"/>
              <a:gd name="connsiteY26" fmla="*/ 3916 h 10000"/>
              <a:gd name="connsiteX27" fmla="*/ 2721 w 10000"/>
              <a:gd name="connsiteY27" fmla="*/ 3748 h 10000"/>
              <a:gd name="connsiteX28" fmla="*/ 2627 w 10000"/>
              <a:gd name="connsiteY28" fmla="*/ 3500 h 10000"/>
              <a:gd name="connsiteX29" fmla="*/ 2281 w 10000"/>
              <a:gd name="connsiteY29" fmla="*/ 3416 h 10000"/>
              <a:gd name="connsiteX30" fmla="*/ 2369 w 10000"/>
              <a:gd name="connsiteY30" fmla="*/ 3582 h 10000"/>
              <a:gd name="connsiteX31" fmla="*/ 2369 w 10000"/>
              <a:gd name="connsiteY31" fmla="*/ 3998 h 10000"/>
              <a:gd name="connsiteX32" fmla="*/ 2458 w 10000"/>
              <a:gd name="connsiteY32" fmla="*/ 4167 h 10000"/>
              <a:gd name="connsiteX33" fmla="*/ 2369 w 10000"/>
              <a:gd name="connsiteY33" fmla="*/ 4334 h 10000"/>
              <a:gd name="connsiteX34" fmla="*/ 2100 w 10000"/>
              <a:gd name="connsiteY34" fmla="*/ 4250 h 10000"/>
              <a:gd name="connsiteX35" fmla="*/ 1757 w 10000"/>
              <a:gd name="connsiteY35" fmla="*/ 4498 h 10000"/>
              <a:gd name="connsiteX36" fmla="*/ 1928 w 10000"/>
              <a:gd name="connsiteY36" fmla="*/ 4833 h 10000"/>
              <a:gd name="connsiteX37" fmla="*/ 1399 w 10000"/>
              <a:gd name="connsiteY37" fmla="*/ 4666 h 10000"/>
              <a:gd name="connsiteX38" fmla="*/ 1315 w 10000"/>
              <a:gd name="connsiteY38" fmla="*/ 4748 h 10000"/>
              <a:gd name="connsiteX39" fmla="*/ 1494 w 10000"/>
              <a:gd name="connsiteY39" fmla="*/ 4999 h 10000"/>
              <a:gd name="connsiteX40" fmla="*/ 1315 w 10000"/>
              <a:gd name="connsiteY40" fmla="*/ 4999 h 10000"/>
              <a:gd name="connsiteX41" fmla="*/ 1055 w 10000"/>
              <a:gd name="connsiteY41" fmla="*/ 4833 h 10000"/>
              <a:gd name="connsiteX42" fmla="*/ 1055 w 10000"/>
              <a:gd name="connsiteY42" fmla="*/ 4334 h 10000"/>
              <a:gd name="connsiteX43" fmla="*/ 793 w 10000"/>
              <a:gd name="connsiteY43" fmla="*/ 4167 h 10000"/>
              <a:gd name="connsiteX44" fmla="*/ 702 w 10000"/>
              <a:gd name="connsiteY44" fmla="*/ 3998 h 10000"/>
              <a:gd name="connsiteX45" fmla="*/ 873 w 10000"/>
              <a:gd name="connsiteY45" fmla="*/ 4082 h 10000"/>
              <a:gd name="connsiteX46" fmla="*/ 1574 w 10000"/>
              <a:gd name="connsiteY46" fmla="*/ 4334 h 10000"/>
              <a:gd name="connsiteX47" fmla="*/ 2009 w 10000"/>
              <a:gd name="connsiteY47" fmla="*/ 4082 h 10000"/>
              <a:gd name="connsiteX48" fmla="*/ 1928 w 10000"/>
              <a:gd name="connsiteY48" fmla="*/ 3832 h 10000"/>
              <a:gd name="connsiteX49" fmla="*/ 1399 w 10000"/>
              <a:gd name="connsiteY49" fmla="*/ 3333 h 10000"/>
              <a:gd name="connsiteX50" fmla="*/ 873 w 10000"/>
              <a:gd name="connsiteY50" fmla="*/ 3166 h 10000"/>
              <a:gd name="connsiteX51" fmla="*/ 873 w 10000"/>
              <a:gd name="connsiteY51" fmla="*/ 3083 h 10000"/>
              <a:gd name="connsiteX52" fmla="*/ 702 w 10000"/>
              <a:gd name="connsiteY52" fmla="*/ 2997 h 10000"/>
              <a:gd name="connsiteX53" fmla="*/ 523 w 10000"/>
              <a:gd name="connsiteY53" fmla="*/ 3083 h 10000"/>
              <a:gd name="connsiteX54" fmla="*/ 523 w 10000"/>
              <a:gd name="connsiteY54" fmla="*/ 3166 h 10000"/>
              <a:gd name="connsiteX55" fmla="*/ 437 w 10000"/>
              <a:gd name="connsiteY55" fmla="*/ 3166 h 10000"/>
              <a:gd name="connsiteX56" fmla="*/ 263 w 10000"/>
              <a:gd name="connsiteY56" fmla="*/ 3333 h 10000"/>
              <a:gd name="connsiteX57" fmla="*/ 263 w 10000"/>
              <a:gd name="connsiteY57" fmla="*/ 3582 h 10000"/>
              <a:gd name="connsiteX58" fmla="*/ 437 w 10000"/>
              <a:gd name="connsiteY58" fmla="*/ 3748 h 10000"/>
              <a:gd name="connsiteX59" fmla="*/ 353 w 10000"/>
              <a:gd name="connsiteY59" fmla="*/ 3998 h 10000"/>
              <a:gd name="connsiteX60" fmla="*/ 437 w 10000"/>
              <a:gd name="connsiteY60" fmla="*/ 4417 h 10000"/>
              <a:gd name="connsiteX61" fmla="*/ 353 w 10000"/>
              <a:gd name="connsiteY61" fmla="*/ 4666 h 10000"/>
              <a:gd name="connsiteX62" fmla="*/ 523 w 10000"/>
              <a:gd name="connsiteY62" fmla="*/ 4916 h 10000"/>
              <a:gd name="connsiteX63" fmla="*/ 437 w 10000"/>
              <a:gd name="connsiteY63" fmla="*/ 5083 h 10000"/>
              <a:gd name="connsiteX64" fmla="*/ 611 w 10000"/>
              <a:gd name="connsiteY64" fmla="*/ 5250 h 10000"/>
              <a:gd name="connsiteX65" fmla="*/ 611 w 10000"/>
              <a:gd name="connsiteY65" fmla="*/ 5333 h 10000"/>
              <a:gd name="connsiteX66" fmla="*/ 353 w 10000"/>
              <a:gd name="connsiteY66" fmla="*/ 5750 h 10000"/>
              <a:gd name="connsiteX67" fmla="*/ 80 w 10000"/>
              <a:gd name="connsiteY67" fmla="*/ 5917 h 10000"/>
              <a:gd name="connsiteX68" fmla="*/ 172 w 10000"/>
              <a:gd name="connsiteY68" fmla="*/ 5917 h 10000"/>
              <a:gd name="connsiteX69" fmla="*/ 353 w 10000"/>
              <a:gd name="connsiteY69" fmla="*/ 6083 h 10000"/>
              <a:gd name="connsiteX70" fmla="*/ 172 w 10000"/>
              <a:gd name="connsiteY70" fmla="*/ 6249 h 10000"/>
              <a:gd name="connsiteX71" fmla="*/ 80 w 10000"/>
              <a:gd name="connsiteY71" fmla="*/ 6334 h 10000"/>
              <a:gd name="connsiteX72" fmla="*/ 0 w 10000"/>
              <a:gd name="connsiteY72" fmla="*/ 6334 h 10000"/>
              <a:gd name="connsiteX73" fmla="*/ 80 w 10000"/>
              <a:gd name="connsiteY73" fmla="*/ 6584 h 10000"/>
              <a:gd name="connsiteX74" fmla="*/ 80 w 10000"/>
              <a:gd name="connsiteY74" fmla="*/ 6667 h 10000"/>
              <a:gd name="connsiteX75" fmla="*/ 80 w 10000"/>
              <a:gd name="connsiteY75" fmla="*/ 6749 h 10000"/>
              <a:gd name="connsiteX76" fmla="*/ 80 w 10000"/>
              <a:gd name="connsiteY76" fmla="*/ 6834 h 10000"/>
              <a:gd name="connsiteX77" fmla="*/ 172 w 10000"/>
              <a:gd name="connsiteY77" fmla="*/ 6998 h 10000"/>
              <a:gd name="connsiteX78" fmla="*/ 437 w 10000"/>
              <a:gd name="connsiteY78" fmla="*/ 7083 h 10000"/>
              <a:gd name="connsiteX79" fmla="*/ 523 w 10000"/>
              <a:gd name="connsiteY79" fmla="*/ 7165 h 10000"/>
              <a:gd name="connsiteX80" fmla="*/ 523 w 10000"/>
              <a:gd name="connsiteY80" fmla="*/ 7334 h 10000"/>
              <a:gd name="connsiteX81" fmla="*/ 702 w 10000"/>
              <a:gd name="connsiteY81" fmla="*/ 7584 h 10000"/>
              <a:gd name="connsiteX82" fmla="*/ 793 w 10000"/>
              <a:gd name="connsiteY82" fmla="*/ 7584 h 10000"/>
              <a:gd name="connsiteX83" fmla="*/ 702 w 10000"/>
              <a:gd name="connsiteY83" fmla="*/ 7750 h 10000"/>
              <a:gd name="connsiteX84" fmla="*/ 611 w 10000"/>
              <a:gd name="connsiteY84" fmla="*/ 7668 h 10000"/>
              <a:gd name="connsiteX85" fmla="*/ 611 w 10000"/>
              <a:gd name="connsiteY85" fmla="*/ 7750 h 10000"/>
              <a:gd name="connsiteX86" fmla="*/ 702 w 10000"/>
              <a:gd name="connsiteY86" fmla="*/ 7916 h 10000"/>
              <a:gd name="connsiteX87" fmla="*/ 971 w 10000"/>
              <a:gd name="connsiteY87" fmla="*/ 7916 h 10000"/>
              <a:gd name="connsiteX88" fmla="*/ 1055 w 10000"/>
              <a:gd name="connsiteY88" fmla="*/ 8000 h 10000"/>
              <a:gd name="connsiteX89" fmla="*/ 971 w 10000"/>
              <a:gd name="connsiteY89" fmla="*/ 8000 h 10000"/>
              <a:gd name="connsiteX90" fmla="*/ 1055 w 10000"/>
              <a:gd name="connsiteY90" fmla="*/ 8082 h 10000"/>
              <a:gd name="connsiteX91" fmla="*/ 1139 w 10000"/>
              <a:gd name="connsiteY91" fmla="*/ 8082 h 10000"/>
              <a:gd name="connsiteX92" fmla="*/ 1224 w 10000"/>
              <a:gd name="connsiteY92" fmla="*/ 8249 h 10000"/>
              <a:gd name="connsiteX93" fmla="*/ 1315 w 10000"/>
              <a:gd name="connsiteY93" fmla="*/ 8332 h 10000"/>
              <a:gd name="connsiteX94" fmla="*/ 1399 w 10000"/>
              <a:gd name="connsiteY94" fmla="*/ 8249 h 10000"/>
              <a:gd name="connsiteX95" fmla="*/ 1843 w 10000"/>
              <a:gd name="connsiteY95" fmla="*/ 8500 h 10000"/>
              <a:gd name="connsiteX96" fmla="*/ 1757 w 10000"/>
              <a:gd name="connsiteY96" fmla="*/ 8833 h 10000"/>
              <a:gd name="connsiteX97" fmla="*/ 1668 w 10000"/>
              <a:gd name="connsiteY97" fmla="*/ 8750 h 10000"/>
              <a:gd name="connsiteX98" fmla="*/ 1574 w 10000"/>
              <a:gd name="connsiteY98" fmla="*/ 8833 h 10000"/>
              <a:gd name="connsiteX99" fmla="*/ 1574 w 10000"/>
              <a:gd name="connsiteY99" fmla="*/ 8999 h 10000"/>
              <a:gd name="connsiteX100" fmla="*/ 1668 w 10000"/>
              <a:gd name="connsiteY100" fmla="*/ 8917 h 10000"/>
              <a:gd name="connsiteX101" fmla="*/ 1757 w 10000"/>
              <a:gd name="connsiteY101" fmla="*/ 8999 h 10000"/>
              <a:gd name="connsiteX102" fmla="*/ 1494 w 10000"/>
              <a:gd name="connsiteY102" fmla="*/ 9083 h 10000"/>
              <a:gd name="connsiteX103" fmla="*/ 1574 w 10000"/>
              <a:gd name="connsiteY103" fmla="*/ 9167 h 10000"/>
              <a:gd name="connsiteX104" fmla="*/ 1399 w 10000"/>
              <a:gd name="connsiteY104" fmla="*/ 9333 h 10000"/>
              <a:gd name="connsiteX105" fmla="*/ 1315 w 10000"/>
              <a:gd name="connsiteY105" fmla="*/ 9333 h 10000"/>
              <a:gd name="connsiteX106" fmla="*/ 1399 w 10000"/>
              <a:gd name="connsiteY106" fmla="*/ 9333 h 10000"/>
              <a:gd name="connsiteX107" fmla="*/ 1757 w 10000"/>
              <a:gd name="connsiteY107" fmla="*/ 9668 h 10000"/>
              <a:gd name="connsiteX108" fmla="*/ 2195 w 10000"/>
              <a:gd name="connsiteY108" fmla="*/ 9668 h 10000"/>
              <a:gd name="connsiteX109" fmla="*/ 2369 w 10000"/>
              <a:gd name="connsiteY109" fmla="*/ 9750 h 10000"/>
              <a:gd name="connsiteX110" fmla="*/ 2543 w 10000"/>
              <a:gd name="connsiteY110" fmla="*/ 9750 h 10000"/>
              <a:gd name="connsiteX111" fmla="*/ 2721 w 10000"/>
              <a:gd name="connsiteY111" fmla="*/ 9918 h 10000"/>
              <a:gd name="connsiteX112" fmla="*/ 2807 w 10000"/>
              <a:gd name="connsiteY112" fmla="*/ 10000 h 10000"/>
              <a:gd name="connsiteX113" fmla="*/ 2891 w 10000"/>
              <a:gd name="connsiteY113" fmla="*/ 10000 h 10000"/>
              <a:gd name="connsiteX114" fmla="*/ 2984 w 10000"/>
              <a:gd name="connsiteY114" fmla="*/ 9918 h 10000"/>
              <a:gd name="connsiteX115" fmla="*/ 2807 w 10000"/>
              <a:gd name="connsiteY115" fmla="*/ 9750 h 10000"/>
              <a:gd name="connsiteX116" fmla="*/ 2807 w 10000"/>
              <a:gd name="connsiteY116" fmla="*/ 9584 h 10000"/>
              <a:gd name="connsiteX117" fmla="*/ 2721 w 10000"/>
              <a:gd name="connsiteY117" fmla="*/ 9416 h 10000"/>
              <a:gd name="connsiteX118" fmla="*/ 2891 w 10000"/>
              <a:gd name="connsiteY118" fmla="*/ 9167 h 10000"/>
              <a:gd name="connsiteX119" fmla="*/ 2984 w 10000"/>
              <a:gd name="connsiteY119" fmla="*/ 9250 h 10000"/>
              <a:gd name="connsiteX120" fmla="*/ 3069 w 10000"/>
              <a:gd name="connsiteY120" fmla="*/ 9167 h 10000"/>
              <a:gd name="connsiteX121" fmla="*/ 3069 w 10000"/>
              <a:gd name="connsiteY121" fmla="*/ 9083 h 10000"/>
              <a:gd name="connsiteX122" fmla="*/ 2984 w 10000"/>
              <a:gd name="connsiteY122" fmla="*/ 9083 h 10000"/>
              <a:gd name="connsiteX123" fmla="*/ 3069 w 10000"/>
              <a:gd name="connsiteY123" fmla="*/ 8999 h 10000"/>
              <a:gd name="connsiteX124" fmla="*/ 2984 w 10000"/>
              <a:gd name="connsiteY124" fmla="*/ 8833 h 10000"/>
              <a:gd name="connsiteX125" fmla="*/ 2807 w 10000"/>
              <a:gd name="connsiteY125" fmla="*/ 8833 h 10000"/>
              <a:gd name="connsiteX126" fmla="*/ 2721 w 10000"/>
              <a:gd name="connsiteY126" fmla="*/ 8667 h 10000"/>
              <a:gd name="connsiteX127" fmla="*/ 2807 w 10000"/>
              <a:gd name="connsiteY127" fmla="*/ 8249 h 10000"/>
              <a:gd name="connsiteX128" fmla="*/ 2984 w 10000"/>
              <a:gd name="connsiteY128" fmla="*/ 8418 h 10000"/>
              <a:gd name="connsiteX129" fmla="*/ 3069 w 10000"/>
              <a:gd name="connsiteY129" fmla="*/ 8418 h 10000"/>
              <a:gd name="connsiteX130" fmla="*/ 2984 w 10000"/>
              <a:gd name="connsiteY130" fmla="*/ 8249 h 10000"/>
              <a:gd name="connsiteX131" fmla="*/ 3249 w 10000"/>
              <a:gd name="connsiteY131" fmla="*/ 8000 h 10000"/>
              <a:gd name="connsiteX132" fmla="*/ 3426 w 10000"/>
              <a:gd name="connsiteY132" fmla="*/ 8082 h 10000"/>
              <a:gd name="connsiteX133" fmla="*/ 3511 w 10000"/>
              <a:gd name="connsiteY133" fmla="*/ 8000 h 10000"/>
              <a:gd name="connsiteX134" fmla="*/ 3678 w 10000"/>
              <a:gd name="connsiteY134" fmla="*/ 8082 h 10000"/>
              <a:gd name="connsiteX135" fmla="*/ 3953 w 10000"/>
              <a:gd name="connsiteY135" fmla="*/ 8249 h 10000"/>
              <a:gd name="connsiteX136" fmla="*/ 4121 w 10000"/>
              <a:gd name="connsiteY136" fmla="*/ 8167 h 10000"/>
              <a:gd name="connsiteX137" fmla="*/ 4300 w 10000"/>
              <a:gd name="connsiteY137" fmla="*/ 8167 h 10000"/>
              <a:gd name="connsiteX138" fmla="*/ 4389 w 10000"/>
              <a:gd name="connsiteY138" fmla="*/ 8249 h 10000"/>
              <a:gd name="connsiteX139" fmla="*/ 4740 w 10000"/>
              <a:gd name="connsiteY139" fmla="*/ 8249 h 10000"/>
              <a:gd name="connsiteX140" fmla="*/ 4823 w 10000"/>
              <a:gd name="connsiteY140" fmla="*/ 8082 h 10000"/>
              <a:gd name="connsiteX141" fmla="*/ 4557 w 10000"/>
              <a:gd name="connsiteY141" fmla="*/ 8000 h 10000"/>
              <a:gd name="connsiteX142" fmla="*/ 4740 w 10000"/>
              <a:gd name="connsiteY142" fmla="*/ 7916 h 10000"/>
              <a:gd name="connsiteX143" fmla="*/ 4647 w 10000"/>
              <a:gd name="connsiteY143" fmla="*/ 7833 h 10000"/>
              <a:gd name="connsiteX144" fmla="*/ 4740 w 10000"/>
              <a:gd name="connsiteY144" fmla="*/ 7750 h 10000"/>
              <a:gd name="connsiteX145" fmla="*/ 4740 w 10000"/>
              <a:gd name="connsiteY145" fmla="*/ 7500 h 10000"/>
              <a:gd name="connsiteX146" fmla="*/ 4908 w 10000"/>
              <a:gd name="connsiteY146" fmla="*/ 7584 h 10000"/>
              <a:gd name="connsiteX147" fmla="*/ 5701 w 10000"/>
              <a:gd name="connsiteY147" fmla="*/ 7334 h 10000"/>
              <a:gd name="connsiteX148" fmla="*/ 5701 w 10000"/>
              <a:gd name="connsiteY148" fmla="*/ 7250 h 10000"/>
              <a:gd name="connsiteX149" fmla="*/ 5793 w 10000"/>
              <a:gd name="connsiteY149" fmla="*/ 7250 h 10000"/>
              <a:gd name="connsiteX150" fmla="*/ 6046 w 10000"/>
              <a:gd name="connsiteY150" fmla="*/ 7250 h 10000"/>
              <a:gd name="connsiteX151" fmla="*/ 6145 w 10000"/>
              <a:gd name="connsiteY151" fmla="*/ 7417 h 10000"/>
              <a:gd name="connsiteX152" fmla="*/ 6145 w 10000"/>
              <a:gd name="connsiteY152" fmla="*/ 7500 h 10000"/>
              <a:gd name="connsiteX153" fmla="*/ 6228 w 10000"/>
              <a:gd name="connsiteY153" fmla="*/ 7500 h 10000"/>
              <a:gd name="connsiteX154" fmla="*/ 6401 w 10000"/>
              <a:gd name="connsiteY154" fmla="*/ 7584 h 10000"/>
              <a:gd name="connsiteX155" fmla="*/ 6401 w 10000"/>
              <a:gd name="connsiteY155" fmla="*/ 7668 h 10000"/>
              <a:gd name="connsiteX156" fmla="*/ 6577 w 10000"/>
              <a:gd name="connsiteY156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489 w 10000"/>
              <a:gd name="connsiteY14" fmla="*/ 3500 h 10000"/>
              <a:gd name="connsiteX15" fmla="*/ 6305 w 10000"/>
              <a:gd name="connsiteY15" fmla="*/ 3333 h 10000"/>
              <a:gd name="connsiteX16" fmla="*/ 4557 w 10000"/>
              <a:gd name="connsiteY16" fmla="*/ 3416 h 10000"/>
              <a:gd name="connsiteX17" fmla="*/ 4480 w 10000"/>
              <a:gd name="connsiteY17" fmla="*/ 3333 h 10000"/>
              <a:gd name="connsiteX18" fmla="*/ 3953 w 10000"/>
              <a:gd name="connsiteY18" fmla="*/ 3500 h 10000"/>
              <a:gd name="connsiteX19" fmla="*/ 3865 w 10000"/>
              <a:gd name="connsiteY19" fmla="*/ 3665 h 10000"/>
              <a:gd name="connsiteX20" fmla="*/ 3777 w 10000"/>
              <a:gd name="connsiteY20" fmla="*/ 3500 h 10000"/>
              <a:gd name="connsiteX21" fmla="*/ 3777 w 10000"/>
              <a:gd name="connsiteY21" fmla="*/ 3333 h 10000"/>
              <a:gd name="connsiteX22" fmla="*/ 2891 w 10000"/>
              <a:gd name="connsiteY22" fmla="*/ 3832 h 10000"/>
              <a:gd name="connsiteX23" fmla="*/ 2891 w 10000"/>
              <a:gd name="connsiteY23" fmla="*/ 3998 h 10000"/>
              <a:gd name="connsiteX24" fmla="*/ 2721 w 10000"/>
              <a:gd name="connsiteY24" fmla="*/ 4082 h 10000"/>
              <a:gd name="connsiteX25" fmla="*/ 2458 w 10000"/>
              <a:gd name="connsiteY25" fmla="*/ 3916 h 10000"/>
              <a:gd name="connsiteX26" fmla="*/ 2721 w 10000"/>
              <a:gd name="connsiteY26" fmla="*/ 3748 h 10000"/>
              <a:gd name="connsiteX27" fmla="*/ 2627 w 10000"/>
              <a:gd name="connsiteY27" fmla="*/ 3500 h 10000"/>
              <a:gd name="connsiteX28" fmla="*/ 2281 w 10000"/>
              <a:gd name="connsiteY28" fmla="*/ 3416 h 10000"/>
              <a:gd name="connsiteX29" fmla="*/ 2369 w 10000"/>
              <a:gd name="connsiteY29" fmla="*/ 3582 h 10000"/>
              <a:gd name="connsiteX30" fmla="*/ 2369 w 10000"/>
              <a:gd name="connsiteY30" fmla="*/ 3998 h 10000"/>
              <a:gd name="connsiteX31" fmla="*/ 2458 w 10000"/>
              <a:gd name="connsiteY31" fmla="*/ 4167 h 10000"/>
              <a:gd name="connsiteX32" fmla="*/ 2369 w 10000"/>
              <a:gd name="connsiteY32" fmla="*/ 4334 h 10000"/>
              <a:gd name="connsiteX33" fmla="*/ 2100 w 10000"/>
              <a:gd name="connsiteY33" fmla="*/ 4250 h 10000"/>
              <a:gd name="connsiteX34" fmla="*/ 1757 w 10000"/>
              <a:gd name="connsiteY34" fmla="*/ 4498 h 10000"/>
              <a:gd name="connsiteX35" fmla="*/ 1928 w 10000"/>
              <a:gd name="connsiteY35" fmla="*/ 4833 h 10000"/>
              <a:gd name="connsiteX36" fmla="*/ 1399 w 10000"/>
              <a:gd name="connsiteY36" fmla="*/ 4666 h 10000"/>
              <a:gd name="connsiteX37" fmla="*/ 1315 w 10000"/>
              <a:gd name="connsiteY37" fmla="*/ 4748 h 10000"/>
              <a:gd name="connsiteX38" fmla="*/ 1494 w 10000"/>
              <a:gd name="connsiteY38" fmla="*/ 4999 h 10000"/>
              <a:gd name="connsiteX39" fmla="*/ 1315 w 10000"/>
              <a:gd name="connsiteY39" fmla="*/ 4999 h 10000"/>
              <a:gd name="connsiteX40" fmla="*/ 1055 w 10000"/>
              <a:gd name="connsiteY40" fmla="*/ 4833 h 10000"/>
              <a:gd name="connsiteX41" fmla="*/ 1055 w 10000"/>
              <a:gd name="connsiteY41" fmla="*/ 4334 h 10000"/>
              <a:gd name="connsiteX42" fmla="*/ 793 w 10000"/>
              <a:gd name="connsiteY42" fmla="*/ 4167 h 10000"/>
              <a:gd name="connsiteX43" fmla="*/ 702 w 10000"/>
              <a:gd name="connsiteY43" fmla="*/ 3998 h 10000"/>
              <a:gd name="connsiteX44" fmla="*/ 873 w 10000"/>
              <a:gd name="connsiteY44" fmla="*/ 4082 h 10000"/>
              <a:gd name="connsiteX45" fmla="*/ 1574 w 10000"/>
              <a:gd name="connsiteY45" fmla="*/ 4334 h 10000"/>
              <a:gd name="connsiteX46" fmla="*/ 2009 w 10000"/>
              <a:gd name="connsiteY46" fmla="*/ 4082 h 10000"/>
              <a:gd name="connsiteX47" fmla="*/ 1928 w 10000"/>
              <a:gd name="connsiteY47" fmla="*/ 3832 h 10000"/>
              <a:gd name="connsiteX48" fmla="*/ 1399 w 10000"/>
              <a:gd name="connsiteY48" fmla="*/ 3333 h 10000"/>
              <a:gd name="connsiteX49" fmla="*/ 873 w 10000"/>
              <a:gd name="connsiteY49" fmla="*/ 3166 h 10000"/>
              <a:gd name="connsiteX50" fmla="*/ 873 w 10000"/>
              <a:gd name="connsiteY50" fmla="*/ 3083 h 10000"/>
              <a:gd name="connsiteX51" fmla="*/ 702 w 10000"/>
              <a:gd name="connsiteY51" fmla="*/ 2997 h 10000"/>
              <a:gd name="connsiteX52" fmla="*/ 523 w 10000"/>
              <a:gd name="connsiteY52" fmla="*/ 3083 h 10000"/>
              <a:gd name="connsiteX53" fmla="*/ 523 w 10000"/>
              <a:gd name="connsiteY53" fmla="*/ 3166 h 10000"/>
              <a:gd name="connsiteX54" fmla="*/ 437 w 10000"/>
              <a:gd name="connsiteY54" fmla="*/ 3166 h 10000"/>
              <a:gd name="connsiteX55" fmla="*/ 263 w 10000"/>
              <a:gd name="connsiteY55" fmla="*/ 3333 h 10000"/>
              <a:gd name="connsiteX56" fmla="*/ 263 w 10000"/>
              <a:gd name="connsiteY56" fmla="*/ 3582 h 10000"/>
              <a:gd name="connsiteX57" fmla="*/ 437 w 10000"/>
              <a:gd name="connsiteY57" fmla="*/ 3748 h 10000"/>
              <a:gd name="connsiteX58" fmla="*/ 353 w 10000"/>
              <a:gd name="connsiteY58" fmla="*/ 3998 h 10000"/>
              <a:gd name="connsiteX59" fmla="*/ 437 w 10000"/>
              <a:gd name="connsiteY59" fmla="*/ 4417 h 10000"/>
              <a:gd name="connsiteX60" fmla="*/ 353 w 10000"/>
              <a:gd name="connsiteY60" fmla="*/ 4666 h 10000"/>
              <a:gd name="connsiteX61" fmla="*/ 523 w 10000"/>
              <a:gd name="connsiteY61" fmla="*/ 4916 h 10000"/>
              <a:gd name="connsiteX62" fmla="*/ 437 w 10000"/>
              <a:gd name="connsiteY62" fmla="*/ 5083 h 10000"/>
              <a:gd name="connsiteX63" fmla="*/ 611 w 10000"/>
              <a:gd name="connsiteY63" fmla="*/ 5250 h 10000"/>
              <a:gd name="connsiteX64" fmla="*/ 611 w 10000"/>
              <a:gd name="connsiteY64" fmla="*/ 5333 h 10000"/>
              <a:gd name="connsiteX65" fmla="*/ 353 w 10000"/>
              <a:gd name="connsiteY65" fmla="*/ 5750 h 10000"/>
              <a:gd name="connsiteX66" fmla="*/ 80 w 10000"/>
              <a:gd name="connsiteY66" fmla="*/ 5917 h 10000"/>
              <a:gd name="connsiteX67" fmla="*/ 172 w 10000"/>
              <a:gd name="connsiteY67" fmla="*/ 5917 h 10000"/>
              <a:gd name="connsiteX68" fmla="*/ 353 w 10000"/>
              <a:gd name="connsiteY68" fmla="*/ 6083 h 10000"/>
              <a:gd name="connsiteX69" fmla="*/ 172 w 10000"/>
              <a:gd name="connsiteY69" fmla="*/ 6249 h 10000"/>
              <a:gd name="connsiteX70" fmla="*/ 80 w 10000"/>
              <a:gd name="connsiteY70" fmla="*/ 6334 h 10000"/>
              <a:gd name="connsiteX71" fmla="*/ 0 w 10000"/>
              <a:gd name="connsiteY71" fmla="*/ 6334 h 10000"/>
              <a:gd name="connsiteX72" fmla="*/ 80 w 10000"/>
              <a:gd name="connsiteY72" fmla="*/ 6584 h 10000"/>
              <a:gd name="connsiteX73" fmla="*/ 80 w 10000"/>
              <a:gd name="connsiteY73" fmla="*/ 6667 h 10000"/>
              <a:gd name="connsiteX74" fmla="*/ 80 w 10000"/>
              <a:gd name="connsiteY74" fmla="*/ 6749 h 10000"/>
              <a:gd name="connsiteX75" fmla="*/ 80 w 10000"/>
              <a:gd name="connsiteY75" fmla="*/ 6834 h 10000"/>
              <a:gd name="connsiteX76" fmla="*/ 172 w 10000"/>
              <a:gd name="connsiteY76" fmla="*/ 6998 h 10000"/>
              <a:gd name="connsiteX77" fmla="*/ 437 w 10000"/>
              <a:gd name="connsiteY77" fmla="*/ 7083 h 10000"/>
              <a:gd name="connsiteX78" fmla="*/ 523 w 10000"/>
              <a:gd name="connsiteY78" fmla="*/ 7165 h 10000"/>
              <a:gd name="connsiteX79" fmla="*/ 523 w 10000"/>
              <a:gd name="connsiteY79" fmla="*/ 7334 h 10000"/>
              <a:gd name="connsiteX80" fmla="*/ 702 w 10000"/>
              <a:gd name="connsiteY80" fmla="*/ 7584 h 10000"/>
              <a:gd name="connsiteX81" fmla="*/ 793 w 10000"/>
              <a:gd name="connsiteY81" fmla="*/ 7584 h 10000"/>
              <a:gd name="connsiteX82" fmla="*/ 702 w 10000"/>
              <a:gd name="connsiteY82" fmla="*/ 7750 h 10000"/>
              <a:gd name="connsiteX83" fmla="*/ 611 w 10000"/>
              <a:gd name="connsiteY83" fmla="*/ 7668 h 10000"/>
              <a:gd name="connsiteX84" fmla="*/ 611 w 10000"/>
              <a:gd name="connsiteY84" fmla="*/ 7750 h 10000"/>
              <a:gd name="connsiteX85" fmla="*/ 702 w 10000"/>
              <a:gd name="connsiteY85" fmla="*/ 7916 h 10000"/>
              <a:gd name="connsiteX86" fmla="*/ 971 w 10000"/>
              <a:gd name="connsiteY86" fmla="*/ 7916 h 10000"/>
              <a:gd name="connsiteX87" fmla="*/ 1055 w 10000"/>
              <a:gd name="connsiteY87" fmla="*/ 8000 h 10000"/>
              <a:gd name="connsiteX88" fmla="*/ 971 w 10000"/>
              <a:gd name="connsiteY88" fmla="*/ 8000 h 10000"/>
              <a:gd name="connsiteX89" fmla="*/ 1055 w 10000"/>
              <a:gd name="connsiteY89" fmla="*/ 8082 h 10000"/>
              <a:gd name="connsiteX90" fmla="*/ 1139 w 10000"/>
              <a:gd name="connsiteY90" fmla="*/ 8082 h 10000"/>
              <a:gd name="connsiteX91" fmla="*/ 1224 w 10000"/>
              <a:gd name="connsiteY91" fmla="*/ 8249 h 10000"/>
              <a:gd name="connsiteX92" fmla="*/ 1315 w 10000"/>
              <a:gd name="connsiteY92" fmla="*/ 8332 h 10000"/>
              <a:gd name="connsiteX93" fmla="*/ 1399 w 10000"/>
              <a:gd name="connsiteY93" fmla="*/ 8249 h 10000"/>
              <a:gd name="connsiteX94" fmla="*/ 1843 w 10000"/>
              <a:gd name="connsiteY94" fmla="*/ 8500 h 10000"/>
              <a:gd name="connsiteX95" fmla="*/ 1757 w 10000"/>
              <a:gd name="connsiteY95" fmla="*/ 8833 h 10000"/>
              <a:gd name="connsiteX96" fmla="*/ 1668 w 10000"/>
              <a:gd name="connsiteY96" fmla="*/ 8750 h 10000"/>
              <a:gd name="connsiteX97" fmla="*/ 1574 w 10000"/>
              <a:gd name="connsiteY97" fmla="*/ 8833 h 10000"/>
              <a:gd name="connsiteX98" fmla="*/ 1574 w 10000"/>
              <a:gd name="connsiteY98" fmla="*/ 8999 h 10000"/>
              <a:gd name="connsiteX99" fmla="*/ 1668 w 10000"/>
              <a:gd name="connsiteY99" fmla="*/ 8917 h 10000"/>
              <a:gd name="connsiteX100" fmla="*/ 1757 w 10000"/>
              <a:gd name="connsiteY100" fmla="*/ 8999 h 10000"/>
              <a:gd name="connsiteX101" fmla="*/ 1494 w 10000"/>
              <a:gd name="connsiteY101" fmla="*/ 9083 h 10000"/>
              <a:gd name="connsiteX102" fmla="*/ 1574 w 10000"/>
              <a:gd name="connsiteY102" fmla="*/ 9167 h 10000"/>
              <a:gd name="connsiteX103" fmla="*/ 1399 w 10000"/>
              <a:gd name="connsiteY103" fmla="*/ 9333 h 10000"/>
              <a:gd name="connsiteX104" fmla="*/ 1315 w 10000"/>
              <a:gd name="connsiteY104" fmla="*/ 9333 h 10000"/>
              <a:gd name="connsiteX105" fmla="*/ 1399 w 10000"/>
              <a:gd name="connsiteY105" fmla="*/ 9333 h 10000"/>
              <a:gd name="connsiteX106" fmla="*/ 1757 w 10000"/>
              <a:gd name="connsiteY106" fmla="*/ 9668 h 10000"/>
              <a:gd name="connsiteX107" fmla="*/ 2195 w 10000"/>
              <a:gd name="connsiteY107" fmla="*/ 9668 h 10000"/>
              <a:gd name="connsiteX108" fmla="*/ 2369 w 10000"/>
              <a:gd name="connsiteY108" fmla="*/ 9750 h 10000"/>
              <a:gd name="connsiteX109" fmla="*/ 2543 w 10000"/>
              <a:gd name="connsiteY109" fmla="*/ 9750 h 10000"/>
              <a:gd name="connsiteX110" fmla="*/ 2721 w 10000"/>
              <a:gd name="connsiteY110" fmla="*/ 9918 h 10000"/>
              <a:gd name="connsiteX111" fmla="*/ 2807 w 10000"/>
              <a:gd name="connsiteY111" fmla="*/ 10000 h 10000"/>
              <a:gd name="connsiteX112" fmla="*/ 2891 w 10000"/>
              <a:gd name="connsiteY112" fmla="*/ 10000 h 10000"/>
              <a:gd name="connsiteX113" fmla="*/ 2984 w 10000"/>
              <a:gd name="connsiteY113" fmla="*/ 9918 h 10000"/>
              <a:gd name="connsiteX114" fmla="*/ 2807 w 10000"/>
              <a:gd name="connsiteY114" fmla="*/ 9750 h 10000"/>
              <a:gd name="connsiteX115" fmla="*/ 2807 w 10000"/>
              <a:gd name="connsiteY115" fmla="*/ 9584 h 10000"/>
              <a:gd name="connsiteX116" fmla="*/ 2721 w 10000"/>
              <a:gd name="connsiteY116" fmla="*/ 9416 h 10000"/>
              <a:gd name="connsiteX117" fmla="*/ 2891 w 10000"/>
              <a:gd name="connsiteY117" fmla="*/ 9167 h 10000"/>
              <a:gd name="connsiteX118" fmla="*/ 2984 w 10000"/>
              <a:gd name="connsiteY118" fmla="*/ 9250 h 10000"/>
              <a:gd name="connsiteX119" fmla="*/ 3069 w 10000"/>
              <a:gd name="connsiteY119" fmla="*/ 9167 h 10000"/>
              <a:gd name="connsiteX120" fmla="*/ 3069 w 10000"/>
              <a:gd name="connsiteY120" fmla="*/ 9083 h 10000"/>
              <a:gd name="connsiteX121" fmla="*/ 2984 w 10000"/>
              <a:gd name="connsiteY121" fmla="*/ 9083 h 10000"/>
              <a:gd name="connsiteX122" fmla="*/ 3069 w 10000"/>
              <a:gd name="connsiteY122" fmla="*/ 8999 h 10000"/>
              <a:gd name="connsiteX123" fmla="*/ 2984 w 10000"/>
              <a:gd name="connsiteY123" fmla="*/ 8833 h 10000"/>
              <a:gd name="connsiteX124" fmla="*/ 2807 w 10000"/>
              <a:gd name="connsiteY124" fmla="*/ 8833 h 10000"/>
              <a:gd name="connsiteX125" fmla="*/ 2721 w 10000"/>
              <a:gd name="connsiteY125" fmla="*/ 8667 h 10000"/>
              <a:gd name="connsiteX126" fmla="*/ 2807 w 10000"/>
              <a:gd name="connsiteY126" fmla="*/ 8249 h 10000"/>
              <a:gd name="connsiteX127" fmla="*/ 2984 w 10000"/>
              <a:gd name="connsiteY127" fmla="*/ 8418 h 10000"/>
              <a:gd name="connsiteX128" fmla="*/ 3069 w 10000"/>
              <a:gd name="connsiteY128" fmla="*/ 8418 h 10000"/>
              <a:gd name="connsiteX129" fmla="*/ 2984 w 10000"/>
              <a:gd name="connsiteY129" fmla="*/ 8249 h 10000"/>
              <a:gd name="connsiteX130" fmla="*/ 3249 w 10000"/>
              <a:gd name="connsiteY130" fmla="*/ 8000 h 10000"/>
              <a:gd name="connsiteX131" fmla="*/ 3426 w 10000"/>
              <a:gd name="connsiteY131" fmla="*/ 8082 h 10000"/>
              <a:gd name="connsiteX132" fmla="*/ 3511 w 10000"/>
              <a:gd name="connsiteY132" fmla="*/ 8000 h 10000"/>
              <a:gd name="connsiteX133" fmla="*/ 3678 w 10000"/>
              <a:gd name="connsiteY133" fmla="*/ 8082 h 10000"/>
              <a:gd name="connsiteX134" fmla="*/ 3953 w 10000"/>
              <a:gd name="connsiteY134" fmla="*/ 8249 h 10000"/>
              <a:gd name="connsiteX135" fmla="*/ 4121 w 10000"/>
              <a:gd name="connsiteY135" fmla="*/ 8167 h 10000"/>
              <a:gd name="connsiteX136" fmla="*/ 4300 w 10000"/>
              <a:gd name="connsiteY136" fmla="*/ 8167 h 10000"/>
              <a:gd name="connsiteX137" fmla="*/ 4389 w 10000"/>
              <a:gd name="connsiteY137" fmla="*/ 8249 h 10000"/>
              <a:gd name="connsiteX138" fmla="*/ 4740 w 10000"/>
              <a:gd name="connsiteY138" fmla="*/ 8249 h 10000"/>
              <a:gd name="connsiteX139" fmla="*/ 4823 w 10000"/>
              <a:gd name="connsiteY139" fmla="*/ 8082 h 10000"/>
              <a:gd name="connsiteX140" fmla="*/ 4557 w 10000"/>
              <a:gd name="connsiteY140" fmla="*/ 8000 h 10000"/>
              <a:gd name="connsiteX141" fmla="*/ 4740 w 10000"/>
              <a:gd name="connsiteY141" fmla="*/ 7916 h 10000"/>
              <a:gd name="connsiteX142" fmla="*/ 4647 w 10000"/>
              <a:gd name="connsiteY142" fmla="*/ 7833 h 10000"/>
              <a:gd name="connsiteX143" fmla="*/ 4740 w 10000"/>
              <a:gd name="connsiteY143" fmla="*/ 7750 h 10000"/>
              <a:gd name="connsiteX144" fmla="*/ 4740 w 10000"/>
              <a:gd name="connsiteY144" fmla="*/ 7500 h 10000"/>
              <a:gd name="connsiteX145" fmla="*/ 4908 w 10000"/>
              <a:gd name="connsiteY145" fmla="*/ 7584 h 10000"/>
              <a:gd name="connsiteX146" fmla="*/ 5701 w 10000"/>
              <a:gd name="connsiteY146" fmla="*/ 7334 h 10000"/>
              <a:gd name="connsiteX147" fmla="*/ 5701 w 10000"/>
              <a:gd name="connsiteY147" fmla="*/ 7250 h 10000"/>
              <a:gd name="connsiteX148" fmla="*/ 5793 w 10000"/>
              <a:gd name="connsiteY148" fmla="*/ 7250 h 10000"/>
              <a:gd name="connsiteX149" fmla="*/ 6046 w 10000"/>
              <a:gd name="connsiteY149" fmla="*/ 7250 h 10000"/>
              <a:gd name="connsiteX150" fmla="*/ 6145 w 10000"/>
              <a:gd name="connsiteY150" fmla="*/ 7417 h 10000"/>
              <a:gd name="connsiteX151" fmla="*/ 6145 w 10000"/>
              <a:gd name="connsiteY151" fmla="*/ 7500 h 10000"/>
              <a:gd name="connsiteX152" fmla="*/ 6228 w 10000"/>
              <a:gd name="connsiteY152" fmla="*/ 7500 h 10000"/>
              <a:gd name="connsiteX153" fmla="*/ 6401 w 10000"/>
              <a:gd name="connsiteY153" fmla="*/ 7584 h 10000"/>
              <a:gd name="connsiteX154" fmla="*/ 6401 w 10000"/>
              <a:gd name="connsiteY154" fmla="*/ 7668 h 10000"/>
              <a:gd name="connsiteX155" fmla="*/ 6577 w 10000"/>
              <a:gd name="connsiteY155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489 w 10000"/>
              <a:gd name="connsiteY13" fmla="*/ 3083 h 10000"/>
              <a:gd name="connsiteX14" fmla="*/ 6305 w 10000"/>
              <a:gd name="connsiteY14" fmla="*/ 3333 h 10000"/>
              <a:gd name="connsiteX15" fmla="*/ 4557 w 10000"/>
              <a:gd name="connsiteY15" fmla="*/ 3416 h 10000"/>
              <a:gd name="connsiteX16" fmla="*/ 4480 w 10000"/>
              <a:gd name="connsiteY16" fmla="*/ 3333 h 10000"/>
              <a:gd name="connsiteX17" fmla="*/ 3953 w 10000"/>
              <a:gd name="connsiteY17" fmla="*/ 3500 h 10000"/>
              <a:gd name="connsiteX18" fmla="*/ 3865 w 10000"/>
              <a:gd name="connsiteY18" fmla="*/ 3665 h 10000"/>
              <a:gd name="connsiteX19" fmla="*/ 3777 w 10000"/>
              <a:gd name="connsiteY19" fmla="*/ 3500 h 10000"/>
              <a:gd name="connsiteX20" fmla="*/ 3777 w 10000"/>
              <a:gd name="connsiteY20" fmla="*/ 3333 h 10000"/>
              <a:gd name="connsiteX21" fmla="*/ 2891 w 10000"/>
              <a:gd name="connsiteY21" fmla="*/ 3832 h 10000"/>
              <a:gd name="connsiteX22" fmla="*/ 2891 w 10000"/>
              <a:gd name="connsiteY22" fmla="*/ 3998 h 10000"/>
              <a:gd name="connsiteX23" fmla="*/ 2721 w 10000"/>
              <a:gd name="connsiteY23" fmla="*/ 4082 h 10000"/>
              <a:gd name="connsiteX24" fmla="*/ 2458 w 10000"/>
              <a:gd name="connsiteY24" fmla="*/ 3916 h 10000"/>
              <a:gd name="connsiteX25" fmla="*/ 2721 w 10000"/>
              <a:gd name="connsiteY25" fmla="*/ 3748 h 10000"/>
              <a:gd name="connsiteX26" fmla="*/ 2627 w 10000"/>
              <a:gd name="connsiteY26" fmla="*/ 3500 h 10000"/>
              <a:gd name="connsiteX27" fmla="*/ 2281 w 10000"/>
              <a:gd name="connsiteY27" fmla="*/ 3416 h 10000"/>
              <a:gd name="connsiteX28" fmla="*/ 2369 w 10000"/>
              <a:gd name="connsiteY28" fmla="*/ 3582 h 10000"/>
              <a:gd name="connsiteX29" fmla="*/ 2369 w 10000"/>
              <a:gd name="connsiteY29" fmla="*/ 3998 h 10000"/>
              <a:gd name="connsiteX30" fmla="*/ 2458 w 10000"/>
              <a:gd name="connsiteY30" fmla="*/ 4167 h 10000"/>
              <a:gd name="connsiteX31" fmla="*/ 2369 w 10000"/>
              <a:gd name="connsiteY31" fmla="*/ 4334 h 10000"/>
              <a:gd name="connsiteX32" fmla="*/ 2100 w 10000"/>
              <a:gd name="connsiteY32" fmla="*/ 4250 h 10000"/>
              <a:gd name="connsiteX33" fmla="*/ 1757 w 10000"/>
              <a:gd name="connsiteY33" fmla="*/ 4498 h 10000"/>
              <a:gd name="connsiteX34" fmla="*/ 1928 w 10000"/>
              <a:gd name="connsiteY34" fmla="*/ 4833 h 10000"/>
              <a:gd name="connsiteX35" fmla="*/ 1399 w 10000"/>
              <a:gd name="connsiteY35" fmla="*/ 4666 h 10000"/>
              <a:gd name="connsiteX36" fmla="*/ 1315 w 10000"/>
              <a:gd name="connsiteY36" fmla="*/ 4748 h 10000"/>
              <a:gd name="connsiteX37" fmla="*/ 1494 w 10000"/>
              <a:gd name="connsiteY37" fmla="*/ 4999 h 10000"/>
              <a:gd name="connsiteX38" fmla="*/ 1315 w 10000"/>
              <a:gd name="connsiteY38" fmla="*/ 4999 h 10000"/>
              <a:gd name="connsiteX39" fmla="*/ 1055 w 10000"/>
              <a:gd name="connsiteY39" fmla="*/ 4833 h 10000"/>
              <a:gd name="connsiteX40" fmla="*/ 1055 w 10000"/>
              <a:gd name="connsiteY40" fmla="*/ 4334 h 10000"/>
              <a:gd name="connsiteX41" fmla="*/ 793 w 10000"/>
              <a:gd name="connsiteY41" fmla="*/ 4167 h 10000"/>
              <a:gd name="connsiteX42" fmla="*/ 702 w 10000"/>
              <a:gd name="connsiteY42" fmla="*/ 3998 h 10000"/>
              <a:gd name="connsiteX43" fmla="*/ 873 w 10000"/>
              <a:gd name="connsiteY43" fmla="*/ 4082 h 10000"/>
              <a:gd name="connsiteX44" fmla="*/ 1574 w 10000"/>
              <a:gd name="connsiteY44" fmla="*/ 4334 h 10000"/>
              <a:gd name="connsiteX45" fmla="*/ 2009 w 10000"/>
              <a:gd name="connsiteY45" fmla="*/ 4082 h 10000"/>
              <a:gd name="connsiteX46" fmla="*/ 1928 w 10000"/>
              <a:gd name="connsiteY46" fmla="*/ 3832 h 10000"/>
              <a:gd name="connsiteX47" fmla="*/ 1399 w 10000"/>
              <a:gd name="connsiteY47" fmla="*/ 3333 h 10000"/>
              <a:gd name="connsiteX48" fmla="*/ 873 w 10000"/>
              <a:gd name="connsiteY48" fmla="*/ 3166 h 10000"/>
              <a:gd name="connsiteX49" fmla="*/ 873 w 10000"/>
              <a:gd name="connsiteY49" fmla="*/ 3083 h 10000"/>
              <a:gd name="connsiteX50" fmla="*/ 702 w 10000"/>
              <a:gd name="connsiteY50" fmla="*/ 2997 h 10000"/>
              <a:gd name="connsiteX51" fmla="*/ 523 w 10000"/>
              <a:gd name="connsiteY51" fmla="*/ 3083 h 10000"/>
              <a:gd name="connsiteX52" fmla="*/ 523 w 10000"/>
              <a:gd name="connsiteY52" fmla="*/ 3166 h 10000"/>
              <a:gd name="connsiteX53" fmla="*/ 437 w 10000"/>
              <a:gd name="connsiteY53" fmla="*/ 3166 h 10000"/>
              <a:gd name="connsiteX54" fmla="*/ 263 w 10000"/>
              <a:gd name="connsiteY54" fmla="*/ 3333 h 10000"/>
              <a:gd name="connsiteX55" fmla="*/ 263 w 10000"/>
              <a:gd name="connsiteY55" fmla="*/ 3582 h 10000"/>
              <a:gd name="connsiteX56" fmla="*/ 437 w 10000"/>
              <a:gd name="connsiteY56" fmla="*/ 3748 h 10000"/>
              <a:gd name="connsiteX57" fmla="*/ 353 w 10000"/>
              <a:gd name="connsiteY57" fmla="*/ 3998 h 10000"/>
              <a:gd name="connsiteX58" fmla="*/ 437 w 10000"/>
              <a:gd name="connsiteY58" fmla="*/ 4417 h 10000"/>
              <a:gd name="connsiteX59" fmla="*/ 353 w 10000"/>
              <a:gd name="connsiteY59" fmla="*/ 4666 h 10000"/>
              <a:gd name="connsiteX60" fmla="*/ 523 w 10000"/>
              <a:gd name="connsiteY60" fmla="*/ 4916 h 10000"/>
              <a:gd name="connsiteX61" fmla="*/ 437 w 10000"/>
              <a:gd name="connsiteY61" fmla="*/ 5083 h 10000"/>
              <a:gd name="connsiteX62" fmla="*/ 611 w 10000"/>
              <a:gd name="connsiteY62" fmla="*/ 5250 h 10000"/>
              <a:gd name="connsiteX63" fmla="*/ 611 w 10000"/>
              <a:gd name="connsiteY63" fmla="*/ 5333 h 10000"/>
              <a:gd name="connsiteX64" fmla="*/ 353 w 10000"/>
              <a:gd name="connsiteY64" fmla="*/ 5750 h 10000"/>
              <a:gd name="connsiteX65" fmla="*/ 80 w 10000"/>
              <a:gd name="connsiteY65" fmla="*/ 5917 h 10000"/>
              <a:gd name="connsiteX66" fmla="*/ 172 w 10000"/>
              <a:gd name="connsiteY66" fmla="*/ 5917 h 10000"/>
              <a:gd name="connsiteX67" fmla="*/ 353 w 10000"/>
              <a:gd name="connsiteY67" fmla="*/ 6083 h 10000"/>
              <a:gd name="connsiteX68" fmla="*/ 172 w 10000"/>
              <a:gd name="connsiteY68" fmla="*/ 6249 h 10000"/>
              <a:gd name="connsiteX69" fmla="*/ 80 w 10000"/>
              <a:gd name="connsiteY69" fmla="*/ 6334 h 10000"/>
              <a:gd name="connsiteX70" fmla="*/ 0 w 10000"/>
              <a:gd name="connsiteY70" fmla="*/ 6334 h 10000"/>
              <a:gd name="connsiteX71" fmla="*/ 80 w 10000"/>
              <a:gd name="connsiteY71" fmla="*/ 6584 h 10000"/>
              <a:gd name="connsiteX72" fmla="*/ 80 w 10000"/>
              <a:gd name="connsiteY72" fmla="*/ 6667 h 10000"/>
              <a:gd name="connsiteX73" fmla="*/ 80 w 10000"/>
              <a:gd name="connsiteY73" fmla="*/ 6749 h 10000"/>
              <a:gd name="connsiteX74" fmla="*/ 80 w 10000"/>
              <a:gd name="connsiteY74" fmla="*/ 6834 h 10000"/>
              <a:gd name="connsiteX75" fmla="*/ 172 w 10000"/>
              <a:gd name="connsiteY75" fmla="*/ 6998 h 10000"/>
              <a:gd name="connsiteX76" fmla="*/ 437 w 10000"/>
              <a:gd name="connsiteY76" fmla="*/ 7083 h 10000"/>
              <a:gd name="connsiteX77" fmla="*/ 523 w 10000"/>
              <a:gd name="connsiteY77" fmla="*/ 7165 h 10000"/>
              <a:gd name="connsiteX78" fmla="*/ 523 w 10000"/>
              <a:gd name="connsiteY78" fmla="*/ 7334 h 10000"/>
              <a:gd name="connsiteX79" fmla="*/ 702 w 10000"/>
              <a:gd name="connsiteY79" fmla="*/ 7584 h 10000"/>
              <a:gd name="connsiteX80" fmla="*/ 793 w 10000"/>
              <a:gd name="connsiteY80" fmla="*/ 7584 h 10000"/>
              <a:gd name="connsiteX81" fmla="*/ 702 w 10000"/>
              <a:gd name="connsiteY81" fmla="*/ 7750 h 10000"/>
              <a:gd name="connsiteX82" fmla="*/ 611 w 10000"/>
              <a:gd name="connsiteY82" fmla="*/ 7668 h 10000"/>
              <a:gd name="connsiteX83" fmla="*/ 611 w 10000"/>
              <a:gd name="connsiteY83" fmla="*/ 7750 h 10000"/>
              <a:gd name="connsiteX84" fmla="*/ 702 w 10000"/>
              <a:gd name="connsiteY84" fmla="*/ 7916 h 10000"/>
              <a:gd name="connsiteX85" fmla="*/ 971 w 10000"/>
              <a:gd name="connsiteY85" fmla="*/ 7916 h 10000"/>
              <a:gd name="connsiteX86" fmla="*/ 1055 w 10000"/>
              <a:gd name="connsiteY86" fmla="*/ 8000 h 10000"/>
              <a:gd name="connsiteX87" fmla="*/ 971 w 10000"/>
              <a:gd name="connsiteY87" fmla="*/ 8000 h 10000"/>
              <a:gd name="connsiteX88" fmla="*/ 1055 w 10000"/>
              <a:gd name="connsiteY88" fmla="*/ 8082 h 10000"/>
              <a:gd name="connsiteX89" fmla="*/ 1139 w 10000"/>
              <a:gd name="connsiteY89" fmla="*/ 8082 h 10000"/>
              <a:gd name="connsiteX90" fmla="*/ 1224 w 10000"/>
              <a:gd name="connsiteY90" fmla="*/ 8249 h 10000"/>
              <a:gd name="connsiteX91" fmla="*/ 1315 w 10000"/>
              <a:gd name="connsiteY91" fmla="*/ 8332 h 10000"/>
              <a:gd name="connsiteX92" fmla="*/ 1399 w 10000"/>
              <a:gd name="connsiteY92" fmla="*/ 8249 h 10000"/>
              <a:gd name="connsiteX93" fmla="*/ 1843 w 10000"/>
              <a:gd name="connsiteY93" fmla="*/ 8500 h 10000"/>
              <a:gd name="connsiteX94" fmla="*/ 1757 w 10000"/>
              <a:gd name="connsiteY94" fmla="*/ 8833 h 10000"/>
              <a:gd name="connsiteX95" fmla="*/ 1668 w 10000"/>
              <a:gd name="connsiteY95" fmla="*/ 8750 h 10000"/>
              <a:gd name="connsiteX96" fmla="*/ 1574 w 10000"/>
              <a:gd name="connsiteY96" fmla="*/ 8833 h 10000"/>
              <a:gd name="connsiteX97" fmla="*/ 1574 w 10000"/>
              <a:gd name="connsiteY97" fmla="*/ 8999 h 10000"/>
              <a:gd name="connsiteX98" fmla="*/ 1668 w 10000"/>
              <a:gd name="connsiteY98" fmla="*/ 8917 h 10000"/>
              <a:gd name="connsiteX99" fmla="*/ 1757 w 10000"/>
              <a:gd name="connsiteY99" fmla="*/ 8999 h 10000"/>
              <a:gd name="connsiteX100" fmla="*/ 1494 w 10000"/>
              <a:gd name="connsiteY100" fmla="*/ 9083 h 10000"/>
              <a:gd name="connsiteX101" fmla="*/ 1574 w 10000"/>
              <a:gd name="connsiteY101" fmla="*/ 9167 h 10000"/>
              <a:gd name="connsiteX102" fmla="*/ 1399 w 10000"/>
              <a:gd name="connsiteY102" fmla="*/ 9333 h 10000"/>
              <a:gd name="connsiteX103" fmla="*/ 1315 w 10000"/>
              <a:gd name="connsiteY103" fmla="*/ 9333 h 10000"/>
              <a:gd name="connsiteX104" fmla="*/ 1399 w 10000"/>
              <a:gd name="connsiteY104" fmla="*/ 9333 h 10000"/>
              <a:gd name="connsiteX105" fmla="*/ 1757 w 10000"/>
              <a:gd name="connsiteY105" fmla="*/ 9668 h 10000"/>
              <a:gd name="connsiteX106" fmla="*/ 2195 w 10000"/>
              <a:gd name="connsiteY106" fmla="*/ 9668 h 10000"/>
              <a:gd name="connsiteX107" fmla="*/ 2369 w 10000"/>
              <a:gd name="connsiteY107" fmla="*/ 9750 h 10000"/>
              <a:gd name="connsiteX108" fmla="*/ 2543 w 10000"/>
              <a:gd name="connsiteY108" fmla="*/ 9750 h 10000"/>
              <a:gd name="connsiteX109" fmla="*/ 2721 w 10000"/>
              <a:gd name="connsiteY109" fmla="*/ 9918 h 10000"/>
              <a:gd name="connsiteX110" fmla="*/ 2807 w 10000"/>
              <a:gd name="connsiteY110" fmla="*/ 10000 h 10000"/>
              <a:gd name="connsiteX111" fmla="*/ 2891 w 10000"/>
              <a:gd name="connsiteY111" fmla="*/ 10000 h 10000"/>
              <a:gd name="connsiteX112" fmla="*/ 2984 w 10000"/>
              <a:gd name="connsiteY112" fmla="*/ 9918 h 10000"/>
              <a:gd name="connsiteX113" fmla="*/ 2807 w 10000"/>
              <a:gd name="connsiteY113" fmla="*/ 9750 h 10000"/>
              <a:gd name="connsiteX114" fmla="*/ 2807 w 10000"/>
              <a:gd name="connsiteY114" fmla="*/ 9584 h 10000"/>
              <a:gd name="connsiteX115" fmla="*/ 2721 w 10000"/>
              <a:gd name="connsiteY115" fmla="*/ 9416 h 10000"/>
              <a:gd name="connsiteX116" fmla="*/ 2891 w 10000"/>
              <a:gd name="connsiteY116" fmla="*/ 9167 h 10000"/>
              <a:gd name="connsiteX117" fmla="*/ 2984 w 10000"/>
              <a:gd name="connsiteY117" fmla="*/ 9250 h 10000"/>
              <a:gd name="connsiteX118" fmla="*/ 3069 w 10000"/>
              <a:gd name="connsiteY118" fmla="*/ 9167 h 10000"/>
              <a:gd name="connsiteX119" fmla="*/ 3069 w 10000"/>
              <a:gd name="connsiteY119" fmla="*/ 9083 h 10000"/>
              <a:gd name="connsiteX120" fmla="*/ 2984 w 10000"/>
              <a:gd name="connsiteY120" fmla="*/ 9083 h 10000"/>
              <a:gd name="connsiteX121" fmla="*/ 3069 w 10000"/>
              <a:gd name="connsiteY121" fmla="*/ 8999 h 10000"/>
              <a:gd name="connsiteX122" fmla="*/ 2984 w 10000"/>
              <a:gd name="connsiteY122" fmla="*/ 8833 h 10000"/>
              <a:gd name="connsiteX123" fmla="*/ 2807 w 10000"/>
              <a:gd name="connsiteY123" fmla="*/ 8833 h 10000"/>
              <a:gd name="connsiteX124" fmla="*/ 2721 w 10000"/>
              <a:gd name="connsiteY124" fmla="*/ 8667 h 10000"/>
              <a:gd name="connsiteX125" fmla="*/ 2807 w 10000"/>
              <a:gd name="connsiteY125" fmla="*/ 8249 h 10000"/>
              <a:gd name="connsiteX126" fmla="*/ 2984 w 10000"/>
              <a:gd name="connsiteY126" fmla="*/ 8418 h 10000"/>
              <a:gd name="connsiteX127" fmla="*/ 3069 w 10000"/>
              <a:gd name="connsiteY127" fmla="*/ 8418 h 10000"/>
              <a:gd name="connsiteX128" fmla="*/ 2984 w 10000"/>
              <a:gd name="connsiteY128" fmla="*/ 8249 h 10000"/>
              <a:gd name="connsiteX129" fmla="*/ 3249 w 10000"/>
              <a:gd name="connsiteY129" fmla="*/ 8000 h 10000"/>
              <a:gd name="connsiteX130" fmla="*/ 3426 w 10000"/>
              <a:gd name="connsiteY130" fmla="*/ 8082 h 10000"/>
              <a:gd name="connsiteX131" fmla="*/ 3511 w 10000"/>
              <a:gd name="connsiteY131" fmla="*/ 8000 h 10000"/>
              <a:gd name="connsiteX132" fmla="*/ 3678 w 10000"/>
              <a:gd name="connsiteY132" fmla="*/ 8082 h 10000"/>
              <a:gd name="connsiteX133" fmla="*/ 3953 w 10000"/>
              <a:gd name="connsiteY133" fmla="*/ 8249 h 10000"/>
              <a:gd name="connsiteX134" fmla="*/ 4121 w 10000"/>
              <a:gd name="connsiteY134" fmla="*/ 8167 h 10000"/>
              <a:gd name="connsiteX135" fmla="*/ 4300 w 10000"/>
              <a:gd name="connsiteY135" fmla="*/ 8167 h 10000"/>
              <a:gd name="connsiteX136" fmla="*/ 4389 w 10000"/>
              <a:gd name="connsiteY136" fmla="*/ 8249 h 10000"/>
              <a:gd name="connsiteX137" fmla="*/ 4740 w 10000"/>
              <a:gd name="connsiteY137" fmla="*/ 8249 h 10000"/>
              <a:gd name="connsiteX138" fmla="*/ 4823 w 10000"/>
              <a:gd name="connsiteY138" fmla="*/ 8082 h 10000"/>
              <a:gd name="connsiteX139" fmla="*/ 4557 w 10000"/>
              <a:gd name="connsiteY139" fmla="*/ 8000 h 10000"/>
              <a:gd name="connsiteX140" fmla="*/ 4740 w 10000"/>
              <a:gd name="connsiteY140" fmla="*/ 7916 h 10000"/>
              <a:gd name="connsiteX141" fmla="*/ 4647 w 10000"/>
              <a:gd name="connsiteY141" fmla="*/ 7833 h 10000"/>
              <a:gd name="connsiteX142" fmla="*/ 4740 w 10000"/>
              <a:gd name="connsiteY142" fmla="*/ 7750 h 10000"/>
              <a:gd name="connsiteX143" fmla="*/ 4740 w 10000"/>
              <a:gd name="connsiteY143" fmla="*/ 7500 h 10000"/>
              <a:gd name="connsiteX144" fmla="*/ 4908 w 10000"/>
              <a:gd name="connsiteY144" fmla="*/ 7584 h 10000"/>
              <a:gd name="connsiteX145" fmla="*/ 5701 w 10000"/>
              <a:gd name="connsiteY145" fmla="*/ 7334 h 10000"/>
              <a:gd name="connsiteX146" fmla="*/ 5701 w 10000"/>
              <a:gd name="connsiteY146" fmla="*/ 7250 h 10000"/>
              <a:gd name="connsiteX147" fmla="*/ 5793 w 10000"/>
              <a:gd name="connsiteY147" fmla="*/ 7250 h 10000"/>
              <a:gd name="connsiteX148" fmla="*/ 6046 w 10000"/>
              <a:gd name="connsiteY148" fmla="*/ 7250 h 10000"/>
              <a:gd name="connsiteX149" fmla="*/ 6145 w 10000"/>
              <a:gd name="connsiteY149" fmla="*/ 7417 h 10000"/>
              <a:gd name="connsiteX150" fmla="*/ 6145 w 10000"/>
              <a:gd name="connsiteY150" fmla="*/ 7500 h 10000"/>
              <a:gd name="connsiteX151" fmla="*/ 6228 w 10000"/>
              <a:gd name="connsiteY151" fmla="*/ 7500 h 10000"/>
              <a:gd name="connsiteX152" fmla="*/ 6401 w 10000"/>
              <a:gd name="connsiteY152" fmla="*/ 7584 h 10000"/>
              <a:gd name="connsiteX153" fmla="*/ 6401 w 10000"/>
              <a:gd name="connsiteY153" fmla="*/ 7668 h 10000"/>
              <a:gd name="connsiteX154" fmla="*/ 6577 w 10000"/>
              <a:gd name="connsiteY154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577 w 10000"/>
              <a:gd name="connsiteY12" fmla="*/ 2748 h 10000"/>
              <a:gd name="connsiteX13" fmla="*/ 6305 w 10000"/>
              <a:gd name="connsiteY13" fmla="*/ 3333 h 10000"/>
              <a:gd name="connsiteX14" fmla="*/ 4557 w 10000"/>
              <a:gd name="connsiteY14" fmla="*/ 3416 h 10000"/>
              <a:gd name="connsiteX15" fmla="*/ 4480 w 10000"/>
              <a:gd name="connsiteY15" fmla="*/ 3333 h 10000"/>
              <a:gd name="connsiteX16" fmla="*/ 3953 w 10000"/>
              <a:gd name="connsiteY16" fmla="*/ 3500 h 10000"/>
              <a:gd name="connsiteX17" fmla="*/ 3865 w 10000"/>
              <a:gd name="connsiteY17" fmla="*/ 3665 h 10000"/>
              <a:gd name="connsiteX18" fmla="*/ 3777 w 10000"/>
              <a:gd name="connsiteY18" fmla="*/ 3500 h 10000"/>
              <a:gd name="connsiteX19" fmla="*/ 3777 w 10000"/>
              <a:gd name="connsiteY19" fmla="*/ 3333 h 10000"/>
              <a:gd name="connsiteX20" fmla="*/ 2891 w 10000"/>
              <a:gd name="connsiteY20" fmla="*/ 3832 h 10000"/>
              <a:gd name="connsiteX21" fmla="*/ 2891 w 10000"/>
              <a:gd name="connsiteY21" fmla="*/ 3998 h 10000"/>
              <a:gd name="connsiteX22" fmla="*/ 2721 w 10000"/>
              <a:gd name="connsiteY22" fmla="*/ 4082 h 10000"/>
              <a:gd name="connsiteX23" fmla="*/ 2458 w 10000"/>
              <a:gd name="connsiteY23" fmla="*/ 3916 h 10000"/>
              <a:gd name="connsiteX24" fmla="*/ 2721 w 10000"/>
              <a:gd name="connsiteY24" fmla="*/ 3748 h 10000"/>
              <a:gd name="connsiteX25" fmla="*/ 2627 w 10000"/>
              <a:gd name="connsiteY25" fmla="*/ 3500 h 10000"/>
              <a:gd name="connsiteX26" fmla="*/ 2281 w 10000"/>
              <a:gd name="connsiteY26" fmla="*/ 3416 h 10000"/>
              <a:gd name="connsiteX27" fmla="*/ 2369 w 10000"/>
              <a:gd name="connsiteY27" fmla="*/ 3582 h 10000"/>
              <a:gd name="connsiteX28" fmla="*/ 2369 w 10000"/>
              <a:gd name="connsiteY28" fmla="*/ 3998 h 10000"/>
              <a:gd name="connsiteX29" fmla="*/ 2458 w 10000"/>
              <a:gd name="connsiteY29" fmla="*/ 4167 h 10000"/>
              <a:gd name="connsiteX30" fmla="*/ 2369 w 10000"/>
              <a:gd name="connsiteY30" fmla="*/ 4334 h 10000"/>
              <a:gd name="connsiteX31" fmla="*/ 2100 w 10000"/>
              <a:gd name="connsiteY31" fmla="*/ 4250 h 10000"/>
              <a:gd name="connsiteX32" fmla="*/ 1757 w 10000"/>
              <a:gd name="connsiteY32" fmla="*/ 4498 h 10000"/>
              <a:gd name="connsiteX33" fmla="*/ 1928 w 10000"/>
              <a:gd name="connsiteY33" fmla="*/ 4833 h 10000"/>
              <a:gd name="connsiteX34" fmla="*/ 1399 w 10000"/>
              <a:gd name="connsiteY34" fmla="*/ 4666 h 10000"/>
              <a:gd name="connsiteX35" fmla="*/ 1315 w 10000"/>
              <a:gd name="connsiteY35" fmla="*/ 4748 h 10000"/>
              <a:gd name="connsiteX36" fmla="*/ 1494 w 10000"/>
              <a:gd name="connsiteY36" fmla="*/ 4999 h 10000"/>
              <a:gd name="connsiteX37" fmla="*/ 1315 w 10000"/>
              <a:gd name="connsiteY37" fmla="*/ 4999 h 10000"/>
              <a:gd name="connsiteX38" fmla="*/ 1055 w 10000"/>
              <a:gd name="connsiteY38" fmla="*/ 4833 h 10000"/>
              <a:gd name="connsiteX39" fmla="*/ 1055 w 10000"/>
              <a:gd name="connsiteY39" fmla="*/ 4334 h 10000"/>
              <a:gd name="connsiteX40" fmla="*/ 793 w 10000"/>
              <a:gd name="connsiteY40" fmla="*/ 4167 h 10000"/>
              <a:gd name="connsiteX41" fmla="*/ 702 w 10000"/>
              <a:gd name="connsiteY41" fmla="*/ 3998 h 10000"/>
              <a:gd name="connsiteX42" fmla="*/ 873 w 10000"/>
              <a:gd name="connsiteY42" fmla="*/ 4082 h 10000"/>
              <a:gd name="connsiteX43" fmla="*/ 1574 w 10000"/>
              <a:gd name="connsiteY43" fmla="*/ 4334 h 10000"/>
              <a:gd name="connsiteX44" fmla="*/ 2009 w 10000"/>
              <a:gd name="connsiteY44" fmla="*/ 4082 h 10000"/>
              <a:gd name="connsiteX45" fmla="*/ 1928 w 10000"/>
              <a:gd name="connsiteY45" fmla="*/ 3832 h 10000"/>
              <a:gd name="connsiteX46" fmla="*/ 1399 w 10000"/>
              <a:gd name="connsiteY46" fmla="*/ 3333 h 10000"/>
              <a:gd name="connsiteX47" fmla="*/ 873 w 10000"/>
              <a:gd name="connsiteY47" fmla="*/ 3166 h 10000"/>
              <a:gd name="connsiteX48" fmla="*/ 873 w 10000"/>
              <a:gd name="connsiteY48" fmla="*/ 3083 h 10000"/>
              <a:gd name="connsiteX49" fmla="*/ 702 w 10000"/>
              <a:gd name="connsiteY49" fmla="*/ 2997 h 10000"/>
              <a:gd name="connsiteX50" fmla="*/ 523 w 10000"/>
              <a:gd name="connsiteY50" fmla="*/ 3083 h 10000"/>
              <a:gd name="connsiteX51" fmla="*/ 523 w 10000"/>
              <a:gd name="connsiteY51" fmla="*/ 3166 h 10000"/>
              <a:gd name="connsiteX52" fmla="*/ 437 w 10000"/>
              <a:gd name="connsiteY52" fmla="*/ 3166 h 10000"/>
              <a:gd name="connsiteX53" fmla="*/ 263 w 10000"/>
              <a:gd name="connsiteY53" fmla="*/ 3333 h 10000"/>
              <a:gd name="connsiteX54" fmla="*/ 263 w 10000"/>
              <a:gd name="connsiteY54" fmla="*/ 3582 h 10000"/>
              <a:gd name="connsiteX55" fmla="*/ 437 w 10000"/>
              <a:gd name="connsiteY55" fmla="*/ 3748 h 10000"/>
              <a:gd name="connsiteX56" fmla="*/ 353 w 10000"/>
              <a:gd name="connsiteY56" fmla="*/ 3998 h 10000"/>
              <a:gd name="connsiteX57" fmla="*/ 437 w 10000"/>
              <a:gd name="connsiteY57" fmla="*/ 4417 h 10000"/>
              <a:gd name="connsiteX58" fmla="*/ 353 w 10000"/>
              <a:gd name="connsiteY58" fmla="*/ 4666 h 10000"/>
              <a:gd name="connsiteX59" fmla="*/ 523 w 10000"/>
              <a:gd name="connsiteY59" fmla="*/ 4916 h 10000"/>
              <a:gd name="connsiteX60" fmla="*/ 437 w 10000"/>
              <a:gd name="connsiteY60" fmla="*/ 5083 h 10000"/>
              <a:gd name="connsiteX61" fmla="*/ 611 w 10000"/>
              <a:gd name="connsiteY61" fmla="*/ 5250 h 10000"/>
              <a:gd name="connsiteX62" fmla="*/ 611 w 10000"/>
              <a:gd name="connsiteY62" fmla="*/ 5333 h 10000"/>
              <a:gd name="connsiteX63" fmla="*/ 353 w 10000"/>
              <a:gd name="connsiteY63" fmla="*/ 5750 h 10000"/>
              <a:gd name="connsiteX64" fmla="*/ 80 w 10000"/>
              <a:gd name="connsiteY64" fmla="*/ 5917 h 10000"/>
              <a:gd name="connsiteX65" fmla="*/ 172 w 10000"/>
              <a:gd name="connsiteY65" fmla="*/ 5917 h 10000"/>
              <a:gd name="connsiteX66" fmla="*/ 353 w 10000"/>
              <a:gd name="connsiteY66" fmla="*/ 6083 h 10000"/>
              <a:gd name="connsiteX67" fmla="*/ 172 w 10000"/>
              <a:gd name="connsiteY67" fmla="*/ 6249 h 10000"/>
              <a:gd name="connsiteX68" fmla="*/ 80 w 10000"/>
              <a:gd name="connsiteY68" fmla="*/ 6334 h 10000"/>
              <a:gd name="connsiteX69" fmla="*/ 0 w 10000"/>
              <a:gd name="connsiteY69" fmla="*/ 6334 h 10000"/>
              <a:gd name="connsiteX70" fmla="*/ 80 w 10000"/>
              <a:gd name="connsiteY70" fmla="*/ 6584 h 10000"/>
              <a:gd name="connsiteX71" fmla="*/ 80 w 10000"/>
              <a:gd name="connsiteY71" fmla="*/ 6667 h 10000"/>
              <a:gd name="connsiteX72" fmla="*/ 80 w 10000"/>
              <a:gd name="connsiteY72" fmla="*/ 6749 h 10000"/>
              <a:gd name="connsiteX73" fmla="*/ 80 w 10000"/>
              <a:gd name="connsiteY73" fmla="*/ 6834 h 10000"/>
              <a:gd name="connsiteX74" fmla="*/ 172 w 10000"/>
              <a:gd name="connsiteY74" fmla="*/ 6998 h 10000"/>
              <a:gd name="connsiteX75" fmla="*/ 437 w 10000"/>
              <a:gd name="connsiteY75" fmla="*/ 7083 h 10000"/>
              <a:gd name="connsiteX76" fmla="*/ 523 w 10000"/>
              <a:gd name="connsiteY76" fmla="*/ 7165 h 10000"/>
              <a:gd name="connsiteX77" fmla="*/ 523 w 10000"/>
              <a:gd name="connsiteY77" fmla="*/ 7334 h 10000"/>
              <a:gd name="connsiteX78" fmla="*/ 702 w 10000"/>
              <a:gd name="connsiteY78" fmla="*/ 7584 h 10000"/>
              <a:gd name="connsiteX79" fmla="*/ 793 w 10000"/>
              <a:gd name="connsiteY79" fmla="*/ 7584 h 10000"/>
              <a:gd name="connsiteX80" fmla="*/ 702 w 10000"/>
              <a:gd name="connsiteY80" fmla="*/ 7750 h 10000"/>
              <a:gd name="connsiteX81" fmla="*/ 611 w 10000"/>
              <a:gd name="connsiteY81" fmla="*/ 7668 h 10000"/>
              <a:gd name="connsiteX82" fmla="*/ 611 w 10000"/>
              <a:gd name="connsiteY82" fmla="*/ 7750 h 10000"/>
              <a:gd name="connsiteX83" fmla="*/ 702 w 10000"/>
              <a:gd name="connsiteY83" fmla="*/ 7916 h 10000"/>
              <a:gd name="connsiteX84" fmla="*/ 971 w 10000"/>
              <a:gd name="connsiteY84" fmla="*/ 7916 h 10000"/>
              <a:gd name="connsiteX85" fmla="*/ 1055 w 10000"/>
              <a:gd name="connsiteY85" fmla="*/ 8000 h 10000"/>
              <a:gd name="connsiteX86" fmla="*/ 971 w 10000"/>
              <a:gd name="connsiteY86" fmla="*/ 8000 h 10000"/>
              <a:gd name="connsiteX87" fmla="*/ 1055 w 10000"/>
              <a:gd name="connsiteY87" fmla="*/ 8082 h 10000"/>
              <a:gd name="connsiteX88" fmla="*/ 1139 w 10000"/>
              <a:gd name="connsiteY88" fmla="*/ 8082 h 10000"/>
              <a:gd name="connsiteX89" fmla="*/ 1224 w 10000"/>
              <a:gd name="connsiteY89" fmla="*/ 8249 h 10000"/>
              <a:gd name="connsiteX90" fmla="*/ 1315 w 10000"/>
              <a:gd name="connsiteY90" fmla="*/ 8332 h 10000"/>
              <a:gd name="connsiteX91" fmla="*/ 1399 w 10000"/>
              <a:gd name="connsiteY91" fmla="*/ 8249 h 10000"/>
              <a:gd name="connsiteX92" fmla="*/ 1843 w 10000"/>
              <a:gd name="connsiteY92" fmla="*/ 8500 h 10000"/>
              <a:gd name="connsiteX93" fmla="*/ 1757 w 10000"/>
              <a:gd name="connsiteY93" fmla="*/ 8833 h 10000"/>
              <a:gd name="connsiteX94" fmla="*/ 1668 w 10000"/>
              <a:gd name="connsiteY94" fmla="*/ 8750 h 10000"/>
              <a:gd name="connsiteX95" fmla="*/ 1574 w 10000"/>
              <a:gd name="connsiteY95" fmla="*/ 8833 h 10000"/>
              <a:gd name="connsiteX96" fmla="*/ 1574 w 10000"/>
              <a:gd name="connsiteY96" fmla="*/ 8999 h 10000"/>
              <a:gd name="connsiteX97" fmla="*/ 1668 w 10000"/>
              <a:gd name="connsiteY97" fmla="*/ 8917 h 10000"/>
              <a:gd name="connsiteX98" fmla="*/ 1757 w 10000"/>
              <a:gd name="connsiteY98" fmla="*/ 8999 h 10000"/>
              <a:gd name="connsiteX99" fmla="*/ 1494 w 10000"/>
              <a:gd name="connsiteY99" fmla="*/ 9083 h 10000"/>
              <a:gd name="connsiteX100" fmla="*/ 1574 w 10000"/>
              <a:gd name="connsiteY100" fmla="*/ 9167 h 10000"/>
              <a:gd name="connsiteX101" fmla="*/ 1399 w 10000"/>
              <a:gd name="connsiteY101" fmla="*/ 9333 h 10000"/>
              <a:gd name="connsiteX102" fmla="*/ 1315 w 10000"/>
              <a:gd name="connsiteY102" fmla="*/ 9333 h 10000"/>
              <a:gd name="connsiteX103" fmla="*/ 1399 w 10000"/>
              <a:gd name="connsiteY103" fmla="*/ 9333 h 10000"/>
              <a:gd name="connsiteX104" fmla="*/ 1757 w 10000"/>
              <a:gd name="connsiteY104" fmla="*/ 9668 h 10000"/>
              <a:gd name="connsiteX105" fmla="*/ 2195 w 10000"/>
              <a:gd name="connsiteY105" fmla="*/ 9668 h 10000"/>
              <a:gd name="connsiteX106" fmla="*/ 2369 w 10000"/>
              <a:gd name="connsiteY106" fmla="*/ 9750 h 10000"/>
              <a:gd name="connsiteX107" fmla="*/ 2543 w 10000"/>
              <a:gd name="connsiteY107" fmla="*/ 9750 h 10000"/>
              <a:gd name="connsiteX108" fmla="*/ 2721 w 10000"/>
              <a:gd name="connsiteY108" fmla="*/ 9918 h 10000"/>
              <a:gd name="connsiteX109" fmla="*/ 2807 w 10000"/>
              <a:gd name="connsiteY109" fmla="*/ 10000 h 10000"/>
              <a:gd name="connsiteX110" fmla="*/ 2891 w 10000"/>
              <a:gd name="connsiteY110" fmla="*/ 10000 h 10000"/>
              <a:gd name="connsiteX111" fmla="*/ 2984 w 10000"/>
              <a:gd name="connsiteY111" fmla="*/ 9918 h 10000"/>
              <a:gd name="connsiteX112" fmla="*/ 2807 w 10000"/>
              <a:gd name="connsiteY112" fmla="*/ 9750 h 10000"/>
              <a:gd name="connsiteX113" fmla="*/ 2807 w 10000"/>
              <a:gd name="connsiteY113" fmla="*/ 9584 h 10000"/>
              <a:gd name="connsiteX114" fmla="*/ 2721 w 10000"/>
              <a:gd name="connsiteY114" fmla="*/ 9416 h 10000"/>
              <a:gd name="connsiteX115" fmla="*/ 2891 w 10000"/>
              <a:gd name="connsiteY115" fmla="*/ 9167 h 10000"/>
              <a:gd name="connsiteX116" fmla="*/ 2984 w 10000"/>
              <a:gd name="connsiteY116" fmla="*/ 9250 h 10000"/>
              <a:gd name="connsiteX117" fmla="*/ 3069 w 10000"/>
              <a:gd name="connsiteY117" fmla="*/ 9167 h 10000"/>
              <a:gd name="connsiteX118" fmla="*/ 3069 w 10000"/>
              <a:gd name="connsiteY118" fmla="*/ 9083 h 10000"/>
              <a:gd name="connsiteX119" fmla="*/ 2984 w 10000"/>
              <a:gd name="connsiteY119" fmla="*/ 9083 h 10000"/>
              <a:gd name="connsiteX120" fmla="*/ 3069 w 10000"/>
              <a:gd name="connsiteY120" fmla="*/ 8999 h 10000"/>
              <a:gd name="connsiteX121" fmla="*/ 2984 w 10000"/>
              <a:gd name="connsiteY121" fmla="*/ 8833 h 10000"/>
              <a:gd name="connsiteX122" fmla="*/ 2807 w 10000"/>
              <a:gd name="connsiteY122" fmla="*/ 8833 h 10000"/>
              <a:gd name="connsiteX123" fmla="*/ 2721 w 10000"/>
              <a:gd name="connsiteY123" fmla="*/ 8667 h 10000"/>
              <a:gd name="connsiteX124" fmla="*/ 2807 w 10000"/>
              <a:gd name="connsiteY124" fmla="*/ 8249 h 10000"/>
              <a:gd name="connsiteX125" fmla="*/ 2984 w 10000"/>
              <a:gd name="connsiteY125" fmla="*/ 8418 h 10000"/>
              <a:gd name="connsiteX126" fmla="*/ 3069 w 10000"/>
              <a:gd name="connsiteY126" fmla="*/ 8418 h 10000"/>
              <a:gd name="connsiteX127" fmla="*/ 2984 w 10000"/>
              <a:gd name="connsiteY127" fmla="*/ 8249 h 10000"/>
              <a:gd name="connsiteX128" fmla="*/ 3249 w 10000"/>
              <a:gd name="connsiteY128" fmla="*/ 8000 h 10000"/>
              <a:gd name="connsiteX129" fmla="*/ 3426 w 10000"/>
              <a:gd name="connsiteY129" fmla="*/ 8082 h 10000"/>
              <a:gd name="connsiteX130" fmla="*/ 3511 w 10000"/>
              <a:gd name="connsiteY130" fmla="*/ 8000 h 10000"/>
              <a:gd name="connsiteX131" fmla="*/ 3678 w 10000"/>
              <a:gd name="connsiteY131" fmla="*/ 8082 h 10000"/>
              <a:gd name="connsiteX132" fmla="*/ 3953 w 10000"/>
              <a:gd name="connsiteY132" fmla="*/ 8249 h 10000"/>
              <a:gd name="connsiteX133" fmla="*/ 4121 w 10000"/>
              <a:gd name="connsiteY133" fmla="*/ 8167 h 10000"/>
              <a:gd name="connsiteX134" fmla="*/ 4300 w 10000"/>
              <a:gd name="connsiteY134" fmla="*/ 8167 h 10000"/>
              <a:gd name="connsiteX135" fmla="*/ 4389 w 10000"/>
              <a:gd name="connsiteY135" fmla="*/ 8249 h 10000"/>
              <a:gd name="connsiteX136" fmla="*/ 4740 w 10000"/>
              <a:gd name="connsiteY136" fmla="*/ 8249 h 10000"/>
              <a:gd name="connsiteX137" fmla="*/ 4823 w 10000"/>
              <a:gd name="connsiteY137" fmla="*/ 8082 h 10000"/>
              <a:gd name="connsiteX138" fmla="*/ 4557 w 10000"/>
              <a:gd name="connsiteY138" fmla="*/ 8000 h 10000"/>
              <a:gd name="connsiteX139" fmla="*/ 4740 w 10000"/>
              <a:gd name="connsiteY139" fmla="*/ 7916 h 10000"/>
              <a:gd name="connsiteX140" fmla="*/ 4647 w 10000"/>
              <a:gd name="connsiteY140" fmla="*/ 7833 h 10000"/>
              <a:gd name="connsiteX141" fmla="*/ 4740 w 10000"/>
              <a:gd name="connsiteY141" fmla="*/ 7750 h 10000"/>
              <a:gd name="connsiteX142" fmla="*/ 4740 w 10000"/>
              <a:gd name="connsiteY142" fmla="*/ 7500 h 10000"/>
              <a:gd name="connsiteX143" fmla="*/ 4908 w 10000"/>
              <a:gd name="connsiteY143" fmla="*/ 7584 h 10000"/>
              <a:gd name="connsiteX144" fmla="*/ 5701 w 10000"/>
              <a:gd name="connsiteY144" fmla="*/ 7334 h 10000"/>
              <a:gd name="connsiteX145" fmla="*/ 5701 w 10000"/>
              <a:gd name="connsiteY145" fmla="*/ 7250 h 10000"/>
              <a:gd name="connsiteX146" fmla="*/ 5793 w 10000"/>
              <a:gd name="connsiteY146" fmla="*/ 7250 h 10000"/>
              <a:gd name="connsiteX147" fmla="*/ 6046 w 10000"/>
              <a:gd name="connsiteY147" fmla="*/ 7250 h 10000"/>
              <a:gd name="connsiteX148" fmla="*/ 6145 w 10000"/>
              <a:gd name="connsiteY148" fmla="*/ 7417 h 10000"/>
              <a:gd name="connsiteX149" fmla="*/ 6145 w 10000"/>
              <a:gd name="connsiteY149" fmla="*/ 7500 h 10000"/>
              <a:gd name="connsiteX150" fmla="*/ 6228 w 10000"/>
              <a:gd name="connsiteY150" fmla="*/ 7500 h 10000"/>
              <a:gd name="connsiteX151" fmla="*/ 6401 w 10000"/>
              <a:gd name="connsiteY151" fmla="*/ 7584 h 10000"/>
              <a:gd name="connsiteX152" fmla="*/ 6401 w 10000"/>
              <a:gd name="connsiteY152" fmla="*/ 7668 h 10000"/>
              <a:gd name="connsiteX153" fmla="*/ 6577 w 10000"/>
              <a:gd name="connsiteY153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548 w 10000"/>
              <a:gd name="connsiteY8" fmla="*/ 2332 h 10000"/>
              <a:gd name="connsiteX9" fmla="*/ 7285 w 10000"/>
              <a:gd name="connsiteY9" fmla="*/ 2000 h 10000"/>
              <a:gd name="connsiteX10" fmla="*/ 7028 w 10000"/>
              <a:gd name="connsiteY10" fmla="*/ 1915 h 10000"/>
              <a:gd name="connsiteX11" fmla="*/ 6926 w 10000"/>
              <a:gd name="connsiteY11" fmla="*/ 2000 h 10000"/>
              <a:gd name="connsiteX12" fmla="*/ 6305 w 10000"/>
              <a:gd name="connsiteY12" fmla="*/ 3333 h 10000"/>
              <a:gd name="connsiteX13" fmla="*/ 4557 w 10000"/>
              <a:gd name="connsiteY13" fmla="*/ 3416 h 10000"/>
              <a:gd name="connsiteX14" fmla="*/ 4480 w 10000"/>
              <a:gd name="connsiteY14" fmla="*/ 3333 h 10000"/>
              <a:gd name="connsiteX15" fmla="*/ 3953 w 10000"/>
              <a:gd name="connsiteY15" fmla="*/ 3500 h 10000"/>
              <a:gd name="connsiteX16" fmla="*/ 3865 w 10000"/>
              <a:gd name="connsiteY16" fmla="*/ 3665 h 10000"/>
              <a:gd name="connsiteX17" fmla="*/ 3777 w 10000"/>
              <a:gd name="connsiteY17" fmla="*/ 3500 h 10000"/>
              <a:gd name="connsiteX18" fmla="*/ 3777 w 10000"/>
              <a:gd name="connsiteY18" fmla="*/ 3333 h 10000"/>
              <a:gd name="connsiteX19" fmla="*/ 2891 w 10000"/>
              <a:gd name="connsiteY19" fmla="*/ 3832 h 10000"/>
              <a:gd name="connsiteX20" fmla="*/ 2891 w 10000"/>
              <a:gd name="connsiteY20" fmla="*/ 3998 h 10000"/>
              <a:gd name="connsiteX21" fmla="*/ 2721 w 10000"/>
              <a:gd name="connsiteY21" fmla="*/ 4082 h 10000"/>
              <a:gd name="connsiteX22" fmla="*/ 2458 w 10000"/>
              <a:gd name="connsiteY22" fmla="*/ 3916 h 10000"/>
              <a:gd name="connsiteX23" fmla="*/ 2721 w 10000"/>
              <a:gd name="connsiteY23" fmla="*/ 3748 h 10000"/>
              <a:gd name="connsiteX24" fmla="*/ 2627 w 10000"/>
              <a:gd name="connsiteY24" fmla="*/ 3500 h 10000"/>
              <a:gd name="connsiteX25" fmla="*/ 2281 w 10000"/>
              <a:gd name="connsiteY25" fmla="*/ 3416 h 10000"/>
              <a:gd name="connsiteX26" fmla="*/ 2369 w 10000"/>
              <a:gd name="connsiteY26" fmla="*/ 3582 h 10000"/>
              <a:gd name="connsiteX27" fmla="*/ 2369 w 10000"/>
              <a:gd name="connsiteY27" fmla="*/ 3998 h 10000"/>
              <a:gd name="connsiteX28" fmla="*/ 2458 w 10000"/>
              <a:gd name="connsiteY28" fmla="*/ 4167 h 10000"/>
              <a:gd name="connsiteX29" fmla="*/ 2369 w 10000"/>
              <a:gd name="connsiteY29" fmla="*/ 4334 h 10000"/>
              <a:gd name="connsiteX30" fmla="*/ 2100 w 10000"/>
              <a:gd name="connsiteY30" fmla="*/ 4250 h 10000"/>
              <a:gd name="connsiteX31" fmla="*/ 1757 w 10000"/>
              <a:gd name="connsiteY31" fmla="*/ 4498 h 10000"/>
              <a:gd name="connsiteX32" fmla="*/ 1928 w 10000"/>
              <a:gd name="connsiteY32" fmla="*/ 4833 h 10000"/>
              <a:gd name="connsiteX33" fmla="*/ 1399 w 10000"/>
              <a:gd name="connsiteY33" fmla="*/ 4666 h 10000"/>
              <a:gd name="connsiteX34" fmla="*/ 1315 w 10000"/>
              <a:gd name="connsiteY34" fmla="*/ 4748 h 10000"/>
              <a:gd name="connsiteX35" fmla="*/ 1494 w 10000"/>
              <a:gd name="connsiteY35" fmla="*/ 4999 h 10000"/>
              <a:gd name="connsiteX36" fmla="*/ 1315 w 10000"/>
              <a:gd name="connsiteY36" fmla="*/ 4999 h 10000"/>
              <a:gd name="connsiteX37" fmla="*/ 1055 w 10000"/>
              <a:gd name="connsiteY37" fmla="*/ 4833 h 10000"/>
              <a:gd name="connsiteX38" fmla="*/ 1055 w 10000"/>
              <a:gd name="connsiteY38" fmla="*/ 4334 h 10000"/>
              <a:gd name="connsiteX39" fmla="*/ 793 w 10000"/>
              <a:gd name="connsiteY39" fmla="*/ 4167 h 10000"/>
              <a:gd name="connsiteX40" fmla="*/ 702 w 10000"/>
              <a:gd name="connsiteY40" fmla="*/ 3998 h 10000"/>
              <a:gd name="connsiteX41" fmla="*/ 873 w 10000"/>
              <a:gd name="connsiteY41" fmla="*/ 4082 h 10000"/>
              <a:gd name="connsiteX42" fmla="*/ 1574 w 10000"/>
              <a:gd name="connsiteY42" fmla="*/ 4334 h 10000"/>
              <a:gd name="connsiteX43" fmla="*/ 2009 w 10000"/>
              <a:gd name="connsiteY43" fmla="*/ 4082 h 10000"/>
              <a:gd name="connsiteX44" fmla="*/ 1928 w 10000"/>
              <a:gd name="connsiteY44" fmla="*/ 3832 h 10000"/>
              <a:gd name="connsiteX45" fmla="*/ 1399 w 10000"/>
              <a:gd name="connsiteY45" fmla="*/ 3333 h 10000"/>
              <a:gd name="connsiteX46" fmla="*/ 873 w 10000"/>
              <a:gd name="connsiteY46" fmla="*/ 3166 h 10000"/>
              <a:gd name="connsiteX47" fmla="*/ 873 w 10000"/>
              <a:gd name="connsiteY47" fmla="*/ 3083 h 10000"/>
              <a:gd name="connsiteX48" fmla="*/ 702 w 10000"/>
              <a:gd name="connsiteY48" fmla="*/ 2997 h 10000"/>
              <a:gd name="connsiteX49" fmla="*/ 523 w 10000"/>
              <a:gd name="connsiteY49" fmla="*/ 3083 h 10000"/>
              <a:gd name="connsiteX50" fmla="*/ 523 w 10000"/>
              <a:gd name="connsiteY50" fmla="*/ 3166 h 10000"/>
              <a:gd name="connsiteX51" fmla="*/ 437 w 10000"/>
              <a:gd name="connsiteY51" fmla="*/ 3166 h 10000"/>
              <a:gd name="connsiteX52" fmla="*/ 263 w 10000"/>
              <a:gd name="connsiteY52" fmla="*/ 3333 h 10000"/>
              <a:gd name="connsiteX53" fmla="*/ 263 w 10000"/>
              <a:gd name="connsiteY53" fmla="*/ 3582 h 10000"/>
              <a:gd name="connsiteX54" fmla="*/ 437 w 10000"/>
              <a:gd name="connsiteY54" fmla="*/ 3748 h 10000"/>
              <a:gd name="connsiteX55" fmla="*/ 353 w 10000"/>
              <a:gd name="connsiteY55" fmla="*/ 3998 h 10000"/>
              <a:gd name="connsiteX56" fmla="*/ 437 w 10000"/>
              <a:gd name="connsiteY56" fmla="*/ 4417 h 10000"/>
              <a:gd name="connsiteX57" fmla="*/ 353 w 10000"/>
              <a:gd name="connsiteY57" fmla="*/ 4666 h 10000"/>
              <a:gd name="connsiteX58" fmla="*/ 523 w 10000"/>
              <a:gd name="connsiteY58" fmla="*/ 4916 h 10000"/>
              <a:gd name="connsiteX59" fmla="*/ 437 w 10000"/>
              <a:gd name="connsiteY59" fmla="*/ 5083 h 10000"/>
              <a:gd name="connsiteX60" fmla="*/ 611 w 10000"/>
              <a:gd name="connsiteY60" fmla="*/ 5250 h 10000"/>
              <a:gd name="connsiteX61" fmla="*/ 611 w 10000"/>
              <a:gd name="connsiteY61" fmla="*/ 5333 h 10000"/>
              <a:gd name="connsiteX62" fmla="*/ 353 w 10000"/>
              <a:gd name="connsiteY62" fmla="*/ 5750 h 10000"/>
              <a:gd name="connsiteX63" fmla="*/ 80 w 10000"/>
              <a:gd name="connsiteY63" fmla="*/ 5917 h 10000"/>
              <a:gd name="connsiteX64" fmla="*/ 172 w 10000"/>
              <a:gd name="connsiteY64" fmla="*/ 5917 h 10000"/>
              <a:gd name="connsiteX65" fmla="*/ 353 w 10000"/>
              <a:gd name="connsiteY65" fmla="*/ 6083 h 10000"/>
              <a:gd name="connsiteX66" fmla="*/ 172 w 10000"/>
              <a:gd name="connsiteY66" fmla="*/ 6249 h 10000"/>
              <a:gd name="connsiteX67" fmla="*/ 80 w 10000"/>
              <a:gd name="connsiteY67" fmla="*/ 6334 h 10000"/>
              <a:gd name="connsiteX68" fmla="*/ 0 w 10000"/>
              <a:gd name="connsiteY68" fmla="*/ 6334 h 10000"/>
              <a:gd name="connsiteX69" fmla="*/ 80 w 10000"/>
              <a:gd name="connsiteY69" fmla="*/ 6584 h 10000"/>
              <a:gd name="connsiteX70" fmla="*/ 80 w 10000"/>
              <a:gd name="connsiteY70" fmla="*/ 6667 h 10000"/>
              <a:gd name="connsiteX71" fmla="*/ 80 w 10000"/>
              <a:gd name="connsiteY71" fmla="*/ 6749 h 10000"/>
              <a:gd name="connsiteX72" fmla="*/ 80 w 10000"/>
              <a:gd name="connsiteY72" fmla="*/ 6834 h 10000"/>
              <a:gd name="connsiteX73" fmla="*/ 172 w 10000"/>
              <a:gd name="connsiteY73" fmla="*/ 6998 h 10000"/>
              <a:gd name="connsiteX74" fmla="*/ 437 w 10000"/>
              <a:gd name="connsiteY74" fmla="*/ 7083 h 10000"/>
              <a:gd name="connsiteX75" fmla="*/ 523 w 10000"/>
              <a:gd name="connsiteY75" fmla="*/ 7165 h 10000"/>
              <a:gd name="connsiteX76" fmla="*/ 523 w 10000"/>
              <a:gd name="connsiteY76" fmla="*/ 7334 h 10000"/>
              <a:gd name="connsiteX77" fmla="*/ 702 w 10000"/>
              <a:gd name="connsiteY77" fmla="*/ 7584 h 10000"/>
              <a:gd name="connsiteX78" fmla="*/ 793 w 10000"/>
              <a:gd name="connsiteY78" fmla="*/ 7584 h 10000"/>
              <a:gd name="connsiteX79" fmla="*/ 702 w 10000"/>
              <a:gd name="connsiteY79" fmla="*/ 7750 h 10000"/>
              <a:gd name="connsiteX80" fmla="*/ 611 w 10000"/>
              <a:gd name="connsiteY80" fmla="*/ 7668 h 10000"/>
              <a:gd name="connsiteX81" fmla="*/ 611 w 10000"/>
              <a:gd name="connsiteY81" fmla="*/ 7750 h 10000"/>
              <a:gd name="connsiteX82" fmla="*/ 702 w 10000"/>
              <a:gd name="connsiteY82" fmla="*/ 7916 h 10000"/>
              <a:gd name="connsiteX83" fmla="*/ 971 w 10000"/>
              <a:gd name="connsiteY83" fmla="*/ 7916 h 10000"/>
              <a:gd name="connsiteX84" fmla="*/ 1055 w 10000"/>
              <a:gd name="connsiteY84" fmla="*/ 8000 h 10000"/>
              <a:gd name="connsiteX85" fmla="*/ 971 w 10000"/>
              <a:gd name="connsiteY85" fmla="*/ 8000 h 10000"/>
              <a:gd name="connsiteX86" fmla="*/ 1055 w 10000"/>
              <a:gd name="connsiteY86" fmla="*/ 8082 h 10000"/>
              <a:gd name="connsiteX87" fmla="*/ 1139 w 10000"/>
              <a:gd name="connsiteY87" fmla="*/ 8082 h 10000"/>
              <a:gd name="connsiteX88" fmla="*/ 1224 w 10000"/>
              <a:gd name="connsiteY88" fmla="*/ 8249 h 10000"/>
              <a:gd name="connsiteX89" fmla="*/ 1315 w 10000"/>
              <a:gd name="connsiteY89" fmla="*/ 8332 h 10000"/>
              <a:gd name="connsiteX90" fmla="*/ 1399 w 10000"/>
              <a:gd name="connsiteY90" fmla="*/ 8249 h 10000"/>
              <a:gd name="connsiteX91" fmla="*/ 1843 w 10000"/>
              <a:gd name="connsiteY91" fmla="*/ 8500 h 10000"/>
              <a:gd name="connsiteX92" fmla="*/ 1757 w 10000"/>
              <a:gd name="connsiteY92" fmla="*/ 8833 h 10000"/>
              <a:gd name="connsiteX93" fmla="*/ 1668 w 10000"/>
              <a:gd name="connsiteY93" fmla="*/ 8750 h 10000"/>
              <a:gd name="connsiteX94" fmla="*/ 1574 w 10000"/>
              <a:gd name="connsiteY94" fmla="*/ 8833 h 10000"/>
              <a:gd name="connsiteX95" fmla="*/ 1574 w 10000"/>
              <a:gd name="connsiteY95" fmla="*/ 8999 h 10000"/>
              <a:gd name="connsiteX96" fmla="*/ 1668 w 10000"/>
              <a:gd name="connsiteY96" fmla="*/ 8917 h 10000"/>
              <a:gd name="connsiteX97" fmla="*/ 1757 w 10000"/>
              <a:gd name="connsiteY97" fmla="*/ 8999 h 10000"/>
              <a:gd name="connsiteX98" fmla="*/ 1494 w 10000"/>
              <a:gd name="connsiteY98" fmla="*/ 9083 h 10000"/>
              <a:gd name="connsiteX99" fmla="*/ 1574 w 10000"/>
              <a:gd name="connsiteY99" fmla="*/ 9167 h 10000"/>
              <a:gd name="connsiteX100" fmla="*/ 1399 w 10000"/>
              <a:gd name="connsiteY100" fmla="*/ 9333 h 10000"/>
              <a:gd name="connsiteX101" fmla="*/ 1315 w 10000"/>
              <a:gd name="connsiteY101" fmla="*/ 9333 h 10000"/>
              <a:gd name="connsiteX102" fmla="*/ 1399 w 10000"/>
              <a:gd name="connsiteY102" fmla="*/ 9333 h 10000"/>
              <a:gd name="connsiteX103" fmla="*/ 1757 w 10000"/>
              <a:gd name="connsiteY103" fmla="*/ 9668 h 10000"/>
              <a:gd name="connsiteX104" fmla="*/ 2195 w 10000"/>
              <a:gd name="connsiteY104" fmla="*/ 9668 h 10000"/>
              <a:gd name="connsiteX105" fmla="*/ 2369 w 10000"/>
              <a:gd name="connsiteY105" fmla="*/ 9750 h 10000"/>
              <a:gd name="connsiteX106" fmla="*/ 2543 w 10000"/>
              <a:gd name="connsiteY106" fmla="*/ 9750 h 10000"/>
              <a:gd name="connsiteX107" fmla="*/ 2721 w 10000"/>
              <a:gd name="connsiteY107" fmla="*/ 9918 h 10000"/>
              <a:gd name="connsiteX108" fmla="*/ 2807 w 10000"/>
              <a:gd name="connsiteY108" fmla="*/ 10000 h 10000"/>
              <a:gd name="connsiteX109" fmla="*/ 2891 w 10000"/>
              <a:gd name="connsiteY109" fmla="*/ 10000 h 10000"/>
              <a:gd name="connsiteX110" fmla="*/ 2984 w 10000"/>
              <a:gd name="connsiteY110" fmla="*/ 9918 h 10000"/>
              <a:gd name="connsiteX111" fmla="*/ 2807 w 10000"/>
              <a:gd name="connsiteY111" fmla="*/ 9750 h 10000"/>
              <a:gd name="connsiteX112" fmla="*/ 2807 w 10000"/>
              <a:gd name="connsiteY112" fmla="*/ 9584 h 10000"/>
              <a:gd name="connsiteX113" fmla="*/ 2721 w 10000"/>
              <a:gd name="connsiteY113" fmla="*/ 9416 h 10000"/>
              <a:gd name="connsiteX114" fmla="*/ 2891 w 10000"/>
              <a:gd name="connsiteY114" fmla="*/ 9167 h 10000"/>
              <a:gd name="connsiteX115" fmla="*/ 2984 w 10000"/>
              <a:gd name="connsiteY115" fmla="*/ 9250 h 10000"/>
              <a:gd name="connsiteX116" fmla="*/ 3069 w 10000"/>
              <a:gd name="connsiteY116" fmla="*/ 9167 h 10000"/>
              <a:gd name="connsiteX117" fmla="*/ 3069 w 10000"/>
              <a:gd name="connsiteY117" fmla="*/ 9083 h 10000"/>
              <a:gd name="connsiteX118" fmla="*/ 2984 w 10000"/>
              <a:gd name="connsiteY118" fmla="*/ 9083 h 10000"/>
              <a:gd name="connsiteX119" fmla="*/ 3069 w 10000"/>
              <a:gd name="connsiteY119" fmla="*/ 8999 h 10000"/>
              <a:gd name="connsiteX120" fmla="*/ 2984 w 10000"/>
              <a:gd name="connsiteY120" fmla="*/ 8833 h 10000"/>
              <a:gd name="connsiteX121" fmla="*/ 2807 w 10000"/>
              <a:gd name="connsiteY121" fmla="*/ 8833 h 10000"/>
              <a:gd name="connsiteX122" fmla="*/ 2721 w 10000"/>
              <a:gd name="connsiteY122" fmla="*/ 8667 h 10000"/>
              <a:gd name="connsiteX123" fmla="*/ 2807 w 10000"/>
              <a:gd name="connsiteY123" fmla="*/ 8249 h 10000"/>
              <a:gd name="connsiteX124" fmla="*/ 2984 w 10000"/>
              <a:gd name="connsiteY124" fmla="*/ 8418 h 10000"/>
              <a:gd name="connsiteX125" fmla="*/ 3069 w 10000"/>
              <a:gd name="connsiteY125" fmla="*/ 8418 h 10000"/>
              <a:gd name="connsiteX126" fmla="*/ 2984 w 10000"/>
              <a:gd name="connsiteY126" fmla="*/ 8249 h 10000"/>
              <a:gd name="connsiteX127" fmla="*/ 3249 w 10000"/>
              <a:gd name="connsiteY127" fmla="*/ 8000 h 10000"/>
              <a:gd name="connsiteX128" fmla="*/ 3426 w 10000"/>
              <a:gd name="connsiteY128" fmla="*/ 8082 h 10000"/>
              <a:gd name="connsiteX129" fmla="*/ 3511 w 10000"/>
              <a:gd name="connsiteY129" fmla="*/ 8000 h 10000"/>
              <a:gd name="connsiteX130" fmla="*/ 3678 w 10000"/>
              <a:gd name="connsiteY130" fmla="*/ 8082 h 10000"/>
              <a:gd name="connsiteX131" fmla="*/ 3953 w 10000"/>
              <a:gd name="connsiteY131" fmla="*/ 8249 h 10000"/>
              <a:gd name="connsiteX132" fmla="*/ 4121 w 10000"/>
              <a:gd name="connsiteY132" fmla="*/ 8167 h 10000"/>
              <a:gd name="connsiteX133" fmla="*/ 4300 w 10000"/>
              <a:gd name="connsiteY133" fmla="*/ 8167 h 10000"/>
              <a:gd name="connsiteX134" fmla="*/ 4389 w 10000"/>
              <a:gd name="connsiteY134" fmla="*/ 8249 h 10000"/>
              <a:gd name="connsiteX135" fmla="*/ 4740 w 10000"/>
              <a:gd name="connsiteY135" fmla="*/ 8249 h 10000"/>
              <a:gd name="connsiteX136" fmla="*/ 4823 w 10000"/>
              <a:gd name="connsiteY136" fmla="*/ 8082 h 10000"/>
              <a:gd name="connsiteX137" fmla="*/ 4557 w 10000"/>
              <a:gd name="connsiteY137" fmla="*/ 8000 h 10000"/>
              <a:gd name="connsiteX138" fmla="*/ 4740 w 10000"/>
              <a:gd name="connsiteY138" fmla="*/ 7916 h 10000"/>
              <a:gd name="connsiteX139" fmla="*/ 4647 w 10000"/>
              <a:gd name="connsiteY139" fmla="*/ 7833 h 10000"/>
              <a:gd name="connsiteX140" fmla="*/ 4740 w 10000"/>
              <a:gd name="connsiteY140" fmla="*/ 7750 h 10000"/>
              <a:gd name="connsiteX141" fmla="*/ 4740 w 10000"/>
              <a:gd name="connsiteY141" fmla="*/ 7500 h 10000"/>
              <a:gd name="connsiteX142" fmla="*/ 4908 w 10000"/>
              <a:gd name="connsiteY142" fmla="*/ 7584 h 10000"/>
              <a:gd name="connsiteX143" fmla="*/ 5701 w 10000"/>
              <a:gd name="connsiteY143" fmla="*/ 7334 h 10000"/>
              <a:gd name="connsiteX144" fmla="*/ 5701 w 10000"/>
              <a:gd name="connsiteY144" fmla="*/ 7250 h 10000"/>
              <a:gd name="connsiteX145" fmla="*/ 5793 w 10000"/>
              <a:gd name="connsiteY145" fmla="*/ 7250 h 10000"/>
              <a:gd name="connsiteX146" fmla="*/ 6046 w 10000"/>
              <a:gd name="connsiteY146" fmla="*/ 7250 h 10000"/>
              <a:gd name="connsiteX147" fmla="*/ 6145 w 10000"/>
              <a:gd name="connsiteY147" fmla="*/ 7417 h 10000"/>
              <a:gd name="connsiteX148" fmla="*/ 6145 w 10000"/>
              <a:gd name="connsiteY148" fmla="*/ 7500 h 10000"/>
              <a:gd name="connsiteX149" fmla="*/ 6228 w 10000"/>
              <a:gd name="connsiteY149" fmla="*/ 7500 h 10000"/>
              <a:gd name="connsiteX150" fmla="*/ 6401 w 10000"/>
              <a:gd name="connsiteY150" fmla="*/ 7584 h 10000"/>
              <a:gd name="connsiteX151" fmla="*/ 6401 w 10000"/>
              <a:gd name="connsiteY151" fmla="*/ 7668 h 10000"/>
              <a:gd name="connsiteX152" fmla="*/ 6577 w 10000"/>
              <a:gd name="connsiteY152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723 w 10000"/>
              <a:gd name="connsiteY7" fmla="*/ 2250 h 10000"/>
              <a:gd name="connsiteX8" fmla="*/ 7285 w 10000"/>
              <a:gd name="connsiteY8" fmla="*/ 2000 h 10000"/>
              <a:gd name="connsiteX9" fmla="*/ 7028 w 10000"/>
              <a:gd name="connsiteY9" fmla="*/ 1915 h 10000"/>
              <a:gd name="connsiteX10" fmla="*/ 6926 w 10000"/>
              <a:gd name="connsiteY10" fmla="*/ 2000 h 10000"/>
              <a:gd name="connsiteX11" fmla="*/ 6305 w 10000"/>
              <a:gd name="connsiteY11" fmla="*/ 3333 h 10000"/>
              <a:gd name="connsiteX12" fmla="*/ 4557 w 10000"/>
              <a:gd name="connsiteY12" fmla="*/ 3416 h 10000"/>
              <a:gd name="connsiteX13" fmla="*/ 4480 w 10000"/>
              <a:gd name="connsiteY13" fmla="*/ 3333 h 10000"/>
              <a:gd name="connsiteX14" fmla="*/ 3953 w 10000"/>
              <a:gd name="connsiteY14" fmla="*/ 3500 h 10000"/>
              <a:gd name="connsiteX15" fmla="*/ 3865 w 10000"/>
              <a:gd name="connsiteY15" fmla="*/ 3665 h 10000"/>
              <a:gd name="connsiteX16" fmla="*/ 3777 w 10000"/>
              <a:gd name="connsiteY16" fmla="*/ 3500 h 10000"/>
              <a:gd name="connsiteX17" fmla="*/ 3777 w 10000"/>
              <a:gd name="connsiteY17" fmla="*/ 3333 h 10000"/>
              <a:gd name="connsiteX18" fmla="*/ 2891 w 10000"/>
              <a:gd name="connsiteY18" fmla="*/ 3832 h 10000"/>
              <a:gd name="connsiteX19" fmla="*/ 2891 w 10000"/>
              <a:gd name="connsiteY19" fmla="*/ 3998 h 10000"/>
              <a:gd name="connsiteX20" fmla="*/ 2721 w 10000"/>
              <a:gd name="connsiteY20" fmla="*/ 4082 h 10000"/>
              <a:gd name="connsiteX21" fmla="*/ 2458 w 10000"/>
              <a:gd name="connsiteY21" fmla="*/ 3916 h 10000"/>
              <a:gd name="connsiteX22" fmla="*/ 2721 w 10000"/>
              <a:gd name="connsiteY22" fmla="*/ 3748 h 10000"/>
              <a:gd name="connsiteX23" fmla="*/ 2627 w 10000"/>
              <a:gd name="connsiteY23" fmla="*/ 3500 h 10000"/>
              <a:gd name="connsiteX24" fmla="*/ 2281 w 10000"/>
              <a:gd name="connsiteY24" fmla="*/ 3416 h 10000"/>
              <a:gd name="connsiteX25" fmla="*/ 2369 w 10000"/>
              <a:gd name="connsiteY25" fmla="*/ 3582 h 10000"/>
              <a:gd name="connsiteX26" fmla="*/ 2369 w 10000"/>
              <a:gd name="connsiteY26" fmla="*/ 3998 h 10000"/>
              <a:gd name="connsiteX27" fmla="*/ 2458 w 10000"/>
              <a:gd name="connsiteY27" fmla="*/ 4167 h 10000"/>
              <a:gd name="connsiteX28" fmla="*/ 2369 w 10000"/>
              <a:gd name="connsiteY28" fmla="*/ 4334 h 10000"/>
              <a:gd name="connsiteX29" fmla="*/ 2100 w 10000"/>
              <a:gd name="connsiteY29" fmla="*/ 4250 h 10000"/>
              <a:gd name="connsiteX30" fmla="*/ 1757 w 10000"/>
              <a:gd name="connsiteY30" fmla="*/ 4498 h 10000"/>
              <a:gd name="connsiteX31" fmla="*/ 1928 w 10000"/>
              <a:gd name="connsiteY31" fmla="*/ 4833 h 10000"/>
              <a:gd name="connsiteX32" fmla="*/ 1399 w 10000"/>
              <a:gd name="connsiteY32" fmla="*/ 4666 h 10000"/>
              <a:gd name="connsiteX33" fmla="*/ 1315 w 10000"/>
              <a:gd name="connsiteY33" fmla="*/ 4748 h 10000"/>
              <a:gd name="connsiteX34" fmla="*/ 1494 w 10000"/>
              <a:gd name="connsiteY34" fmla="*/ 4999 h 10000"/>
              <a:gd name="connsiteX35" fmla="*/ 1315 w 10000"/>
              <a:gd name="connsiteY35" fmla="*/ 4999 h 10000"/>
              <a:gd name="connsiteX36" fmla="*/ 1055 w 10000"/>
              <a:gd name="connsiteY36" fmla="*/ 4833 h 10000"/>
              <a:gd name="connsiteX37" fmla="*/ 1055 w 10000"/>
              <a:gd name="connsiteY37" fmla="*/ 4334 h 10000"/>
              <a:gd name="connsiteX38" fmla="*/ 793 w 10000"/>
              <a:gd name="connsiteY38" fmla="*/ 4167 h 10000"/>
              <a:gd name="connsiteX39" fmla="*/ 702 w 10000"/>
              <a:gd name="connsiteY39" fmla="*/ 3998 h 10000"/>
              <a:gd name="connsiteX40" fmla="*/ 873 w 10000"/>
              <a:gd name="connsiteY40" fmla="*/ 4082 h 10000"/>
              <a:gd name="connsiteX41" fmla="*/ 1574 w 10000"/>
              <a:gd name="connsiteY41" fmla="*/ 4334 h 10000"/>
              <a:gd name="connsiteX42" fmla="*/ 2009 w 10000"/>
              <a:gd name="connsiteY42" fmla="*/ 4082 h 10000"/>
              <a:gd name="connsiteX43" fmla="*/ 1928 w 10000"/>
              <a:gd name="connsiteY43" fmla="*/ 3832 h 10000"/>
              <a:gd name="connsiteX44" fmla="*/ 1399 w 10000"/>
              <a:gd name="connsiteY44" fmla="*/ 3333 h 10000"/>
              <a:gd name="connsiteX45" fmla="*/ 873 w 10000"/>
              <a:gd name="connsiteY45" fmla="*/ 3166 h 10000"/>
              <a:gd name="connsiteX46" fmla="*/ 873 w 10000"/>
              <a:gd name="connsiteY46" fmla="*/ 3083 h 10000"/>
              <a:gd name="connsiteX47" fmla="*/ 702 w 10000"/>
              <a:gd name="connsiteY47" fmla="*/ 2997 h 10000"/>
              <a:gd name="connsiteX48" fmla="*/ 523 w 10000"/>
              <a:gd name="connsiteY48" fmla="*/ 3083 h 10000"/>
              <a:gd name="connsiteX49" fmla="*/ 523 w 10000"/>
              <a:gd name="connsiteY49" fmla="*/ 3166 h 10000"/>
              <a:gd name="connsiteX50" fmla="*/ 437 w 10000"/>
              <a:gd name="connsiteY50" fmla="*/ 3166 h 10000"/>
              <a:gd name="connsiteX51" fmla="*/ 263 w 10000"/>
              <a:gd name="connsiteY51" fmla="*/ 3333 h 10000"/>
              <a:gd name="connsiteX52" fmla="*/ 263 w 10000"/>
              <a:gd name="connsiteY52" fmla="*/ 3582 h 10000"/>
              <a:gd name="connsiteX53" fmla="*/ 437 w 10000"/>
              <a:gd name="connsiteY53" fmla="*/ 3748 h 10000"/>
              <a:gd name="connsiteX54" fmla="*/ 353 w 10000"/>
              <a:gd name="connsiteY54" fmla="*/ 3998 h 10000"/>
              <a:gd name="connsiteX55" fmla="*/ 437 w 10000"/>
              <a:gd name="connsiteY55" fmla="*/ 4417 h 10000"/>
              <a:gd name="connsiteX56" fmla="*/ 353 w 10000"/>
              <a:gd name="connsiteY56" fmla="*/ 4666 h 10000"/>
              <a:gd name="connsiteX57" fmla="*/ 523 w 10000"/>
              <a:gd name="connsiteY57" fmla="*/ 4916 h 10000"/>
              <a:gd name="connsiteX58" fmla="*/ 437 w 10000"/>
              <a:gd name="connsiteY58" fmla="*/ 5083 h 10000"/>
              <a:gd name="connsiteX59" fmla="*/ 611 w 10000"/>
              <a:gd name="connsiteY59" fmla="*/ 5250 h 10000"/>
              <a:gd name="connsiteX60" fmla="*/ 611 w 10000"/>
              <a:gd name="connsiteY60" fmla="*/ 5333 h 10000"/>
              <a:gd name="connsiteX61" fmla="*/ 353 w 10000"/>
              <a:gd name="connsiteY61" fmla="*/ 5750 h 10000"/>
              <a:gd name="connsiteX62" fmla="*/ 80 w 10000"/>
              <a:gd name="connsiteY62" fmla="*/ 5917 h 10000"/>
              <a:gd name="connsiteX63" fmla="*/ 172 w 10000"/>
              <a:gd name="connsiteY63" fmla="*/ 5917 h 10000"/>
              <a:gd name="connsiteX64" fmla="*/ 353 w 10000"/>
              <a:gd name="connsiteY64" fmla="*/ 6083 h 10000"/>
              <a:gd name="connsiteX65" fmla="*/ 172 w 10000"/>
              <a:gd name="connsiteY65" fmla="*/ 6249 h 10000"/>
              <a:gd name="connsiteX66" fmla="*/ 80 w 10000"/>
              <a:gd name="connsiteY66" fmla="*/ 6334 h 10000"/>
              <a:gd name="connsiteX67" fmla="*/ 0 w 10000"/>
              <a:gd name="connsiteY67" fmla="*/ 6334 h 10000"/>
              <a:gd name="connsiteX68" fmla="*/ 80 w 10000"/>
              <a:gd name="connsiteY68" fmla="*/ 6584 h 10000"/>
              <a:gd name="connsiteX69" fmla="*/ 80 w 10000"/>
              <a:gd name="connsiteY69" fmla="*/ 6667 h 10000"/>
              <a:gd name="connsiteX70" fmla="*/ 80 w 10000"/>
              <a:gd name="connsiteY70" fmla="*/ 6749 h 10000"/>
              <a:gd name="connsiteX71" fmla="*/ 80 w 10000"/>
              <a:gd name="connsiteY71" fmla="*/ 6834 h 10000"/>
              <a:gd name="connsiteX72" fmla="*/ 172 w 10000"/>
              <a:gd name="connsiteY72" fmla="*/ 6998 h 10000"/>
              <a:gd name="connsiteX73" fmla="*/ 437 w 10000"/>
              <a:gd name="connsiteY73" fmla="*/ 7083 h 10000"/>
              <a:gd name="connsiteX74" fmla="*/ 523 w 10000"/>
              <a:gd name="connsiteY74" fmla="*/ 7165 h 10000"/>
              <a:gd name="connsiteX75" fmla="*/ 523 w 10000"/>
              <a:gd name="connsiteY75" fmla="*/ 7334 h 10000"/>
              <a:gd name="connsiteX76" fmla="*/ 702 w 10000"/>
              <a:gd name="connsiteY76" fmla="*/ 7584 h 10000"/>
              <a:gd name="connsiteX77" fmla="*/ 793 w 10000"/>
              <a:gd name="connsiteY77" fmla="*/ 7584 h 10000"/>
              <a:gd name="connsiteX78" fmla="*/ 702 w 10000"/>
              <a:gd name="connsiteY78" fmla="*/ 7750 h 10000"/>
              <a:gd name="connsiteX79" fmla="*/ 611 w 10000"/>
              <a:gd name="connsiteY79" fmla="*/ 7668 h 10000"/>
              <a:gd name="connsiteX80" fmla="*/ 611 w 10000"/>
              <a:gd name="connsiteY80" fmla="*/ 7750 h 10000"/>
              <a:gd name="connsiteX81" fmla="*/ 702 w 10000"/>
              <a:gd name="connsiteY81" fmla="*/ 7916 h 10000"/>
              <a:gd name="connsiteX82" fmla="*/ 971 w 10000"/>
              <a:gd name="connsiteY82" fmla="*/ 7916 h 10000"/>
              <a:gd name="connsiteX83" fmla="*/ 1055 w 10000"/>
              <a:gd name="connsiteY83" fmla="*/ 8000 h 10000"/>
              <a:gd name="connsiteX84" fmla="*/ 971 w 10000"/>
              <a:gd name="connsiteY84" fmla="*/ 8000 h 10000"/>
              <a:gd name="connsiteX85" fmla="*/ 1055 w 10000"/>
              <a:gd name="connsiteY85" fmla="*/ 8082 h 10000"/>
              <a:gd name="connsiteX86" fmla="*/ 1139 w 10000"/>
              <a:gd name="connsiteY86" fmla="*/ 8082 h 10000"/>
              <a:gd name="connsiteX87" fmla="*/ 1224 w 10000"/>
              <a:gd name="connsiteY87" fmla="*/ 8249 h 10000"/>
              <a:gd name="connsiteX88" fmla="*/ 1315 w 10000"/>
              <a:gd name="connsiteY88" fmla="*/ 8332 h 10000"/>
              <a:gd name="connsiteX89" fmla="*/ 1399 w 10000"/>
              <a:gd name="connsiteY89" fmla="*/ 8249 h 10000"/>
              <a:gd name="connsiteX90" fmla="*/ 1843 w 10000"/>
              <a:gd name="connsiteY90" fmla="*/ 8500 h 10000"/>
              <a:gd name="connsiteX91" fmla="*/ 1757 w 10000"/>
              <a:gd name="connsiteY91" fmla="*/ 8833 h 10000"/>
              <a:gd name="connsiteX92" fmla="*/ 1668 w 10000"/>
              <a:gd name="connsiteY92" fmla="*/ 8750 h 10000"/>
              <a:gd name="connsiteX93" fmla="*/ 1574 w 10000"/>
              <a:gd name="connsiteY93" fmla="*/ 8833 h 10000"/>
              <a:gd name="connsiteX94" fmla="*/ 1574 w 10000"/>
              <a:gd name="connsiteY94" fmla="*/ 8999 h 10000"/>
              <a:gd name="connsiteX95" fmla="*/ 1668 w 10000"/>
              <a:gd name="connsiteY95" fmla="*/ 8917 h 10000"/>
              <a:gd name="connsiteX96" fmla="*/ 1757 w 10000"/>
              <a:gd name="connsiteY96" fmla="*/ 8999 h 10000"/>
              <a:gd name="connsiteX97" fmla="*/ 1494 w 10000"/>
              <a:gd name="connsiteY97" fmla="*/ 9083 h 10000"/>
              <a:gd name="connsiteX98" fmla="*/ 1574 w 10000"/>
              <a:gd name="connsiteY98" fmla="*/ 9167 h 10000"/>
              <a:gd name="connsiteX99" fmla="*/ 1399 w 10000"/>
              <a:gd name="connsiteY99" fmla="*/ 9333 h 10000"/>
              <a:gd name="connsiteX100" fmla="*/ 1315 w 10000"/>
              <a:gd name="connsiteY100" fmla="*/ 9333 h 10000"/>
              <a:gd name="connsiteX101" fmla="*/ 1399 w 10000"/>
              <a:gd name="connsiteY101" fmla="*/ 9333 h 10000"/>
              <a:gd name="connsiteX102" fmla="*/ 1757 w 10000"/>
              <a:gd name="connsiteY102" fmla="*/ 9668 h 10000"/>
              <a:gd name="connsiteX103" fmla="*/ 2195 w 10000"/>
              <a:gd name="connsiteY103" fmla="*/ 9668 h 10000"/>
              <a:gd name="connsiteX104" fmla="*/ 2369 w 10000"/>
              <a:gd name="connsiteY104" fmla="*/ 9750 h 10000"/>
              <a:gd name="connsiteX105" fmla="*/ 2543 w 10000"/>
              <a:gd name="connsiteY105" fmla="*/ 9750 h 10000"/>
              <a:gd name="connsiteX106" fmla="*/ 2721 w 10000"/>
              <a:gd name="connsiteY106" fmla="*/ 9918 h 10000"/>
              <a:gd name="connsiteX107" fmla="*/ 2807 w 10000"/>
              <a:gd name="connsiteY107" fmla="*/ 10000 h 10000"/>
              <a:gd name="connsiteX108" fmla="*/ 2891 w 10000"/>
              <a:gd name="connsiteY108" fmla="*/ 10000 h 10000"/>
              <a:gd name="connsiteX109" fmla="*/ 2984 w 10000"/>
              <a:gd name="connsiteY109" fmla="*/ 9918 h 10000"/>
              <a:gd name="connsiteX110" fmla="*/ 2807 w 10000"/>
              <a:gd name="connsiteY110" fmla="*/ 9750 h 10000"/>
              <a:gd name="connsiteX111" fmla="*/ 2807 w 10000"/>
              <a:gd name="connsiteY111" fmla="*/ 9584 h 10000"/>
              <a:gd name="connsiteX112" fmla="*/ 2721 w 10000"/>
              <a:gd name="connsiteY112" fmla="*/ 9416 h 10000"/>
              <a:gd name="connsiteX113" fmla="*/ 2891 w 10000"/>
              <a:gd name="connsiteY113" fmla="*/ 9167 h 10000"/>
              <a:gd name="connsiteX114" fmla="*/ 2984 w 10000"/>
              <a:gd name="connsiteY114" fmla="*/ 9250 h 10000"/>
              <a:gd name="connsiteX115" fmla="*/ 3069 w 10000"/>
              <a:gd name="connsiteY115" fmla="*/ 9167 h 10000"/>
              <a:gd name="connsiteX116" fmla="*/ 3069 w 10000"/>
              <a:gd name="connsiteY116" fmla="*/ 9083 h 10000"/>
              <a:gd name="connsiteX117" fmla="*/ 2984 w 10000"/>
              <a:gd name="connsiteY117" fmla="*/ 9083 h 10000"/>
              <a:gd name="connsiteX118" fmla="*/ 3069 w 10000"/>
              <a:gd name="connsiteY118" fmla="*/ 8999 h 10000"/>
              <a:gd name="connsiteX119" fmla="*/ 2984 w 10000"/>
              <a:gd name="connsiteY119" fmla="*/ 8833 h 10000"/>
              <a:gd name="connsiteX120" fmla="*/ 2807 w 10000"/>
              <a:gd name="connsiteY120" fmla="*/ 8833 h 10000"/>
              <a:gd name="connsiteX121" fmla="*/ 2721 w 10000"/>
              <a:gd name="connsiteY121" fmla="*/ 8667 h 10000"/>
              <a:gd name="connsiteX122" fmla="*/ 2807 w 10000"/>
              <a:gd name="connsiteY122" fmla="*/ 8249 h 10000"/>
              <a:gd name="connsiteX123" fmla="*/ 2984 w 10000"/>
              <a:gd name="connsiteY123" fmla="*/ 8418 h 10000"/>
              <a:gd name="connsiteX124" fmla="*/ 3069 w 10000"/>
              <a:gd name="connsiteY124" fmla="*/ 8418 h 10000"/>
              <a:gd name="connsiteX125" fmla="*/ 2984 w 10000"/>
              <a:gd name="connsiteY125" fmla="*/ 8249 h 10000"/>
              <a:gd name="connsiteX126" fmla="*/ 3249 w 10000"/>
              <a:gd name="connsiteY126" fmla="*/ 8000 h 10000"/>
              <a:gd name="connsiteX127" fmla="*/ 3426 w 10000"/>
              <a:gd name="connsiteY127" fmla="*/ 8082 h 10000"/>
              <a:gd name="connsiteX128" fmla="*/ 3511 w 10000"/>
              <a:gd name="connsiteY128" fmla="*/ 8000 h 10000"/>
              <a:gd name="connsiteX129" fmla="*/ 3678 w 10000"/>
              <a:gd name="connsiteY129" fmla="*/ 8082 h 10000"/>
              <a:gd name="connsiteX130" fmla="*/ 3953 w 10000"/>
              <a:gd name="connsiteY130" fmla="*/ 8249 h 10000"/>
              <a:gd name="connsiteX131" fmla="*/ 4121 w 10000"/>
              <a:gd name="connsiteY131" fmla="*/ 8167 h 10000"/>
              <a:gd name="connsiteX132" fmla="*/ 4300 w 10000"/>
              <a:gd name="connsiteY132" fmla="*/ 8167 h 10000"/>
              <a:gd name="connsiteX133" fmla="*/ 4389 w 10000"/>
              <a:gd name="connsiteY133" fmla="*/ 8249 h 10000"/>
              <a:gd name="connsiteX134" fmla="*/ 4740 w 10000"/>
              <a:gd name="connsiteY134" fmla="*/ 8249 h 10000"/>
              <a:gd name="connsiteX135" fmla="*/ 4823 w 10000"/>
              <a:gd name="connsiteY135" fmla="*/ 8082 h 10000"/>
              <a:gd name="connsiteX136" fmla="*/ 4557 w 10000"/>
              <a:gd name="connsiteY136" fmla="*/ 8000 h 10000"/>
              <a:gd name="connsiteX137" fmla="*/ 4740 w 10000"/>
              <a:gd name="connsiteY137" fmla="*/ 7916 h 10000"/>
              <a:gd name="connsiteX138" fmla="*/ 4647 w 10000"/>
              <a:gd name="connsiteY138" fmla="*/ 7833 h 10000"/>
              <a:gd name="connsiteX139" fmla="*/ 4740 w 10000"/>
              <a:gd name="connsiteY139" fmla="*/ 7750 h 10000"/>
              <a:gd name="connsiteX140" fmla="*/ 4740 w 10000"/>
              <a:gd name="connsiteY140" fmla="*/ 7500 h 10000"/>
              <a:gd name="connsiteX141" fmla="*/ 4908 w 10000"/>
              <a:gd name="connsiteY141" fmla="*/ 7584 h 10000"/>
              <a:gd name="connsiteX142" fmla="*/ 5701 w 10000"/>
              <a:gd name="connsiteY142" fmla="*/ 7334 h 10000"/>
              <a:gd name="connsiteX143" fmla="*/ 5701 w 10000"/>
              <a:gd name="connsiteY143" fmla="*/ 7250 h 10000"/>
              <a:gd name="connsiteX144" fmla="*/ 5793 w 10000"/>
              <a:gd name="connsiteY144" fmla="*/ 7250 h 10000"/>
              <a:gd name="connsiteX145" fmla="*/ 6046 w 10000"/>
              <a:gd name="connsiteY145" fmla="*/ 7250 h 10000"/>
              <a:gd name="connsiteX146" fmla="*/ 6145 w 10000"/>
              <a:gd name="connsiteY146" fmla="*/ 7417 h 10000"/>
              <a:gd name="connsiteX147" fmla="*/ 6145 w 10000"/>
              <a:gd name="connsiteY147" fmla="*/ 7500 h 10000"/>
              <a:gd name="connsiteX148" fmla="*/ 6228 w 10000"/>
              <a:gd name="connsiteY148" fmla="*/ 7500 h 10000"/>
              <a:gd name="connsiteX149" fmla="*/ 6401 w 10000"/>
              <a:gd name="connsiteY149" fmla="*/ 7584 h 10000"/>
              <a:gd name="connsiteX150" fmla="*/ 6401 w 10000"/>
              <a:gd name="connsiteY150" fmla="*/ 7668 h 10000"/>
              <a:gd name="connsiteX151" fmla="*/ 6577 w 10000"/>
              <a:gd name="connsiteY151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461 w 10000"/>
              <a:gd name="connsiteY6" fmla="*/ 2000 h 10000"/>
              <a:gd name="connsiteX7" fmla="*/ 7285 w 10000"/>
              <a:gd name="connsiteY7" fmla="*/ 2000 h 10000"/>
              <a:gd name="connsiteX8" fmla="*/ 7028 w 10000"/>
              <a:gd name="connsiteY8" fmla="*/ 1915 h 10000"/>
              <a:gd name="connsiteX9" fmla="*/ 6926 w 10000"/>
              <a:gd name="connsiteY9" fmla="*/ 2000 h 10000"/>
              <a:gd name="connsiteX10" fmla="*/ 6305 w 10000"/>
              <a:gd name="connsiteY10" fmla="*/ 3333 h 10000"/>
              <a:gd name="connsiteX11" fmla="*/ 4557 w 10000"/>
              <a:gd name="connsiteY11" fmla="*/ 3416 h 10000"/>
              <a:gd name="connsiteX12" fmla="*/ 4480 w 10000"/>
              <a:gd name="connsiteY12" fmla="*/ 3333 h 10000"/>
              <a:gd name="connsiteX13" fmla="*/ 3953 w 10000"/>
              <a:gd name="connsiteY13" fmla="*/ 3500 h 10000"/>
              <a:gd name="connsiteX14" fmla="*/ 3865 w 10000"/>
              <a:gd name="connsiteY14" fmla="*/ 3665 h 10000"/>
              <a:gd name="connsiteX15" fmla="*/ 3777 w 10000"/>
              <a:gd name="connsiteY15" fmla="*/ 3500 h 10000"/>
              <a:gd name="connsiteX16" fmla="*/ 3777 w 10000"/>
              <a:gd name="connsiteY16" fmla="*/ 3333 h 10000"/>
              <a:gd name="connsiteX17" fmla="*/ 2891 w 10000"/>
              <a:gd name="connsiteY17" fmla="*/ 3832 h 10000"/>
              <a:gd name="connsiteX18" fmla="*/ 2891 w 10000"/>
              <a:gd name="connsiteY18" fmla="*/ 3998 h 10000"/>
              <a:gd name="connsiteX19" fmla="*/ 2721 w 10000"/>
              <a:gd name="connsiteY19" fmla="*/ 4082 h 10000"/>
              <a:gd name="connsiteX20" fmla="*/ 2458 w 10000"/>
              <a:gd name="connsiteY20" fmla="*/ 3916 h 10000"/>
              <a:gd name="connsiteX21" fmla="*/ 2721 w 10000"/>
              <a:gd name="connsiteY21" fmla="*/ 3748 h 10000"/>
              <a:gd name="connsiteX22" fmla="*/ 2627 w 10000"/>
              <a:gd name="connsiteY22" fmla="*/ 3500 h 10000"/>
              <a:gd name="connsiteX23" fmla="*/ 2281 w 10000"/>
              <a:gd name="connsiteY23" fmla="*/ 3416 h 10000"/>
              <a:gd name="connsiteX24" fmla="*/ 2369 w 10000"/>
              <a:gd name="connsiteY24" fmla="*/ 3582 h 10000"/>
              <a:gd name="connsiteX25" fmla="*/ 2369 w 10000"/>
              <a:gd name="connsiteY25" fmla="*/ 3998 h 10000"/>
              <a:gd name="connsiteX26" fmla="*/ 2458 w 10000"/>
              <a:gd name="connsiteY26" fmla="*/ 4167 h 10000"/>
              <a:gd name="connsiteX27" fmla="*/ 2369 w 10000"/>
              <a:gd name="connsiteY27" fmla="*/ 4334 h 10000"/>
              <a:gd name="connsiteX28" fmla="*/ 2100 w 10000"/>
              <a:gd name="connsiteY28" fmla="*/ 4250 h 10000"/>
              <a:gd name="connsiteX29" fmla="*/ 1757 w 10000"/>
              <a:gd name="connsiteY29" fmla="*/ 4498 h 10000"/>
              <a:gd name="connsiteX30" fmla="*/ 1928 w 10000"/>
              <a:gd name="connsiteY30" fmla="*/ 4833 h 10000"/>
              <a:gd name="connsiteX31" fmla="*/ 1399 w 10000"/>
              <a:gd name="connsiteY31" fmla="*/ 4666 h 10000"/>
              <a:gd name="connsiteX32" fmla="*/ 1315 w 10000"/>
              <a:gd name="connsiteY32" fmla="*/ 4748 h 10000"/>
              <a:gd name="connsiteX33" fmla="*/ 1494 w 10000"/>
              <a:gd name="connsiteY33" fmla="*/ 4999 h 10000"/>
              <a:gd name="connsiteX34" fmla="*/ 1315 w 10000"/>
              <a:gd name="connsiteY34" fmla="*/ 4999 h 10000"/>
              <a:gd name="connsiteX35" fmla="*/ 1055 w 10000"/>
              <a:gd name="connsiteY35" fmla="*/ 4833 h 10000"/>
              <a:gd name="connsiteX36" fmla="*/ 1055 w 10000"/>
              <a:gd name="connsiteY36" fmla="*/ 4334 h 10000"/>
              <a:gd name="connsiteX37" fmla="*/ 793 w 10000"/>
              <a:gd name="connsiteY37" fmla="*/ 4167 h 10000"/>
              <a:gd name="connsiteX38" fmla="*/ 702 w 10000"/>
              <a:gd name="connsiteY38" fmla="*/ 3998 h 10000"/>
              <a:gd name="connsiteX39" fmla="*/ 873 w 10000"/>
              <a:gd name="connsiteY39" fmla="*/ 4082 h 10000"/>
              <a:gd name="connsiteX40" fmla="*/ 1574 w 10000"/>
              <a:gd name="connsiteY40" fmla="*/ 4334 h 10000"/>
              <a:gd name="connsiteX41" fmla="*/ 2009 w 10000"/>
              <a:gd name="connsiteY41" fmla="*/ 4082 h 10000"/>
              <a:gd name="connsiteX42" fmla="*/ 1928 w 10000"/>
              <a:gd name="connsiteY42" fmla="*/ 3832 h 10000"/>
              <a:gd name="connsiteX43" fmla="*/ 1399 w 10000"/>
              <a:gd name="connsiteY43" fmla="*/ 3333 h 10000"/>
              <a:gd name="connsiteX44" fmla="*/ 873 w 10000"/>
              <a:gd name="connsiteY44" fmla="*/ 3166 h 10000"/>
              <a:gd name="connsiteX45" fmla="*/ 873 w 10000"/>
              <a:gd name="connsiteY45" fmla="*/ 3083 h 10000"/>
              <a:gd name="connsiteX46" fmla="*/ 702 w 10000"/>
              <a:gd name="connsiteY46" fmla="*/ 2997 h 10000"/>
              <a:gd name="connsiteX47" fmla="*/ 523 w 10000"/>
              <a:gd name="connsiteY47" fmla="*/ 3083 h 10000"/>
              <a:gd name="connsiteX48" fmla="*/ 523 w 10000"/>
              <a:gd name="connsiteY48" fmla="*/ 3166 h 10000"/>
              <a:gd name="connsiteX49" fmla="*/ 437 w 10000"/>
              <a:gd name="connsiteY49" fmla="*/ 3166 h 10000"/>
              <a:gd name="connsiteX50" fmla="*/ 263 w 10000"/>
              <a:gd name="connsiteY50" fmla="*/ 3333 h 10000"/>
              <a:gd name="connsiteX51" fmla="*/ 263 w 10000"/>
              <a:gd name="connsiteY51" fmla="*/ 3582 h 10000"/>
              <a:gd name="connsiteX52" fmla="*/ 437 w 10000"/>
              <a:gd name="connsiteY52" fmla="*/ 3748 h 10000"/>
              <a:gd name="connsiteX53" fmla="*/ 353 w 10000"/>
              <a:gd name="connsiteY53" fmla="*/ 3998 h 10000"/>
              <a:gd name="connsiteX54" fmla="*/ 437 w 10000"/>
              <a:gd name="connsiteY54" fmla="*/ 4417 h 10000"/>
              <a:gd name="connsiteX55" fmla="*/ 353 w 10000"/>
              <a:gd name="connsiteY55" fmla="*/ 4666 h 10000"/>
              <a:gd name="connsiteX56" fmla="*/ 523 w 10000"/>
              <a:gd name="connsiteY56" fmla="*/ 4916 h 10000"/>
              <a:gd name="connsiteX57" fmla="*/ 437 w 10000"/>
              <a:gd name="connsiteY57" fmla="*/ 5083 h 10000"/>
              <a:gd name="connsiteX58" fmla="*/ 611 w 10000"/>
              <a:gd name="connsiteY58" fmla="*/ 5250 h 10000"/>
              <a:gd name="connsiteX59" fmla="*/ 611 w 10000"/>
              <a:gd name="connsiteY59" fmla="*/ 5333 h 10000"/>
              <a:gd name="connsiteX60" fmla="*/ 353 w 10000"/>
              <a:gd name="connsiteY60" fmla="*/ 5750 h 10000"/>
              <a:gd name="connsiteX61" fmla="*/ 80 w 10000"/>
              <a:gd name="connsiteY61" fmla="*/ 5917 h 10000"/>
              <a:gd name="connsiteX62" fmla="*/ 172 w 10000"/>
              <a:gd name="connsiteY62" fmla="*/ 5917 h 10000"/>
              <a:gd name="connsiteX63" fmla="*/ 353 w 10000"/>
              <a:gd name="connsiteY63" fmla="*/ 6083 h 10000"/>
              <a:gd name="connsiteX64" fmla="*/ 172 w 10000"/>
              <a:gd name="connsiteY64" fmla="*/ 6249 h 10000"/>
              <a:gd name="connsiteX65" fmla="*/ 80 w 10000"/>
              <a:gd name="connsiteY65" fmla="*/ 6334 h 10000"/>
              <a:gd name="connsiteX66" fmla="*/ 0 w 10000"/>
              <a:gd name="connsiteY66" fmla="*/ 6334 h 10000"/>
              <a:gd name="connsiteX67" fmla="*/ 80 w 10000"/>
              <a:gd name="connsiteY67" fmla="*/ 6584 h 10000"/>
              <a:gd name="connsiteX68" fmla="*/ 80 w 10000"/>
              <a:gd name="connsiteY68" fmla="*/ 6667 h 10000"/>
              <a:gd name="connsiteX69" fmla="*/ 80 w 10000"/>
              <a:gd name="connsiteY69" fmla="*/ 6749 h 10000"/>
              <a:gd name="connsiteX70" fmla="*/ 80 w 10000"/>
              <a:gd name="connsiteY70" fmla="*/ 6834 h 10000"/>
              <a:gd name="connsiteX71" fmla="*/ 172 w 10000"/>
              <a:gd name="connsiteY71" fmla="*/ 6998 h 10000"/>
              <a:gd name="connsiteX72" fmla="*/ 437 w 10000"/>
              <a:gd name="connsiteY72" fmla="*/ 7083 h 10000"/>
              <a:gd name="connsiteX73" fmla="*/ 523 w 10000"/>
              <a:gd name="connsiteY73" fmla="*/ 7165 h 10000"/>
              <a:gd name="connsiteX74" fmla="*/ 523 w 10000"/>
              <a:gd name="connsiteY74" fmla="*/ 7334 h 10000"/>
              <a:gd name="connsiteX75" fmla="*/ 702 w 10000"/>
              <a:gd name="connsiteY75" fmla="*/ 7584 h 10000"/>
              <a:gd name="connsiteX76" fmla="*/ 793 w 10000"/>
              <a:gd name="connsiteY76" fmla="*/ 7584 h 10000"/>
              <a:gd name="connsiteX77" fmla="*/ 702 w 10000"/>
              <a:gd name="connsiteY77" fmla="*/ 7750 h 10000"/>
              <a:gd name="connsiteX78" fmla="*/ 611 w 10000"/>
              <a:gd name="connsiteY78" fmla="*/ 7668 h 10000"/>
              <a:gd name="connsiteX79" fmla="*/ 611 w 10000"/>
              <a:gd name="connsiteY79" fmla="*/ 7750 h 10000"/>
              <a:gd name="connsiteX80" fmla="*/ 702 w 10000"/>
              <a:gd name="connsiteY80" fmla="*/ 7916 h 10000"/>
              <a:gd name="connsiteX81" fmla="*/ 971 w 10000"/>
              <a:gd name="connsiteY81" fmla="*/ 7916 h 10000"/>
              <a:gd name="connsiteX82" fmla="*/ 1055 w 10000"/>
              <a:gd name="connsiteY82" fmla="*/ 8000 h 10000"/>
              <a:gd name="connsiteX83" fmla="*/ 971 w 10000"/>
              <a:gd name="connsiteY83" fmla="*/ 8000 h 10000"/>
              <a:gd name="connsiteX84" fmla="*/ 1055 w 10000"/>
              <a:gd name="connsiteY84" fmla="*/ 8082 h 10000"/>
              <a:gd name="connsiteX85" fmla="*/ 1139 w 10000"/>
              <a:gd name="connsiteY85" fmla="*/ 8082 h 10000"/>
              <a:gd name="connsiteX86" fmla="*/ 1224 w 10000"/>
              <a:gd name="connsiteY86" fmla="*/ 8249 h 10000"/>
              <a:gd name="connsiteX87" fmla="*/ 1315 w 10000"/>
              <a:gd name="connsiteY87" fmla="*/ 8332 h 10000"/>
              <a:gd name="connsiteX88" fmla="*/ 1399 w 10000"/>
              <a:gd name="connsiteY88" fmla="*/ 8249 h 10000"/>
              <a:gd name="connsiteX89" fmla="*/ 1843 w 10000"/>
              <a:gd name="connsiteY89" fmla="*/ 8500 h 10000"/>
              <a:gd name="connsiteX90" fmla="*/ 1757 w 10000"/>
              <a:gd name="connsiteY90" fmla="*/ 8833 h 10000"/>
              <a:gd name="connsiteX91" fmla="*/ 1668 w 10000"/>
              <a:gd name="connsiteY91" fmla="*/ 8750 h 10000"/>
              <a:gd name="connsiteX92" fmla="*/ 1574 w 10000"/>
              <a:gd name="connsiteY92" fmla="*/ 8833 h 10000"/>
              <a:gd name="connsiteX93" fmla="*/ 1574 w 10000"/>
              <a:gd name="connsiteY93" fmla="*/ 8999 h 10000"/>
              <a:gd name="connsiteX94" fmla="*/ 1668 w 10000"/>
              <a:gd name="connsiteY94" fmla="*/ 8917 h 10000"/>
              <a:gd name="connsiteX95" fmla="*/ 1757 w 10000"/>
              <a:gd name="connsiteY95" fmla="*/ 8999 h 10000"/>
              <a:gd name="connsiteX96" fmla="*/ 1494 w 10000"/>
              <a:gd name="connsiteY96" fmla="*/ 9083 h 10000"/>
              <a:gd name="connsiteX97" fmla="*/ 1574 w 10000"/>
              <a:gd name="connsiteY97" fmla="*/ 9167 h 10000"/>
              <a:gd name="connsiteX98" fmla="*/ 1399 w 10000"/>
              <a:gd name="connsiteY98" fmla="*/ 9333 h 10000"/>
              <a:gd name="connsiteX99" fmla="*/ 1315 w 10000"/>
              <a:gd name="connsiteY99" fmla="*/ 9333 h 10000"/>
              <a:gd name="connsiteX100" fmla="*/ 1399 w 10000"/>
              <a:gd name="connsiteY100" fmla="*/ 9333 h 10000"/>
              <a:gd name="connsiteX101" fmla="*/ 1757 w 10000"/>
              <a:gd name="connsiteY101" fmla="*/ 9668 h 10000"/>
              <a:gd name="connsiteX102" fmla="*/ 2195 w 10000"/>
              <a:gd name="connsiteY102" fmla="*/ 9668 h 10000"/>
              <a:gd name="connsiteX103" fmla="*/ 2369 w 10000"/>
              <a:gd name="connsiteY103" fmla="*/ 9750 h 10000"/>
              <a:gd name="connsiteX104" fmla="*/ 2543 w 10000"/>
              <a:gd name="connsiteY104" fmla="*/ 9750 h 10000"/>
              <a:gd name="connsiteX105" fmla="*/ 2721 w 10000"/>
              <a:gd name="connsiteY105" fmla="*/ 9918 h 10000"/>
              <a:gd name="connsiteX106" fmla="*/ 2807 w 10000"/>
              <a:gd name="connsiteY106" fmla="*/ 10000 h 10000"/>
              <a:gd name="connsiteX107" fmla="*/ 2891 w 10000"/>
              <a:gd name="connsiteY107" fmla="*/ 10000 h 10000"/>
              <a:gd name="connsiteX108" fmla="*/ 2984 w 10000"/>
              <a:gd name="connsiteY108" fmla="*/ 9918 h 10000"/>
              <a:gd name="connsiteX109" fmla="*/ 2807 w 10000"/>
              <a:gd name="connsiteY109" fmla="*/ 9750 h 10000"/>
              <a:gd name="connsiteX110" fmla="*/ 2807 w 10000"/>
              <a:gd name="connsiteY110" fmla="*/ 9584 h 10000"/>
              <a:gd name="connsiteX111" fmla="*/ 2721 w 10000"/>
              <a:gd name="connsiteY111" fmla="*/ 9416 h 10000"/>
              <a:gd name="connsiteX112" fmla="*/ 2891 w 10000"/>
              <a:gd name="connsiteY112" fmla="*/ 9167 h 10000"/>
              <a:gd name="connsiteX113" fmla="*/ 2984 w 10000"/>
              <a:gd name="connsiteY113" fmla="*/ 9250 h 10000"/>
              <a:gd name="connsiteX114" fmla="*/ 3069 w 10000"/>
              <a:gd name="connsiteY114" fmla="*/ 9167 h 10000"/>
              <a:gd name="connsiteX115" fmla="*/ 3069 w 10000"/>
              <a:gd name="connsiteY115" fmla="*/ 9083 h 10000"/>
              <a:gd name="connsiteX116" fmla="*/ 2984 w 10000"/>
              <a:gd name="connsiteY116" fmla="*/ 9083 h 10000"/>
              <a:gd name="connsiteX117" fmla="*/ 3069 w 10000"/>
              <a:gd name="connsiteY117" fmla="*/ 8999 h 10000"/>
              <a:gd name="connsiteX118" fmla="*/ 2984 w 10000"/>
              <a:gd name="connsiteY118" fmla="*/ 8833 h 10000"/>
              <a:gd name="connsiteX119" fmla="*/ 2807 w 10000"/>
              <a:gd name="connsiteY119" fmla="*/ 8833 h 10000"/>
              <a:gd name="connsiteX120" fmla="*/ 2721 w 10000"/>
              <a:gd name="connsiteY120" fmla="*/ 8667 h 10000"/>
              <a:gd name="connsiteX121" fmla="*/ 2807 w 10000"/>
              <a:gd name="connsiteY121" fmla="*/ 8249 h 10000"/>
              <a:gd name="connsiteX122" fmla="*/ 2984 w 10000"/>
              <a:gd name="connsiteY122" fmla="*/ 8418 h 10000"/>
              <a:gd name="connsiteX123" fmla="*/ 3069 w 10000"/>
              <a:gd name="connsiteY123" fmla="*/ 8418 h 10000"/>
              <a:gd name="connsiteX124" fmla="*/ 2984 w 10000"/>
              <a:gd name="connsiteY124" fmla="*/ 8249 h 10000"/>
              <a:gd name="connsiteX125" fmla="*/ 3249 w 10000"/>
              <a:gd name="connsiteY125" fmla="*/ 8000 h 10000"/>
              <a:gd name="connsiteX126" fmla="*/ 3426 w 10000"/>
              <a:gd name="connsiteY126" fmla="*/ 8082 h 10000"/>
              <a:gd name="connsiteX127" fmla="*/ 3511 w 10000"/>
              <a:gd name="connsiteY127" fmla="*/ 8000 h 10000"/>
              <a:gd name="connsiteX128" fmla="*/ 3678 w 10000"/>
              <a:gd name="connsiteY128" fmla="*/ 8082 h 10000"/>
              <a:gd name="connsiteX129" fmla="*/ 3953 w 10000"/>
              <a:gd name="connsiteY129" fmla="*/ 8249 h 10000"/>
              <a:gd name="connsiteX130" fmla="*/ 4121 w 10000"/>
              <a:gd name="connsiteY130" fmla="*/ 8167 h 10000"/>
              <a:gd name="connsiteX131" fmla="*/ 4300 w 10000"/>
              <a:gd name="connsiteY131" fmla="*/ 8167 h 10000"/>
              <a:gd name="connsiteX132" fmla="*/ 4389 w 10000"/>
              <a:gd name="connsiteY132" fmla="*/ 8249 h 10000"/>
              <a:gd name="connsiteX133" fmla="*/ 4740 w 10000"/>
              <a:gd name="connsiteY133" fmla="*/ 8249 h 10000"/>
              <a:gd name="connsiteX134" fmla="*/ 4823 w 10000"/>
              <a:gd name="connsiteY134" fmla="*/ 8082 h 10000"/>
              <a:gd name="connsiteX135" fmla="*/ 4557 w 10000"/>
              <a:gd name="connsiteY135" fmla="*/ 8000 h 10000"/>
              <a:gd name="connsiteX136" fmla="*/ 4740 w 10000"/>
              <a:gd name="connsiteY136" fmla="*/ 7916 h 10000"/>
              <a:gd name="connsiteX137" fmla="*/ 4647 w 10000"/>
              <a:gd name="connsiteY137" fmla="*/ 7833 h 10000"/>
              <a:gd name="connsiteX138" fmla="*/ 4740 w 10000"/>
              <a:gd name="connsiteY138" fmla="*/ 7750 h 10000"/>
              <a:gd name="connsiteX139" fmla="*/ 4740 w 10000"/>
              <a:gd name="connsiteY139" fmla="*/ 7500 h 10000"/>
              <a:gd name="connsiteX140" fmla="*/ 4908 w 10000"/>
              <a:gd name="connsiteY140" fmla="*/ 7584 h 10000"/>
              <a:gd name="connsiteX141" fmla="*/ 5701 w 10000"/>
              <a:gd name="connsiteY141" fmla="*/ 7334 h 10000"/>
              <a:gd name="connsiteX142" fmla="*/ 5701 w 10000"/>
              <a:gd name="connsiteY142" fmla="*/ 7250 h 10000"/>
              <a:gd name="connsiteX143" fmla="*/ 5793 w 10000"/>
              <a:gd name="connsiteY143" fmla="*/ 7250 h 10000"/>
              <a:gd name="connsiteX144" fmla="*/ 6046 w 10000"/>
              <a:gd name="connsiteY144" fmla="*/ 7250 h 10000"/>
              <a:gd name="connsiteX145" fmla="*/ 6145 w 10000"/>
              <a:gd name="connsiteY145" fmla="*/ 7417 h 10000"/>
              <a:gd name="connsiteX146" fmla="*/ 6145 w 10000"/>
              <a:gd name="connsiteY146" fmla="*/ 7500 h 10000"/>
              <a:gd name="connsiteX147" fmla="*/ 6228 w 10000"/>
              <a:gd name="connsiteY147" fmla="*/ 7500 h 10000"/>
              <a:gd name="connsiteX148" fmla="*/ 6401 w 10000"/>
              <a:gd name="connsiteY148" fmla="*/ 7584 h 10000"/>
              <a:gd name="connsiteX149" fmla="*/ 6401 w 10000"/>
              <a:gd name="connsiteY149" fmla="*/ 7668 h 10000"/>
              <a:gd name="connsiteX150" fmla="*/ 6577 w 10000"/>
              <a:gd name="connsiteY150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285 w 10000"/>
              <a:gd name="connsiteY6" fmla="*/ 2000 h 10000"/>
              <a:gd name="connsiteX7" fmla="*/ 7028 w 10000"/>
              <a:gd name="connsiteY7" fmla="*/ 1915 h 10000"/>
              <a:gd name="connsiteX8" fmla="*/ 6926 w 10000"/>
              <a:gd name="connsiteY8" fmla="*/ 2000 h 10000"/>
              <a:gd name="connsiteX9" fmla="*/ 6305 w 10000"/>
              <a:gd name="connsiteY9" fmla="*/ 3333 h 10000"/>
              <a:gd name="connsiteX10" fmla="*/ 4557 w 10000"/>
              <a:gd name="connsiteY10" fmla="*/ 3416 h 10000"/>
              <a:gd name="connsiteX11" fmla="*/ 4480 w 10000"/>
              <a:gd name="connsiteY11" fmla="*/ 3333 h 10000"/>
              <a:gd name="connsiteX12" fmla="*/ 3953 w 10000"/>
              <a:gd name="connsiteY12" fmla="*/ 3500 h 10000"/>
              <a:gd name="connsiteX13" fmla="*/ 3865 w 10000"/>
              <a:gd name="connsiteY13" fmla="*/ 3665 h 10000"/>
              <a:gd name="connsiteX14" fmla="*/ 3777 w 10000"/>
              <a:gd name="connsiteY14" fmla="*/ 3500 h 10000"/>
              <a:gd name="connsiteX15" fmla="*/ 3777 w 10000"/>
              <a:gd name="connsiteY15" fmla="*/ 3333 h 10000"/>
              <a:gd name="connsiteX16" fmla="*/ 2891 w 10000"/>
              <a:gd name="connsiteY16" fmla="*/ 3832 h 10000"/>
              <a:gd name="connsiteX17" fmla="*/ 2891 w 10000"/>
              <a:gd name="connsiteY17" fmla="*/ 3998 h 10000"/>
              <a:gd name="connsiteX18" fmla="*/ 2721 w 10000"/>
              <a:gd name="connsiteY18" fmla="*/ 4082 h 10000"/>
              <a:gd name="connsiteX19" fmla="*/ 2458 w 10000"/>
              <a:gd name="connsiteY19" fmla="*/ 3916 h 10000"/>
              <a:gd name="connsiteX20" fmla="*/ 2721 w 10000"/>
              <a:gd name="connsiteY20" fmla="*/ 3748 h 10000"/>
              <a:gd name="connsiteX21" fmla="*/ 2627 w 10000"/>
              <a:gd name="connsiteY21" fmla="*/ 3500 h 10000"/>
              <a:gd name="connsiteX22" fmla="*/ 2281 w 10000"/>
              <a:gd name="connsiteY22" fmla="*/ 3416 h 10000"/>
              <a:gd name="connsiteX23" fmla="*/ 2369 w 10000"/>
              <a:gd name="connsiteY23" fmla="*/ 3582 h 10000"/>
              <a:gd name="connsiteX24" fmla="*/ 2369 w 10000"/>
              <a:gd name="connsiteY24" fmla="*/ 3998 h 10000"/>
              <a:gd name="connsiteX25" fmla="*/ 2458 w 10000"/>
              <a:gd name="connsiteY25" fmla="*/ 4167 h 10000"/>
              <a:gd name="connsiteX26" fmla="*/ 2369 w 10000"/>
              <a:gd name="connsiteY26" fmla="*/ 4334 h 10000"/>
              <a:gd name="connsiteX27" fmla="*/ 2100 w 10000"/>
              <a:gd name="connsiteY27" fmla="*/ 4250 h 10000"/>
              <a:gd name="connsiteX28" fmla="*/ 1757 w 10000"/>
              <a:gd name="connsiteY28" fmla="*/ 4498 h 10000"/>
              <a:gd name="connsiteX29" fmla="*/ 1928 w 10000"/>
              <a:gd name="connsiteY29" fmla="*/ 4833 h 10000"/>
              <a:gd name="connsiteX30" fmla="*/ 1399 w 10000"/>
              <a:gd name="connsiteY30" fmla="*/ 4666 h 10000"/>
              <a:gd name="connsiteX31" fmla="*/ 1315 w 10000"/>
              <a:gd name="connsiteY31" fmla="*/ 4748 h 10000"/>
              <a:gd name="connsiteX32" fmla="*/ 1494 w 10000"/>
              <a:gd name="connsiteY32" fmla="*/ 4999 h 10000"/>
              <a:gd name="connsiteX33" fmla="*/ 1315 w 10000"/>
              <a:gd name="connsiteY33" fmla="*/ 4999 h 10000"/>
              <a:gd name="connsiteX34" fmla="*/ 1055 w 10000"/>
              <a:gd name="connsiteY34" fmla="*/ 4833 h 10000"/>
              <a:gd name="connsiteX35" fmla="*/ 1055 w 10000"/>
              <a:gd name="connsiteY35" fmla="*/ 4334 h 10000"/>
              <a:gd name="connsiteX36" fmla="*/ 793 w 10000"/>
              <a:gd name="connsiteY36" fmla="*/ 4167 h 10000"/>
              <a:gd name="connsiteX37" fmla="*/ 702 w 10000"/>
              <a:gd name="connsiteY37" fmla="*/ 3998 h 10000"/>
              <a:gd name="connsiteX38" fmla="*/ 873 w 10000"/>
              <a:gd name="connsiteY38" fmla="*/ 4082 h 10000"/>
              <a:gd name="connsiteX39" fmla="*/ 1574 w 10000"/>
              <a:gd name="connsiteY39" fmla="*/ 4334 h 10000"/>
              <a:gd name="connsiteX40" fmla="*/ 2009 w 10000"/>
              <a:gd name="connsiteY40" fmla="*/ 4082 h 10000"/>
              <a:gd name="connsiteX41" fmla="*/ 1928 w 10000"/>
              <a:gd name="connsiteY41" fmla="*/ 3832 h 10000"/>
              <a:gd name="connsiteX42" fmla="*/ 1399 w 10000"/>
              <a:gd name="connsiteY42" fmla="*/ 3333 h 10000"/>
              <a:gd name="connsiteX43" fmla="*/ 873 w 10000"/>
              <a:gd name="connsiteY43" fmla="*/ 3166 h 10000"/>
              <a:gd name="connsiteX44" fmla="*/ 873 w 10000"/>
              <a:gd name="connsiteY44" fmla="*/ 3083 h 10000"/>
              <a:gd name="connsiteX45" fmla="*/ 702 w 10000"/>
              <a:gd name="connsiteY45" fmla="*/ 2997 h 10000"/>
              <a:gd name="connsiteX46" fmla="*/ 523 w 10000"/>
              <a:gd name="connsiteY46" fmla="*/ 3083 h 10000"/>
              <a:gd name="connsiteX47" fmla="*/ 523 w 10000"/>
              <a:gd name="connsiteY47" fmla="*/ 3166 h 10000"/>
              <a:gd name="connsiteX48" fmla="*/ 437 w 10000"/>
              <a:gd name="connsiteY48" fmla="*/ 3166 h 10000"/>
              <a:gd name="connsiteX49" fmla="*/ 263 w 10000"/>
              <a:gd name="connsiteY49" fmla="*/ 3333 h 10000"/>
              <a:gd name="connsiteX50" fmla="*/ 263 w 10000"/>
              <a:gd name="connsiteY50" fmla="*/ 3582 h 10000"/>
              <a:gd name="connsiteX51" fmla="*/ 437 w 10000"/>
              <a:gd name="connsiteY51" fmla="*/ 3748 h 10000"/>
              <a:gd name="connsiteX52" fmla="*/ 353 w 10000"/>
              <a:gd name="connsiteY52" fmla="*/ 3998 h 10000"/>
              <a:gd name="connsiteX53" fmla="*/ 437 w 10000"/>
              <a:gd name="connsiteY53" fmla="*/ 4417 h 10000"/>
              <a:gd name="connsiteX54" fmla="*/ 353 w 10000"/>
              <a:gd name="connsiteY54" fmla="*/ 4666 h 10000"/>
              <a:gd name="connsiteX55" fmla="*/ 523 w 10000"/>
              <a:gd name="connsiteY55" fmla="*/ 4916 h 10000"/>
              <a:gd name="connsiteX56" fmla="*/ 437 w 10000"/>
              <a:gd name="connsiteY56" fmla="*/ 5083 h 10000"/>
              <a:gd name="connsiteX57" fmla="*/ 611 w 10000"/>
              <a:gd name="connsiteY57" fmla="*/ 5250 h 10000"/>
              <a:gd name="connsiteX58" fmla="*/ 611 w 10000"/>
              <a:gd name="connsiteY58" fmla="*/ 5333 h 10000"/>
              <a:gd name="connsiteX59" fmla="*/ 353 w 10000"/>
              <a:gd name="connsiteY59" fmla="*/ 5750 h 10000"/>
              <a:gd name="connsiteX60" fmla="*/ 80 w 10000"/>
              <a:gd name="connsiteY60" fmla="*/ 5917 h 10000"/>
              <a:gd name="connsiteX61" fmla="*/ 172 w 10000"/>
              <a:gd name="connsiteY61" fmla="*/ 5917 h 10000"/>
              <a:gd name="connsiteX62" fmla="*/ 353 w 10000"/>
              <a:gd name="connsiteY62" fmla="*/ 6083 h 10000"/>
              <a:gd name="connsiteX63" fmla="*/ 172 w 10000"/>
              <a:gd name="connsiteY63" fmla="*/ 6249 h 10000"/>
              <a:gd name="connsiteX64" fmla="*/ 80 w 10000"/>
              <a:gd name="connsiteY64" fmla="*/ 6334 h 10000"/>
              <a:gd name="connsiteX65" fmla="*/ 0 w 10000"/>
              <a:gd name="connsiteY65" fmla="*/ 6334 h 10000"/>
              <a:gd name="connsiteX66" fmla="*/ 80 w 10000"/>
              <a:gd name="connsiteY66" fmla="*/ 6584 h 10000"/>
              <a:gd name="connsiteX67" fmla="*/ 80 w 10000"/>
              <a:gd name="connsiteY67" fmla="*/ 6667 h 10000"/>
              <a:gd name="connsiteX68" fmla="*/ 80 w 10000"/>
              <a:gd name="connsiteY68" fmla="*/ 6749 h 10000"/>
              <a:gd name="connsiteX69" fmla="*/ 80 w 10000"/>
              <a:gd name="connsiteY69" fmla="*/ 6834 h 10000"/>
              <a:gd name="connsiteX70" fmla="*/ 172 w 10000"/>
              <a:gd name="connsiteY70" fmla="*/ 6998 h 10000"/>
              <a:gd name="connsiteX71" fmla="*/ 437 w 10000"/>
              <a:gd name="connsiteY71" fmla="*/ 7083 h 10000"/>
              <a:gd name="connsiteX72" fmla="*/ 523 w 10000"/>
              <a:gd name="connsiteY72" fmla="*/ 7165 h 10000"/>
              <a:gd name="connsiteX73" fmla="*/ 523 w 10000"/>
              <a:gd name="connsiteY73" fmla="*/ 7334 h 10000"/>
              <a:gd name="connsiteX74" fmla="*/ 702 w 10000"/>
              <a:gd name="connsiteY74" fmla="*/ 7584 h 10000"/>
              <a:gd name="connsiteX75" fmla="*/ 793 w 10000"/>
              <a:gd name="connsiteY75" fmla="*/ 7584 h 10000"/>
              <a:gd name="connsiteX76" fmla="*/ 702 w 10000"/>
              <a:gd name="connsiteY76" fmla="*/ 7750 h 10000"/>
              <a:gd name="connsiteX77" fmla="*/ 611 w 10000"/>
              <a:gd name="connsiteY77" fmla="*/ 7668 h 10000"/>
              <a:gd name="connsiteX78" fmla="*/ 611 w 10000"/>
              <a:gd name="connsiteY78" fmla="*/ 7750 h 10000"/>
              <a:gd name="connsiteX79" fmla="*/ 702 w 10000"/>
              <a:gd name="connsiteY79" fmla="*/ 7916 h 10000"/>
              <a:gd name="connsiteX80" fmla="*/ 971 w 10000"/>
              <a:gd name="connsiteY80" fmla="*/ 7916 h 10000"/>
              <a:gd name="connsiteX81" fmla="*/ 1055 w 10000"/>
              <a:gd name="connsiteY81" fmla="*/ 8000 h 10000"/>
              <a:gd name="connsiteX82" fmla="*/ 971 w 10000"/>
              <a:gd name="connsiteY82" fmla="*/ 8000 h 10000"/>
              <a:gd name="connsiteX83" fmla="*/ 1055 w 10000"/>
              <a:gd name="connsiteY83" fmla="*/ 8082 h 10000"/>
              <a:gd name="connsiteX84" fmla="*/ 1139 w 10000"/>
              <a:gd name="connsiteY84" fmla="*/ 8082 h 10000"/>
              <a:gd name="connsiteX85" fmla="*/ 1224 w 10000"/>
              <a:gd name="connsiteY85" fmla="*/ 8249 h 10000"/>
              <a:gd name="connsiteX86" fmla="*/ 1315 w 10000"/>
              <a:gd name="connsiteY86" fmla="*/ 8332 h 10000"/>
              <a:gd name="connsiteX87" fmla="*/ 1399 w 10000"/>
              <a:gd name="connsiteY87" fmla="*/ 8249 h 10000"/>
              <a:gd name="connsiteX88" fmla="*/ 1843 w 10000"/>
              <a:gd name="connsiteY88" fmla="*/ 8500 h 10000"/>
              <a:gd name="connsiteX89" fmla="*/ 1757 w 10000"/>
              <a:gd name="connsiteY89" fmla="*/ 8833 h 10000"/>
              <a:gd name="connsiteX90" fmla="*/ 1668 w 10000"/>
              <a:gd name="connsiteY90" fmla="*/ 8750 h 10000"/>
              <a:gd name="connsiteX91" fmla="*/ 1574 w 10000"/>
              <a:gd name="connsiteY91" fmla="*/ 8833 h 10000"/>
              <a:gd name="connsiteX92" fmla="*/ 1574 w 10000"/>
              <a:gd name="connsiteY92" fmla="*/ 8999 h 10000"/>
              <a:gd name="connsiteX93" fmla="*/ 1668 w 10000"/>
              <a:gd name="connsiteY93" fmla="*/ 8917 h 10000"/>
              <a:gd name="connsiteX94" fmla="*/ 1757 w 10000"/>
              <a:gd name="connsiteY94" fmla="*/ 8999 h 10000"/>
              <a:gd name="connsiteX95" fmla="*/ 1494 w 10000"/>
              <a:gd name="connsiteY95" fmla="*/ 9083 h 10000"/>
              <a:gd name="connsiteX96" fmla="*/ 1574 w 10000"/>
              <a:gd name="connsiteY96" fmla="*/ 9167 h 10000"/>
              <a:gd name="connsiteX97" fmla="*/ 1399 w 10000"/>
              <a:gd name="connsiteY97" fmla="*/ 9333 h 10000"/>
              <a:gd name="connsiteX98" fmla="*/ 1315 w 10000"/>
              <a:gd name="connsiteY98" fmla="*/ 9333 h 10000"/>
              <a:gd name="connsiteX99" fmla="*/ 1399 w 10000"/>
              <a:gd name="connsiteY99" fmla="*/ 9333 h 10000"/>
              <a:gd name="connsiteX100" fmla="*/ 1757 w 10000"/>
              <a:gd name="connsiteY100" fmla="*/ 9668 h 10000"/>
              <a:gd name="connsiteX101" fmla="*/ 2195 w 10000"/>
              <a:gd name="connsiteY101" fmla="*/ 9668 h 10000"/>
              <a:gd name="connsiteX102" fmla="*/ 2369 w 10000"/>
              <a:gd name="connsiteY102" fmla="*/ 9750 h 10000"/>
              <a:gd name="connsiteX103" fmla="*/ 2543 w 10000"/>
              <a:gd name="connsiteY103" fmla="*/ 9750 h 10000"/>
              <a:gd name="connsiteX104" fmla="*/ 2721 w 10000"/>
              <a:gd name="connsiteY104" fmla="*/ 9918 h 10000"/>
              <a:gd name="connsiteX105" fmla="*/ 2807 w 10000"/>
              <a:gd name="connsiteY105" fmla="*/ 10000 h 10000"/>
              <a:gd name="connsiteX106" fmla="*/ 2891 w 10000"/>
              <a:gd name="connsiteY106" fmla="*/ 10000 h 10000"/>
              <a:gd name="connsiteX107" fmla="*/ 2984 w 10000"/>
              <a:gd name="connsiteY107" fmla="*/ 9918 h 10000"/>
              <a:gd name="connsiteX108" fmla="*/ 2807 w 10000"/>
              <a:gd name="connsiteY108" fmla="*/ 9750 h 10000"/>
              <a:gd name="connsiteX109" fmla="*/ 2807 w 10000"/>
              <a:gd name="connsiteY109" fmla="*/ 9584 h 10000"/>
              <a:gd name="connsiteX110" fmla="*/ 2721 w 10000"/>
              <a:gd name="connsiteY110" fmla="*/ 9416 h 10000"/>
              <a:gd name="connsiteX111" fmla="*/ 2891 w 10000"/>
              <a:gd name="connsiteY111" fmla="*/ 9167 h 10000"/>
              <a:gd name="connsiteX112" fmla="*/ 2984 w 10000"/>
              <a:gd name="connsiteY112" fmla="*/ 9250 h 10000"/>
              <a:gd name="connsiteX113" fmla="*/ 3069 w 10000"/>
              <a:gd name="connsiteY113" fmla="*/ 9167 h 10000"/>
              <a:gd name="connsiteX114" fmla="*/ 3069 w 10000"/>
              <a:gd name="connsiteY114" fmla="*/ 9083 h 10000"/>
              <a:gd name="connsiteX115" fmla="*/ 2984 w 10000"/>
              <a:gd name="connsiteY115" fmla="*/ 9083 h 10000"/>
              <a:gd name="connsiteX116" fmla="*/ 3069 w 10000"/>
              <a:gd name="connsiteY116" fmla="*/ 8999 h 10000"/>
              <a:gd name="connsiteX117" fmla="*/ 2984 w 10000"/>
              <a:gd name="connsiteY117" fmla="*/ 8833 h 10000"/>
              <a:gd name="connsiteX118" fmla="*/ 2807 w 10000"/>
              <a:gd name="connsiteY118" fmla="*/ 8833 h 10000"/>
              <a:gd name="connsiteX119" fmla="*/ 2721 w 10000"/>
              <a:gd name="connsiteY119" fmla="*/ 8667 h 10000"/>
              <a:gd name="connsiteX120" fmla="*/ 2807 w 10000"/>
              <a:gd name="connsiteY120" fmla="*/ 8249 h 10000"/>
              <a:gd name="connsiteX121" fmla="*/ 2984 w 10000"/>
              <a:gd name="connsiteY121" fmla="*/ 8418 h 10000"/>
              <a:gd name="connsiteX122" fmla="*/ 3069 w 10000"/>
              <a:gd name="connsiteY122" fmla="*/ 8418 h 10000"/>
              <a:gd name="connsiteX123" fmla="*/ 2984 w 10000"/>
              <a:gd name="connsiteY123" fmla="*/ 8249 h 10000"/>
              <a:gd name="connsiteX124" fmla="*/ 3249 w 10000"/>
              <a:gd name="connsiteY124" fmla="*/ 8000 h 10000"/>
              <a:gd name="connsiteX125" fmla="*/ 3426 w 10000"/>
              <a:gd name="connsiteY125" fmla="*/ 8082 h 10000"/>
              <a:gd name="connsiteX126" fmla="*/ 3511 w 10000"/>
              <a:gd name="connsiteY126" fmla="*/ 8000 h 10000"/>
              <a:gd name="connsiteX127" fmla="*/ 3678 w 10000"/>
              <a:gd name="connsiteY127" fmla="*/ 8082 h 10000"/>
              <a:gd name="connsiteX128" fmla="*/ 3953 w 10000"/>
              <a:gd name="connsiteY128" fmla="*/ 8249 h 10000"/>
              <a:gd name="connsiteX129" fmla="*/ 4121 w 10000"/>
              <a:gd name="connsiteY129" fmla="*/ 8167 h 10000"/>
              <a:gd name="connsiteX130" fmla="*/ 4300 w 10000"/>
              <a:gd name="connsiteY130" fmla="*/ 8167 h 10000"/>
              <a:gd name="connsiteX131" fmla="*/ 4389 w 10000"/>
              <a:gd name="connsiteY131" fmla="*/ 8249 h 10000"/>
              <a:gd name="connsiteX132" fmla="*/ 4740 w 10000"/>
              <a:gd name="connsiteY132" fmla="*/ 8249 h 10000"/>
              <a:gd name="connsiteX133" fmla="*/ 4823 w 10000"/>
              <a:gd name="connsiteY133" fmla="*/ 8082 h 10000"/>
              <a:gd name="connsiteX134" fmla="*/ 4557 w 10000"/>
              <a:gd name="connsiteY134" fmla="*/ 8000 h 10000"/>
              <a:gd name="connsiteX135" fmla="*/ 4740 w 10000"/>
              <a:gd name="connsiteY135" fmla="*/ 7916 h 10000"/>
              <a:gd name="connsiteX136" fmla="*/ 4647 w 10000"/>
              <a:gd name="connsiteY136" fmla="*/ 7833 h 10000"/>
              <a:gd name="connsiteX137" fmla="*/ 4740 w 10000"/>
              <a:gd name="connsiteY137" fmla="*/ 7750 h 10000"/>
              <a:gd name="connsiteX138" fmla="*/ 4740 w 10000"/>
              <a:gd name="connsiteY138" fmla="*/ 7500 h 10000"/>
              <a:gd name="connsiteX139" fmla="*/ 4908 w 10000"/>
              <a:gd name="connsiteY139" fmla="*/ 7584 h 10000"/>
              <a:gd name="connsiteX140" fmla="*/ 5701 w 10000"/>
              <a:gd name="connsiteY140" fmla="*/ 7334 h 10000"/>
              <a:gd name="connsiteX141" fmla="*/ 5701 w 10000"/>
              <a:gd name="connsiteY141" fmla="*/ 7250 h 10000"/>
              <a:gd name="connsiteX142" fmla="*/ 5793 w 10000"/>
              <a:gd name="connsiteY142" fmla="*/ 7250 h 10000"/>
              <a:gd name="connsiteX143" fmla="*/ 6046 w 10000"/>
              <a:gd name="connsiteY143" fmla="*/ 7250 h 10000"/>
              <a:gd name="connsiteX144" fmla="*/ 6145 w 10000"/>
              <a:gd name="connsiteY144" fmla="*/ 7417 h 10000"/>
              <a:gd name="connsiteX145" fmla="*/ 6145 w 10000"/>
              <a:gd name="connsiteY145" fmla="*/ 7500 h 10000"/>
              <a:gd name="connsiteX146" fmla="*/ 6228 w 10000"/>
              <a:gd name="connsiteY146" fmla="*/ 7500 h 10000"/>
              <a:gd name="connsiteX147" fmla="*/ 6401 w 10000"/>
              <a:gd name="connsiteY147" fmla="*/ 7584 h 10000"/>
              <a:gd name="connsiteX148" fmla="*/ 6401 w 10000"/>
              <a:gd name="connsiteY148" fmla="*/ 7668 h 10000"/>
              <a:gd name="connsiteX149" fmla="*/ 6577 w 10000"/>
              <a:gd name="connsiteY149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7028 w 10000"/>
              <a:gd name="connsiteY6" fmla="*/ 1915 h 10000"/>
              <a:gd name="connsiteX7" fmla="*/ 6926 w 10000"/>
              <a:gd name="connsiteY7" fmla="*/ 2000 h 10000"/>
              <a:gd name="connsiteX8" fmla="*/ 6305 w 10000"/>
              <a:gd name="connsiteY8" fmla="*/ 3333 h 10000"/>
              <a:gd name="connsiteX9" fmla="*/ 4557 w 10000"/>
              <a:gd name="connsiteY9" fmla="*/ 3416 h 10000"/>
              <a:gd name="connsiteX10" fmla="*/ 4480 w 10000"/>
              <a:gd name="connsiteY10" fmla="*/ 3333 h 10000"/>
              <a:gd name="connsiteX11" fmla="*/ 3953 w 10000"/>
              <a:gd name="connsiteY11" fmla="*/ 3500 h 10000"/>
              <a:gd name="connsiteX12" fmla="*/ 3865 w 10000"/>
              <a:gd name="connsiteY12" fmla="*/ 3665 h 10000"/>
              <a:gd name="connsiteX13" fmla="*/ 3777 w 10000"/>
              <a:gd name="connsiteY13" fmla="*/ 3500 h 10000"/>
              <a:gd name="connsiteX14" fmla="*/ 3777 w 10000"/>
              <a:gd name="connsiteY14" fmla="*/ 3333 h 10000"/>
              <a:gd name="connsiteX15" fmla="*/ 2891 w 10000"/>
              <a:gd name="connsiteY15" fmla="*/ 3832 h 10000"/>
              <a:gd name="connsiteX16" fmla="*/ 2891 w 10000"/>
              <a:gd name="connsiteY16" fmla="*/ 3998 h 10000"/>
              <a:gd name="connsiteX17" fmla="*/ 2721 w 10000"/>
              <a:gd name="connsiteY17" fmla="*/ 4082 h 10000"/>
              <a:gd name="connsiteX18" fmla="*/ 2458 w 10000"/>
              <a:gd name="connsiteY18" fmla="*/ 3916 h 10000"/>
              <a:gd name="connsiteX19" fmla="*/ 2721 w 10000"/>
              <a:gd name="connsiteY19" fmla="*/ 3748 h 10000"/>
              <a:gd name="connsiteX20" fmla="*/ 2627 w 10000"/>
              <a:gd name="connsiteY20" fmla="*/ 3500 h 10000"/>
              <a:gd name="connsiteX21" fmla="*/ 2281 w 10000"/>
              <a:gd name="connsiteY21" fmla="*/ 3416 h 10000"/>
              <a:gd name="connsiteX22" fmla="*/ 2369 w 10000"/>
              <a:gd name="connsiteY22" fmla="*/ 3582 h 10000"/>
              <a:gd name="connsiteX23" fmla="*/ 2369 w 10000"/>
              <a:gd name="connsiteY23" fmla="*/ 3998 h 10000"/>
              <a:gd name="connsiteX24" fmla="*/ 2458 w 10000"/>
              <a:gd name="connsiteY24" fmla="*/ 4167 h 10000"/>
              <a:gd name="connsiteX25" fmla="*/ 2369 w 10000"/>
              <a:gd name="connsiteY25" fmla="*/ 4334 h 10000"/>
              <a:gd name="connsiteX26" fmla="*/ 2100 w 10000"/>
              <a:gd name="connsiteY26" fmla="*/ 4250 h 10000"/>
              <a:gd name="connsiteX27" fmla="*/ 1757 w 10000"/>
              <a:gd name="connsiteY27" fmla="*/ 4498 h 10000"/>
              <a:gd name="connsiteX28" fmla="*/ 1928 w 10000"/>
              <a:gd name="connsiteY28" fmla="*/ 4833 h 10000"/>
              <a:gd name="connsiteX29" fmla="*/ 1399 w 10000"/>
              <a:gd name="connsiteY29" fmla="*/ 4666 h 10000"/>
              <a:gd name="connsiteX30" fmla="*/ 1315 w 10000"/>
              <a:gd name="connsiteY30" fmla="*/ 4748 h 10000"/>
              <a:gd name="connsiteX31" fmla="*/ 1494 w 10000"/>
              <a:gd name="connsiteY31" fmla="*/ 4999 h 10000"/>
              <a:gd name="connsiteX32" fmla="*/ 1315 w 10000"/>
              <a:gd name="connsiteY32" fmla="*/ 4999 h 10000"/>
              <a:gd name="connsiteX33" fmla="*/ 1055 w 10000"/>
              <a:gd name="connsiteY33" fmla="*/ 4833 h 10000"/>
              <a:gd name="connsiteX34" fmla="*/ 1055 w 10000"/>
              <a:gd name="connsiteY34" fmla="*/ 4334 h 10000"/>
              <a:gd name="connsiteX35" fmla="*/ 793 w 10000"/>
              <a:gd name="connsiteY35" fmla="*/ 4167 h 10000"/>
              <a:gd name="connsiteX36" fmla="*/ 702 w 10000"/>
              <a:gd name="connsiteY36" fmla="*/ 3998 h 10000"/>
              <a:gd name="connsiteX37" fmla="*/ 873 w 10000"/>
              <a:gd name="connsiteY37" fmla="*/ 4082 h 10000"/>
              <a:gd name="connsiteX38" fmla="*/ 1574 w 10000"/>
              <a:gd name="connsiteY38" fmla="*/ 4334 h 10000"/>
              <a:gd name="connsiteX39" fmla="*/ 2009 w 10000"/>
              <a:gd name="connsiteY39" fmla="*/ 4082 h 10000"/>
              <a:gd name="connsiteX40" fmla="*/ 1928 w 10000"/>
              <a:gd name="connsiteY40" fmla="*/ 3832 h 10000"/>
              <a:gd name="connsiteX41" fmla="*/ 1399 w 10000"/>
              <a:gd name="connsiteY41" fmla="*/ 3333 h 10000"/>
              <a:gd name="connsiteX42" fmla="*/ 873 w 10000"/>
              <a:gd name="connsiteY42" fmla="*/ 3166 h 10000"/>
              <a:gd name="connsiteX43" fmla="*/ 873 w 10000"/>
              <a:gd name="connsiteY43" fmla="*/ 3083 h 10000"/>
              <a:gd name="connsiteX44" fmla="*/ 702 w 10000"/>
              <a:gd name="connsiteY44" fmla="*/ 2997 h 10000"/>
              <a:gd name="connsiteX45" fmla="*/ 523 w 10000"/>
              <a:gd name="connsiteY45" fmla="*/ 3083 h 10000"/>
              <a:gd name="connsiteX46" fmla="*/ 523 w 10000"/>
              <a:gd name="connsiteY46" fmla="*/ 3166 h 10000"/>
              <a:gd name="connsiteX47" fmla="*/ 437 w 10000"/>
              <a:gd name="connsiteY47" fmla="*/ 3166 h 10000"/>
              <a:gd name="connsiteX48" fmla="*/ 263 w 10000"/>
              <a:gd name="connsiteY48" fmla="*/ 3333 h 10000"/>
              <a:gd name="connsiteX49" fmla="*/ 263 w 10000"/>
              <a:gd name="connsiteY49" fmla="*/ 3582 h 10000"/>
              <a:gd name="connsiteX50" fmla="*/ 437 w 10000"/>
              <a:gd name="connsiteY50" fmla="*/ 3748 h 10000"/>
              <a:gd name="connsiteX51" fmla="*/ 353 w 10000"/>
              <a:gd name="connsiteY51" fmla="*/ 3998 h 10000"/>
              <a:gd name="connsiteX52" fmla="*/ 437 w 10000"/>
              <a:gd name="connsiteY52" fmla="*/ 4417 h 10000"/>
              <a:gd name="connsiteX53" fmla="*/ 353 w 10000"/>
              <a:gd name="connsiteY53" fmla="*/ 4666 h 10000"/>
              <a:gd name="connsiteX54" fmla="*/ 523 w 10000"/>
              <a:gd name="connsiteY54" fmla="*/ 4916 h 10000"/>
              <a:gd name="connsiteX55" fmla="*/ 437 w 10000"/>
              <a:gd name="connsiteY55" fmla="*/ 5083 h 10000"/>
              <a:gd name="connsiteX56" fmla="*/ 611 w 10000"/>
              <a:gd name="connsiteY56" fmla="*/ 5250 h 10000"/>
              <a:gd name="connsiteX57" fmla="*/ 611 w 10000"/>
              <a:gd name="connsiteY57" fmla="*/ 5333 h 10000"/>
              <a:gd name="connsiteX58" fmla="*/ 353 w 10000"/>
              <a:gd name="connsiteY58" fmla="*/ 5750 h 10000"/>
              <a:gd name="connsiteX59" fmla="*/ 80 w 10000"/>
              <a:gd name="connsiteY59" fmla="*/ 5917 h 10000"/>
              <a:gd name="connsiteX60" fmla="*/ 172 w 10000"/>
              <a:gd name="connsiteY60" fmla="*/ 5917 h 10000"/>
              <a:gd name="connsiteX61" fmla="*/ 353 w 10000"/>
              <a:gd name="connsiteY61" fmla="*/ 6083 h 10000"/>
              <a:gd name="connsiteX62" fmla="*/ 172 w 10000"/>
              <a:gd name="connsiteY62" fmla="*/ 6249 h 10000"/>
              <a:gd name="connsiteX63" fmla="*/ 80 w 10000"/>
              <a:gd name="connsiteY63" fmla="*/ 6334 h 10000"/>
              <a:gd name="connsiteX64" fmla="*/ 0 w 10000"/>
              <a:gd name="connsiteY64" fmla="*/ 6334 h 10000"/>
              <a:gd name="connsiteX65" fmla="*/ 80 w 10000"/>
              <a:gd name="connsiteY65" fmla="*/ 6584 h 10000"/>
              <a:gd name="connsiteX66" fmla="*/ 80 w 10000"/>
              <a:gd name="connsiteY66" fmla="*/ 6667 h 10000"/>
              <a:gd name="connsiteX67" fmla="*/ 80 w 10000"/>
              <a:gd name="connsiteY67" fmla="*/ 6749 h 10000"/>
              <a:gd name="connsiteX68" fmla="*/ 80 w 10000"/>
              <a:gd name="connsiteY68" fmla="*/ 6834 h 10000"/>
              <a:gd name="connsiteX69" fmla="*/ 172 w 10000"/>
              <a:gd name="connsiteY69" fmla="*/ 6998 h 10000"/>
              <a:gd name="connsiteX70" fmla="*/ 437 w 10000"/>
              <a:gd name="connsiteY70" fmla="*/ 7083 h 10000"/>
              <a:gd name="connsiteX71" fmla="*/ 523 w 10000"/>
              <a:gd name="connsiteY71" fmla="*/ 7165 h 10000"/>
              <a:gd name="connsiteX72" fmla="*/ 523 w 10000"/>
              <a:gd name="connsiteY72" fmla="*/ 7334 h 10000"/>
              <a:gd name="connsiteX73" fmla="*/ 702 w 10000"/>
              <a:gd name="connsiteY73" fmla="*/ 7584 h 10000"/>
              <a:gd name="connsiteX74" fmla="*/ 793 w 10000"/>
              <a:gd name="connsiteY74" fmla="*/ 7584 h 10000"/>
              <a:gd name="connsiteX75" fmla="*/ 702 w 10000"/>
              <a:gd name="connsiteY75" fmla="*/ 7750 h 10000"/>
              <a:gd name="connsiteX76" fmla="*/ 611 w 10000"/>
              <a:gd name="connsiteY76" fmla="*/ 7668 h 10000"/>
              <a:gd name="connsiteX77" fmla="*/ 611 w 10000"/>
              <a:gd name="connsiteY77" fmla="*/ 7750 h 10000"/>
              <a:gd name="connsiteX78" fmla="*/ 702 w 10000"/>
              <a:gd name="connsiteY78" fmla="*/ 7916 h 10000"/>
              <a:gd name="connsiteX79" fmla="*/ 971 w 10000"/>
              <a:gd name="connsiteY79" fmla="*/ 7916 h 10000"/>
              <a:gd name="connsiteX80" fmla="*/ 1055 w 10000"/>
              <a:gd name="connsiteY80" fmla="*/ 8000 h 10000"/>
              <a:gd name="connsiteX81" fmla="*/ 971 w 10000"/>
              <a:gd name="connsiteY81" fmla="*/ 8000 h 10000"/>
              <a:gd name="connsiteX82" fmla="*/ 1055 w 10000"/>
              <a:gd name="connsiteY82" fmla="*/ 8082 h 10000"/>
              <a:gd name="connsiteX83" fmla="*/ 1139 w 10000"/>
              <a:gd name="connsiteY83" fmla="*/ 8082 h 10000"/>
              <a:gd name="connsiteX84" fmla="*/ 1224 w 10000"/>
              <a:gd name="connsiteY84" fmla="*/ 8249 h 10000"/>
              <a:gd name="connsiteX85" fmla="*/ 1315 w 10000"/>
              <a:gd name="connsiteY85" fmla="*/ 8332 h 10000"/>
              <a:gd name="connsiteX86" fmla="*/ 1399 w 10000"/>
              <a:gd name="connsiteY86" fmla="*/ 8249 h 10000"/>
              <a:gd name="connsiteX87" fmla="*/ 1843 w 10000"/>
              <a:gd name="connsiteY87" fmla="*/ 8500 h 10000"/>
              <a:gd name="connsiteX88" fmla="*/ 1757 w 10000"/>
              <a:gd name="connsiteY88" fmla="*/ 8833 h 10000"/>
              <a:gd name="connsiteX89" fmla="*/ 1668 w 10000"/>
              <a:gd name="connsiteY89" fmla="*/ 8750 h 10000"/>
              <a:gd name="connsiteX90" fmla="*/ 1574 w 10000"/>
              <a:gd name="connsiteY90" fmla="*/ 8833 h 10000"/>
              <a:gd name="connsiteX91" fmla="*/ 1574 w 10000"/>
              <a:gd name="connsiteY91" fmla="*/ 8999 h 10000"/>
              <a:gd name="connsiteX92" fmla="*/ 1668 w 10000"/>
              <a:gd name="connsiteY92" fmla="*/ 8917 h 10000"/>
              <a:gd name="connsiteX93" fmla="*/ 1757 w 10000"/>
              <a:gd name="connsiteY93" fmla="*/ 8999 h 10000"/>
              <a:gd name="connsiteX94" fmla="*/ 1494 w 10000"/>
              <a:gd name="connsiteY94" fmla="*/ 9083 h 10000"/>
              <a:gd name="connsiteX95" fmla="*/ 1574 w 10000"/>
              <a:gd name="connsiteY95" fmla="*/ 9167 h 10000"/>
              <a:gd name="connsiteX96" fmla="*/ 1399 w 10000"/>
              <a:gd name="connsiteY96" fmla="*/ 9333 h 10000"/>
              <a:gd name="connsiteX97" fmla="*/ 1315 w 10000"/>
              <a:gd name="connsiteY97" fmla="*/ 9333 h 10000"/>
              <a:gd name="connsiteX98" fmla="*/ 1399 w 10000"/>
              <a:gd name="connsiteY98" fmla="*/ 9333 h 10000"/>
              <a:gd name="connsiteX99" fmla="*/ 1757 w 10000"/>
              <a:gd name="connsiteY99" fmla="*/ 9668 h 10000"/>
              <a:gd name="connsiteX100" fmla="*/ 2195 w 10000"/>
              <a:gd name="connsiteY100" fmla="*/ 9668 h 10000"/>
              <a:gd name="connsiteX101" fmla="*/ 2369 w 10000"/>
              <a:gd name="connsiteY101" fmla="*/ 9750 h 10000"/>
              <a:gd name="connsiteX102" fmla="*/ 2543 w 10000"/>
              <a:gd name="connsiteY102" fmla="*/ 9750 h 10000"/>
              <a:gd name="connsiteX103" fmla="*/ 2721 w 10000"/>
              <a:gd name="connsiteY103" fmla="*/ 9918 h 10000"/>
              <a:gd name="connsiteX104" fmla="*/ 2807 w 10000"/>
              <a:gd name="connsiteY104" fmla="*/ 10000 h 10000"/>
              <a:gd name="connsiteX105" fmla="*/ 2891 w 10000"/>
              <a:gd name="connsiteY105" fmla="*/ 10000 h 10000"/>
              <a:gd name="connsiteX106" fmla="*/ 2984 w 10000"/>
              <a:gd name="connsiteY106" fmla="*/ 9918 h 10000"/>
              <a:gd name="connsiteX107" fmla="*/ 2807 w 10000"/>
              <a:gd name="connsiteY107" fmla="*/ 9750 h 10000"/>
              <a:gd name="connsiteX108" fmla="*/ 2807 w 10000"/>
              <a:gd name="connsiteY108" fmla="*/ 9584 h 10000"/>
              <a:gd name="connsiteX109" fmla="*/ 2721 w 10000"/>
              <a:gd name="connsiteY109" fmla="*/ 9416 h 10000"/>
              <a:gd name="connsiteX110" fmla="*/ 2891 w 10000"/>
              <a:gd name="connsiteY110" fmla="*/ 9167 h 10000"/>
              <a:gd name="connsiteX111" fmla="*/ 2984 w 10000"/>
              <a:gd name="connsiteY111" fmla="*/ 9250 h 10000"/>
              <a:gd name="connsiteX112" fmla="*/ 3069 w 10000"/>
              <a:gd name="connsiteY112" fmla="*/ 9167 h 10000"/>
              <a:gd name="connsiteX113" fmla="*/ 3069 w 10000"/>
              <a:gd name="connsiteY113" fmla="*/ 9083 h 10000"/>
              <a:gd name="connsiteX114" fmla="*/ 2984 w 10000"/>
              <a:gd name="connsiteY114" fmla="*/ 9083 h 10000"/>
              <a:gd name="connsiteX115" fmla="*/ 3069 w 10000"/>
              <a:gd name="connsiteY115" fmla="*/ 8999 h 10000"/>
              <a:gd name="connsiteX116" fmla="*/ 2984 w 10000"/>
              <a:gd name="connsiteY116" fmla="*/ 8833 h 10000"/>
              <a:gd name="connsiteX117" fmla="*/ 2807 w 10000"/>
              <a:gd name="connsiteY117" fmla="*/ 8833 h 10000"/>
              <a:gd name="connsiteX118" fmla="*/ 2721 w 10000"/>
              <a:gd name="connsiteY118" fmla="*/ 8667 h 10000"/>
              <a:gd name="connsiteX119" fmla="*/ 2807 w 10000"/>
              <a:gd name="connsiteY119" fmla="*/ 8249 h 10000"/>
              <a:gd name="connsiteX120" fmla="*/ 2984 w 10000"/>
              <a:gd name="connsiteY120" fmla="*/ 8418 h 10000"/>
              <a:gd name="connsiteX121" fmla="*/ 3069 w 10000"/>
              <a:gd name="connsiteY121" fmla="*/ 8418 h 10000"/>
              <a:gd name="connsiteX122" fmla="*/ 2984 w 10000"/>
              <a:gd name="connsiteY122" fmla="*/ 8249 h 10000"/>
              <a:gd name="connsiteX123" fmla="*/ 3249 w 10000"/>
              <a:gd name="connsiteY123" fmla="*/ 8000 h 10000"/>
              <a:gd name="connsiteX124" fmla="*/ 3426 w 10000"/>
              <a:gd name="connsiteY124" fmla="*/ 8082 h 10000"/>
              <a:gd name="connsiteX125" fmla="*/ 3511 w 10000"/>
              <a:gd name="connsiteY125" fmla="*/ 8000 h 10000"/>
              <a:gd name="connsiteX126" fmla="*/ 3678 w 10000"/>
              <a:gd name="connsiteY126" fmla="*/ 8082 h 10000"/>
              <a:gd name="connsiteX127" fmla="*/ 3953 w 10000"/>
              <a:gd name="connsiteY127" fmla="*/ 8249 h 10000"/>
              <a:gd name="connsiteX128" fmla="*/ 4121 w 10000"/>
              <a:gd name="connsiteY128" fmla="*/ 8167 h 10000"/>
              <a:gd name="connsiteX129" fmla="*/ 4300 w 10000"/>
              <a:gd name="connsiteY129" fmla="*/ 8167 h 10000"/>
              <a:gd name="connsiteX130" fmla="*/ 4389 w 10000"/>
              <a:gd name="connsiteY130" fmla="*/ 8249 h 10000"/>
              <a:gd name="connsiteX131" fmla="*/ 4740 w 10000"/>
              <a:gd name="connsiteY131" fmla="*/ 8249 h 10000"/>
              <a:gd name="connsiteX132" fmla="*/ 4823 w 10000"/>
              <a:gd name="connsiteY132" fmla="*/ 8082 h 10000"/>
              <a:gd name="connsiteX133" fmla="*/ 4557 w 10000"/>
              <a:gd name="connsiteY133" fmla="*/ 8000 h 10000"/>
              <a:gd name="connsiteX134" fmla="*/ 4740 w 10000"/>
              <a:gd name="connsiteY134" fmla="*/ 7916 h 10000"/>
              <a:gd name="connsiteX135" fmla="*/ 4647 w 10000"/>
              <a:gd name="connsiteY135" fmla="*/ 7833 h 10000"/>
              <a:gd name="connsiteX136" fmla="*/ 4740 w 10000"/>
              <a:gd name="connsiteY136" fmla="*/ 7750 h 10000"/>
              <a:gd name="connsiteX137" fmla="*/ 4740 w 10000"/>
              <a:gd name="connsiteY137" fmla="*/ 7500 h 10000"/>
              <a:gd name="connsiteX138" fmla="*/ 4908 w 10000"/>
              <a:gd name="connsiteY138" fmla="*/ 7584 h 10000"/>
              <a:gd name="connsiteX139" fmla="*/ 5701 w 10000"/>
              <a:gd name="connsiteY139" fmla="*/ 7334 h 10000"/>
              <a:gd name="connsiteX140" fmla="*/ 5701 w 10000"/>
              <a:gd name="connsiteY140" fmla="*/ 7250 h 10000"/>
              <a:gd name="connsiteX141" fmla="*/ 5793 w 10000"/>
              <a:gd name="connsiteY141" fmla="*/ 7250 h 10000"/>
              <a:gd name="connsiteX142" fmla="*/ 6046 w 10000"/>
              <a:gd name="connsiteY142" fmla="*/ 7250 h 10000"/>
              <a:gd name="connsiteX143" fmla="*/ 6145 w 10000"/>
              <a:gd name="connsiteY143" fmla="*/ 7417 h 10000"/>
              <a:gd name="connsiteX144" fmla="*/ 6145 w 10000"/>
              <a:gd name="connsiteY144" fmla="*/ 7500 h 10000"/>
              <a:gd name="connsiteX145" fmla="*/ 6228 w 10000"/>
              <a:gd name="connsiteY145" fmla="*/ 7500 h 10000"/>
              <a:gd name="connsiteX146" fmla="*/ 6401 w 10000"/>
              <a:gd name="connsiteY146" fmla="*/ 7584 h 10000"/>
              <a:gd name="connsiteX147" fmla="*/ 6401 w 10000"/>
              <a:gd name="connsiteY147" fmla="*/ 7668 h 10000"/>
              <a:gd name="connsiteX148" fmla="*/ 6577 w 10000"/>
              <a:gd name="connsiteY148" fmla="*/ 7668 h 10000"/>
              <a:gd name="connsiteX0" fmla="*/ 10000 w 10000"/>
              <a:gd name="connsiteY0" fmla="*/ 0 h 10000"/>
              <a:gd name="connsiteX1" fmla="*/ 9213 w 10000"/>
              <a:gd name="connsiteY1" fmla="*/ 165 h 10000"/>
              <a:gd name="connsiteX2" fmla="*/ 8510 w 10000"/>
              <a:gd name="connsiteY2" fmla="*/ 582 h 10000"/>
              <a:gd name="connsiteX3" fmla="*/ 8245 w 10000"/>
              <a:gd name="connsiteY3" fmla="*/ 916 h 10000"/>
              <a:gd name="connsiteX4" fmla="*/ 8338 w 10000"/>
              <a:gd name="connsiteY4" fmla="*/ 1332 h 10000"/>
              <a:gd name="connsiteX5" fmla="*/ 7369 w 10000"/>
              <a:gd name="connsiteY5" fmla="*/ 1500 h 10000"/>
              <a:gd name="connsiteX6" fmla="*/ 6926 w 10000"/>
              <a:gd name="connsiteY6" fmla="*/ 2000 h 10000"/>
              <a:gd name="connsiteX7" fmla="*/ 6305 w 10000"/>
              <a:gd name="connsiteY7" fmla="*/ 3333 h 10000"/>
              <a:gd name="connsiteX8" fmla="*/ 4557 w 10000"/>
              <a:gd name="connsiteY8" fmla="*/ 3416 h 10000"/>
              <a:gd name="connsiteX9" fmla="*/ 4480 w 10000"/>
              <a:gd name="connsiteY9" fmla="*/ 3333 h 10000"/>
              <a:gd name="connsiteX10" fmla="*/ 3953 w 10000"/>
              <a:gd name="connsiteY10" fmla="*/ 3500 h 10000"/>
              <a:gd name="connsiteX11" fmla="*/ 3865 w 10000"/>
              <a:gd name="connsiteY11" fmla="*/ 3665 h 10000"/>
              <a:gd name="connsiteX12" fmla="*/ 3777 w 10000"/>
              <a:gd name="connsiteY12" fmla="*/ 3500 h 10000"/>
              <a:gd name="connsiteX13" fmla="*/ 3777 w 10000"/>
              <a:gd name="connsiteY13" fmla="*/ 3333 h 10000"/>
              <a:gd name="connsiteX14" fmla="*/ 2891 w 10000"/>
              <a:gd name="connsiteY14" fmla="*/ 3832 h 10000"/>
              <a:gd name="connsiteX15" fmla="*/ 2891 w 10000"/>
              <a:gd name="connsiteY15" fmla="*/ 3998 h 10000"/>
              <a:gd name="connsiteX16" fmla="*/ 2721 w 10000"/>
              <a:gd name="connsiteY16" fmla="*/ 4082 h 10000"/>
              <a:gd name="connsiteX17" fmla="*/ 2458 w 10000"/>
              <a:gd name="connsiteY17" fmla="*/ 3916 h 10000"/>
              <a:gd name="connsiteX18" fmla="*/ 2721 w 10000"/>
              <a:gd name="connsiteY18" fmla="*/ 3748 h 10000"/>
              <a:gd name="connsiteX19" fmla="*/ 2627 w 10000"/>
              <a:gd name="connsiteY19" fmla="*/ 3500 h 10000"/>
              <a:gd name="connsiteX20" fmla="*/ 2281 w 10000"/>
              <a:gd name="connsiteY20" fmla="*/ 3416 h 10000"/>
              <a:gd name="connsiteX21" fmla="*/ 2369 w 10000"/>
              <a:gd name="connsiteY21" fmla="*/ 3582 h 10000"/>
              <a:gd name="connsiteX22" fmla="*/ 2369 w 10000"/>
              <a:gd name="connsiteY22" fmla="*/ 3998 h 10000"/>
              <a:gd name="connsiteX23" fmla="*/ 2458 w 10000"/>
              <a:gd name="connsiteY23" fmla="*/ 4167 h 10000"/>
              <a:gd name="connsiteX24" fmla="*/ 2369 w 10000"/>
              <a:gd name="connsiteY24" fmla="*/ 4334 h 10000"/>
              <a:gd name="connsiteX25" fmla="*/ 2100 w 10000"/>
              <a:gd name="connsiteY25" fmla="*/ 4250 h 10000"/>
              <a:gd name="connsiteX26" fmla="*/ 1757 w 10000"/>
              <a:gd name="connsiteY26" fmla="*/ 4498 h 10000"/>
              <a:gd name="connsiteX27" fmla="*/ 1928 w 10000"/>
              <a:gd name="connsiteY27" fmla="*/ 4833 h 10000"/>
              <a:gd name="connsiteX28" fmla="*/ 1399 w 10000"/>
              <a:gd name="connsiteY28" fmla="*/ 4666 h 10000"/>
              <a:gd name="connsiteX29" fmla="*/ 1315 w 10000"/>
              <a:gd name="connsiteY29" fmla="*/ 4748 h 10000"/>
              <a:gd name="connsiteX30" fmla="*/ 1494 w 10000"/>
              <a:gd name="connsiteY30" fmla="*/ 4999 h 10000"/>
              <a:gd name="connsiteX31" fmla="*/ 1315 w 10000"/>
              <a:gd name="connsiteY31" fmla="*/ 4999 h 10000"/>
              <a:gd name="connsiteX32" fmla="*/ 1055 w 10000"/>
              <a:gd name="connsiteY32" fmla="*/ 4833 h 10000"/>
              <a:gd name="connsiteX33" fmla="*/ 1055 w 10000"/>
              <a:gd name="connsiteY33" fmla="*/ 4334 h 10000"/>
              <a:gd name="connsiteX34" fmla="*/ 793 w 10000"/>
              <a:gd name="connsiteY34" fmla="*/ 4167 h 10000"/>
              <a:gd name="connsiteX35" fmla="*/ 702 w 10000"/>
              <a:gd name="connsiteY35" fmla="*/ 3998 h 10000"/>
              <a:gd name="connsiteX36" fmla="*/ 873 w 10000"/>
              <a:gd name="connsiteY36" fmla="*/ 4082 h 10000"/>
              <a:gd name="connsiteX37" fmla="*/ 1574 w 10000"/>
              <a:gd name="connsiteY37" fmla="*/ 4334 h 10000"/>
              <a:gd name="connsiteX38" fmla="*/ 2009 w 10000"/>
              <a:gd name="connsiteY38" fmla="*/ 4082 h 10000"/>
              <a:gd name="connsiteX39" fmla="*/ 1928 w 10000"/>
              <a:gd name="connsiteY39" fmla="*/ 3832 h 10000"/>
              <a:gd name="connsiteX40" fmla="*/ 1399 w 10000"/>
              <a:gd name="connsiteY40" fmla="*/ 3333 h 10000"/>
              <a:gd name="connsiteX41" fmla="*/ 873 w 10000"/>
              <a:gd name="connsiteY41" fmla="*/ 3166 h 10000"/>
              <a:gd name="connsiteX42" fmla="*/ 873 w 10000"/>
              <a:gd name="connsiteY42" fmla="*/ 3083 h 10000"/>
              <a:gd name="connsiteX43" fmla="*/ 702 w 10000"/>
              <a:gd name="connsiteY43" fmla="*/ 2997 h 10000"/>
              <a:gd name="connsiteX44" fmla="*/ 523 w 10000"/>
              <a:gd name="connsiteY44" fmla="*/ 3083 h 10000"/>
              <a:gd name="connsiteX45" fmla="*/ 523 w 10000"/>
              <a:gd name="connsiteY45" fmla="*/ 3166 h 10000"/>
              <a:gd name="connsiteX46" fmla="*/ 437 w 10000"/>
              <a:gd name="connsiteY46" fmla="*/ 3166 h 10000"/>
              <a:gd name="connsiteX47" fmla="*/ 263 w 10000"/>
              <a:gd name="connsiteY47" fmla="*/ 3333 h 10000"/>
              <a:gd name="connsiteX48" fmla="*/ 263 w 10000"/>
              <a:gd name="connsiteY48" fmla="*/ 3582 h 10000"/>
              <a:gd name="connsiteX49" fmla="*/ 437 w 10000"/>
              <a:gd name="connsiteY49" fmla="*/ 3748 h 10000"/>
              <a:gd name="connsiteX50" fmla="*/ 353 w 10000"/>
              <a:gd name="connsiteY50" fmla="*/ 3998 h 10000"/>
              <a:gd name="connsiteX51" fmla="*/ 437 w 10000"/>
              <a:gd name="connsiteY51" fmla="*/ 4417 h 10000"/>
              <a:gd name="connsiteX52" fmla="*/ 353 w 10000"/>
              <a:gd name="connsiteY52" fmla="*/ 4666 h 10000"/>
              <a:gd name="connsiteX53" fmla="*/ 523 w 10000"/>
              <a:gd name="connsiteY53" fmla="*/ 4916 h 10000"/>
              <a:gd name="connsiteX54" fmla="*/ 437 w 10000"/>
              <a:gd name="connsiteY54" fmla="*/ 5083 h 10000"/>
              <a:gd name="connsiteX55" fmla="*/ 611 w 10000"/>
              <a:gd name="connsiteY55" fmla="*/ 5250 h 10000"/>
              <a:gd name="connsiteX56" fmla="*/ 611 w 10000"/>
              <a:gd name="connsiteY56" fmla="*/ 5333 h 10000"/>
              <a:gd name="connsiteX57" fmla="*/ 353 w 10000"/>
              <a:gd name="connsiteY57" fmla="*/ 5750 h 10000"/>
              <a:gd name="connsiteX58" fmla="*/ 80 w 10000"/>
              <a:gd name="connsiteY58" fmla="*/ 5917 h 10000"/>
              <a:gd name="connsiteX59" fmla="*/ 172 w 10000"/>
              <a:gd name="connsiteY59" fmla="*/ 5917 h 10000"/>
              <a:gd name="connsiteX60" fmla="*/ 353 w 10000"/>
              <a:gd name="connsiteY60" fmla="*/ 6083 h 10000"/>
              <a:gd name="connsiteX61" fmla="*/ 172 w 10000"/>
              <a:gd name="connsiteY61" fmla="*/ 6249 h 10000"/>
              <a:gd name="connsiteX62" fmla="*/ 80 w 10000"/>
              <a:gd name="connsiteY62" fmla="*/ 6334 h 10000"/>
              <a:gd name="connsiteX63" fmla="*/ 0 w 10000"/>
              <a:gd name="connsiteY63" fmla="*/ 6334 h 10000"/>
              <a:gd name="connsiteX64" fmla="*/ 80 w 10000"/>
              <a:gd name="connsiteY64" fmla="*/ 6584 h 10000"/>
              <a:gd name="connsiteX65" fmla="*/ 80 w 10000"/>
              <a:gd name="connsiteY65" fmla="*/ 6667 h 10000"/>
              <a:gd name="connsiteX66" fmla="*/ 80 w 10000"/>
              <a:gd name="connsiteY66" fmla="*/ 6749 h 10000"/>
              <a:gd name="connsiteX67" fmla="*/ 80 w 10000"/>
              <a:gd name="connsiteY67" fmla="*/ 6834 h 10000"/>
              <a:gd name="connsiteX68" fmla="*/ 172 w 10000"/>
              <a:gd name="connsiteY68" fmla="*/ 6998 h 10000"/>
              <a:gd name="connsiteX69" fmla="*/ 437 w 10000"/>
              <a:gd name="connsiteY69" fmla="*/ 7083 h 10000"/>
              <a:gd name="connsiteX70" fmla="*/ 523 w 10000"/>
              <a:gd name="connsiteY70" fmla="*/ 7165 h 10000"/>
              <a:gd name="connsiteX71" fmla="*/ 523 w 10000"/>
              <a:gd name="connsiteY71" fmla="*/ 7334 h 10000"/>
              <a:gd name="connsiteX72" fmla="*/ 702 w 10000"/>
              <a:gd name="connsiteY72" fmla="*/ 7584 h 10000"/>
              <a:gd name="connsiteX73" fmla="*/ 793 w 10000"/>
              <a:gd name="connsiteY73" fmla="*/ 7584 h 10000"/>
              <a:gd name="connsiteX74" fmla="*/ 702 w 10000"/>
              <a:gd name="connsiteY74" fmla="*/ 7750 h 10000"/>
              <a:gd name="connsiteX75" fmla="*/ 611 w 10000"/>
              <a:gd name="connsiteY75" fmla="*/ 7668 h 10000"/>
              <a:gd name="connsiteX76" fmla="*/ 611 w 10000"/>
              <a:gd name="connsiteY76" fmla="*/ 7750 h 10000"/>
              <a:gd name="connsiteX77" fmla="*/ 702 w 10000"/>
              <a:gd name="connsiteY77" fmla="*/ 7916 h 10000"/>
              <a:gd name="connsiteX78" fmla="*/ 971 w 10000"/>
              <a:gd name="connsiteY78" fmla="*/ 7916 h 10000"/>
              <a:gd name="connsiteX79" fmla="*/ 1055 w 10000"/>
              <a:gd name="connsiteY79" fmla="*/ 8000 h 10000"/>
              <a:gd name="connsiteX80" fmla="*/ 971 w 10000"/>
              <a:gd name="connsiteY80" fmla="*/ 8000 h 10000"/>
              <a:gd name="connsiteX81" fmla="*/ 1055 w 10000"/>
              <a:gd name="connsiteY81" fmla="*/ 8082 h 10000"/>
              <a:gd name="connsiteX82" fmla="*/ 1139 w 10000"/>
              <a:gd name="connsiteY82" fmla="*/ 8082 h 10000"/>
              <a:gd name="connsiteX83" fmla="*/ 1224 w 10000"/>
              <a:gd name="connsiteY83" fmla="*/ 8249 h 10000"/>
              <a:gd name="connsiteX84" fmla="*/ 1315 w 10000"/>
              <a:gd name="connsiteY84" fmla="*/ 8332 h 10000"/>
              <a:gd name="connsiteX85" fmla="*/ 1399 w 10000"/>
              <a:gd name="connsiteY85" fmla="*/ 8249 h 10000"/>
              <a:gd name="connsiteX86" fmla="*/ 1843 w 10000"/>
              <a:gd name="connsiteY86" fmla="*/ 8500 h 10000"/>
              <a:gd name="connsiteX87" fmla="*/ 1757 w 10000"/>
              <a:gd name="connsiteY87" fmla="*/ 8833 h 10000"/>
              <a:gd name="connsiteX88" fmla="*/ 1668 w 10000"/>
              <a:gd name="connsiteY88" fmla="*/ 8750 h 10000"/>
              <a:gd name="connsiteX89" fmla="*/ 1574 w 10000"/>
              <a:gd name="connsiteY89" fmla="*/ 8833 h 10000"/>
              <a:gd name="connsiteX90" fmla="*/ 1574 w 10000"/>
              <a:gd name="connsiteY90" fmla="*/ 8999 h 10000"/>
              <a:gd name="connsiteX91" fmla="*/ 1668 w 10000"/>
              <a:gd name="connsiteY91" fmla="*/ 8917 h 10000"/>
              <a:gd name="connsiteX92" fmla="*/ 1757 w 10000"/>
              <a:gd name="connsiteY92" fmla="*/ 8999 h 10000"/>
              <a:gd name="connsiteX93" fmla="*/ 1494 w 10000"/>
              <a:gd name="connsiteY93" fmla="*/ 9083 h 10000"/>
              <a:gd name="connsiteX94" fmla="*/ 1574 w 10000"/>
              <a:gd name="connsiteY94" fmla="*/ 9167 h 10000"/>
              <a:gd name="connsiteX95" fmla="*/ 1399 w 10000"/>
              <a:gd name="connsiteY95" fmla="*/ 9333 h 10000"/>
              <a:gd name="connsiteX96" fmla="*/ 1315 w 10000"/>
              <a:gd name="connsiteY96" fmla="*/ 9333 h 10000"/>
              <a:gd name="connsiteX97" fmla="*/ 1399 w 10000"/>
              <a:gd name="connsiteY97" fmla="*/ 9333 h 10000"/>
              <a:gd name="connsiteX98" fmla="*/ 1757 w 10000"/>
              <a:gd name="connsiteY98" fmla="*/ 9668 h 10000"/>
              <a:gd name="connsiteX99" fmla="*/ 2195 w 10000"/>
              <a:gd name="connsiteY99" fmla="*/ 9668 h 10000"/>
              <a:gd name="connsiteX100" fmla="*/ 2369 w 10000"/>
              <a:gd name="connsiteY100" fmla="*/ 9750 h 10000"/>
              <a:gd name="connsiteX101" fmla="*/ 2543 w 10000"/>
              <a:gd name="connsiteY101" fmla="*/ 9750 h 10000"/>
              <a:gd name="connsiteX102" fmla="*/ 2721 w 10000"/>
              <a:gd name="connsiteY102" fmla="*/ 9918 h 10000"/>
              <a:gd name="connsiteX103" fmla="*/ 2807 w 10000"/>
              <a:gd name="connsiteY103" fmla="*/ 10000 h 10000"/>
              <a:gd name="connsiteX104" fmla="*/ 2891 w 10000"/>
              <a:gd name="connsiteY104" fmla="*/ 10000 h 10000"/>
              <a:gd name="connsiteX105" fmla="*/ 2984 w 10000"/>
              <a:gd name="connsiteY105" fmla="*/ 9918 h 10000"/>
              <a:gd name="connsiteX106" fmla="*/ 2807 w 10000"/>
              <a:gd name="connsiteY106" fmla="*/ 9750 h 10000"/>
              <a:gd name="connsiteX107" fmla="*/ 2807 w 10000"/>
              <a:gd name="connsiteY107" fmla="*/ 9584 h 10000"/>
              <a:gd name="connsiteX108" fmla="*/ 2721 w 10000"/>
              <a:gd name="connsiteY108" fmla="*/ 9416 h 10000"/>
              <a:gd name="connsiteX109" fmla="*/ 2891 w 10000"/>
              <a:gd name="connsiteY109" fmla="*/ 9167 h 10000"/>
              <a:gd name="connsiteX110" fmla="*/ 2984 w 10000"/>
              <a:gd name="connsiteY110" fmla="*/ 9250 h 10000"/>
              <a:gd name="connsiteX111" fmla="*/ 3069 w 10000"/>
              <a:gd name="connsiteY111" fmla="*/ 9167 h 10000"/>
              <a:gd name="connsiteX112" fmla="*/ 3069 w 10000"/>
              <a:gd name="connsiteY112" fmla="*/ 9083 h 10000"/>
              <a:gd name="connsiteX113" fmla="*/ 2984 w 10000"/>
              <a:gd name="connsiteY113" fmla="*/ 9083 h 10000"/>
              <a:gd name="connsiteX114" fmla="*/ 3069 w 10000"/>
              <a:gd name="connsiteY114" fmla="*/ 8999 h 10000"/>
              <a:gd name="connsiteX115" fmla="*/ 2984 w 10000"/>
              <a:gd name="connsiteY115" fmla="*/ 8833 h 10000"/>
              <a:gd name="connsiteX116" fmla="*/ 2807 w 10000"/>
              <a:gd name="connsiteY116" fmla="*/ 8833 h 10000"/>
              <a:gd name="connsiteX117" fmla="*/ 2721 w 10000"/>
              <a:gd name="connsiteY117" fmla="*/ 8667 h 10000"/>
              <a:gd name="connsiteX118" fmla="*/ 2807 w 10000"/>
              <a:gd name="connsiteY118" fmla="*/ 8249 h 10000"/>
              <a:gd name="connsiteX119" fmla="*/ 2984 w 10000"/>
              <a:gd name="connsiteY119" fmla="*/ 8418 h 10000"/>
              <a:gd name="connsiteX120" fmla="*/ 3069 w 10000"/>
              <a:gd name="connsiteY120" fmla="*/ 8418 h 10000"/>
              <a:gd name="connsiteX121" fmla="*/ 2984 w 10000"/>
              <a:gd name="connsiteY121" fmla="*/ 8249 h 10000"/>
              <a:gd name="connsiteX122" fmla="*/ 3249 w 10000"/>
              <a:gd name="connsiteY122" fmla="*/ 8000 h 10000"/>
              <a:gd name="connsiteX123" fmla="*/ 3426 w 10000"/>
              <a:gd name="connsiteY123" fmla="*/ 8082 h 10000"/>
              <a:gd name="connsiteX124" fmla="*/ 3511 w 10000"/>
              <a:gd name="connsiteY124" fmla="*/ 8000 h 10000"/>
              <a:gd name="connsiteX125" fmla="*/ 3678 w 10000"/>
              <a:gd name="connsiteY125" fmla="*/ 8082 h 10000"/>
              <a:gd name="connsiteX126" fmla="*/ 3953 w 10000"/>
              <a:gd name="connsiteY126" fmla="*/ 8249 h 10000"/>
              <a:gd name="connsiteX127" fmla="*/ 4121 w 10000"/>
              <a:gd name="connsiteY127" fmla="*/ 8167 h 10000"/>
              <a:gd name="connsiteX128" fmla="*/ 4300 w 10000"/>
              <a:gd name="connsiteY128" fmla="*/ 8167 h 10000"/>
              <a:gd name="connsiteX129" fmla="*/ 4389 w 10000"/>
              <a:gd name="connsiteY129" fmla="*/ 8249 h 10000"/>
              <a:gd name="connsiteX130" fmla="*/ 4740 w 10000"/>
              <a:gd name="connsiteY130" fmla="*/ 8249 h 10000"/>
              <a:gd name="connsiteX131" fmla="*/ 4823 w 10000"/>
              <a:gd name="connsiteY131" fmla="*/ 8082 h 10000"/>
              <a:gd name="connsiteX132" fmla="*/ 4557 w 10000"/>
              <a:gd name="connsiteY132" fmla="*/ 8000 h 10000"/>
              <a:gd name="connsiteX133" fmla="*/ 4740 w 10000"/>
              <a:gd name="connsiteY133" fmla="*/ 7916 h 10000"/>
              <a:gd name="connsiteX134" fmla="*/ 4647 w 10000"/>
              <a:gd name="connsiteY134" fmla="*/ 7833 h 10000"/>
              <a:gd name="connsiteX135" fmla="*/ 4740 w 10000"/>
              <a:gd name="connsiteY135" fmla="*/ 7750 h 10000"/>
              <a:gd name="connsiteX136" fmla="*/ 4740 w 10000"/>
              <a:gd name="connsiteY136" fmla="*/ 7500 h 10000"/>
              <a:gd name="connsiteX137" fmla="*/ 4908 w 10000"/>
              <a:gd name="connsiteY137" fmla="*/ 7584 h 10000"/>
              <a:gd name="connsiteX138" fmla="*/ 5701 w 10000"/>
              <a:gd name="connsiteY138" fmla="*/ 7334 h 10000"/>
              <a:gd name="connsiteX139" fmla="*/ 5701 w 10000"/>
              <a:gd name="connsiteY139" fmla="*/ 7250 h 10000"/>
              <a:gd name="connsiteX140" fmla="*/ 5793 w 10000"/>
              <a:gd name="connsiteY140" fmla="*/ 7250 h 10000"/>
              <a:gd name="connsiteX141" fmla="*/ 6046 w 10000"/>
              <a:gd name="connsiteY141" fmla="*/ 7250 h 10000"/>
              <a:gd name="connsiteX142" fmla="*/ 6145 w 10000"/>
              <a:gd name="connsiteY142" fmla="*/ 7417 h 10000"/>
              <a:gd name="connsiteX143" fmla="*/ 6145 w 10000"/>
              <a:gd name="connsiteY143" fmla="*/ 7500 h 10000"/>
              <a:gd name="connsiteX144" fmla="*/ 6228 w 10000"/>
              <a:gd name="connsiteY144" fmla="*/ 7500 h 10000"/>
              <a:gd name="connsiteX145" fmla="*/ 6401 w 10000"/>
              <a:gd name="connsiteY145" fmla="*/ 7584 h 10000"/>
              <a:gd name="connsiteX146" fmla="*/ 6401 w 10000"/>
              <a:gd name="connsiteY146" fmla="*/ 7668 h 10000"/>
              <a:gd name="connsiteX147" fmla="*/ 6577 w 10000"/>
              <a:gd name="connsiteY147" fmla="*/ 7668 h 10000"/>
              <a:gd name="connsiteX0" fmla="*/ 9213 w 9213"/>
              <a:gd name="connsiteY0" fmla="*/ 0 h 9835"/>
              <a:gd name="connsiteX1" fmla="*/ 8510 w 9213"/>
              <a:gd name="connsiteY1" fmla="*/ 417 h 9835"/>
              <a:gd name="connsiteX2" fmla="*/ 8245 w 9213"/>
              <a:gd name="connsiteY2" fmla="*/ 751 h 9835"/>
              <a:gd name="connsiteX3" fmla="*/ 8338 w 9213"/>
              <a:gd name="connsiteY3" fmla="*/ 1167 h 9835"/>
              <a:gd name="connsiteX4" fmla="*/ 7369 w 9213"/>
              <a:gd name="connsiteY4" fmla="*/ 1335 h 9835"/>
              <a:gd name="connsiteX5" fmla="*/ 6926 w 9213"/>
              <a:gd name="connsiteY5" fmla="*/ 1835 h 9835"/>
              <a:gd name="connsiteX6" fmla="*/ 6305 w 9213"/>
              <a:gd name="connsiteY6" fmla="*/ 3168 h 9835"/>
              <a:gd name="connsiteX7" fmla="*/ 4557 w 9213"/>
              <a:gd name="connsiteY7" fmla="*/ 3251 h 9835"/>
              <a:gd name="connsiteX8" fmla="*/ 4480 w 9213"/>
              <a:gd name="connsiteY8" fmla="*/ 3168 h 9835"/>
              <a:gd name="connsiteX9" fmla="*/ 3953 w 9213"/>
              <a:gd name="connsiteY9" fmla="*/ 3335 h 9835"/>
              <a:gd name="connsiteX10" fmla="*/ 3865 w 9213"/>
              <a:gd name="connsiteY10" fmla="*/ 3500 h 9835"/>
              <a:gd name="connsiteX11" fmla="*/ 3777 w 9213"/>
              <a:gd name="connsiteY11" fmla="*/ 3335 h 9835"/>
              <a:gd name="connsiteX12" fmla="*/ 3777 w 9213"/>
              <a:gd name="connsiteY12" fmla="*/ 3168 h 9835"/>
              <a:gd name="connsiteX13" fmla="*/ 2891 w 9213"/>
              <a:gd name="connsiteY13" fmla="*/ 3667 h 9835"/>
              <a:gd name="connsiteX14" fmla="*/ 2891 w 9213"/>
              <a:gd name="connsiteY14" fmla="*/ 3833 h 9835"/>
              <a:gd name="connsiteX15" fmla="*/ 2721 w 9213"/>
              <a:gd name="connsiteY15" fmla="*/ 3917 h 9835"/>
              <a:gd name="connsiteX16" fmla="*/ 2458 w 9213"/>
              <a:gd name="connsiteY16" fmla="*/ 3751 h 9835"/>
              <a:gd name="connsiteX17" fmla="*/ 2721 w 9213"/>
              <a:gd name="connsiteY17" fmla="*/ 3583 h 9835"/>
              <a:gd name="connsiteX18" fmla="*/ 2627 w 9213"/>
              <a:gd name="connsiteY18" fmla="*/ 3335 h 9835"/>
              <a:gd name="connsiteX19" fmla="*/ 2281 w 9213"/>
              <a:gd name="connsiteY19" fmla="*/ 3251 h 9835"/>
              <a:gd name="connsiteX20" fmla="*/ 2369 w 9213"/>
              <a:gd name="connsiteY20" fmla="*/ 3417 h 9835"/>
              <a:gd name="connsiteX21" fmla="*/ 2369 w 9213"/>
              <a:gd name="connsiteY21" fmla="*/ 3833 h 9835"/>
              <a:gd name="connsiteX22" fmla="*/ 2458 w 9213"/>
              <a:gd name="connsiteY22" fmla="*/ 4002 h 9835"/>
              <a:gd name="connsiteX23" fmla="*/ 2369 w 9213"/>
              <a:gd name="connsiteY23" fmla="*/ 4169 h 9835"/>
              <a:gd name="connsiteX24" fmla="*/ 2100 w 9213"/>
              <a:gd name="connsiteY24" fmla="*/ 4085 h 9835"/>
              <a:gd name="connsiteX25" fmla="*/ 1757 w 9213"/>
              <a:gd name="connsiteY25" fmla="*/ 4333 h 9835"/>
              <a:gd name="connsiteX26" fmla="*/ 1928 w 9213"/>
              <a:gd name="connsiteY26" fmla="*/ 4668 h 9835"/>
              <a:gd name="connsiteX27" fmla="*/ 1399 w 9213"/>
              <a:gd name="connsiteY27" fmla="*/ 4501 h 9835"/>
              <a:gd name="connsiteX28" fmla="*/ 1315 w 9213"/>
              <a:gd name="connsiteY28" fmla="*/ 4583 h 9835"/>
              <a:gd name="connsiteX29" fmla="*/ 1494 w 9213"/>
              <a:gd name="connsiteY29" fmla="*/ 4834 h 9835"/>
              <a:gd name="connsiteX30" fmla="*/ 1315 w 9213"/>
              <a:gd name="connsiteY30" fmla="*/ 4834 h 9835"/>
              <a:gd name="connsiteX31" fmla="*/ 1055 w 9213"/>
              <a:gd name="connsiteY31" fmla="*/ 4668 h 9835"/>
              <a:gd name="connsiteX32" fmla="*/ 1055 w 9213"/>
              <a:gd name="connsiteY32" fmla="*/ 4169 h 9835"/>
              <a:gd name="connsiteX33" fmla="*/ 793 w 9213"/>
              <a:gd name="connsiteY33" fmla="*/ 4002 h 9835"/>
              <a:gd name="connsiteX34" fmla="*/ 702 w 9213"/>
              <a:gd name="connsiteY34" fmla="*/ 3833 h 9835"/>
              <a:gd name="connsiteX35" fmla="*/ 873 w 9213"/>
              <a:gd name="connsiteY35" fmla="*/ 3917 h 9835"/>
              <a:gd name="connsiteX36" fmla="*/ 1574 w 9213"/>
              <a:gd name="connsiteY36" fmla="*/ 4169 h 9835"/>
              <a:gd name="connsiteX37" fmla="*/ 2009 w 9213"/>
              <a:gd name="connsiteY37" fmla="*/ 3917 h 9835"/>
              <a:gd name="connsiteX38" fmla="*/ 1928 w 9213"/>
              <a:gd name="connsiteY38" fmla="*/ 3667 h 9835"/>
              <a:gd name="connsiteX39" fmla="*/ 1399 w 9213"/>
              <a:gd name="connsiteY39" fmla="*/ 3168 h 9835"/>
              <a:gd name="connsiteX40" fmla="*/ 873 w 9213"/>
              <a:gd name="connsiteY40" fmla="*/ 3001 h 9835"/>
              <a:gd name="connsiteX41" fmla="*/ 873 w 9213"/>
              <a:gd name="connsiteY41" fmla="*/ 2918 h 9835"/>
              <a:gd name="connsiteX42" fmla="*/ 702 w 9213"/>
              <a:gd name="connsiteY42" fmla="*/ 2832 h 9835"/>
              <a:gd name="connsiteX43" fmla="*/ 523 w 9213"/>
              <a:gd name="connsiteY43" fmla="*/ 2918 h 9835"/>
              <a:gd name="connsiteX44" fmla="*/ 523 w 9213"/>
              <a:gd name="connsiteY44" fmla="*/ 3001 h 9835"/>
              <a:gd name="connsiteX45" fmla="*/ 437 w 9213"/>
              <a:gd name="connsiteY45" fmla="*/ 3001 h 9835"/>
              <a:gd name="connsiteX46" fmla="*/ 263 w 9213"/>
              <a:gd name="connsiteY46" fmla="*/ 3168 h 9835"/>
              <a:gd name="connsiteX47" fmla="*/ 263 w 9213"/>
              <a:gd name="connsiteY47" fmla="*/ 3417 h 9835"/>
              <a:gd name="connsiteX48" fmla="*/ 437 w 9213"/>
              <a:gd name="connsiteY48" fmla="*/ 3583 h 9835"/>
              <a:gd name="connsiteX49" fmla="*/ 353 w 9213"/>
              <a:gd name="connsiteY49" fmla="*/ 3833 h 9835"/>
              <a:gd name="connsiteX50" fmla="*/ 437 w 9213"/>
              <a:gd name="connsiteY50" fmla="*/ 4252 h 9835"/>
              <a:gd name="connsiteX51" fmla="*/ 353 w 9213"/>
              <a:gd name="connsiteY51" fmla="*/ 4501 h 9835"/>
              <a:gd name="connsiteX52" fmla="*/ 523 w 9213"/>
              <a:gd name="connsiteY52" fmla="*/ 4751 h 9835"/>
              <a:gd name="connsiteX53" fmla="*/ 437 w 9213"/>
              <a:gd name="connsiteY53" fmla="*/ 4918 h 9835"/>
              <a:gd name="connsiteX54" fmla="*/ 611 w 9213"/>
              <a:gd name="connsiteY54" fmla="*/ 5085 h 9835"/>
              <a:gd name="connsiteX55" fmla="*/ 611 w 9213"/>
              <a:gd name="connsiteY55" fmla="*/ 5168 h 9835"/>
              <a:gd name="connsiteX56" fmla="*/ 353 w 9213"/>
              <a:gd name="connsiteY56" fmla="*/ 5585 h 9835"/>
              <a:gd name="connsiteX57" fmla="*/ 80 w 9213"/>
              <a:gd name="connsiteY57" fmla="*/ 5752 h 9835"/>
              <a:gd name="connsiteX58" fmla="*/ 172 w 9213"/>
              <a:gd name="connsiteY58" fmla="*/ 5752 h 9835"/>
              <a:gd name="connsiteX59" fmla="*/ 353 w 9213"/>
              <a:gd name="connsiteY59" fmla="*/ 5918 h 9835"/>
              <a:gd name="connsiteX60" fmla="*/ 172 w 9213"/>
              <a:gd name="connsiteY60" fmla="*/ 6084 h 9835"/>
              <a:gd name="connsiteX61" fmla="*/ 80 w 9213"/>
              <a:gd name="connsiteY61" fmla="*/ 6169 h 9835"/>
              <a:gd name="connsiteX62" fmla="*/ 0 w 9213"/>
              <a:gd name="connsiteY62" fmla="*/ 6169 h 9835"/>
              <a:gd name="connsiteX63" fmla="*/ 80 w 9213"/>
              <a:gd name="connsiteY63" fmla="*/ 6419 h 9835"/>
              <a:gd name="connsiteX64" fmla="*/ 80 w 9213"/>
              <a:gd name="connsiteY64" fmla="*/ 6502 h 9835"/>
              <a:gd name="connsiteX65" fmla="*/ 80 w 9213"/>
              <a:gd name="connsiteY65" fmla="*/ 6584 h 9835"/>
              <a:gd name="connsiteX66" fmla="*/ 80 w 9213"/>
              <a:gd name="connsiteY66" fmla="*/ 6669 h 9835"/>
              <a:gd name="connsiteX67" fmla="*/ 172 w 9213"/>
              <a:gd name="connsiteY67" fmla="*/ 6833 h 9835"/>
              <a:gd name="connsiteX68" fmla="*/ 437 w 9213"/>
              <a:gd name="connsiteY68" fmla="*/ 6918 h 9835"/>
              <a:gd name="connsiteX69" fmla="*/ 523 w 9213"/>
              <a:gd name="connsiteY69" fmla="*/ 7000 h 9835"/>
              <a:gd name="connsiteX70" fmla="*/ 523 w 9213"/>
              <a:gd name="connsiteY70" fmla="*/ 7169 h 9835"/>
              <a:gd name="connsiteX71" fmla="*/ 702 w 9213"/>
              <a:gd name="connsiteY71" fmla="*/ 7419 h 9835"/>
              <a:gd name="connsiteX72" fmla="*/ 793 w 9213"/>
              <a:gd name="connsiteY72" fmla="*/ 7419 h 9835"/>
              <a:gd name="connsiteX73" fmla="*/ 702 w 9213"/>
              <a:gd name="connsiteY73" fmla="*/ 7585 h 9835"/>
              <a:gd name="connsiteX74" fmla="*/ 611 w 9213"/>
              <a:gd name="connsiteY74" fmla="*/ 7503 h 9835"/>
              <a:gd name="connsiteX75" fmla="*/ 611 w 9213"/>
              <a:gd name="connsiteY75" fmla="*/ 7585 h 9835"/>
              <a:gd name="connsiteX76" fmla="*/ 702 w 9213"/>
              <a:gd name="connsiteY76" fmla="*/ 7751 h 9835"/>
              <a:gd name="connsiteX77" fmla="*/ 971 w 9213"/>
              <a:gd name="connsiteY77" fmla="*/ 7751 h 9835"/>
              <a:gd name="connsiteX78" fmla="*/ 1055 w 9213"/>
              <a:gd name="connsiteY78" fmla="*/ 7835 h 9835"/>
              <a:gd name="connsiteX79" fmla="*/ 971 w 9213"/>
              <a:gd name="connsiteY79" fmla="*/ 7835 h 9835"/>
              <a:gd name="connsiteX80" fmla="*/ 1055 w 9213"/>
              <a:gd name="connsiteY80" fmla="*/ 7917 h 9835"/>
              <a:gd name="connsiteX81" fmla="*/ 1139 w 9213"/>
              <a:gd name="connsiteY81" fmla="*/ 7917 h 9835"/>
              <a:gd name="connsiteX82" fmla="*/ 1224 w 9213"/>
              <a:gd name="connsiteY82" fmla="*/ 8084 h 9835"/>
              <a:gd name="connsiteX83" fmla="*/ 1315 w 9213"/>
              <a:gd name="connsiteY83" fmla="*/ 8167 h 9835"/>
              <a:gd name="connsiteX84" fmla="*/ 1399 w 9213"/>
              <a:gd name="connsiteY84" fmla="*/ 8084 h 9835"/>
              <a:gd name="connsiteX85" fmla="*/ 1843 w 9213"/>
              <a:gd name="connsiteY85" fmla="*/ 8335 h 9835"/>
              <a:gd name="connsiteX86" fmla="*/ 1757 w 9213"/>
              <a:gd name="connsiteY86" fmla="*/ 8668 h 9835"/>
              <a:gd name="connsiteX87" fmla="*/ 1668 w 9213"/>
              <a:gd name="connsiteY87" fmla="*/ 8585 h 9835"/>
              <a:gd name="connsiteX88" fmla="*/ 1574 w 9213"/>
              <a:gd name="connsiteY88" fmla="*/ 8668 h 9835"/>
              <a:gd name="connsiteX89" fmla="*/ 1574 w 9213"/>
              <a:gd name="connsiteY89" fmla="*/ 8834 h 9835"/>
              <a:gd name="connsiteX90" fmla="*/ 1668 w 9213"/>
              <a:gd name="connsiteY90" fmla="*/ 8752 h 9835"/>
              <a:gd name="connsiteX91" fmla="*/ 1757 w 9213"/>
              <a:gd name="connsiteY91" fmla="*/ 8834 h 9835"/>
              <a:gd name="connsiteX92" fmla="*/ 1494 w 9213"/>
              <a:gd name="connsiteY92" fmla="*/ 8918 h 9835"/>
              <a:gd name="connsiteX93" fmla="*/ 1574 w 9213"/>
              <a:gd name="connsiteY93" fmla="*/ 9002 h 9835"/>
              <a:gd name="connsiteX94" fmla="*/ 1399 w 9213"/>
              <a:gd name="connsiteY94" fmla="*/ 9168 h 9835"/>
              <a:gd name="connsiteX95" fmla="*/ 1315 w 9213"/>
              <a:gd name="connsiteY95" fmla="*/ 9168 h 9835"/>
              <a:gd name="connsiteX96" fmla="*/ 1399 w 9213"/>
              <a:gd name="connsiteY96" fmla="*/ 9168 h 9835"/>
              <a:gd name="connsiteX97" fmla="*/ 1757 w 9213"/>
              <a:gd name="connsiteY97" fmla="*/ 9503 h 9835"/>
              <a:gd name="connsiteX98" fmla="*/ 2195 w 9213"/>
              <a:gd name="connsiteY98" fmla="*/ 9503 h 9835"/>
              <a:gd name="connsiteX99" fmla="*/ 2369 w 9213"/>
              <a:gd name="connsiteY99" fmla="*/ 9585 h 9835"/>
              <a:gd name="connsiteX100" fmla="*/ 2543 w 9213"/>
              <a:gd name="connsiteY100" fmla="*/ 9585 h 9835"/>
              <a:gd name="connsiteX101" fmla="*/ 2721 w 9213"/>
              <a:gd name="connsiteY101" fmla="*/ 9753 h 9835"/>
              <a:gd name="connsiteX102" fmla="*/ 2807 w 9213"/>
              <a:gd name="connsiteY102" fmla="*/ 9835 h 9835"/>
              <a:gd name="connsiteX103" fmla="*/ 2891 w 9213"/>
              <a:gd name="connsiteY103" fmla="*/ 9835 h 9835"/>
              <a:gd name="connsiteX104" fmla="*/ 2984 w 9213"/>
              <a:gd name="connsiteY104" fmla="*/ 9753 h 9835"/>
              <a:gd name="connsiteX105" fmla="*/ 2807 w 9213"/>
              <a:gd name="connsiteY105" fmla="*/ 9585 h 9835"/>
              <a:gd name="connsiteX106" fmla="*/ 2807 w 9213"/>
              <a:gd name="connsiteY106" fmla="*/ 9419 h 9835"/>
              <a:gd name="connsiteX107" fmla="*/ 2721 w 9213"/>
              <a:gd name="connsiteY107" fmla="*/ 9251 h 9835"/>
              <a:gd name="connsiteX108" fmla="*/ 2891 w 9213"/>
              <a:gd name="connsiteY108" fmla="*/ 9002 h 9835"/>
              <a:gd name="connsiteX109" fmla="*/ 2984 w 9213"/>
              <a:gd name="connsiteY109" fmla="*/ 9085 h 9835"/>
              <a:gd name="connsiteX110" fmla="*/ 3069 w 9213"/>
              <a:gd name="connsiteY110" fmla="*/ 9002 h 9835"/>
              <a:gd name="connsiteX111" fmla="*/ 3069 w 9213"/>
              <a:gd name="connsiteY111" fmla="*/ 8918 h 9835"/>
              <a:gd name="connsiteX112" fmla="*/ 2984 w 9213"/>
              <a:gd name="connsiteY112" fmla="*/ 8918 h 9835"/>
              <a:gd name="connsiteX113" fmla="*/ 3069 w 9213"/>
              <a:gd name="connsiteY113" fmla="*/ 8834 h 9835"/>
              <a:gd name="connsiteX114" fmla="*/ 2984 w 9213"/>
              <a:gd name="connsiteY114" fmla="*/ 8668 h 9835"/>
              <a:gd name="connsiteX115" fmla="*/ 2807 w 9213"/>
              <a:gd name="connsiteY115" fmla="*/ 8668 h 9835"/>
              <a:gd name="connsiteX116" fmla="*/ 2721 w 9213"/>
              <a:gd name="connsiteY116" fmla="*/ 8502 h 9835"/>
              <a:gd name="connsiteX117" fmla="*/ 2807 w 9213"/>
              <a:gd name="connsiteY117" fmla="*/ 8084 h 9835"/>
              <a:gd name="connsiteX118" fmla="*/ 2984 w 9213"/>
              <a:gd name="connsiteY118" fmla="*/ 8253 h 9835"/>
              <a:gd name="connsiteX119" fmla="*/ 3069 w 9213"/>
              <a:gd name="connsiteY119" fmla="*/ 8253 h 9835"/>
              <a:gd name="connsiteX120" fmla="*/ 2984 w 9213"/>
              <a:gd name="connsiteY120" fmla="*/ 8084 h 9835"/>
              <a:gd name="connsiteX121" fmla="*/ 3249 w 9213"/>
              <a:gd name="connsiteY121" fmla="*/ 7835 h 9835"/>
              <a:gd name="connsiteX122" fmla="*/ 3426 w 9213"/>
              <a:gd name="connsiteY122" fmla="*/ 7917 h 9835"/>
              <a:gd name="connsiteX123" fmla="*/ 3511 w 9213"/>
              <a:gd name="connsiteY123" fmla="*/ 7835 h 9835"/>
              <a:gd name="connsiteX124" fmla="*/ 3678 w 9213"/>
              <a:gd name="connsiteY124" fmla="*/ 7917 h 9835"/>
              <a:gd name="connsiteX125" fmla="*/ 3953 w 9213"/>
              <a:gd name="connsiteY125" fmla="*/ 8084 h 9835"/>
              <a:gd name="connsiteX126" fmla="*/ 4121 w 9213"/>
              <a:gd name="connsiteY126" fmla="*/ 8002 h 9835"/>
              <a:gd name="connsiteX127" fmla="*/ 4300 w 9213"/>
              <a:gd name="connsiteY127" fmla="*/ 8002 h 9835"/>
              <a:gd name="connsiteX128" fmla="*/ 4389 w 9213"/>
              <a:gd name="connsiteY128" fmla="*/ 8084 h 9835"/>
              <a:gd name="connsiteX129" fmla="*/ 4740 w 9213"/>
              <a:gd name="connsiteY129" fmla="*/ 8084 h 9835"/>
              <a:gd name="connsiteX130" fmla="*/ 4823 w 9213"/>
              <a:gd name="connsiteY130" fmla="*/ 7917 h 9835"/>
              <a:gd name="connsiteX131" fmla="*/ 4557 w 9213"/>
              <a:gd name="connsiteY131" fmla="*/ 7835 h 9835"/>
              <a:gd name="connsiteX132" fmla="*/ 4740 w 9213"/>
              <a:gd name="connsiteY132" fmla="*/ 7751 h 9835"/>
              <a:gd name="connsiteX133" fmla="*/ 4647 w 9213"/>
              <a:gd name="connsiteY133" fmla="*/ 7668 h 9835"/>
              <a:gd name="connsiteX134" fmla="*/ 4740 w 9213"/>
              <a:gd name="connsiteY134" fmla="*/ 7585 h 9835"/>
              <a:gd name="connsiteX135" fmla="*/ 4740 w 9213"/>
              <a:gd name="connsiteY135" fmla="*/ 7335 h 9835"/>
              <a:gd name="connsiteX136" fmla="*/ 4908 w 9213"/>
              <a:gd name="connsiteY136" fmla="*/ 7419 h 9835"/>
              <a:gd name="connsiteX137" fmla="*/ 5701 w 9213"/>
              <a:gd name="connsiteY137" fmla="*/ 7169 h 9835"/>
              <a:gd name="connsiteX138" fmla="*/ 5701 w 9213"/>
              <a:gd name="connsiteY138" fmla="*/ 7085 h 9835"/>
              <a:gd name="connsiteX139" fmla="*/ 5793 w 9213"/>
              <a:gd name="connsiteY139" fmla="*/ 7085 h 9835"/>
              <a:gd name="connsiteX140" fmla="*/ 6046 w 9213"/>
              <a:gd name="connsiteY140" fmla="*/ 7085 h 9835"/>
              <a:gd name="connsiteX141" fmla="*/ 6145 w 9213"/>
              <a:gd name="connsiteY141" fmla="*/ 7252 h 9835"/>
              <a:gd name="connsiteX142" fmla="*/ 6145 w 9213"/>
              <a:gd name="connsiteY142" fmla="*/ 7335 h 9835"/>
              <a:gd name="connsiteX143" fmla="*/ 6228 w 9213"/>
              <a:gd name="connsiteY143" fmla="*/ 7335 h 9835"/>
              <a:gd name="connsiteX144" fmla="*/ 6401 w 9213"/>
              <a:gd name="connsiteY144" fmla="*/ 7419 h 9835"/>
              <a:gd name="connsiteX145" fmla="*/ 6401 w 9213"/>
              <a:gd name="connsiteY145" fmla="*/ 7503 h 9835"/>
              <a:gd name="connsiteX146" fmla="*/ 6577 w 9213"/>
              <a:gd name="connsiteY146" fmla="*/ 7503 h 9835"/>
              <a:gd name="connsiteX0" fmla="*/ 9237 w 9237"/>
              <a:gd name="connsiteY0" fmla="*/ 0 h 9576"/>
              <a:gd name="connsiteX1" fmla="*/ 8949 w 9237"/>
              <a:gd name="connsiteY1" fmla="*/ 340 h 9576"/>
              <a:gd name="connsiteX2" fmla="*/ 9050 w 9237"/>
              <a:gd name="connsiteY2" fmla="*/ 763 h 9576"/>
              <a:gd name="connsiteX3" fmla="*/ 7998 w 9237"/>
              <a:gd name="connsiteY3" fmla="*/ 933 h 9576"/>
              <a:gd name="connsiteX4" fmla="*/ 7518 w 9237"/>
              <a:gd name="connsiteY4" fmla="*/ 1442 h 9576"/>
              <a:gd name="connsiteX5" fmla="*/ 6844 w 9237"/>
              <a:gd name="connsiteY5" fmla="*/ 2797 h 9576"/>
              <a:gd name="connsiteX6" fmla="*/ 4946 w 9237"/>
              <a:gd name="connsiteY6" fmla="*/ 2882 h 9576"/>
              <a:gd name="connsiteX7" fmla="*/ 4863 w 9237"/>
              <a:gd name="connsiteY7" fmla="*/ 2797 h 9576"/>
              <a:gd name="connsiteX8" fmla="*/ 4291 w 9237"/>
              <a:gd name="connsiteY8" fmla="*/ 2967 h 9576"/>
              <a:gd name="connsiteX9" fmla="*/ 4195 w 9237"/>
              <a:gd name="connsiteY9" fmla="*/ 3135 h 9576"/>
              <a:gd name="connsiteX10" fmla="*/ 4100 w 9237"/>
              <a:gd name="connsiteY10" fmla="*/ 2967 h 9576"/>
              <a:gd name="connsiteX11" fmla="*/ 4100 w 9237"/>
              <a:gd name="connsiteY11" fmla="*/ 2797 h 9576"/>
              <a:gd name="connsiteX12" fmla="*/ 3138 w 9237"/>
              <a:gd name="connsiteY12" fmla="*/ 3305 h 9576"/>
              <a:gd name="connsiteX13" fmla="*/ 3138 w 9237"/>
              <a:gd name="connsiteY13" fmla="*/ 3473 h 9576"/>
              <a:gd name="connsiteX14" fmla="*/ 2953 w 9237"/>
              <a:gd name="connsiteY14" fmla="*/ 3559 h 9576"/>
              <a:gd name="connsiteX15" fmla="*/ 2668 w 9237"/>
              <a:gd name="connsiteY15" fmla="*/ 3390 h 9576"/>
              <a:gd name="connsiteX16" fmla="*/ 2953 w 9237"/>
              <a:gd name="connsiteY16" fmla="*/ 3219 h 9576"/>
              <a:gd name="connsiteX17" fmla="*/ 2851 w 9237"/>
              <a:gd name="connsiteY17" fmla="*/ 2967 h 9576"/>
              <a:gd name="connsiteX18" fmla="*/ 2476 w 9237"/>
              <a:gd name="connsiteY18" fmla="*/ 2882 h 9576"/>
              <a:gd name="connsiteX19" fmla="*/ 2571 w 9237"/>
              <a:gd name="connsiteY19" fmla="*/ 3050 h 9576"/>
              <a:gd name="connsiteX20" fmla="*/ 2571 w 9237"/>
              <a:gd name="connsiteY20" fmla="*/ 3473 h 9576"/>
              <a:gd name="connsiteX21" fmla="*/ 2668 w 9237"/>
              <a:gd name="connsiteY21" fmla="*/ 3645 h 9576"/>
              <a:gd name="connsiteX22" fmla="*/ 2571 w 9237"/>
              <a:gd name="connsiteY22" fmla="*/ 3815 h 9576"/>
              <a:gd name="connsiteX23" fmla="*/ 2279 w 9237"/>
              <a:gd name="connsiteY23" fmla="*/ 3730 h 9576"/>
              <a:gd name="connsiteX24" fmla="*/ 1907 w 9237"/>
              <a:gd name="connsiteY24" fmla="*/ 3982 h 9576"/>
              <a:gd name="connsiteX25" fmla="*/ 2093 w 9237"/>
              <a:gd name="connsiteY25" fmla="*/ 4322 h 9576"/>
              <a:gd name="connsiteX26" fmla="*/ 1519 w 9237"/>
              <a:gd name="connsiteY26" fmla="*/ 4153 h 9576"/>
              <a:gd name="connsiteX27" fmla="*/ 1427 w 9237"/>
              <a:gd name="connsiteY27" fmla="*/ 4236 h 9576"/>
              <a:gd name="connsiteX28" fmla="*/ 1622 w 9237"/>
              <a:gd name="connsiteY28" fmla="*/ 4491 h 9576"/>
              <a:gd name="connsiteX29" fmla="*/ 1427 w 9237"/>
              <a:gd name="connsiteY29" fmla="*/ 4491 h 9576"/>
              <a:gd name="connsiteX30" fmla="*/ 1145 w 9237"/>
              <a:gd name="connsiteY30" fmla="*/ 4322 h 9576"/>
              <a:gd name="connsiteX31" fmla="*/ 1145 w 9237"/>
              <a:gd name="connsiteY31" fmla="*/ 3815 h 9576"/>
              <a:gd name="connsiteX32" fmla="*/ 861 w 9237"/>
              <a:gd name="connsiteY32" fmla="*/ 3645 h 9576"/>
              <a:gd name="connsiteX33" fmla="*/ 762 w 9237"/>
              <a:gd name="connsiteY33" fmla="*/ 3473 h 9576"/>
              <a:gd name="connsiteX34" fmla="*/ 948 w 9237"/>
              <a:gd name="connsiteY34" fmla="*/ 3559 h 9576"/>
              <a:gd name="connsiteX35" fmla="*/ 1708 w 9237"/>
              <a:gd name="connsiteY35" fmla="*/ 3815 h 9576"/>
              <a:gd name="connsiteX36" fmla="*/ 2181 w 9237"/>
              <a:gd name="connsiteY36" fmla="*/ 3559 h 9576"/>
              <a:gd name="connsiteX37" fmla="*/ 2093 w 9237"/>
              <a:gd name="connsiteY37" fmla="*/ 3305 h 9576"/>
              <a:gd name="connsiteX38" fmla="*/ 1519 w 9237"/>
              <a:gd name="connsiteY38" fmla="*/ 2797 h 9576"/>
              <a:gd name="connsiteX39" fmla="*/ 948 w 9237"/>
              <a:gd name="connsiteY39" fmla="*/ 2627 h 9576"/>
              <a:gd name="connsiteX40" fmla="*/ 948 w 9237"/>
              <a:gd name="connsiteY40" fmla="*/ 2543 h 9576"/>
              <a:gd name="connsiteX41" fmla="*/ 762 w 9237"/>
              <a:gd name="connsiteY41" fmla="*/ 2456 h 9576"/>
              <a:gd name="connsiteX42" fmla="*/ 568 w 9237"/>
              <a:gd name="connsiteY42" fmla="*/ 2543 h 9576"/>
              <a:gd name="connsiteX43" fmla="*/ 568 w 9237"/>
              <a:gd name="connsiteY43" fmla="*/ 2627 h 9576"/>
              <a:gd name="connsiteX44" fmla="*/ 474 w 9237"/>
              <a:gd name="connsiteY44" fmla="*/ 2627 h 9576"/>
              <a:gd name="connsiteX45" fmla="*/ 285 w 9237"/>
              <a:gd name="connsiteY45" fmla="*/ 2797 h 9576"/>
              <a:gd name="connsiteX46" fmla="*/ 285 w 9237"/>
              <a:gd name="connsiteY46" fmla="*/ 3050 h 9576"/>
              <a:gd name="connsiteX47" fmla="*/ 474 w 9237"/>
              <a:gd name="connsiteY47" fmla="*/ 3219 h 9576"/>
              <a:gd name="connsiteX48" fmla="*/ 383 w 9237"/>
              <a:gd name="connsiteY48" fmla="*/ 3473 h 9576"/>
              <a:gd name="connsiteX49" fmla="*/ 474 w 9237"/>
              <a:gd name="connsiteY49" fmla="*/ 3899 h 9576"/>
              <a:gd name="connsiteX50" fmla="*/ 383 w 9237"/>
              <a:gd name="connsiteY50" fmla="*/ 4153 h 9576"/>
              <a:gd name="connsiteX51" fmla="*/ 568 w 9237"/>
              <a:gd name="connsiteY51" fmla="*/ 4407 h 9576"/>
              <a:gd name="connsiteX52" fmla="*/ 474 w 9237"/>
              <a:gd name="connsiteY52" fmla="*/ 4577 h 9576"/>
              <a:gd name="connsiteX53" fmla="*/ 663 w 9237"/>
              <a:gd name="connsiteY53" fmla="*/ 4746 h 9576"/>
              <a:gd name="connsiteX54" fmla="*/ 663 w 9237"/>
              <a:gd name="connsiteY54" fmla="*/ 4831 h 9576"/>
              <a:gd name="connsiteX55" fmla="*/ 383 w 9237"/>
              <a:gd name="connsiteY55" fmla="*/ 5255 h 9576"/>
              <a:gd name="connsiteX56" fmla="*/ 87 w 9237"/>
              <a:gd name="connsiteY56" fmla="*/ 5425 h 9576"/>
              <a:gd name="connsiteX57" fmla="*/ 187 w 9237"/>
              <a:gd name="connsiteY57" fmla="*/ 5425 h 9576"/>
              <a:gd name="connsiteX58" fmla="*/ 383 w 9237"/>
              <a:gd name="connsiteY58" fmla="*/ 5593 h 9576"/>
              <a:gd name="connsiteX59" fmla="*/ 187 w 9237"/>
              <a:gd name="connsiteY59" fmla="*/ 5762 h 9576"/>
              <a:gd name="connsiteX60" fmla="*/ 87 w 9237"/>
              <a:gd name="connsiteY60" fmla="*/ 5848 h 9576"/>
              <a:gd name="connsiteX61" fmla="*/ 0 w 9237"/>
              <a:gd name="connsiteY61" fmla="*/ 5848 h 9576"/>
              <a:gd name="connsiteX62" fmla="*/ 87 w 9237"/>
              <a:gd name="connsiteY62" fmla="*/ 6103 h 9576"/>
              <a:gd name="connsiteX63" fmla="*/ 87 w 9237"/>
              <a:gd name="connsiteY63" fmla="*/ 6187 h 9576"/>
              <a:gd name="connsiteX64" fmla="*/ 87 w 9237"/>
              <a:gd name="connsiteY64" fmla="*/ 6270 h 9576"/>
              <a:gd name="connsiteX65" fmla="*/ 87 w 9237"/>
              <a:gd name="connsiteY65" fmla="*/ 6357 h 9576"/>
              <a:gd name="connsiteX66" fmla="*/ 187 w 9237"/>
              <a:gd name="connsiteY66" fmla="*/ 6524 h 9576"/>
              <a:gd name="connsiteX67" fmla="*/ 474 w 9237"/>
              <a:gd name="connsiteY67" fmla="*/ 6610 h 9576"/>
              <a:gd name="connsiteX68" fmla="*/ 568 w 9237"/>
              <a:gd name="connsiteY68" fmla="*/ 6693 h 9576"/>
              <a:gd name="connsiteX69" fmla="*/ 568 w 9237"/>
              <a:gd name="connsiteY69" fmla="*/ 6865 h 9576"/>
              <a:gd name="connsiteX70" fmla="*/ 762 w 9237"/>
              <a:gd name="connsiteY70" fmla="*/ 7119 h 9576"/>
              <a:gd name="connsiteX71" fmla="*/ 861 w 9237"/>
              <a:gd name="connsiteY71" fmla="*/ 7119 h 9576"/>
              <a:gd name="connsiteX72" fmla="*/ 762 w 9237"/>
              <a:gd name="connsiteY72" fmla="*/ 7288 h 9576"/>
              <a:gd name="connsiteX73" fmla="*/ 663 w 9237"/>
              <a:gd name="connsiteY73" fmla="*/ 7205 h 9576"/>
              <a:gd name="connsiteX74" fmla="*/ 663 w 9237"/>
              <a:gd name="connsiteY74" fmla="*/ 7288 h 9576"/>
              <a:gd name="connsiteX75" fmla="*/ 762 w 9237"/>
              <a:gd name="connsiteY75" fmla="*/ 7457 h 9576"/>
              <a:gd name="connsiteX76" fmla="*/ 1054 w 9237"/>
              <a:gd name="connsiteY76" fmla="*/ 7457 h 9576"/>
              <a:gd name="connsiteX77" fmla="*/ 1145 w 9237"/>
              <a:gd name="connsiteY77" fmla="*/ 7542 h 9576"/>
              <a:gd name="connsiteX78" fmla="*/ 1054 w 9237"/>
              <a:gd name="connsiteY78" fmla="*/ 7542 h 9576"/>
              <a:gd name="connsiteX79" fmla="*/ 1145 w 9237"/>
              <a:gd name="connsiteY79" fmla="*/ 7626 h 9576"/>
              <a:gd name="connsiteX80" fmla="*/ 1236 w 9237"/>
              <a:gd name="connsiteY80" fmla="*/ 7626 h 9576"/>
              <a:gd name="connsiteX81" fmla="*/ 1329 w 9237"/>
              <a:gd name="connsiteY81" fmla="*/ 7796 h 9576"/>
              <a:gd name="connsiteX82" fmla="*/ 1427 w 9237"/>
              <a:gd name="connsiteY82" fmla="*/ 7880 h 9576"/>
              <a:gd name="connsiteX83" fmla="*/ 1519 w 9237"/>
              <a:gd name="connsiteY83" fmla="*/ 7796 h 9576"/>
              <a:gd name="connsiteX84" fmla="*/ 2000 w 9237"/>
              <a:gd name="connsiteY84" fmla="*/ 8051 h 9576"/>
              <a:gd name="connsiteX85" fmla="*/ 1907 w 9237"/>
              <a:gd name="connsiteY85" fmla="*/ 8389 h 9576"/>
              <a:gd name="connsiteX86" fmla="*/ 1810 w 9237"/>
              <a:gd name="connsiteY86" fmla="*/ 8305 h 9576"/>
              <a:gd name="connsiteX87" fmla="*/ 1708 w 9237"/>
              <a:gd name="connsiteY87" fmla="*/ 8389 h 9576"/>
              <a:gd name="connsiteX88" fmla="*/ 1708 w 9237"/>
              <a:gd name="connsiteY88" fmla="*/ 8558 h 9576"/>
              <a:gd name="connsiteX89" fmla="*/ 1810 w 9237"/>
              <a:gd name="connsiteY89" fmla="*/ 8475 h 9576"/>
              <a:gd name="connsiteX90" fmla="*/ 1907 w 9237"/>
              <a:gd name="connsiteY90" fmla="*/ 8558 h 9576"/>
              <a:gd name="connsiteX91" fmla="*/ 1622 w 9237"/>
              <a:gd name="connsiteY91" fmla="*/ 8644 h 9576"/>
              <a:gd name="connsiteX92" fmla="*/ 1708 w 9237"/>
              <a:gd name="connsiteY92" fmla="*/ 8729 h 9576"/>
              <a:gd name="connsiteX93" fmla="*/ 1519 w 9237"/>
              <a:gd name="connsiteY93" fmla="*/ 8898 h 9576"/>
              <a:gd name="connsiteX94" fmla="*/ 1427 w 9237"/>
              <a:gd name="connsiteY94" fmla="*/ 8898 h 9576"/>
              <a:gd name="connsiteX95" fmla="*/ 1519 w 9237"/>
              <a:gd name="connsiteY95" fmla="*/ 8898 h 9576"/>
              <a:gd name="connsiteX96" fmla="*/ 1907 w 9237"/>
              <a:gd name="connsiteY96" fmla="*/ 9238 h 9576"/>
              <a:gd name="connsiteX97" fmla="*/ 2383 w 9237"/>
              <a:gd name="connsiteY97" fmla="*/ 9238 h 9576"/>
              <a:gd name="connsiteX98" fmla="*/ 2571 w 9237"/>
              <a:gd name="connsiteY98" fmla="*/ 9322 h 9576"/>
              <a:gd name="connsiteX99" fmla="*/ 2760 w 9237"/>
              <a:gd name="connsiteY99" fmla="*/ 9322 h 9576"/>
              <a:gd name="connsiteX100" fmla="*/ 2953 w 9237"/>
              <a:gd name="connsiteY100" fmla="*/ 9493 h 9576"/>
              <a:gd name="connsiteX101" fmla="*/ 3047 w 9237"/>
              <a:gd name="connsiteY101" fmla="*/ 9576 h 9576"/>
              <a:gd name="connsiteX102" fmla="*/ 3138 w 9237"/>
              <a:gd name="connsiteY102" fmla="*/ 9576 h 9576"/>
              <a:gd name="connsiteX103" fmla="*/ 3239 w 9237"/>
              <a:gd name="connsiteY103" fmla="*/ 9493 h 9576"/>
              <a:gd name="connsiteX104" fmla="*/ 3047 w 9237"/>
              <a:gd name="connsiteY104" fmla="*/ 9322 h 9576"/>
              <a:gd name="connsiteX105" fmla="*/ 3047 w 9237"/>
              <a:gd name="connsiteY105" fmla="*/ 9153 h 9576"/>
              <a:gd name="connsiteX106" fmla="*/ 2953 w 9237"/>
              <a:gd name="connsiteY106" fmla="*/ 8982 h 9576"/>
              <a:gd name="connsiteX107" fmla="*/ 3138 w 9237"/>
              <a:gd name="connsiteY107" fmla="*/ 8729 h 9576"/>
              <a:gd name="connsiteX108" fmla="*/ 3239 w 9237"/>
              <a:gd name="connsiteY108" fmla="*/ 8813 h 9576"/>
              <a:gd name="connsiteX109" fmla="*/ 3331 w 9237"/>
              <a:gd name="connsiteY109" fmla="*/ 8729 h 9576"/>
              <a:gd name="connsiteX110" fmla="*/ 3331 w 9237"/>
              <a:gd name="connsiteY110" fmla="*/ 8644 h 9576"/>
              <a:gd name="connsiteX111" fmla="*/ 3239 w 9237"/>
              <a:gd name="connsiteY111" fmla="*/ 8644 h 9576"/>
              <a:gd name="connsiteX112" fmla="*/ 3331 w 9237"/>
              <a:gd name="connsiteY112" fmla="*/ 8558 h 9576"/>
              <a:gd name="connsiteX113" fmla="*/ 3239 w 9237"/>
              <a:gd name="connsiteY113" fmla="*/ 8389 h 9576"/>
              <a:gd name="connsiteX114" fmla="*/ 3047 w 9237"/>
              <a:gd name="connsiteY114" fmla="*/ 8389 h 9576"/>
              <a:gd name="connsiteX115" fmla="*/ 2953 w 9237"/>
              <a:gd name="connsiteY115" fmla="*/ 8221 h 9576"/>
              <a:gd name="connsiteX116" fmla="*/ 3047 w 9237"/>
              <a:gd name="connsiteY116" fmla="*/ 7796 h 9576"/>
              <a:gd name="connsiteX117" fmla="*/ 3239 w 9237"/>
              <a:gd name="connsiteY117" fmla="*/ 7967 h 9576"/>
              <a:gd name="connsiteX118" fmla="*/ 3331 w 9237"/>
              <a:gd name="connsiteY118" fmla="*/ 7967 h 9576"/>
              <a:gd name="connsiteX119" fmla="*/ 3239 w 9237"/>
              <a:gd name="connsiteY119" fmla="*/ 7796 h 9576"/>
              <a:gd name="connsiteX120" fmla="*/ 3527 w 9237"/>
              <a:gd name="connsiteY120" fmla="*/ 7542 h 9576"/>
              <a:gd name="connsiteX121" fmla="*/ 3719 w 9237"/>
              <a:gd name="connsiteY121" fmla="*/ 7626 h 9576"/>
              <a:gd name="connsiteX122" fmla="*/ 3811 w 9237"/>
              <a:gd name="connsiteY122" fmla="*/ 7542 h 9576"/>
              <a:gd name="connsiteX123" fmla="*/ 3992 w 9237"/>
              <a:gd name="connsiteY123" fmla="*/ 7626 h 9576"/>
              <a:gd name="connsiteX124" fmla="*/ 4291 w 9237"/>
              <a:gd name="connsiteY124" fmla="*/ 7796 h 9576"/>
              <a:gd name="connsiteX125" fmla="*/ 4473 w 9237"/>
              <a:gd name="connsiteY125" fmla="*/ 7712 h 9576"/>
              <a:gd name="connsiteX126" fmla="*/ 4667 w 9237"/>
              <a:gd name="connsiteY126" fmla="*/ 7712 h 9576"/>
              <a:gd name="connsiteX127" fmla="*/ 4764 w 9237"/>
              <a:gd name="connsiteY127" fmla="*/ 7796 h 9576"/>
              <a:gd name="connsiteX128" fmla="*/ 5145 w 9237"/>
              <a:gd name="connsiteY128" fmla="*/ 7796 h 9576"/>
              <a:gd name="connsiteX129" fmla="*/ 5235 w 9237"/>
              <a:gd name="connsiteY129" fmla="*/ 7626 h 9576"/>
              <a:gd name="connsiteX130" fmla="*/ 4946 w 9237"/>
              <a:gd name="connsiteY130" fmla="*/ 7542 h 9576"/>
              <a:gd name="connsiteX131" fmla="*/ 5145 w 9237"/>
              <a:gd name="connsiteY131" fmla="*/ 7457 h 9576"/>
              <a:gd name="connsiteX132" fmla="*/ 5044 w 9237"/>
              <a:gd name="connsiteY132" fmla="*/ 7373 h 9576"/>
              <a:gd name="connsiteX133" fmla="*/ 5145 w 9237"/>
              <a:gd name="connsiteY133" fmla="*/ 7288 h 9576"/>
              <a:gd name="connsiteX134" fmla="*/ 5145 w 9237"/>
              <a:gd name="connsiteY134" fmla="*/ 7034 h 9576"/>
              <a:gd name="connsiteX135" fmla="*/ 5327 w 9237"/>
              <a:gd name="connsiteY135" fmla="*/ 7119 h 9576"/>
              <a:gd name="connsiteX136" fmla="*/ 6188 w 9237"/>
              <a:gd name="connsiteY136" fmla="*/ 6865 h 9576"/>
              <a:gd name="connsiteX137" fmla="*/ 6188 w 9237"/>
              <a:gd name="connsiteY137" fmla="*/ 6780 h 9576"/>
              <a:gd name="connsiteX138" fmla="*/ 6288 w 9237"/>
              <a:gd name="connsiteY138" fmla="*/ 6780 h 9576"/>
              <a:gd name="connsiteX139" fmla="*/ 6562 w 9237"/>
              <a:gd name="connsiteY139" fmla="*/ 6780 h 9576"/>
              <a:gd name="connsiteX140" fmla="*/ 6670 w 9237"/>
              <a:gd name="connsiteY140" fmla="*/ 6950 h 9576"/>
              <a:gd name="connsiteX141" fmla="*/ 6670 w 9237"/>
              <a:gd name="connsiteY141" fmla="*/ 7034 h 9576"/>
              <a:gd name="connsiteX142" fmla="*/ 6760 w 9237"/>
              <a:gd name="connsiteY142" fmla="*/ 7034 h 9576"/>
              <a:gd name="connsiteX143" fmla="*/ 6948 w 9237"/>
              <a:gd name="connsiteY143" fmla="*/ 7119 h 9576"/>
              <a:gd name="connsiteX144" fmla="*/ 6948 w 9237"/>
              <a:gd name="connsiteY144" fmla="*/ 7205 h 9576"/>
              <a:gd name="connsiteX145" fmla="*/ 7139 w 9237"/>
              <a:gd name="connsiteY145" fmla="*/ 7205 h 9576"/>
              <a:gd name="connsiteX0" fmla="*/ 9688 w 9798"/>
              <a:gd name="connsiteY0" fmla="*/ 0 h 9645"/>
              <a:gd name="connsiteX1" fmla="*/ 9798 w 9798"/>
              <a:gd name="connsiteY1" fmla="*/ 442 h 9645"/>
              <a:gd name="connsiteX2" fmla="*/ 8659 w 9798"/>
              <a:gd name="connsiteY2" fmla="*/ 619 h 9645"/>
              <a:gd name="connsiteX3" fmla="*/ 8139 w 9798"/>
              <a:gd name="connsiteY3" fmla="*/ 1151 h 9645"/>
              <a:gd name="connsiteX4" fmla="*/ 7409 w 9798"/>
              <a:gd name="connsiteY4" fmla="*/ 2566 h 9645"/>
              <a:gd name="connsiteX5" fmla="*/ 5355 w 9798"/>
              <a:gd name="connsiteY5" fmla="*/ 2655 h 9645"/>
              <a:gd name="connsiteX6" fmla="*/ 5265 w 9798"/>
              <a:gd name="connsiteY6" fmla="*/ 2566 h 9645"/>
              <a:gd name="connsiteX7" fmla="*/ 4645 w 9798"/>
              <a:gd name="connsiteY7" fmla="*/ 2743 h 9645"/>
              <a:gd name="connsiteX8" fmla="*/ 4542 w 9798"/>
              <a:gd name="connsiteY8" fmla="*/ 2919 h 9645"/>
              <a:gd name="connsiteX9" fmla="*/ 4439 w 9798"/>
              <a:gd name="connsiteY9" fmla="*/ 2743 h 9645"/>
              <a:gd name="connsiteX10" fmla="*/ 4439 w 9798"/>
              <a:gd name="connsiteY10" fmla="*/ 2566 h 9645"/>
              <a:gd name="connsiteX11" fmla="*/ 3397 w 9798"/>
              <a:gd name="connsiteY11" fmla="*/ 3096 h 9645"/>
              <a:gd name="connsiteX12" fmla="*/ 3397 w 9798"/>
              <a:gd name="connsiteY12" fmla="*/ 3272 h 9645"/>
              <a:gd name="connsiteX13" fmla="*/ 3197 w 9798"/>
              <a:gd name="connsiteY13" fmla="*/ 3362 h 9645"/>
              <a:gd name="connsiteX14" fmla="*/ 2888 w 9798"/>
              <a:gd name="connsiteY14" fmla="*/ 3185 h 9645"/>
              <a:gd name="connsiteX15" fmla="*/ 3197 w 9798"/>
              <a:gd name="connsiteY15" fmla="*/ 3007 h 9645"/>
              <a:gd name="connsiteX16" fmla="*/ 3086 w 9798"/>
              <a:gd name="connsiteY16" fmla="*/ 2743 h 9645"/>
              <a:gd name="connsiteX17" fmla="*/ 2681 w 9798"/>
              <a:gd name="connsiteY17" fmla="*/ 2655 h 9645"/>
              <a:gd name="connsiteX18" fmla="*/ 2783 w 9798"/>
              <a:gd name="connsiteY18" fmla="*/ 2830 h 9645"/>
              <a:gd name="connsiteX19" fmla="*/ 2783 w 9798"/>
              <a:gd name="connsiteY19" fmla="*/ 3272 h 9645"/>
              <a:gd name="connsiteX20" fmla="*/ 2888 w 9798"/>
              <a:gd name="connsiteY20" fmla="*/ 3451 h 9645"/>
              <a:gd name="connsiteX21" fmla="*/ 2783 w 9798"/>
              <a:gd name="connsiteY21" fmla="*/ 3629 h 9645"/>
              <a:gd name="connsiteX22" fmla="*/ 2467 w 9798"/>
              <a:gd name="connsiteY22" fmla="*/ 3540 h 9645"/>
              <a:gd name="connsiteX23" fmla="*/ 2065 w 9798"/>
              <a:gd name="connsiteY23" fmla="*/ 3803 h 9645"/>
              <a:gd name="connsiteX24" fmla="*/ 2266 w 9798"/>
              <a:gd name="connsiteY24" fmla="*/ 4158 h 9645"/>
              <a:gd name="connsiteX25" fmla="*/ 1644 w 9798"/>
              <a:gd name="connsiteY25" fmla="*/ 3982 h 9645"/>
              <a:gd name="connsiteX26" fmla="*/ 1545 w 9798"/>
              <a:gd name="connsiteY26" fmla="*/ 4069 h 9645"/>
              <a:gd name="connsiteX27" fmla="*/ 1756 w 9798"/>
              <a:gd name="connsiteY27" fmla="*/ 4335 h 9645"/>
              <a:gd name="connsiteX28" fmla="*/ 1545 w 9798"/>
              <a:gd name="connsiteY28" fmla="*/ 4335 h 9645"/>
              <a:gd name="connsiteX29" fmla="*/ 1240 w 9798"/>
              <a:gd name="connsiteY29" fmla="*/ 4158 h 9645"/>
              <a:gd name="connsiteX30" fmla="*/ 1240 w 9798"/>
              <a:gd name="connsiteY30" fmla="*/ 3629 h 9645"/>
              <a:gd name="connsiteX31" fmla="*/ 932 w 9798"/>
              <a:gd name="connsiteY31" fmla="*/ 3451 h 9645"/>
              <a:gd name="connsiteX32" fmla="*/ 825 w 9798"/>
              <a:gd name="connsiteY32" fmla="*/ 3272 h 9645"/>
              <a:gd name="connsiteX33" fmla="*/ 1026 w 9798"/>
              <a:gd name="connsiteY33" fmla="*/ 3362 h 9645"/>
              <a:gd name="connsiteX34" fmla="*/ 1849 w 9798"/>
              <a:gd name="connsiteY34" fmla="*/ 3629 h 9645"/>
              <a:gd name="connsiteX35" fmla="*/ 2361 w 9798"/>
              <a:gd name="connsiteY35" fmla="*/ 3362 h 9645"/>
              <a:gd name="connsiteX36" fmla="*/ 2266 w 9798"/>
              <a:gd name="connsiteY36" fmla="*/ 3096 h 9645"/>
              <a:gd name="connsiteX37" fmla="*/ 1644 w 9798"/>
              <a:gd name="connsiteY37" fmla="*/ 2566 h 9645"/>
              <a:gd name="connsiteX38" fmla="*/ 1026 w 9798"/>
              <a:gd name="connsiteY38" fmla="*/ 2388 h 9645"/>
              <a:gd name="connsiteX39" fmla="*/ 1026 w 9798"/>
              <a:gd name="connsiteY39" fmla="*/ 2301 h 9645"/>
              <a:gd name="connsiteX40" fmla="*/ 825 w 9798"/>
              <a:gd name="connsiteY40" fmla="*/ 2210 h 9645"/>
              <a:gd name="connsiteX41" fmla="*/ 615 w 9798"/>
              <a:gd name="connsiteY41" fmla="*/ 2301 h 9645"/>
              <a:gd name="connsiteX42" fmla="*/ 615 w 9798"/>
              <a:gd name="connsiteY42" fmla="*/ 2388 h 9645"/>
              <a:gd name="connsiteX43" fmla="*/ 513 w 9798"/>
              <a:gd name="connsiteY43" fmla="*/ 2388 h 9645"/>
              <a:gd name="connsiteX44" fmla="*/ 309 w 9798"/>
              <a:gd name="connsiteY44" fmla="*/ 2566 h 9645"/>
              <a:gd name="connsiteX45" fmla="*/ 309 w 9798"/>
              <a:gd name="connsiteY45" fmla="*/ 2830 h 9645"/>
              <a:gd name="connsiteX46" fmla="*/ 513 w 9798"/>
              <a:gd name="connsiteY46" fmla="*/ 3007 h 9645"/>
              <a:gd name="connsiteX47" fmla="*/ 415 w 9798"/>
              <a:gd name="connsiteY47" fmla="*/ 3272 h 9645"/>
              <a:gd name="connsiteX48" fmla="*/ 513 w 9798"/>
              <a:gd name="connsiteY48" fmla="*/ 3717 h 9645"/>
              <a:gd name="connsiteX49" fmla="*/ 415 w 9798"/>
              <a:gd name="connsiteY49" fmla="*/ 3982 h 9645"/>
              <a:gd name="connsiteX50" fmla="*/ 615 w 9798"/>
              <a:gd name="connsiteY50" fmla="*/ 4247 h 9645"/>
              <a:gd name="connsiteX51" fmla="*/ 513 w 9798"/>
              <a:gd name="connsiteY51" fmla="*/ 4425 h 9645"/>
              <a:gd name="connsiteX52" fmla="*/ 718 w 9798"/>
              <a:gd name="connsiteY52" fmla="*/ 4601 h 9645"/>
              <a:gd name="connsiteX53" fmla="*/ 718 w 9798"/>
              <a:gd name="connsiteY53" fmla="*/ 4690 h 9645"/>
              <a:gd name="connsiteX54" fmla="*/ 415 w 9798"/>
              <a:gd name="connsiteY54" fmla="*/ 5133 h 9645"/>
              <a:gd name="connsiteX55" fmla="*/ 94 w 9798"/>
              <a:gd name="connsiteY55" fmla="*/ 5310 h 9645"/>
              <a:gd name="connsiteX56" fmla="*/ 202 w 9798"/>
              <a:gd name="connsiteY56" fmla="*/ 5310 h 9645"/>
              <a:gd name="connsiteX57" fmla="*/ 415 w 9798"/>
              <a:gd name="connsiteY57" fmla="*/ 5486 h 9645"/>
              <a:gd name="connsiteX58" fmla="*/ 202 w 9798"/>
              <a:gd name="connsiteY58" fmla="*/ 5662 h 9645"/>
              <a:gd name="connsiteX59" fmla="*/ 94 w 9798"/>
              <a:gd name="connsiteY59" fmla="*/ 5752 h 9645"/>
              <a:gd name="connsiteX60" fmla="*/ 0 w 9798"/>
              <a:gd name="connsiteY60" fmla="*/ 5752 h 9645"/>
              <a:gd name="connsiteX61" fmla="*/ 94 w 9798"/>
              <a:gd name="connsiteY61" fmla="*/ 6018 h 9645"/>
              <a:gd name="connsiteX62" fmla="*/ 94 w 9798"/>
              <a:gd name="connsiteY62" fmla="*/ 6106 h 9645"/>
              <a:gd name="connsiteX63" fmla="*/ 94 w 9798"/>
              <a:gd name="connsiteY63" fmla="*/ 6193 h 9645"/>
              <a:gd name="connsiteX64" fmla="*/ 94 w 9798"/>
              <a:gd name="connsiteY64" fmla="*/ 6283 h 9645"/>
              <a:gd name="connsiteX65" fmla="*/ 202 w 9798"/>
              <a:gd name="connsiteY65" fmla="*/ 6458 h 9645"/>
              <a:gd name="connsiteX66" fmla="*/ 513 w 9798"/>
              <a:gd name="connsiteY66" fmla="*/ 6548 h 9645"/>
              <a:gd name="connsiteX67" fmla="*/ 615 w 9798"/>
              <a:gd name="connsiteY67" fmla="*/ 6634 h 9645"/>
              <a:gd name="connsiteX68" fmla="*/ 615 w 9798"/>
              <a:gd name="connsiteY68" fmla="*/ 6814 h 9645"/>
              <a:gd name="connsiteX69" fmla="*/ 825 w 9798"/>
              <a:gd name="connsiteY69" fmla="*/ 7079 h 9645"/>
              <a:gd name="connsiteX70" fmla="*/ 932 w 9798"/>
              <a:gd name="connsiteY70" fmla="*/ 7079 h 9645"/>
              <a:gd name="connsiteX71" fmla="*/ 825 w 9798"/>
              <a:gd name="connsiteY71" fmla="*/ 7256 h 9645"/>
              <a:gd name="connsiteX72" fmla="*/ 718 w 9798"/>
              <a:gd name="connsiteY72" fmla="*/ 7169 h 9645"/>
              <a:gd name="connsiteX73" fmla="*/ 718 w 9798"/>
              <a:gd name="connsiteY73" fmla="*/ 7256 h 9645"/>
              <a:gd name="connsiteX74" fmla="*/ 825 w 9798"/>
              <a:gd name="connsiteY74" fmla="*/ 7432 h 9645"/>
              <a:gd name="connsiteX75" fmla="*/ 1141 w 9798"/>
              <a:gd name="connsiteY75" fmla="*/ 7432 h 9645"/>
              <a:gd name="connsiteX76" fmla="*/ 1240 w 9798"/>
              <a:gd name="connsiteY76" fmla="*/ 7521 h 9645"/>
              <a:gd name="connsiteX77" fmla="*/ 1141 w 9798"/>
              <a:gd name="connsiteY77" fmla="*/ 7521 h 9645"/>
              <a:gd name="connsiteX78" fmla="*/ 1240 w 9798"/>
              <a:gd name="connsiteY78" fmla="*/ 7609 h 9645"/>
              <a:gd name="connsiteX79" fmla="*/ 1338 w 9798"/>
              <a:gd name="connsiteY79" fmla="*/ 7609 h 9645"/>
              <a:gd name="connsiteX80" fmla="*/ 1439 w 9798"/>
              <a:gd name="connsiteY80" fmla="*/ 7786 h 9645"/>
              <a:gd name="connsiteX81" fmla="*/ 1545 w 9798"/>
              <a:gd name="connsiteY81" fmla="*/ 7874 h 9645"/>
              <a:gd name="connsiteX82" fmla="*/ 1644 w 9798"/>
              <a:gd name="connsiteY82" fmla="*/ 7786 h 9645"/>
              <a:gd name="connsiteX83" fmla="*/ 2165 w 9798"/>
              <a:gd name="connsiteY83" fmla="*/ 8052 h 9645"/>
              <a:gd name="connsiteX84" fmla="*/ 2065 w 9798"/>
              <a:gd name="connsiteY84" fmla="*/ 8405 h 9645"/>
              <a:gd name="connsiteX85" fmla="*/ 1960 w 9798"/>
              <a:gd name="connsiteY85" fmla="*/ 8318 h 9645"/>
              <a:gd name="connsiteX86" fmla="*/ 1849 w 9798"/>
              <a:gd name="connsiteY86" fmla="*/ 8405 h 9645"/>
              <a:gd name="connsiteX87" fmla="*/ 1849 w 9798"/>
              <a:gd name="connsiteY87" fmla="*/ 8582 h 9645"/>
              <a:gd name="connsiteX88" fmla="*/ 1960 w 9798"/>
              <a:gd name="connsiteY88" fmla="*/ 8495 h 9645"/>
              <a:gd name="connsiteX89" fmla="*/ 2065 w 9798"/>
              <a:gd name="connsiteY89" fmla="*/ 8582 h 9645"/>
              <a:gd name="connsiteX90" fmla="*/ 1756 w 9798"/>
              <a:gd name="connsiteY90" fmla="*/ 8672 h 9645"/>
              <a:gd name="connsiteX91" fmla="*/ 1849 w 9798"/>
              <a:gd name="connsiteY91" fmla="*/ 8760 h 9645"/>
              <a:gd name="connsiteX92" fmla="*/ 1644 w 9798"/>
              <a:gd name="connsiteY92" fmla="*/ 8937 h 9645"/>
              <a:gd name="connsiteX93" fmla="*/ 1545 w 9798"/>
              <a:gd name="connsiteY93" fmla="*/ 8937 h 9645"/>
              <a:gd name="connsiteX94" fmla="*/ 1644 w 9798"/>
              <a:gd name="connsiteY94" fmla="*/ 8937 h 9645"/>
              <a:gd name="connsiteX95" fmla="*/ 2065 w 9798"/>
              <a:gd name="connsiteY95" fmla="*/ 9292 h 9645"/>
              <a:gd name="connsiteX96" fmla="*/ 2580 w 9798"/>
              <a:gd name="connsiteY96" fmla="*/ 9292 h 9645"/>
              <a:gd name="connsiteX97" fmla="*/ 2783 w 9798"/>
              <a:gd name="connsiteY97" fmla="*/ 9380 h 9645"/>
              <a:gd name="connsiteX98" fmla="*/ 2988 w 9798"/>
              <a:gd name="connsiteY98" fmla="*/ 9380 h 9645"/>
              <a:gd name="connsiteX99" fmla="*/ 3197 w 9798"/>
              <a:gd name="connsiteY99" fmla="*/ 9558 h 9645"/>
              <a:gd name="connsiteX100" fmla="*/ 3299 w 9798"/>
              <a:gd name="connsiteY100" fmla="*/ 9645 h 9645"/>
              <a:gd name="connsiteX101" fmla="*/ 3397 w 9798"/>
              <a:gd name="connsiteY101" fmla="*/ 9645 h 9645"/>
              <a:gd name="connsiteX102" fmla="*/ 3507 w 9798"/>
              <a:gd name="connsiteY102" fmla="*/ 9558 h 9645"/>
              <a:gd name="connsiteX103" fmla="*/ 3299 w 9798"/>
              <a:gd name="connsiteY103" fmla="*/ 9380 h 9645"/>
              <a:gd name="connsiteX104" fmla="*/ 3299 w 9798"/>
              <a:gd name="connsiteY104" fmla="*/ 9203 h 9645"/>
              <a:gd name="connsiteX105" fmla="*/ 3197 w 9798"/>
              <a:gd name="connsiteY105" fmla="*/ 9025 h 9645"/>
              <a:gd name="connsiteX106" fmla="*/ 3397 w 9798"/>
              <a:gd name="connsiteY106" fmla="*/ 8760 h 9645"/>
              <a:gd name="connsiteX107" fmla="*/ 3507 w 9798"/>
              <a:gd name="connsiteY107" fmla="*/ 8848 h 9645"/>
              <a:gd name="connsiteX108" fmla="*/ 3606 w 9798"/>
              <a:gd name="connsiteY108" fmla="*/ 8760 h 9645"/>
              <a:gd name="connsiteX109" fmla="*/ 3606 w 9798"/>
              <a:gd name="connsiteY109" fmla="*/ 8672 h 9645"/>
              <a:gd name="connsiteX110" fmla="*/ 3507 w 9798"/>
              <a:gd name="connsiteY110" fmla="*/ 8672 h 9645"/>
              <a:gd name="connsiteX111" fmla="*/ 3606 w 9798"/>
              <a:gd name="connsiteY111" fmla="*/ 8582 h 9645"/>
              <a:gd name="connsiteX112" fmla="*/ 3507 w 9798"/>
              <a:gd name="connsiteY112" fmla="*/ 8405 h 9645"/>
              <a:gd name="connsiteX113" fmla="*/ 3299 w 9798"/>
              <a:gd name="connsiteY113" fmla="*/ 8405 h 9645"/>
              <a:gd name="connsiteX114" fmla="*/ 3197 w 9798"/>
              <a:gd name="connsiteY114" fmla="*/ 8230 h 9645"/>
              <a:gd name="connsiteX115" fmla="*/ 3299 w 9798"/>
              <a:gd name="connsiteY115" fmla="*/ 7786 h 9645"/>
              <a:gd name="connsiteX116" fmla="*/ 3507 w 9798"/>
              <a:gd name="connsiteY116" fmla="*/ 7965 h 9645"/>
              <a:gd name="connsiteX117" fmla="*/ 3606 w 9798"/>
              <a:gd name="connsiteY117" fmla="*/ 7965 h 9645"/>
              <a:gd name="connsiteX118" fmla="*/ 3507 w 9798"/>
              <a:gd name="connsiteY118" fmla="*/ 7786 h 9645"/>
              <a:gd name="connsiteX119" fmla="*/ 3818 w 9798"/>
              <a:gd name="connsiteY119" fmla="*/ 7521 h 9645"/>
              <a:gd name="connsiteX120" fmla="*/ 4026 w 9798"/>
              <a:gd name="connsiteY120" fmla="*/ 7609 h 9645"/>
              <a:gd name="connsiteX121" fmla="*/ 4126 w 9798"/>
              <a:gd name="connsiteY121" fmla="*/ 7521 h 9645"/>
              <a:gd name="connsiteX122" fmla="*/ 4322 w 9798"/>
              <a:gd name="connsiteY122" fmla="*/ 7609 h 9645"/>
              <a:gd name="connsiteX123" fmla="*/ 4645 w 9798"/>
              <a:gd name="connsiteY123" fmla="*/ 7786 h 9645"/>
              <a:gd name="connsiteX124" fmla="*/ 4842 w 9798"/>
              <a:gd name="connsiteY124" fmla="*/ 7698 h 9645"/>
              <a:gd name="connsiteX125" fmla="*/ 5053 w 9798"/>
              <a:gd name="connsiteY125" fmla="*/ 7698 h 9645"/>
              <a:gd name="connsiteX126" fmla="*/ 5158 w 9798"/>
              <a:gd name="connsiteY126" fmla="*/ 7786 h 9645"/>
              <a:gd name="connsiteX127" fmla="*/ 5570 w 9798"/>
              <a:gd name="connsiteY127" fmla="*/ 7786 h 9645"/>
              <a:gd name="connsiteX128" fmla="*/ 5667 w 9798"/>
              <a:gd name="connsiteY128" fmla="*/ 7609 h 9645"/>
              <a:gd name="connsiteX129" fmla="*/ 5355 w 9798"/>
              <a:gd name="connsiteY129" fmla="*/ 7521 h 9645"/>
              <a:gd name="connsiteX130" fmla="*/ 5570 w 9798"/>
              <a:gd name="connsiteY130" fmla="*/ 7432 h 9645"/>
              <a:gd name="connsiteX131" fmla="*/ 5461 w 9798"/>
              <a:gd name="connsiteY131" fmla="*/ 7344 h 9645"/>
              <a:gd name="connsiteX132" fmla="*/ 5570 w 9798"/>
              <a:gd name="connsiteY132" fmla="*/ 7256 h 9645"/>
              <a:gd name="connsiteX133" fmla="*/ 5570 w 9798"/>
              <a:gd name="connsiteY133" fmla="*/ 6990 h 9645"/>
              <a:gd name="connsiteX134" fmla="*/ 5767 w 9798"/>
              <a:gd name="connsiteY134" fmla="*/ 7079 h 9645"/>
              <a:gd name="connsiteX135" fmla="*/ 6699 w 9798"/>
              <a:gd name="connsiteY135" fmla="*/ 6814 h 9645"/>
              <a:gd name="connsiteX136" fmla="*/ 6699 w 9798"/>
              <a:gd name="connsiteY136" fmla="*/ 6725 h 9645"/>
              <a:gd name="connsiteX137" fmla="*/ 6807 w 9798"/>
              <a:gd name="connsiteY137" fmla="*/ 6725 h 9645"/>
              <a:gd name="connsiteX138" fmla="*/ 7104 w 9798"/>
              <a:gd name="connsiteY138" fmla="*/ 6725 h 9645"/>
              <a:gd name="connsiteX139" fmla="*/ 7221 w 9798"/>
              <a:gd name="connsiteY139" fmla="*/ 6903 h 9645"/>
              <a:gd name="connsiteX140" fmla="*/ 7221 w 9798"/>
              <a:gd name="connsiteY140" fmla="*/ 6990 h 9645"/>
              <a:gd name="connsiteX141" fmla="*/ 7318 w 9798"/>
              <a:gd name="connsiteY141" fmla="*/ 6990 h 9645"/>
              <a:gd name="connsiteX142" fmla="*/ 7522 w 9798"/>
              <a:gd name="connsiteY142" fmla="*/ 7079 h 9645"/>
              <a:gd name="connsiteX143" fmla="*/ 7522 w 9798"/>
              <a:gd name="connsiteY143" fmla="*/ 7169 h 9645"/>
              <a:gd name="connsiteX144" fmla="*/ 7729 w 9798"/>
              <a:gd name="connsiteY144" fmla="*/ 7169 h 9645"/>
              <a:gd name="connsiteX0" fmla="*/ 9888 w 9888"/>
              <a:gd name="connsiteY0" fmla="*/ 0 h 10000"/>
              <a:gd name="connsiteX1" fmla="*/ 8838 w 9888"/>
              <a:gd name="connsiteY1" fmla="*/ 642 h 10000"/>
              <a:gd name="connsiteX2" fmla="*/ 8307 w 9888"/>
              <a:gd name="connsiteY2" fmla="*/ 1193 h 10000"/>
              <a:gd name="connsiteX3" fmla="*/ 7562 w 9888"/>
              <a:gd name="connsiteY3" fmla="*/ 2660 h 10000"/>
              <a:gd name="connsiteX4" fmla="*/ 5465 w 9888"/>
              <a:gd name="connsiteY4" fmla="*/ 2753 h 10000"/>
              <a:gd name="connsiteX5" fmla="*/ 5374 w 9888"/>
              <a:gd name="connsiteY5" fmla="*/ 2660 h 10000"/>
              <a:gd name="connsiteX6" fmla="*/ 4741 w 9888"/>
              <a:gd name="connsiteY6" fmla="*/ 2844 h 10000"/>
              <a:gd name="connsiteX7" fmla="*/ 4636 w 9888"/>
              <a:gd name="connsiteY7" fmla="*/ 3026 h 10000"/>
              <a:gd name="connsiteX8" fmla="*/ 4531 w 9888"/>
              <a:gd name="connsiteY8" fmla="*/ 2844 h 10000"/>
              <a:gd name="connsiteX9" fmla="*/ 4531 w 9888"/>
              <a:gd name="connsiteY9" fmla="*/ 2660 h 10000"/>
              <a:gd name="connsiteX10" fmla="*/ 3467 w 9888"/>
              <a:gd name="connsiteY10" fmla="*/ 3210 h 10000"/>
              <a:gd name="connsiteX11" fmla="*/ 3467 w 9888"/>
              <a:gd name="connsiteY11" fmla="*/ 3392 h 10000"/>
              <a:gd name="connsiteX12" fmla="*/ 3263 w 9888"/>
              <a:gd name="connsiteY12" fmla="*/ 3486 h 10000"/>
              <a:gd name="connsiteX13" fmla="*/ 2948 w 9888"/>
              <a:gd name="connsiteY13" fmla="*/ 3302 h 10000"/>
              <a:gd name="connsiteX14" fmla="*/ 3263 w 9888"/>
              <a:gd name="connsiteY14" fmla="*/ 3118 h 10000"/>
              <a:gd name="connsiteX15" fmla="*/ 3150 w 9888"/>
              <a:gd name="connsiteY15" fmla="*/ 2844 h 10000"/>
              <a:gd name="connsiteX16" fmla="*/ 2736 w 9888"/>
              <a:gd name="connsiteY16" fmla="*/ 2753 h 10000"/>
              <a:gd name="connsiteX17" fmla="*/ 2840 w 9888"/>
              <a:gd name="connsiteY17" fmla="*/ 2934 h 10000"/>
              <a:gd name="connsiteX18" fmla="*/ 2840 w 9888"/>
              <a:gd name="connsiteY18" fmla="*/ 3392 h 10000"/>
              <a:gd name="connsiteX19" fmla="*/ 2948 w 9888"/>
              <a:gd name="connsiteY19" fmla="*/ 3578 h 10000"/>
              <a:gd name="connsiteX20" fmla="*/ 2840 w 9888"/>
              <a:gd name="connsiteY20" fmla="*/ 3763 h 10000"/>
              <a:gd name="connsiteX21" fmla="*/ 2518 w 9888"/>
              <a:gd name="connsiteY21" fmla="*/ 3670 h 10000"/>
              <a:gd name="connsiteX22" fmla="*/ 2108 w 9888"/>
              <a:gd name="connsiteY22" fmla="*/ 3943 h 10000"/>
              <a:gd name="connsiteX23" fmla="*/ 2313 w 9888"/>
              <a:gd name="connsiteY23" fmla="*/ 4311 h 10000"/>
              <a:gd name="connsiteX24" fmla="*/ 1678 w 9888"/>
              <a:gd name="connsiteY24" fmla="*/ 4129 h 10000"/>
              <a:gd name="connsiteX25" fmla="*/ 1577 w 9888"/>
              <a:gd name="connsiteY25" fmla="*/ 4219 h 10000"/>
              <a:gd name="connsiteX26" fmla="*/ 1792 w 9888"/>
              <a:gd name="connsiteY26" fmla="*/ 4495 h 10000"/>
              <a:gd name="connsiteX27" fmla="*/ 1577 w 9888"/>
              <a:gd name="connsiteY27" fmla="*/ 4495 h 10000"/>
              <a:gd name="connsiteX28" fmla="*/ 1266 w 9888"/>
              <a:gd name="connsiteY28" fmla="*/ 4311 h 10000"/>
              <a:gd name="connsiteX29" fmla="*/ 1266 w 9888"/>
              <a:gd name="connsiteY29" fmla="*/ 3763 h 10000"/>
              <a:gd name="connsiteX30" fmla="*/ 951 w 9888"/>
              <a:gd name="connsiteY30" fmla="*/ 3578 h 10000"/>
              <a:gd name="connsiteX31" fmla="*/ 842 w 9888"/>
              <a:gd name="connsiteY31" fmla="*/ 3392 h 10000"/>
              <a:gd name="connsiteX32" fmla="*/ 1047 w 9888"/>
              <a:gd name="connsiteY32" fmla="*/ 3486 h 10000"/>
              <a:gd name="connsiteX33" fmla="*/ 1887 w 9888"/>
              <a:gd name="connsiteY33" fmla="*/ 3763 h 10000"/>
              <a:gd name="connsiteX34" fmla="*/ 2410 w 9888"/>
              <a:gd name="connsiteY34" fmla="*/ 3486 h 10000"/>
              <a:gd name="connsiteX35" fmla="*/ 2313 w 9888"/>
              <a:gd name="connsiteY35" fmla="*/ 3210 h 10000"/>
              <a:gd name="connsiteX36" fmla="*/ 1678 w 9888"/>
              <a:gd name="connsiteY36" fmla="*/ 2660 h 10000"/>
              <a:gd name="connsiteX37" fmla="*/ 1047 w 9888"/>
              <a:gd name="connsiteY37" fmla="*/ 2476 h 10000"/>
              <a:gd name="connsiteX38" fmla="*/ 1047 w 9888"/>
              <a:gd name="connsiteY38" fmla="*/ 2386 h 10000"/>
              <a:gd name="connsiteX39" fmla="*/ 842 w 9888"/>
              <a:gd name="connsiteY39" fmla="*/ 2291 h 10000"/>
              <a:gd name="connsiteX40" fmla="*/ 628 w 9888"/>
              <a:gd name="connsiteY40" fmla="*/ 2386 h 10000"/>
              <a:gd name="connsiteX41" fmla="*/ 628 w 9888"/>
              <a:gd name="connsiteY41" fmla="*/ 2476 h 10000"/>
              <a:gd name="connsiteX42" fmla="*/ 524 w 9888"/>
              <a:gd name="connsiteY42" fmla="*/ 2476 h 10000"/>
              <a:gd name="connsiteX43" fmla="*/ 315 w 9888"/>
              <a:gd name="connsiteY43" fmla="*/ 2660 h 10000"/>
              <a:gd name="connsiteX44" fmla="*/ 315 w 9888"/>
              <a:gd name="connsiteY44" fmla="*/ 2934 h 10000"/>
              <a:gd name="connsiteX45" fmla="*/ 524 w 9888"/>
              <a:gd name="connsiteY45" fmla="*/ 3118 h 10000"/>
              <a:gd name="connsiteX46" fmla="*/ 424 w 9888"/>
              <a:gd name="connsiteY46" fmla="*/ 3392 h 10000"/>
              <a:gd name="connsiteX47" fmla="*/ 524 w 9888"/>
              <a:gd name="connsiteY47" fmla="*/ 3854 h 10000"/>
              <a:gd name="connsiteX48" fmla="*/ 424 w 9888"/>
              <a:gd name="connsiteY48" fmla="*/ 4129 h 10000"/>
              <a:gd name="connsiteX49" fmla="*/ 628 w 9888"/>
              <a:gd name="connsiteY49" fmla="*/ 4403 h 10000"/>
              <a:gd name="connsiteX50" fmla="*/ 524 w 9888"/>
              <a:gd name="connsiteY50" fmla="*/ 4588 h 10000"/>
              <a:gd name="connsiteX51" fmla="*/ 733 w 9888"/>
              <a:gd name="connsiteY51" fmla="*/ 4770 h 10000"/>
              <a:gd name="connsiteX52" fmla="*/ 733 w 9888"/>
              <a:gd name="connsiteY52" fmla="*/ 4863 h 10000"/>
              <a:gd name="connsiteX53" fmla="*/ 424 w 9888"/>
              <a:gd name="connsiteY53" fmla="*/ 5322 h 10000"/>
              <a:gd name="connsiteX54" fmla="*/ 96 w 9888"/>
              <a:gd name="connsiteY54" fmla="*/ 5505 h 10000"/>
              <a:gd name="connsiteX55" fmla="*/ 206 w 9888"/>
              <a:gd name="connsiteY55" fmla="*/ 5505 h 10000"/>
              <a:gd name="connsiteX56" fmla="*/ 424 w 9888"/>
              <a:gd name="connsiteY56" fmla="*/ 5688 h 10000"/>
              <a:gd name="connsiteX57" fmla="*/ 206 w 9888"/>
              <a:gd name="connsiteY57" fmla="*/ 5870 h 10000"/>
              <a:gd name="connsiteX58" fmla="*/ 96 w 9888"/>
              <a:gd name="connsiteY58" fmla="*/ 5964 h 10000"/>
              <a:gd name="connsiteX59" fmla="*/ 0 w 9888"/>
              <a:gd name="connsiteY59" fmla="*/ 5964 h 10000"/>
              <a:gd name="connsiteX60" fmla="*/ 96 w 9888"/>
              <a:gd name="connsiteY60" fmla="*/ 6240 h 10000"/>
              <a:gd name="connsiteX61" fmla="*/ 96 w 9888"/>
              <a:gd name="connsiteY61" fmla="*/ 6331 h 10000"/>
              <a:gd name="connsiteX62" fmla="*/ 96 w 9888"/>
              <a:gd name="connsiteY62" fmla="*/ 6421 h 10000"/>
              <a:gd name="connsiteX63" fmla="*/ 96 w 9888"/>
              <a:gd name="connsiteY63" fmla="*/ 6514 h 10000"/>
              <a:gd name="connsiteX64" fmla="*/ 206 w 9888"/>
              <a:gd name="connsiteY64" fmla="*/ 6696 h 10000"/>
              <a:gd name="connsiteX65" fmla="*/ 524 w 9888"/>
              <a:gd name="connsiteY65" fmla="*/ 6789 h 10000"/>
              <a:gd name="connsiteX66" fmla="*/ 628 w 9888"/>
              <a:gd name="connsiteY66" fmla="*/ 6878 h 10000"/>
              <a:gd name="connsiteX67" fmla="*/ 628 w 9888"/>
              <a:gd name="connsiteY67" fmla="*/ 7065 h 10000"/>
              <a:gd name="connsiteX68" fmla="*/ 842 w 9888"/>
              <a:gd name="connsiteY68" fmla="*/ 7340 h 10000"/>
              <a:gd name="connsiteX69" fmla="*/ 951 w 9888"/>
              <a:gd name="connsiteY69" fmla="*/ 7340 h 10000"/>
              <a:gd name="connsiteX70" fmla="*/ 842 w 9888"/>
              <a:gd name="connsiteY70" fmla="*/ 7523 h 10000"/>
              <a:gd name="connsiteX71" fmla="*/ 733 w 9888"/>
              <a:gd name="connsiteY71" fmla="*/ 7433 h 10000"/>
              <a:gd name="connsiteX72" fmla="*/ 733 w 9888"/>
              <a:gd name="connsiteY72" fmla="*/ 7523 h 10000"/>
              <a:gd name="connsiteX73" fmla="*/ 842 w 9888"/>
              <a:gd name="connsiteY73" fmla="*/ 7706 h 10000"/>
              <a:gd name="connsiteX74" fmla="*/ 1165 w 9888"/>
              <a:gd name="connsiteY74" fmla="*/ 7706 h 10000"/>
              <a:gd name="connsiteX75" fmla="*/ 1266 w 9888"/>
              <a:gd name="connsiteY75" fmla="*/ 7798 h 10000"/>
              <a:gd name="connsiteX76" fmla="*/ 1165 w 9888"/>
              <a:gd name="connsiteY76" fmla="*/ 7798 h 10000"/>
              <a:gd name="connsiteX77" fmla="*/ 1266 w 9888"/>
              <a:gd name="connsiteY77" fmla="*/ 7889 h 10000"/>
              <a:gd name="connsiteX78" fmla="*/ 1366 w 9888"/>
              <a:gd name="connsiteY78" fmla="*/ 7889 h 10000"/>
              <a:gd name="connsiteX79" fmla="*/ 1469 w 9888"/>
              <a:gd name="connsiteY79" fmla="*/ 8073 h 10000"/>
              <a:gd name="connsiteX80" fmla="*/ 1577 w 9888"/>
              <a:gd name="connsiteY80" fmla="*/ 8164 h 10000"/>
              <a:gd name="connsiteX81" fmla="*/ 1678 w 9888"/>
              <a:gd name="connsiteY81" fmla="*/ 8073 h 10000"/>
              <a:gd name="connsiteX82" fmla="*/ 2210 w 9888"/>
              <a:gd name="connsiteY82" fmla="*/ 8348 h 10000"/>
              <a:gd name="connsiteX83" fmla="*/ 2108 w 9888"/>
              <a:gd name="connsiteY83" fmla="*/ 8714 h 10000"/>
              <a:gd name="connsiteX84" fmla="*/ 2000 w 9888"/>
              <a:gd name="connsiteY84" fmla="*/ 8624 h 10000"/>
              <a:gd name="connsiteX85" fmla="*/ 1887 w 9888"/>
              <a:gd name="connsiteY85" fmla="*/ 8714 h 10000"/>
              <a:gd name="connsiteX86" fmla="*/ 1887 w 9888"/>
              <a:gd name="connsiteY86" fmla="*/ 8898 h 10000"/>
              <a:gd name="connsiteX87" fmla="*/ 2000 w 9888"/>
              <a:gd name="connsiteY87" fmla="*/ 8808 h 10000"/>
              <a:gd name="connsiteX88" fmla="*/ 2108 w 9888"/>
              <a:gd name="connsiteY88" fmla="*/ 8898 h 10000"/>
              <a:gd name="connsiteX89" fmla="*/ 1792 w 9888"/>
              <a:gd name="connsiteY89" fmla="*/ 8991 h 10000"/>
              <a:gd name="connsiteX90" fmla="*/ 1887 w 9888"/>
              <a:gd name="connsiteY90" fmla="*/ 9082 h 10000"/>
              <a:gd name="connsiteX91" fmla="*/ 1678 w 9888"/>
              <a:gd name="connsiteY91" fmla="*/ 9266 h 10000"/>
              <a:gd name="connsiteX92" fmla="*/ 1577 w 9888"/>
              <a:gd name="connsiteY92" fmla="*/ 9266 h 10000"/>
              <a:gd name="connsiteX93" fmla="*/ 1678 w 9888"/>
              <a:gd name="connsiteY93" fmla="*/ 9266 h 10000"/>
              <a:gd name="connsiteX94" fmla="*/ 2108 w 9888"/>
              <a:gd name="connsiteY94" fmla="*/ 9634 h 10000"/>
              <a:gd name="connsiteX95" fmla="*/ 2633 w 9888"/>
              <a:gd name="connsiteY95" fmla="*/ 9634 h 10000"/>
              <a:gd name="connsiteX96" fmla="*/ 2840 w 9888"/>
              <a:gd name="connsiteY96" fmla="*/ 9725 h 10000"/>
              <a:gd name="connsiteX97" fmla="*/ 3050 w 9888"/>
              <a:gd name="connsiteY97" fmla="*/ 9725 h 10000"/>
              <a:gd name="connsiteX98" fmla="*/ 3263 w 9888"/>
              <a:gd name="connsiteY98" fmla="*/ 9910 h 10000"/>
              <a:gd name="connsiteX99" fmla="*/ 3367 w 9888"/>
              <a:gd name="connsiteY99" fmla="*/ 10000 h 10000"/>
              <a:gd name="connsiteX100" fmla="*/ 3467 w 9888"/>
              <a:gd name="connsiteY100" fmla="*/ 10000 h 10000"/>
              <a:gd name="connsiteX101" fmla="*/ 3579 w 9888"/>
              <a:gd name="connsiteY101" fmla="*/ 9910 h 10000"/>
              <a:gd name="connsiteX102" fmla="*/ 3367 w 9888"/>
              <a:gd name="connsiteY102" fmla="*/ 9725 h 10000"/>
              <a:gd name="connsiteX103" fmla="*/ 3367 w 9888"/>
              <a:gd name="connsiteY103" fmla="*/ 9542 h 10000"/>
              <a:gd name="connsiteX104" fmla="*/ 3263 w 9888"/>
              <a:gd name="connsiteY104" fmla="*/ 9357 h 10000"/>
              <a:gd name="connsiteX105" fmla="*/ 3467 w 9888"/>
              <a:gd name="connsiteY105" fmla="*/ 9082 h 10000"/>
              <a:gd name="connsiteX106" fmla="*/ 3579 w 9888"/>
              <a:gd name="connsiteY106" fmla="*/ 9174 h 10000"/>
              <a:gd name="connsiteX107" fmla="*/ 3680 w 9888"/>
              <a:gd name="connsiteY107" fmla="*/ 9082 h 10000"/>
              <a:gd name="connsiteX108" fmla="*/ 3680 w 9888"/>
              <a:gd name="connsiteY108" fmla="*/ 8991 h 10000"/>
              <a:gd name="connsiteX109" fmla="*/ 3579 w 9888"/>
              <a:gd name="connsiteY109" fmla="*/ 8991 h 10000"/>
              <a:gd name="connsiteX110" fmla="*/ 3680 w 9888"/>
              <a:gd name="connsiteY110" fmla="*/ 8898 h 10000"/>
              <a:gd name="connsiteX111" fmla="*/ 3579 w 9888"/>
              <a:gd name="connsiteY111" fmla="*/ 8714 h 10000"/>
              <a:gd name="connsiteX112" fmla="*/ 3367 w 9888"/>
              <a:gd name="connsiteY112" fmla="*/ 8714 h 10000"/>
              <a:gd name="connsiteX113" fmla="*/ 3263 w 9888"/>
              <a:gd name="connsiteY113" fmla="*/ 8533 h 10000"/>
              <a:gd name="connsiteX114" fmla="*/ 3367 w 9888"/>
              <a:gd name="connsiteY114" fmla="*/ 8073 h 10000"/>
              <a:gd name="connsiteX115" fmla="*/ 3579 w 9888"/>
              <a:gd name="connsiteY115" fmla="*/ 8258 h 10000"/>
              <a:gd name="connsiteX116" fmla="*/ 3680 w 9888"/>
              <a:gd name="connsiteY116" fmla="*/ 8258 h 10000"/>
              <a:gd name="connsiteX117" fmla="*/ 3579 w 9888"/>
              <a:gd name="connsiteY117" fmla="*/ 8073 h 10000"/>
              <a:gd name="connsiteX118" fmla="*/ 3897 w 9888"/>
              <a:gd name="connsiteY118" fmla="*/ 7798 h 10000"/>
              <a:gd name="connsiteX119" fmla="*/ 4109 w 9888"/>
              <a:gd name="connsiteY119" fmla="*/ 7889 h 10000"/>
              <a:gd name="connsiteX120" fmla="*/ 4211 w 9888"/>
              <a:gd name="connsiteY120" fmla="*/ 7798 h 10000"/>
              <a:gd name="connsiteX121" fmla="*/ 4411 w 9888"/>
              <a:gd name="connsiteY121" fmla="*/ 7889 h 10000"/>
              <a:gd name="connsiteX122" fmla="*/ 4741 w 9888"/>
              <a:gd name="connsiteY122" fmla="*/ 8073 h 10000"/>
              <a:gd name="connsiteX123" fmla="*/ 4942 w 9888"/>
              <a:gd name="connsiteY123" fmla="*/ 7981 h 10000"/>
              <a:gd name="connsiteX124" fmla="*/ 5157 w 9888"/>
              <a:gd name="connsiteY124" fmla="*/ 7981 h 10000"/>
              <a:gd name="connsiteX125" fmla="*/ 5264 w 9888"/>
              <a:gd name="connsiteY125" fmla="*/ 8073 h 10000"/>
              <a:gd name="connsiteX126" fmla="*/ 5685 w 9888"/>
              <a:gd name="connsiteY126" fmla="*/ 8073 h 10000"/>
              <a:gd name="connsiteX127" fmla="*/ 5784 w 9888"/>
              <a:gd name="connsiteY127" fmla="*/ 7889 h 10000"/>
              <a:gd name="connsiteX128" fmla="*/ 5465 w 9888"/>
              <a:gd name="connsiteY128" fmla="*/ 7798 h 10000"/>
              <a:gd name="connsiteX129" fmla="*/ 5685 w 9888"/>
              <a:gd name="connsiteY129" fmla="*/ 7706 h 10000"/>
              <a:gd name="connsiteX130" fmla="*/ 5574 w 9888"/>
              <a:gd name="connsiteY130" fmla="*/ 7614 h 10000"/>
              <a:gd name="connsiteX131" fmla="*/ 5685 w 9888"/>
              <a:gd name="connsiteY131" fmla="*/ 7523 h 10000"/>
              <a:gd name="connsiteX132" fmla="*/ 5685 w 9888"/>
              <a:gd name="connsiteY132" fmla="*/ 7247 h 10000"/>
              <a:gd name="connsiteX133" fmla="*/ 5886 w 9888"/>
              <a:gd name="connsiteY133" fmla="*/ 7340 h 10000"/>
              <a:gd name="connsiteX134" fmla="*/ 6837 w 9888"/>
              <a:gd name="connsiteY134" fmla="*/ 7065 h 10000"/>
              <a:gd name="connsiteX135" fmla="*/ 6837 w 9888"/>
              <a:gd name="connsiteY135" fmla="*/ 6973 h 10000"/>
              <a:gd name="connsiteX136" fmla="*/ 6947 w 9888"/>
              <a:gd name="connsiteY136" fmla="*/ 6973 h 10000"/>
              <a:gd name="connsiteX137" fmla="*/ 7250 w 9888"/>
              <a:gd name="connsiteY137" fmla="*/ 6973 h 10000"/>
              <a:gd name="connsiteX138" fmla="*/ 7370 w 9888"/>
              <a:gd name="connsiteY138" fmla="*/ 7157 h 10000"/>
              <a:gd name="connsiteX139" fmla="*/ 7370 w 9888"/>
              <a:gd name="connsiteY139" fmla="*/ 7247 h 10000"/>
              <a:gd name="connsiteX140" fmla="*/ 7469 w 9888"/>
              <a:gd name="connsiteY140" fmla="*/ 7247 h 10000"/>
              <a:gd name="connsiteX141" fmla="*/ 7677 w 9888"/>
              <a:gd name="connsiteY141" fmla="*/ 7340 h 10000"/>
              <a:gd name="connsiteX142" fmla="*/ 7677 w 9888"/>
              <a:gd name="connsiteY142" fmla="*/ 7433 h 10000"/>
              <a:gd name="connsiteX143" fmla="*/ 7888 w 9888"/>
              <a:gd name="connsiteY143" fmla="*/ 7433 h 10000"/>
              <a:gd name="connsiteX0" fmla="*/ 8938 w 8938"/>
              <a:gd name="connsiteY0" fmla="*/ 0 h 9358"/>
              <a:gd name="connsiteX1" fmla="*/ 8401 w 8938"/>
              <a:gd name="connsiteY1" fmla="*/ 551 h 9358"/>
              <a:gd name="connsiteX2" fmla="*/ 7648 w 8938"/>
              <a:gd name="connsiteY2" fmla="*/ 2018 h 9358"/>
              <a:gd name="connsiteX3" fmla="*/ 5527 w 8938"/>
              <a:gd name="connsiteY3" fmla="*/ 2111 h 9358"/>
              <a:gd name="connsiteX4" fmla="*/ 5435 w 8938"/>
              <a:gd name="connsiteY4" fmla="*/ 2018 h 9358"/>
              <a:gd name="connsiteX5" fmla="*/ 4795 w 8938"/>
              <a:gd name="connsiteY5" fmla="*/ 2202 h 9358"/>
              <a:gd name="connsiteX6" fmla="*/ 4689 w 8938"/>
              <a:gd name="connsiteY6" fmla="*/ 2384 h 9358"/>
              <a:gd name="connsiteX7" fmla="*/ 4582 w 8938"/>
              <a:gd name="connsiteY7" fmla="*/ 2202 h 9358"/>
              <a:gd name="connsiteX8" fmla="*/ 4582 w 8938"/>
              <a:gd name="connsiteY8" fmla="*/ 2018 h 9358"/>
              <a:gd name="connsiteX9" fmla="*/ 3506 w 8938"/>
              <a:gd name="connsiteY9" fmla="*/ 2568 h 9358"/>
              <a:gd name="connsiteX10" fmla="*/ 3506 w 8938"/>
              <a:gd name="connsiteY10" fmla="*/ 2750 h 9358"/>
              <a:gd name="connsiteX11" fmla="*/ 3300 w 8938"/>
              <a:gd name="connsiteY11" fmla="*/ 2844 h 9358"/>
              <a:gd name="connsiteX12" fmla="*/ 2981 w 8938"/>
              <a:gd name="connsiteY12" fmla="*/ 2660 h 9358"/>
              <a:gd name="connsiteX13" fmla="*/ 3300 w 8938"/>
              <a:gd name="connsiteY13" fmla="*/ 2476 h 9358"/>
              <a:gd name="connsiteX14" fmla="*/ 3186 w 8938"/>
              <a:gd name="connsiteY14" fmla="*/ 2202 h 9358"/>
              <a:gd name="connsiteX15" fmla="*/ 2767 w 8938"/>
              <a:gd name="connsiteY15" fmla="*/ 2111 h 9358"/>
              <a:gd name="connsiteX16" fmla="*/ 2872 w 8938"/>
              <a:gd name="connsiteY16" fmla="*/ 2292 h 9358"/>
              <a:gd name="connsiteX17" fmla="*/ 2872 w 8938"/>
              <a:gd name="connsiteY17" fmla="*/ 2750 h 9358"/>
              <a:gd name="connsiteX18" fmla="*/ 2981 w 8938"/>
              <a:gd name="connsiteY18" fmla="*/ 2936 h 9358"/>
              <a:gd name="connsiteX19" fmla="*/ 2872 w 8938"/>
              <a:gd name="connsiteY19" fmla="*/ 3121 h 9358"/>
              <a:gd name="connsiteX20" fmla="*/ 2547 w 8938"/>
              <a:gd name="connsiteY20" fmla="*/ 3028 h 9358"/>
              <a:gd name="connsiteX21" fmla="*/ 2132 w 8938"/>
              <a:gd name="connsiteY21" fmla="*/ 3301 h 9358"/>
              <a:gd name="connsiteX22" fmla="*/ 2339 w 8938"/>
              <a:gd name="connsiteY22" fmla="*/ 3669 h 9358"/>
              <a:gd name="connsiteX23" fmla="*/ 1697 w 8938"/>
              <a:gd name="connsiteY23" fmla="*/ 3487 h 9358"/>
              <a:gd name="connsiteX24" fmla="*/ 1595 w 8938"/>
              <a:gd name="connsiteY24" fmla="*/ 3577 h 9358"/>
              <a:gd name="connsiteX25" fmla="*/ 1812 w 8938"/>
              <a:gd name="connsiteY25" fmla="*/ 3853 h 9358"/>
              <a:gd name="connsiteX26" fmla="*/ 1595 w 8938"/>
              <a:gd name="connsiteY26" fmla="*/ 3853 h 9358"/>
              <a:gd name="connsiteX27" fmla="*/ 1280 w 8938"/>
              <a:gd name="connsiteY27" fmla="*/ 3669 h 9358"/>
              <a:gd name="connsiteX28" fmla="*/ 1280 w 8938"/>
              <a:gd name="connsiteY28" fmla="*/ 3121 h 9358"/>
              <a:gd name="connsiteX29" fmla="*/ 962 w 8938"/>
              <a:gd name="connsiteY29" fmla="*/ 2936 h 9358"/>
              <a:gd name="connsiteX30" fmla="*/ 852 w 8938"/>
              <a:gd name="connsiteY30" fmla="*/ 2750 h 9358"/>
              <a:gd name="connsiteX31" fmla="*/ 1059 w 8938"/>
              <a:gd name="connsiteY31" fmla="*/ 2844 h 9358"/>
              <a:gd name="connsiteX32" fmla="*/ 1908 w 8938"/>
              <a:gd name="connsiteY32" fmla="*/ 3121 h 9358"/>
              <a:gd name="connsiteX33" fmla="*/ 2437 w 8938"/>
              <a:gd name="connsiteY33" fmla="*/ 2844 h 9358"/>
              <a:gd name="connsiteX34" fmla="*/ 2339 w 8938"/>
              <a:gd name="connsiteY34" fmla="*/ 2568 h 9358"/>
              <a:gd name="connsiteX35" fmla="*/ 1697 w 8938"/>
              <a:gd name="connsiteY35" fmla="*/ 2018 h 9358"/>
              <a:gd name="connsiteX36" fmla="*/ 1059 w 8938"/>
              <a:gd name="connsiteY36" fmla="*/ 1834 h 9358"/>
              <a:gd name="connsiteX37" fmla="*/ 1059 w 8938"/>
              <a:gd name="connsiteY37" fmla="*/ 1744 h 9358"/>
              <a:gd name="connsiteX38" fmla="*/ 852 w 8938"/>
              <a:gd name="connsiteY38" fmla="*/ 1649 h 9358"/>
              <a:gd name="connsiteX39" fmla="*/ 635 w 8938"/>
              <a:gd name="connsiteY39" fmla="*/ 1744 h 9358"/>
              <a:gd name="connsiteX40" fmla="*/ 635 w 8938"/>
              <a:gd name="connsiteY40" fmla="*/ 1834 h 9358"/>
              <a:gd name="connsiteX41" fmla="*/ 530 w 8938"/>
              <a:gd name="connsiteY41" fmla="*/ 1834 h 9358"/>
              <a:gd name="connsiteX42" fmla="*/ 319 w 8938"/>
              <a:gd name="connsiteY42" fmla="*/ 2018 h 9358"/>
              <a:gd name="connsiteX43" fmla="*/ 319 w 8938"/>
              <a:gd name="connsiteY43" fmla="*/ 2292 h 9358"/>
              <a:gd name="connsiteX44" fmla="*/ 530 w 8938"/>
              <a:gd name="connsiteY44" fmla="*/ 2476 h 9358"/>
              <a:gd name="connsiteX45" fmla="*/ 429 w 8938"/>
              <a:gd name="connsiteY45" fmla="*/ 2750 h 9358"/>
              <a:gd name="connsiteX46" fmla="*/ 530 w 8938"/>
              <a:gd name="connsiteY46" fmla="*/ 3212 h 9358"/>
              <a:gd name="connsiteX47" fmla="*/ 429 w 8938"/>
              <a:gd name="connsiteY47" fmla="*/ 3487 h 9358"/>
              <a:gd name="connsiteX48" fmla="*/ 635 w 8938"/>
              <a:gd name="connsiteY48" fmla="*/ 3761 h 9358"/>
              <a:gd name="connsiteX49" fmla="*/ 530 w 8938"/>
              <a:gd name="connsiteY49" fmla="*/ 3946 h 9358"/>
              <a:gd name="connsiteX50" fmla="*/ 741 w 8938"/>
              <a:gd name="connsiteY50" fmla="*/ 4128 h 9358"/>
              <a:gd name="connsiteX51" fmla="*/ 741 w 8938"/>
              <a:gd name="connsiteY51" fmla="*/ 4221 h 9358"/>
              <a:gd name="connsiteX52" fmla="*/ 429 w 8938"/>
              <a:gd name="connsiteY52" fmla="*/ 4680 h 9358"/>
              <a:gd name="connsiteX53" fmla="*/ 97 w 8938"/>
              <a:gd name="connsiteY53" fmla="*/ 4863 h 9358"/>
              <a:gd name="connsiteX54" fmla="*/ 208 w 8938"/>
              <a:gd name="connsiteY54" fmla="*/ 4863 h 9358"/>
              <a:gd name="connsiteX55" fmla="*/ 429 w 8938"/>
              <a:gd name="connsiteY55" fmla="*/ 5046 h 9358"/>
              <a:gd name="connsiteX56" fmla="*/ 208 w 8938"/>
              <a:gd name="connsiteY56" fmla="*/ 5228 h 9358"/>
              <a:gd name="connsiteX57" fmla="*/ 97 w 8938"/>
              <a:gd name="connsiteY57" fmla="*/ 5322 h 9358"/>
              <a:gd name="connsiteX58" fmla="*/ 0 w 8938"/>
              <a:gd name="connsiteY58" fmla="*/ 5322 h 9358"/>
              <a:gd name="connsiteX59" fmla="*/ 97 w 8938"/>
              <a:gd name="connsiteY59" fmla="*/ 5598 h 9358"/>
              <a:gd name="connsiteX60" fmla="*/ 97 w 8938"/>
              <a:gd name="connsiteY60" fmla="*/ 5689 h 9358"/>
              <a:gd name="connsiteX61" fmla="*/ 97 w 8938"/>
              <a:gd name="connsiteY61" fmla="*/ 5779 h 9358"/>
              <a:gd name="connsiteX62" fmla="*/ 97 w 8938"/>
              <a:gd name="connsiteY62" fmla="*/ 5872 h 9358"/>
              <a:gd name="connsiteX63" fmla="*/ 208 w 8938"/>
              <a:gd name="connsiteY63" fmla="*/ 6054 h 9358"/>
              <a:gd name="connsiteX64" fmla="*/ 530 w 8938"/>
              <a:gd name="connsiteY64" fmla="*/ 6147 h 9358"/>
              <a:gd name="connsiteX65" fmla="*/ 635 w 8938"/>
              <a:gd name="connsiteY65" fmla="*/ 6236 h 9358"/>
              <a:gd name="connsiteX66" fmla="*/ 635 w 8938"/>
              <a:gd name="connsiteY66" fmla="*/ 6423 h 9358"/>
              <a:gd name="connsiteX67" fmla="*/ 852 w 8938"/>
              <a:gd name="connsiteY67" fmla="*/ 6698 h 9358"/>
              <a:gd name="connsiteX68" fmla="*/ 962 w 8938"/>
              <a:gd name="connsiteY68" fmla="*/ 6698 h 9358"/>
              <a:gd name="connsiteX69" fmla="*/ 852 w 8938"/>
              <a:gd name="connsiteY69" fmla="*/ 6881 h 9358"/>
              <a:gd name="connsiteX70" fmla="*/ 741 w 8938"/>
              <a:gd name="connsiteY70" fmla="*/ 6791 h 9358"/>
              <a:gd name="connsiteX71" fmla="*/ 741 w 8938"/>
              <a:gd name="connsiteY71" fmla="*/ 6881 h 9358"/>
              <a:gd name="connsiteX72" fmla="*/ 852 w 8938"/>
              <a:gd name="connsiteY72" fmla="*/ 7064 h 9358"/>
              <a:gd name="connsiteX73" fmla="*/ 1178 w 8938"/>
              <a:gd name="connsiteY73" fmla="*/ 7064 h 9358"/>
              <a:gd name="connsiteX74" fmla="*/ 1280 w 8938"/>
              <a:gd name="connsiteY74" fmla="*/ 7156 h 9358"/>
              <a:gd name="connsiteX75" fmla="*/ 1178 w 8938"/>
              <a:gd name="connsiteY75" fmla="*/ 7156 h 9358"/>
              <a:gd name="connsiteX76" fmla="*/ 1280 w 8938"/>
              <a:gd name="connsiteY76" fmla="*/ 7247 h 9358"/>
              <a:gd name="connsiteX77" fmla="*/ 1381 w 8938"/>
              <a:gd name="connsiteY77" fmla="*/ 7247 h 9358"/>
              <a:gd name="connsiteX78" fmla="*/ 1486 w 8938"/>
              <a:gd name="connsiteY78" fmla="*/ 7431 h 9358"/>
              <a:gd name="connsiteX79" fmla="*/ 1595 w 8938"/>
              <a:gd name="connsiteY79" fmla="*/ 7522 h 9358"/>
              <a:gd name="connsiteX80" fmla="*/ 1697 w 8938"/>
              <a:gd name="connsiteY80" fmla="*/ 7431 h 9358"/>
              <a:gd name="connsiteX81" fmla="*/ 2235 w 8938"/>
              <a:gd name="connsiteY81" fmla="*/ 7706 h 9358"/>
              <a:gd name="connsiteX82" fmla="*/ 2132 w 8938"/>
              <a:gd name="connsiteY82" fmla="*/ 8072 h 9358"/>
              <a:gd name="connsiteX83" fmla="*/ 2023 w 8938"/>
              <a:gd name="connsiteY83" fmla="*/ 7982 h 9358"/>
              <a:gd name="connsiteX84" fmla="*/ 1908 w 8938"/>
              <a:gd name="connsiteY84" fmla="*/ 8072 h 9358"/>
              <a:gd name="connsiteX85" fmla="*/ 1908 w 8938"/>
              <a:gd name="connsiteY85" fmla="*/ 8256 h 9358"/>
              <a:gd name="connsiteX86" fmla="*/ 2023 w 8938"/>
              <a:gd name="connsiteY86" fmla="*/ 8166 h 9358"/>
              <a:gd name="connsiteX87" fmla="*/ 2132 w 8938"/>
              <a:gd name="connsiteY87" fmla="*/ 8256 h 9358"/>
              <a:gd name="connsiteX88" fmla="*/ 1812 w 8938"/>
              <a:gd name="connsiteY88" fmla="*/ 8349 h 9358"/>
              <a:gd name="connsiteX89" fmla="*/ 1908 w 8938"/>
              <a:gd name="connsiteY89" fmla="*/ 8440 h 9358"/>
              <a:gd name="connsiteX90" fmla="*/ 1697 w 8938"/>
              <a:gd name="connsiteY90" fmla="*/ 8624 h 9358"/>
              <a:gd name="connsiteX91" fmla="*/ 1595 w 8938"/>
              <a:gd name="connsiteY91" fmla="*/ 8624 h 9358"/>
              <a:gd name="connsiteX92" fmla="*/ 1697 w 8938"/>
              <a:gd name="connsiteY92" fmla="*/ 8624 h 9358"/>
              <a:gd name="connsiteX93" fmla="*/ 2132 w 8938"/>
              <a:gd name="connsiteY93" fmla="*/ 8992 h 9358"/>
              <a:gd name="connsiteX94" fmla="*/ 2663 w 8938"/>
              <a:gd name="connsiteY94" fmla="*/ 8992 h 9358"/>
              <a:gd name="connsiteX95" fmla="*/ 2872 w 8938"/>
              <a:gd name="connsiteY95" fmla="*/ 9083 h 9358"/>
              <a:gd name="connsiteX96" fmla="*/ 3085 w 8938"/>
              <a:gd name="connsiteY96" fmla="*/ 9083 h 9358"/>
              <a:gd name="connsiteX97" fmla="*/ 3300 w 8938"/>
              <a:gd name="connsiteY97" fmla="*/ 9268 h 9358"/>
              <a:gd name="connsiteX98" fmla="*/ 3405 w 8938"/>
              <a:gd name="connsiteY98" fmla="*/ 9358 h 9358"/>
              <a:gd name="connsiteX99" fmla="*/ 3506 w 8938"/>
              <a:gd name="connsiteY99" fmla="*/ 9358 h 9358"/>
              <a:gd name="connsiteX100" fmla="*/ 3620 w 8938"/>
              <a:gd name="connsiteY100" fmla="*/ 9268 h 9358"/>
              <a:gd name="connsiteX101" fmla="*/ 3405 w 8938"/>
              <a:gd name="connsiteY101" fmla="*/ 9083 h 9358"/>
              <a:gd name="connsiteX102" fmla="*/ 3405 w 8938"/>
              <a:gd name="connsiteY102" fmla="*/ 8900 h 9358"/>
              <a:gd name="connsiteX103" fmla="*/ 3300 w 8938"/>
              <a:gd name="connsiteY103" fmla="*/ 8715 h 9358"/>
              <a:gd name="connsiteX104" fmla="*/ 3506 w 8938"/>
              <a:gd name="connsiteY104" fmla="*/ 8440 h 9358"/>
              <a:gd name="connsiteX105" fmla="*/ 3620 w 8938"/>
              <a:gd name="connsiteY105" fmla="*/ 8532 h 9358"/>
              <a:gd name="connsiteX106" fmla="*/ 3722 w 8938"/>
              <a:gd name="connsiteY106" fmla="*/ 8440 h 9358"/>
              <a:gd name="connsiteX107" fmla="*/ 3722 w 8938"/>
              <a:gd name="connsiteY107" fmla="*/ 8349 h 9358"/>
              <a:gd name="connsiteX108" fmla="*/ 3620 w 8938"/>
              <a:gd name="connsiteY108" fmla="*/ 8349 h 9358"/>
              <a:gd name="connsiteX109" fmla="*/ 3722 w 8938"/>
              <a:gd name="connsiteY109" fmla="*/ 8256 h 9358"/>
              <a:gd name="connsiteX110" fmla="*/ 3620 w 8938"/>
              <a:gd name="connsiteY110" fmla="*/ 8072 h 9358"/>
              <a:gd name="connsiteX111" fmla="*/ 3405 w 8938"/>
              <a:gd name="connsiteY111" fmla="*/ 8072 h 9358"/>
              <a:gd name="connsiteX112" fmla="*/ 3300 w 8938"/>
              <a:gd name="connsiteY112" fmla="*/ 7891 h 9358"/>
              <a:gd name="connsiteX113" fmla="*/ 3405 w 8938"/>
              <a:gd name="connsiteY113" fmla="*/ 7431 h 9358"/>
              <a:gd name="connsiteX114" fmla="*/ 3620 w 8938"/>
              <a:gd name="connsiteY114" fmla="*/ 7616 h 9358"/>
              <a:gd name="connsiteX115" fmla="*/ 3722 w 8938"/>
              <a:gd name="connsiteY115" fmla="*/ 7616 h 9358"/>
              <a:gd name="connsiteX116" fmla="*/ 3620 w 8938"/>
              <a:gd name="connsiteY116" fmla="*/ 7431 h 9358"/>
              <a:gd name="connsiteX117" fmla="*/ 3941 w 8938"/>
              <a:gd name="connsiteY117" fmla="*/ 7156 h 9358"/>
              <a:gd name="connsiteX118" fmla="*/ 4156 w 8938"/>
              <a:gd name="connsiteY118" fmla="*/ 7247 h 9358"/>
              <a:gd name="connsiteX119" fmla="*/ 4259 w 8938"/>
              <a:gd name="connsiteY119" fmla="*/ 7156 h 9358"/>
              <a:gd name="connsiteX120" fmla="*/ 4461 w 8938"/>
              <a:gd name="connsiteY120" fmla="*/ 7247 h 9358"/>
              <a:gd name="connsiteX121" fmla="*/ 4795 w 8938"/>
              <a:gd name="connsiteY121" fmla="*/ 7431 h 9358"/>
              <a:gd name="connsiteX122" fmla="*/ 4998 w 8938"/>
              <a:gd name="connsiteY122" fmla="*/ 7339 h 9358"/>
              <a:gd name="connsiteX123" fmla="*/ 5215 w 8938"/>
              <a:gd name="connsiteY123" fmla="*/ 7339 h 9358"/>
              <a:gd name="connsiteX124" fmla="*/ 5324 w 8938"/>
              <a:gd name="connsiteY124" fmla="*/ 7431 h 9358"/>
              <a:gd name="connsiteX125" fmla="*/ 5749 w 8938"/>
              <a:gd name="connsiteY125" fmla="*/ 7431 h 9358"/>
              <a:gd name="connsiteX126" fmla="*/ 5850 w 8938"/>
              <a:gd name="connsiteY126" fmla="*/ 7247 h 9358"/>
              <a:gd name="connsiteX127" fmla="*/ 5527 w 8938"/>
              <a:gd name="connsiteY127" fmla="*/ 7156 h 9358"/>
              <a:gd name="connsiteX128" fmla="*/ 5749 w 8938"/>
              <a:gd name="connsiteY128" fmla="*/ 7064 h 9358"/>
              <a:gd name="connsiteX129" fmla="*/ 5637 w 8938"/>
              <a:gd name="connsiteY129" fmla="*/ 6972 h 9358"/>
              <a:gd name="connsiteX130" fmla="*/ 5749 w 8938"/>
              <a:gd name="connsiteY130" fmla="*/ 6881 h 9358"/>
              <a:gd name="connsiteX131" fmla="*/ 5749 w 8938"/>
              <a:gd name="connsiteY131" fmla="*/ 6605 h 9358"/>
              <a:gd name="connsiteX132" fmla="*/ 5953 w 8938"/>
              <a:gd name="connsiteY132" fmla="*/ 6698 h 9358"/>
              <a:gd name="connsiteX133" fmla="*/ 6914 w 8938"/>
              <a:gd name="connsiteY133" fmla="*/ 6423 h 9358"/>
              <a:gd name="connsiteX134" fmla="*/ 6914 w 8938"/>
              <a:gd name="connsiteY134" fmla="*/ 6331 h 9358"/>
              <a:gd name="connsiteX135" fmla="*/ 7026 w 8938"/>
              <a:gd name="connsiteY135" fmla="*/ 6331 h 9358"/>
              <a:gd name="connsiteX136" fmla="*/ 7332 w 8938"/>
              <a:gd name="connsiteY136" fmla="*/ 6331 h 9358"/>
              <a:gd name="connsiteX137" fmla="*/ 7453 w 8938"/>
              <a:gd name="connsiteY137" fmla="*/ 6515 h 9358"/>
              <a:gd name="connsiteX138" fmla="*/ 7453 w 8938"/>
              <a:gd name="connsiteY138" fmla="*/ 6605 h 9358"/>
              <a:gd name="connsiteX139" fmla="*/ 7554 w 8938"/>
              <a:gd name="connsiteY139" fmla="*/ 6605 h 9358"/>
              <a:gd name="connsiteX140" fmla="*/ 7764 w 8938"/>
              <a:gd name="connsiteY140" fmla="*/ 6698 h 9358"/>
              <a:gd name="connsiteX141" fmla="*/ 7764 w 8938"/>
              <a:gd name="connsiteY141" fmla="*/ 6791 h 9358"/>
              <a:gd name="connsiteX142" fmla="*/ 7977 w 8938"/>
              <a:gd name="connsiteY142" fmla="*/ 6791 h 9358"/>
              <a:gd name="connsiteX0" fmla="*/ 9399 w 9399"/>
              <a:gd name="connsiteY0" fmla="*/ 0 h 9411"/>
              <a:gd name="connsiteX1" fmla="*/ 8557 w 9399"/>
              <a:gd name="connsiteY1" fmla="*/ 1567 h 9411"/>
              <a:gd name="connsiteX2" fmla="*/ 6184 w 9399"/>
              <a:gd name="connsiteY2" fmla="*/ 1667 h 9411"/>
              <a:gd name="connsiteX3" fmla="*/ 6081 w 9399"/>
              <a:gd name="connsiteY3" fmla="*/ 1567 h 9411"/>
              <a:gd name="connsiteX4" fmla="*/ 5365 w 9399"/>
              <a:gd name="connsiteY4" fmla="*/ 1764 h 9411"/>
              <a:gd name="connsiteX5" fmla="*/ 5246 w 9399"/>
              <a:gd name="connsiteY5" fmla="*/ 1959 h 9411"/>
              <a:gd name="connsiteX6" fmla="*/ 5126 w 9399"/>
              <a:gd name="connsiteY6" fmla="*/ 1764 h 9411"/>
              <a:gd name="connsiteX7" fmla="*/ 5126 w 9399"/>
              <a:gd name="connsiteY7" fmla="*/ 1567 h 9411"/>
              <a:gd name="connsiteX8" fmla="*/ 3923 w 9399"/>
              <a:gd name="connsiteY8" fmla="*/ 2155 h 9411"/>
              <a:gd name="connsiteX9" fmla="*/ 3923 w 9399"/>
              <a:gd name="connsiteY9" fmla="*/ 2350 h 9411"/>
              <a:gd name="connsiteX10" fmla="*/ 3692 w 9399"/>
              <a:gd name="connsiteY10" fmla="*/ 2450 h 9411"/>
              <a:gd name="connsiteX11" fmla="*/ 3335 w 9399"/>
              <a:gd name="connsiteY11" fmla="*/ 2253 h 9411"/>
              <a:gd name="connsiteX12" fmla="*/ 3692 w 9399"/>
              <a:gd name="connsiteY12" fmla="*/ 2057 h 9411"/>
              <a:gd name="connsiteX13" fmla="*/ 3565 w 9399"/>
              <a:gd name="connsiteY13" fmla="*/ 1764 h 9411"/>
              <a:gd name="connsiteX14" fmla="*/ 3096 w 9399"/>
              <a:gd name="connsiteY14" fmla="*/ 1667 h 9411"/>
              <a:gd name="connsiteX15" fmla="*/ 3213 w 9399"/>
              <a:gd name="connsiteY15" fmla="*/ 1860 h 9411"/>
              <a:gd name="connsiteX16" fmla="*/ 3213 w 9399"/>
              <a:gd name="connsiteY16" fmla="*/ 2350 h 9411"/>
              <a:gd name="connsiteX17" fmla="*/ 3335 w 9399"/>
              <a:gd name="connsiteY17" fmla="*/ 2548 h 9411"/>
              <a:gd name="connsiteX18" fmla="*/ 3213 w 9399"/>
              <a:gd name="connsiteY18" fmla="*/ 2746 h 9411"/>
              <a:gd name="connsiteX19" fmla="*/ 2850 w 9399"/>
              <a:gd name="connsiteY19" fmla="*/ 2647 h 9411"/>
              <a:gd name="connsiteX20" fmla="*/ 2385 w 9399"/>
              <a:gd name="connsiteY20" fmla="*/ 2938 h 9411"/>
              <a:gd name="connsiteX21" fmla="*/ 2617 w 9399"/>
              <a:gd name="connsiteY21" fmla="*/ 3332 h 9411"/>
              <a:gd name="connsiteX22" fmla="*/ 1899 w 9399"/>
              <a:gd name="connsiteY22" fmla="*/ 3137 h 9411"/>
              <a:gd name="connsiteX23" fmla="*/ 1785 w 9399"/>
              <a:gd name="connsiteY23" fmla="*/ 3233 h 9411"/>
              <a:gd name="connsiteX24" fmla="*/ 2027 w 9399"/>
              <a:gd name="connsiteY24" fmla="*/ 3528 h 9411"/>
              <a:gd name="connsiteX25" fmla="*/ 1785 w 9399"/>
              <a:gd name="connsiteY25" fmla="*/ 3528 h 9411"/>
              <a:gd name="connsiteX26" fmla="*/ 1432 w 9399"/>
              <a:gd name="connsiteY26" fmla="*/ 3332 h 9411"/>
              <a:gd name="connsiteX27" fmla="*/ 1432 w 9399"/>
              <a:gd name="connsiteY27" fmla="*/ 2746 h 9411"/>
              <a:gd name="connsiteX28" fmla="*/ 1076 w 9399"/>
              <a:gd name="connsiteY28" fmla="*/ 2548 h 9411"/>
              <a:gd name="connsiteX29" fmla="*/ 953 w 9399"/>
              <a:gd name="connsiteY29" fmla="*/ 2350 h 9411"/>
              <a:gd name="connsiteX30" fmla="*/ 1185 w 9399"/>
              <a:gd name="connsiteY30" fmla="*/ 2450 h 9411"/>
              <a:gd name="connsiteX31" fmla="*/ 2135 w 9399"/>
              <a:gd name="connsiteY31" fmla="*/ 2746 h 9411"/>
              <a:gd name="connsiteX32" fmla="*/ 2727 w 9399"/>
              <a:gd name="connsiteY32" fmla="*/ 2450 h 9411"/>
              <a:gd name="connsiteX33" fmla="*/ 2617 w 9399"/>
              <a:gd name="connsiteY33" fmla="*/ 2155 h 9411"/>
              <a:gd name="connsiteX34" fmla="*/ 1899 w 9399"/>
              <a:gd name="connsiteY34" fmla="*/ 1567 h 9411"/>
              <a:gd name="connsiteX35" fmla="*/ 1185 w 9399"/>
              <a:gd name="connsiteY35" fmla="*/ 1371 h 9411"/>
              <a:gd name="connsiteX36" fmla="*/ 1185 w 9399"/>
              <a:gd name="connsiteY36" fmla="*/ 1275 h 9411"/>
              <a:gd name="connsiteX37" fmla="*/ 953 w 9399"/>
              <a:gd name="connsiteY37" fmla="*/ 1173 h 9411"/>
              <a:gd name="connsiteX38" fmla="*/ 710 w 9399"/>
              <a:gd name="connsiteY38" fmla="*/ 1275 h 9411"/>
              <a:gd name="connsiteX39" fmla="*/ 710 w 9399"/>
              <a:gd name="connsiteY39" fmla="*/ 1371 h 9411"/>
              <a:gd name="connsiteX40" fmla="*/ 593 w 9399"/>
              <a:gd name="connsiteY40" fmla="*/ 1371 h 9411"/>
              <a:gd name="connsiteX41" fmla="*/ 357 w 9399"/>
              <a:gd name="connsiteY41" fmla="*/ 1567 h 9411"/>
              <a:gd name="connsiteX42" fmla="*/ 357 w 9399"/>
              <a:gd name="connsiteY42" fmla="*/ 1860 h 9411"/>
              <a:gd name="connsiteX43" fmla="*/ 593 w 9399"/>
              <a:gd name="connsiteY43" fmla="*/ 2057 h 9411"/>
              <a:gd name="connsiteX44" fmla="*/ 480 w 9399"/>
              <a:gd name="connsiteY44" fmla="*/ 2350 h 9411"/>
              <a:gd name="connsiteX45" fmla="*/ 593 w 9399"/>
              <a:gd name="connsiteY45" fmla="*/ 2843 h 9411"/>
              <a:gd name="connsiteX46" fmla="*/ 480 w 9399"/>
              <a:gd name="connsiteY46" fmla="*/ 3137 h 9411"/>
              <a:gd name="connsiteX47" fmla="*/ 710 w 9399"/>
              <a:gd name="connsiteY47" fmla="*/ 3430 h 9411"/>
              <a:gd name="connsiteX48" fmla="*/ 593 w 9399"/>
              <a:gd name="connsiteY48" fmla="*/ 3628 h 9411"/>
              <a:gd name="connsiteX49" fmla="*/ 829 w 9399"/>
              <a:gd name="connsiteY49" fmla="*/ 3822 h 9411"/>
              <a:gd name="connsiteX50" fmla="*/ 829 w 9399"/>
              <a:gd name="connsiteY50" fmla="*/ 3922 h 9411"/>
              <a:gd name="connsiteX51" fmla="*/ 480 w 9399"/>
              <a:gd name="connsiteY51" fmla="*/ 4412 h 9411"/>
              <a:gd name="connsiteX52" fmla="*/ 109 w 9399"/>
              <a:gd name="connsiteY52" fmla="*/ 4608 h 9411"/>
              <a:gd name="connsiteX53" fmla="*/ 233 w 9399"/>
              <a:gd name="connsiteY53" fmla="*/ 4608 h 9411"/>
              <a:gd name="connsiteX54" fmla="*/ 480 w 9399"/>
              <a:gd name="connsiteY54" fmla="*/ 4803 h 9411"/>
              <a:gd name="connsiteX55" fmla="*/ 233 w 9399"/>
              <a:gd name="connsiteY55" fmla="*/ 4998 h 9411"/>
              <a:gd name="connsiteX56" fmla="*/ 109 w 9399"/>
              <a:gd name="connsiteY56" fmla="*/ 5098 h 9411"/>
              <a:gd name="connsiteX57" fmla="*/ 0 w 9399"/>
              <a:gd name="connsiteY57" fmla="*/ 5098 h 9411"/>
              <a:gd name="connsiteX58" fmla="*/ 109 w 9399"/>
              <a:gd name="connsiteY58" fmla="*/ 5393 h 9411"/>
              <a:gd name="connsiteX59" fmla="*/ 109 w 9399"/>
              <a:gd name="connsiteY59" fmla="*/ 5490 h 9411"/>
              <a:gd name="connsiteX60" fmla="*/ 109 w 9399"/>
              <a:gd name="connsiteY60" fmla="*/ 5586 h 9411"/>
              <a:gd name="connsiteX61" fmla="*/ 109 w 9399"/>
              <a:gd name="connsiteY61" fmla="*/ 5686 h 9411"/>
              <a:gd name="connsiteX62" fmla="*/ 233 w 9399"/>
              <a:gd name="connsiteY62" fmla="*/ 5880 h 9411"/>
              <a:gd name="connsiteX63" fmla="*/ 593 w 9399"/>
              <a:gd name="connsiteY63" fmla="*/ 5980 h 9411"/>
              <a:gd name="connsiteX64" fmla="*/ 710 w 9399"/>
              <a:gd name="connsiteY64" fmla="*/ 6075 h 9411"/>
              <a:gd name="connsiteX65" fmla="*/ 710 w 9399"/>
              <a:gd name="connsiteY65" fmla="*/ 6275 h 9411"/>
              <a:gd name="connsiteX66" fmla="*/ 953 w 9399"/>
              <a:gd name="connsiteY66" fmla="*/ 6569 h 9411"/>
              <a:gd name="connsiteX67" fmla="*/ 1076 w 9399"/>
              <a:gd name="connsiteY67" fmla="*/ 6569 h 9411"/>
              <a:gd name="connsiteX68" fmla="*/ 953 w 9399"/>
              <a:gd name="connsiteY68" fmla="*/ 6764 h 9411"/>
              <a:gd name="connsiteX69" fmla="*/ 829 w 9399"/>
              <a:gd name="connsiteY69" fmla="*/ 6668 h 9411"/>
              <a:gd name="connsiteX70" fmla="*/ 829 w 9399"/>
              <a:gd name="connsiteY70" fmla="*/ 6764 h 9411"/>
              <a:gd name="connsiteX71" fmla="*/ 953 w 9399"/>
              <a:gd name="connsiteY71" fmla="*/ 6960 h 9411"/>
              <a:gd name="connsiteX72" fmla="*/ 1318 w 9399"/>
              <a:gd name="connsiteY72" fmla="*/ 6960 h 9411"/>
              <a:gd name="connsiteX73" fmla="*/ 1432 w 9399"/>
              <a:gd name="connsiteY73" fmla="*/ 7058 h 9411"/>
              <a:gd name="connsiteX74" fmla="*/ 1318 w 9399"/>
              <a:gd name="connsiteY74" fmla="*/ 7058 h 9411"/>
              <a:gd name="connsiteX75" fmla="*/ 1432 w 9399"/>
              <a:gd name="connsiteY75" fmla="*/ 7155 h 9411"/>
              <a:gd name="connsiteX76" fmla="*/ 1545 w 9399"/>
              <a:gd name="connsiteY76" fmla="*/ 7155 h 9411"/>
              <a:gd name="connsiteX77" fmla="*/ 1663 w 9399"/>
              <a:gd name="connsiteY77" fmla="*/ 7352 h 9411"/>
              <a:gd name="connsiteX78" fmla="*/ 1785 w 9399"/>
              <a:gd name="connsiteY78" fmla="*/ 7449 h 9411"/>
              <a:gd name="connsiteX79" fmla="*/ 1899 w 9399"/>
              <a:gd name="connsiteY79" fmla="*/ 7352 h 9411"/>
              <a:gd name="connsiteX80" fmla="*/ 2501 w 9399"/>
              <a:gd name="connsiteY80" fmla="*/ 7646 h 9411"/>
              <a:gd name="connsiteX81" fmla="*/ 2385 w 9399"/>
              <a:gd name="connsiteY81" fmla="*/ 8037 h 9411"/>
              <a:gd name="connsiteX82" fmla="*/ 2263 w 9399"/>
              <a:gd name="connsiteY82" fmla="*/ 7941 h 9411"/>
              <a:gd name="connsiteX83" fmla="*/ 2135 w 9399"/>
              <a:gd name="connsiteY83" fmla="*/ 8037 h 9411"/>
              <a:gd name="connsiteX84" fmla="*/ 2135 w 9399"/>
              <a:gd name="connsiteY84" fmla="*/ 8233 h 9411"/>
              <a:gd name="connsiteX85" fmla="*/ 2263 w 9399"/>
              <a:gd name="connsiteY85" fmla="*/ 8137 h 9411"/>
              <a:gd name="connsiteX86" fmla="*/ 2385 w 9399"/>
              <a:gd name="connsiteY86" fmla="*/ 8233 h 9411"/>
              <a:gd name="connsiteX87" fmla="*/ 2027 w 9399"/>
              <a:gd name="connsiteY87" fmla="*/ 8333 h 9411"/>
              <a:gd name="connsiteX88" fmla="*/ 2135 w 9399"/>
              <a:gd name="connsiteY88" fmla="*/ 8430 h 9411"/>
              <a:gd name="connsiteX89" fmla="*/ 1899 w 9399"/>
              <a:gd name="connsiteY89" fmla="*/ 8627 h 9411"/>
              <a:gd name="connsiteX90" fmla="*/ 1785 w 9399"/>
              <a:gd name="connsiteY90" fmla="*/ 8627 h 9411"/>
              <a:gd name="connsiteX91" fmla="*/ 1899 w 9399"/>
              <a:gd name="connsiteY91" fmla="*/ 8627 h 9411"/>
              <a:gd name="connsiteX92" fmla="*/ 2385 w 9399"/>
              <a:gd name="connsiteY92" fmla="*/ 9020 h 9411"/>
              <a:gd name="connsiteX93" fmla="*/ 2979 w 9399"/>
              <a:gd name="connsiteY93" fmla="*/ 9020 h 9411"/>
              <a:gd name="connsiteX94" fmla="*/ 3213 w 9399"/>
              <a:gd name="connsiteY94" fmla="*/ 9117 h 9411"/>
              <a:gd name="connsiteX95" fmla="*/ 3452 w 9399"/>
              <a:gd name="connsiteY95" fmla="*/ 9117 h 9411"/>
              <a:gd name="connsiteX96" fmla="*/ 3692 w 9399"/>
              <a:gd name="connsiteY96" fmla="*/ 9315 h 9411"/>
              <a:gd name="connsiteX97" fmla="*/ 3810 w 9399"/>
              <a:gd name="connsiteY97" fmla="*/ 9411 h 9411"/>
              <a:gd name="connsiteX98" fmla="*/ 3923 w 9399"/>
              <a:gd name="connsiteY98" fmla="*/ 9411 h 9411"/>
              <a:gd name="connsiteX99" fmla="*/ 4050 w 9399"/>
              <a:gd name="connsiteY99" fmla="*/ 9315 h 9411"/>
              <a:gd name="connsiteX100" fmla="*/ 3810 w 9399"/>
              <a:gd name="connsiteY100" fmla="*/ 9117 h 9411"/>
              <a:gd name="connsiteX101" fmla="*/ 3810 w 9399"/>
              <a:gd name="connsiteY101" fmla="*/ 8922 h 9411"/>
              <a:gd name="connsiteX102" fmla="*/ 3692 w 9399"/>
              <a:gd name="connsiteY102" fmla="*/ 8724 h 9411"/>
              <a:gd name="connsiteX103" fmla="*/ 3923 w 9399"/>
              <a:gd name="connsiteY103" fmla="*/ 8430 h 9411"/>
              <a:gd name="connsiteX104" fmla="*/ 4050 w 9399"/>
              <a:gd name="connsiteY104" fmla="*/ 8528 h 9411"/>
              <a:gd name="connsiteX105" fmla="*/ 4164 w 9399"/>
              <a:gd name="connsiteY105" fmla="*/ 8430 h 9411"/>
              <a:gd name="connsiteX106" fmla="*/ 4164 w 9399"/>
              <a:gd name="connsiteY106" fmla="*/ 8333 h 9411"/>
              <a:gd name="connsiteX107" fmla="*/ 4050 w 9399"/>
              <a:gd name="connsiteY107" fmla="*/ 8333 h 9411"/>
              <a:gd name="connsiteX108" fmla="*/ 4164 w 9399"/>
              <a:gd name="connsiteY108" fmla="*/ 8233 h 9411"/>
              <a:gd name="connsiteX109" fmla="*/ 4050 w 9399"/>
              <a:gd name="connsiteY109" fmla="*/ 8037 h 9411"/>
              <a:gd name="connsiteX110" fmla="*/ 3810 w 9399"/>
              <a:gd name="connsiteY110" fmla="*/ 8037 h 9411"/>
              <a:gd name="connsiteX111" fmla="*/ 3692 w 9399"/>
              <a:gd name="connsiteY111" fmla="*/ 7843 h 9411"/>
              <a:gd name="connsiteX112" fmla="*/ 3810 w 9399"/>
              <a:gd name="connsiteY112" fmla="*/ 7352 h 9411"/>
              <a:gd name="connsiteX113" fmla="*/ 4050 w 9399"/>
              <a:gd name="connsiteY113" fmla="*/ 7549 h 9411"/>
              <a:gd name="connsiteX114" fmla="*/ 4164 w 9399"/>
              <a:gd name="connsiteY114" fmla="*/ 7549 h 9411"/>
              <a:gd name="connsiteX115" fmla="*/ 4050 w 9399"/>
              <a:gd name="connsiteY115" fmla="*/ 7352 h 9411"/>
              <a:gd name="connsiteX116" fmla="*/ 4409 w 9399"/>
              <a:gd name="connsiteY116" fmla="*/ 7058 h 9411"/>
              <a:gd name="connsiteX117" fmla="*/ 4650 w 9399"/>
              <a:gd name="connsiteY117" fmla="*/ 7155 h 9411"/>
              <a:gd name="connsiteX118" fmla="*/ 4765 w 9399"/>
              <a:gd name="connsiteY118" fmla="*/ 7058 h 9411"/>
              <a:gd name="connsiteX119" fmla="*/ 4991 w 9399"/>
              <a:gd name="connsiteY119" fmla="*/ 7155 h 9411"/>
              <a:gd name="connsiteX120" fmla="*/ 5365 w 9399"/>
              <a:gd name="connsiteY120" fmla="*/ 7352 h 9411"/>
              <a:gd name="connsiteX121" fmla="*/ 5592 w 9399"/>
              <a:gd name="connsiteY121" fmla="*/ 7253 h 9411"/>
              <a:gd name="connsiteX122" fmla="*/ 5835 w 9399"/>
              <a:gd name="connsiteY122" fmla="*/ 7253 h 9411"/>
              <a:gd name="connsiteX123" fmla="*/ 5957 w 9399"/>
              <a:gd name="connsiteY123" fmla="*/ 7352 h 9411"/>
              <a:gd name="connsiteX124" fmla="*/ 6432 w 9399"/>
              <a:gd name="connsiteY124" fmla="*/ 7352 h 9411"/>
              <a:gd name="connsiteX125" fmla="*/ 6545 w 9399"/>
              <a:gd name="connsiteY125" fmla="*/ 7155 h 9411"/>
              <a:gd name="connsiteX126" fmla="*/ 6184 w 9399"/>
              <a:gd name="connsiteY126" fmla="*/ 7058 h 9411"/>
              <a:gd name="connsiteX127" fmla="*/ 6432 w 9399"/>
              <a:gd name="connsiteY127" fmla="*/ 6960 h 9411"/>
              <a:gd name="connsiteX128" fmla="*/ 6307 w 9399"/>
              <a:gd name="connsiteY128" fmla="*/ 6861 h 9411"/>
              <a:gd name="connsiteX129" fmla="*/ 6432 w 9399"/>
              <a:gd name="connsiteY129" fmla="*/ 6764 h 9411"/>
              <a:gd name="connsiteX130" fmla="*/ 6432 w 9399"/>
              <a:gd name="connsiteY130" fmla="*/ 6469 h 9411"/>
              <a:gd name="connsiteX131" fmla="*/ 6660 w 9399"/>
              <a:gd name="connsiteY131" fmla="*/ 6569 h 9411"/>
              <a:gd name="connsiteX132" fmla="*/ 7736 w 9399"/>
              <a:gd name="connsiteY132" fmla="*/ 6275 h 9411"/>
              <a:gd name="connsiteX133" fmla="*/ 7736 w 9399"/>
              <a:gd name="connsiteY133" fmla="*/ 6176 h 9411"/>
              <a:gd name="connsiteX134" fmla="*/ 7861 w 9399"/>
              <a:gd name="connsiteY134" fmla="*/ 6176 h 9411"/>
              <a:gd name="connsiteX135" fmla="*/ 8203 w 9399"/>
              <a:gd name="connsiteY135" fmla="*/ 6176 h 9411"/>
              <a:gd name="connsiteX136" fmla="*/ 8339 w 9399"/>
              <a:gd name="connsiteY136" fmla="*/ 6373 h 9411"/>
              <a:gd name="connsiteX137" fmla="*/ 8339 w 9399"/>
              <a:gd name="connsiteY137" fmla="*/ 6469 h 9411"/>
              <a:gd name="connsiteX138" fmla="*/ 8452 w 9399"/>
              <a:gd name="connsiteY138" fmla="*/ 6469 h 9411"/>
              <a:gd name="connsiteX139" fmla="*/ 8687 w 9399"/>
              <a:gd name="connsiteY139" fmla="*/ 6569 h 9411"/>
              <a:gd name="connsiteX140" fmla="*/ 8687 w 9399"/>
              <a:gd name="connsiteY140" fmla="*/ 6668 h 9411"/>
              <a:gd name="connsiteX141" fmla="*/ 8925 w 9399"/>
              <a:gd name="connsiteY141" fmla="*/ 6668 h 9411"/>
              <a:gd name="connsiteX0" fmla="*/ 9104 w 9496"/>
              <a:gd name="connsiteY0" fmla="*/ 419 h 8754"/>
              <a:gd name="connsiteX1" fmla="*/ 6579 w 9496"/>
              <a:gd name="connsiteY1" fmla="*/ 525 h 8754"/>
              <a:gd name="connsiteX2" fmla="*/ 6470 w 9496"/>
              <a:gd name="connsiteY2" fmla="*/ 419 h 8754"/>
              <a:gd name="connsiteX3" fmla="*/ 5708 w 9496"/>
              <a:gd name="connsiteY3" fmla="*/ 628 h 8754"/>
              <a:gd name="connsiteX4" fmla="*/ 5581 w 9496"/>
              <a:gd name="connsiteY4" fmla="*/ 836 h 8754"/>
              <a:gd name="connsiteX5" fmla="*/ 5454 w 9496"/>
              <a:gd name="connsiteY5" fmla="*/ 628 h 8754"/>
              <a:gd name="connsiteX6" fmla="*/ 5454 w 9496"/>
              <a:gd name="connsiteY6" fmla="*/ 419 h 8754"/>
              <a:gd name="connsiteX7" fmla="*/ 4174 w 9496"/>
              <a:gd name="connsiteY7" fmla="*/ 1044 h 8754"/>
              <a:gd name="connsiteX8" fmla="*/ 4174 w 9496"/>
              <a:gd name="connsiteY8" fmla="*/ 1251 h 8754"/>
              <a:gd name="connsiteX9" fmla="*/ 3928 w 9496"/>
              <a:gd name="connsiteY9" fmla="*/ 1357 h 8754"/>
              <a:gd name="connsiteX10" fmla="*/ 3548 w 9496"/>
              <a:gd name="connsiteY10" fmla="*/ 1148 h 8754"/>
              <a:gd name="connsiteX11" fmla="*/ 3928 w 9496"/>
              <a:gd name="connsiteY11" fmla="*/ 940 h 8754"/>
              <a:gd name="connsiteX12" fmla="*/ 3793 w 9496"/>
              <a:gd name="connsiteY12" fmla="*/ 628 h 8754"/>
              <a:gd name="connsiteX13" fmla="*/ 3294 w 9496"/>
              <a:gd name="connsiteY13" fmla="*/ 525 h 8754"/>
              <a:gd name="connsiteX14" fmla="*/ 3418 w 9496"/>
              <a:gd name="connsiteY14" fmla="*/ 730 h 8754"/>
              <a:gd name="connsiteX15" fmla="*/ 3418 w 9496"/>
              <a:gd name="connsiteY15" fmla="*/ 1251 h 8754"/>
              <a:gd name="connsiteX16" fmla="*/ 3548 w 9496"/>
              <a:gd name="connsiteY16" fmla="*/ 1461 h 8754"/>
              <a:gd name="connsiteX17" fmla="*/ 3418 w 9496"/>
              <a:gd name="connsiteY17" fmla="*/ 1672 h 8754"/>
              <a:gd name="connsiteX18" fmla="*/ 3032 w 9496"/>
              <a:gd name="connsiteY18" fmla="*/ 1567 h 8754"/>
              <a:gd name="connsiteX19" fmla="*/ 2538 w 9496"/>
              <a:gd name="connsiteY19" fmla="*/ 1876 h 8754"/>
              <a:gd name="connsiteX20" fmla="*/ 2784 w 9496"/>
              <a:gd name="connsiteY20" fmla="*/ 2295 h 8754"/>
              <a:gd name="connsiteX21" fmla="*/ 2020 w 9496"/>
              <a:gd name="connsiteY21" fmla="*/ 2087 h 8754"/>
              <a:gd name="connsiteX22" fmla="*/ 1899 w 9496"/>
              <a:gd name="connsiteY22" fmla="*/ 2189 h 8754"/>
              <a:gd name="connsiteX23" fmla="*/ 2157 w 9496"/>
              <a:gd name="connsiteY23" fmla="*/ 2503 h 8754"/>
              <a:gd name="connsiteX24" fmla="*/ 1899 w 9496"/>
              <a:gd name="connsiteY24" fmla="*/ 2503 h 8754"/>
              <a:gd name="connsiteX25" fmla="*/ 1524 w 9496"/>
              <a:gd name="connsiteY25" fmla="*/ 2295 h 8754"/>
              <a:gd name="connsiteX26" fmla="*/ 1524 w 9496"/>
              <a:gd name="connsiteY26" fmla="*/ 1672 h 8754"/>
              <a:gd name="connsiteX27" fmla="*/ 1145 w 9496"/>
              <a:gd name="connsiteY27" fmla="*/ 1461 h 8754"/>
              <a:gd name="connsiteX28" fmla="*/ 1014 w 9496"/>
              <a:gd name="connsiteY28" fmla="*/ 1251 h 8754"/>
              <a:gd name="connsiteX29" fmla="*/ 1261 w 9496"/>
              <a:gd name="connsiteY29" fmla="*/ 1357 h 8754"/>
              <a:gd name="connsiteX30" fmla="*/ 2272 w 9496"/>
              <a:gd name="connsiteY30" fmla="*/ 1672 h 8754"/>
              <a:gd name="connsiteX31" fmla="*/ 2901 w 9496"/>
              <a:gd name="connsiteY31" fmla="*/ 1357 h 8754"/>
              <a:gd name="connsiteX32" fmla="*/ 2784 w 9496"/>
              <a:gd name="connsiteY32" fmla="*/ 1044 h 8754"/>
              <a:gd name="connsiteX33" fmla="*/ 2020 w 9496"/>
              <a:gd name="connsiteY33" fmla="*/ 419 h 8754"/>
              <a:gd name="connsiteX34" fmla="*/ 1261 w 9496"/>
              <a:gd name="connsiteY34" fmla="*/ 211 h 8754"/>
              <a:gd name="connsiteX35" fmla="*/ 1261 w 9496"/>
              <a:gd name="connsiteY35" fmla="*/ 109 h 8754"/>
              <a:gd name="connsiteX36" fmla="*/ 1014 w 9496"/>
              <a:gd name="connsiteY36" fmla="*/ 0 h 8754"/>
              <a:gd name="connsiteX37" fmla="*/ 755 w 9496"/>
              <a:gd name="connsiteY37" fmla="*/ 109 h 8754"/>
              <a:gd name="connsiteX38" fmla="*/ 755 w 9496"/>
              <a:gd name="connsiteY38" fmla="*/ 211 h 8754"/>
              <a:gd name="connsiteX39" fmla="*/ 631 w 9496"/>
              <a:gd name="connsiteY39" fmla="*/ 211 h 8754"/>
              <a:gd name="connsiteX40" fmla="*/ 380 w 9496"/>
              <a:gd name="connsiteY40" fmla="*/ 419 h 8754"/>
              <a:gd name="connsiteX41" fmla="*/ 380 w 9496"/>
              <a:gd name="connsiteY41" fmla="*/ 730 h 8754"/>
              <a:gd name="connsiteX42" fmla="*/ 631 w 9496"/>
              <a:gd name="connsiteY42" fmla="*/ 940 h 8754"/>
              <a:gd name="connsiteX43" fmla="*/ 511 w 9496"/>
              <a:gd name="connsiteY43" fmla="*/ 1251 h 8754"/>
              <a:gd name="connsiteX44" fmla="*/ 631 w 9496"/>
              <a:gd name="connsiteY44" fmla="*/ 1775 h 8754"/>
              <a:gd name="connsiteX45" fmla="*/ 511 w 9496"/>
              <a:gd name="connsiteY45" fmla="*/ 2087 h 8754"/>
              <a:gd name="connsiteX46" fmla="*/ 755 w 9496"/>
              <a:gd name="connsiteY46" fmla="*/ 2399 h 8754"/>
              <a:gd name="connsiteX47" fmla="*/ 631 w 9496"/>
              <a:gd name="connsiteY47" fmla="*/ 2609 h 8754"/>
              <a:gd name="connsiteX48" fmla="*/ 882 w 9496"/>
              <a:gd name="connsiteY48" fmla="*/ 2815 h 8754"/>
              <a:gd name="connsiteX49" fmla="*/ 882 w 9496"/>
              <a:gd name="connsiteY49" fmla="*/ 2921 h 8754"/>
              <a:gd name="connsiteX50" fmla="*/ 511 w 9496"/>
              <a:gd name="connsiteY50" fmla="*/ 3442 h 8754"/>
              <a:gd name="connsiteX51" fmla="*/ 116 w 9496"/>
              <a:gd name="connsiteY51" fmla="*/ 3650 h 8754"/>
              <a:gd name="connsiteX52" fmla="*/ 248 w 9496"/>
              <a:gd name="connsiteY52" fmla="*/ 3650 h 8754"/>
              <a:gd name="connsiteX53" fmla="*/ 511 w 9496"/>
              <a:gd name="connsiteY53" fmla="*/ 3858 h 8754"/>
              <a:gd name="connsiteX54" fmla="*/ 248 w 9496"/>
              <a:gd name="connsiteY54" fmla="*/ 4065 h 8754"/>
              <a:gd name="connsiteX55" fmla="*/ 116 w 9496"/>
              <a:gd name="connsiteY55" fmla="*/ 4171 h 8754"/>
              <a:gd name="connsiteX56" fmla="*/ 0 w 9496"/>
              <a:gd name="connsiteY56" fmla="*/ 4171 h 8754"/>
              <a:gd name="connsiteX57" fmla="*/ 116 w 9496"/>
              <a:gd name="connsiteY57" fmla="*/ 4485 h 8754"/>
              <a:gd name="connsiteX58" fmla="*/ 116 w 9496"/>
              <a:gd name="connsiteY58" fmla="*/ 4588 h 8754"/>
              <a:gd name="connsiteX59" fmla="*/ 116 w 9496"/>
              <a:gd name="connsiteY59" fmla="*/ 4690 h 8754"/>
              <a:gd name="connsiteX60" fmla="*/ 116 w 9496"/>
              <a:gd name="connsiteY60" fmla="*/ 4796 h 8754"/>
              <a:gd name="connsiteX61" fmla="*/ 248 w 9496"/>
              <a:gd name="connsiteY61" fmla="*/ 5002 h 8754"/>
              <a:gd name="connsiteX62" fmla="*/ 631 w 9496"/>
              <a:gd name="connsiteY62" fmla="*/ 5108 h 8754"/>
              <a:gd name="connsiteX63" fmla="*/ 755 w 9496"/>
              <a:gd name="connsiteY63" fmla="*/ 5209 h 8754"/>
              <a:gd name="connsiteX64" fmla="*/ 755 w 9496"/>
              <a:gd name="connsiteY64" fmla="*/ 5422 h 8754"/>
              <a:gd name="connsiteX65" fmla="*/ 1014 w 9496"/>
              <a:gd name="connsiteY65" fmla="*/ 5734 h 8754"/>
              <a:gd name="connsiteX66" fmla="*/ 1145 w 9496"/>
              <a:gd name="connsiteY66" fmla="*/ 5734 h 8754"/>
              <a:gd name="connsiteX67" fmla="*/ 1014 w 9496"/>
              <a:gd name="connsiteY67" fmla="*/ 5941 h 8754"/>
              <a:gd name="connsiteX68" fmla="*/ 882 w 9496"/>
              <a:gd name="connsiteY68" fmla="*/ 5839 h 8754"/>
              <a:gd name="connsiteX69" fmla="*/ 882 w 9496"/>
              <a:gd name="connsiteY69" fmla="*/ 5941 h 8754"/>
              <a:gd name="connsiteX70" fmla="*/ 1014 w 9496"/>
              <a:gd name="connsiteY70" fmla="*/ 6150 h 8754"/>
              <a:gd name="connsiteX71" fmla="*/ 1402 w 9496"/>
              <a:gd name="connsiteY71" fmla="*/ 6150 h 8754"/>
              <a:gd name="connsiteX72" fmla="*/ 1524 w 9496"/>
              <a:gd name="connsiteY72" fmla="*/ 6254 h 8754"/>
              <a:gd name="connsiteX73" fmla="*/ 1402 w 9496"/>
              <a:gd name="connsiteY73" fmla="*/ 6254 h 8754"/>
              <a:gd name="connsiteX74" fmla="*/ 1524 w 9496"/>
              <a:gd name="connsiteY74" fmla="*/ 6357 h 8754"/>
              <a:gd name="connsiteX75" fmla="*/ 1644 w 9496"/>
              <a:gd name="connsiteY75" fmla="*/ 6357 h 8754"/>
              <a:gd name="connsiteX76" fmla="*/ 1769 w 9496"/>
              <a:gd name="connsiteY76" fmla="*/ 6566 h 8754"/>
              <a:gd name="connsiteX77" fmla="*/ 1899 w 9496"/>
              <a:gd name="connsiteY77" fmla="*/ 6669 h 8754"/>
              <a:gd name="connsiteX78" fmla="*/ 2020 w 9496"/>
              <a:gd name="connsiteY78" fmla="*/ 6566 h 8754"/>
              <a:gd name="connsiteX79" fmla="*/ 2661 w 9496"/>
              <a:gd name="connsiteY79" fmla="*/ 6879 h 8754"/>
              <a:gd name="connsiteX80" fmla="*/ 2538 w 9496"/>
              <a:gd name="connsiteY80" fmla="*/ 7294 h 8754"/>
              <a:gd name="connsiteX81" fmla="*/ 2408 w 9496"/>
              <a:gd name="connsiteY81" fmla="*/ 7192 h 8754"/>
              <a:gd name="connsiteX82" fmla="*/ 2272 w 9496"/>
              <a:gd name="connsiteY82" fmla="*/ 7294 h 8754"/>
              <a:gd name="connsiteX83" fmla="*/ 2272 w 9496"/>
              <a:gd name="connsiteY83" fmla="*/ 7502 h 8754"/>
              <a:gd name="connsiteX84" fmla="*/ 2408 w 9496"/>
              <a:gd name="connsiteY84" fmla="*/ 7400 h 8754"/>
              <a:gd name="connsiteX85" fmla="*/ 2538 w 9496"/>
              <a:gd name="connsiteY85" fmla="*/ 7502 h 8754"/>
              <a:gd name="connsiteX86" fmla="*/ 2157 w 9496"/>
              <a:gd name="connsiteY86" fmla="*/ 7609 h 8754"/>
              <a:gd name="connsiteX87" fmla="*/ 2272 w 9496"/>
              <a:gd name="connsiteY87" fmla="*/ 7712 h 8754"/>
              <a:gd name="connsiteX88" fmla="*/ 2020 w 9496"/>
              <a:gd name="connsiteY88" fmla="*/ 7921 h 8754"/>
              <a:gd name="connsiteX89" fmla="*/ 1899 w 9496"/>
              <a:gd name="connsiteY89" fmla="*/ 7921 h 8754"/>
              <a:gd name="connsiteX90" fmla="*/ 2020 w 9496"/>
              <a:gd name="connsiteY90" fmla="*/ 7921 h 8754"/>
              <a:gd name="connsiteX91" fmla="*/ 2538 w 9496"/>
              <a:gd name="connsiteY91" fmla="*/ 8339 h 8754"/>
              <a:gd name="connsiteX92" fmla="*/ 3169 w 9496"/>
              <a:gd name="connsiteY92" fmla="*/ 8339 h 8754"/>
              <a:gd name="connsiteX93" fmla="*/ 3418 w 9496"/>
              <a:gd name="connsiteY93" fmla="*/ 8442 h 8754"/>
              <a:gd name="connsiteX94" fmla="*/ 3673 w 9496"/>
              <a:gd name="connsiteY94" fmla="*/ 8442 h 8754"/>
              <a:gd name="connsiteX95" fmla="*/ 3928 w 9496"/>
              <a:gd name="connsiteY95" fmla="*/ 8652 h 8754"/>
              <a:gd name="connsiteX96" fmla="*/ 4054 w 9496"/>
              <a:gd name="connsiteY96" fmla="*/ 8754 h 8754"/>
              <a:gd name="connsiteX97" fmla="*/ 4174 w 9496"/>
              <a:gd name="connsiteY97" fmla="*/ 8754 h 8754"/>
              <a:gd name="connsiteX98" fmla="*/ 4309 w 9496"/>
              <a:gd name="connsiteY98" fmla="*/ 8652 h 8754"/>
              <a:gd name="connsiteX99" fmla="*/ 4054 w 9496"/>
              <a:gd name="connsiteY99" fmla="*/ 8442 h 8754"/>
              <a:gd name="connsiteX100" fmla="*/ 4054 w 9496"/>
              <a:gd name="connsiteY100" fmla="*/ 8234 h 8754"/>
              <a:gd name="connsiteX101" fmla="*/ 3928 w 9496"/>
              <a:gd name="connsiteY101" fmla="*/ 8024 h 8754"/>
              <a:gd name="connsiteX102" fmla="*/ 4174 w 9496"/>
              <a:gd name="connsiteY102" fmla="*/ 7712 h 8754"/>
              <a:gd name="connsiteX103" fmla="*/ 4309 w 9496"/>
              <a:gd name="connsiteY103" fmla="*/ 7816 h 8754"/>
              <a:gd name="connsiteX104" fmla="*/ 4430 w 9496"/>
              <a:gd name="connsiteY104" fmla="*/ 7712 h 8754"/>
              <a:gd name="connsiteX105" fmla="*/ 4430 w 9496"/>
              <a:gd name="connsiteY105" fmla="*/ 7609 h 8754"/>
              <a:gd name="connsiteX106" fmla="*/ 4309 w 9496"/>
              <a:gd name="connsiteY106" fmla="*/ 7609 h 8754"/>
              <a:gd name="connsiteX107" fmla="*/ 4430 w 9496"/>
              <a:gd name="connsiteY107" fmla="*/ 7502 h 8754"/>
              <a:gd name="connsiteX108" fmla="*/ 4309 w 9496"/>
              <a:gd name="connsiteY108" fmla="*/ 7294 h 8754"/>
              <a:gd name="connsiteX109" fmla="*/ 4054 w 9496"/>
              <a:gd name="connsiteY109" fmla="*/ 7294 h 8754"/>
              <a:gd name="connsiteX110" fmla="*/ 3928 w 9496"/>
              <a:gd name="connsiteY110" fmla="*/ 7088 h 8754"/>
              <a:gd name="connsiteX111" fmla="*/ 4054 w 9496"/>
              <a:gd name="connsiteY111" fmla="*/ 6566 h 8754"/>
              <a:gd name="connsiteX112" fmla="*/ 4309 w 9496"/>
              <a:gd name="connsiteY112" fmla="*/ 6775 h 8754"/>
              <a:gd name="connsiteX113" fmla="*/ 4430 w 9496"/>
              <a:gd name="connsiteY113" fmla="*/ 6775 h 8754"/>
              <a:gd name="connsiteX114" fmla="*/ 4309 w 9496"/>
              <a:gd name="connsiteY114" fmla="*/ 6566 h 8754"/>
              <a:gd name="connsiteX115" fmla="*/ 4691 w 9496"/>
              <a:gd name="connsiteY115" fmla="*/ 6254 h 8754"/>
              <a:gd name="connsiteX116" fmla="*/ 4947 w 9496"/>
              <a:gd name="connsiteY116" fmla="*/ 6357 h 8754"/>
              <a:gd name="connsiteX117" fmla="*/ 5070 w 9496"/>
              <a:gd name="connsiteY117" fmla="*/ 6254 h 8754"/>
              <a:gd name="connsiteX118" fmla="*/ 5310 w 9496"/>
              <a:gd name="connsiteY118" fmla="*/ 6357 h 8754"/>
              <a:gd name="connsiteX119" fmla="*/ 5708 w 9496"/>
              <a:gd name="connsiteY119" fmla="*/ 6566 h 8754"/>
              <a:gd name="connsiteX120" fmla="*/ 5950 w 9496"/>
              <a:gd name="connsiteY120" fmla="*/ 6461 h 8754"/>
              <a:gd name="connsiteX121" fmla="*/ 6208 w 9496"/>
              <a:gd name="connsiteY121" fmla="*/ 6461 h 8754"/>
              <a:gd name="connsiteX122" fmla="*/ 6338 w 9496"/>
              <a:gd name="connsiteY122" fmla="*/ 6566 h 8754"/>
              <a:gd name="connsiteX123" fmla="*/ 6843 w 9496"/>
              <a:gd name="connsiteY123" fmla="*/ 6566 h 8754"/>
              <a:gd name="connsiteX124" fmla="*/ 6964 w 9496"/>
              <a:gd name="connsiteY124" fmla="*/ 6357 h 8754"/>
              <a:gd name="connsiteX125" fmla="*/ 6579 w 9496"/>
              <a:gd name="connsiteY125" fmla="*/ 6254 h 8754"/>
              <a:gd name="connsiteX126" fmla="*/ 6843 w 9496"/>
              <a:gd name="connsiteY126" fmla="*/ 6150 h 8754"/>
              <a:gd name="connsiteX127" fmla="*/ 6710 w 9496"/>
              <a:gd name="connsiteY127" fmla="*/ 6044 h 8754"/>
              <a:gd name="connsiteX128" fmla="*/ 6843 w 9496"/>
              <a:gd name="connsiteY128" fmla="*/ 5941 h 8754"/>
              <a:gd name="connsiteX129" fmla="*/ 6843 w 9496"/>
              <a:gd name="connsiteY129" fmla="*/ 5628 h 8754"/>
              <a:gd name="connsiteX130" fmla="*/ 7086 w 9496"/>
              <a:gd name="connsiteY130" fmla="*/ 5734 h 8754"/>
              <a:gd name="connsiteX131" fmla="*/ 8231 w 9496"/>
              <a:gd name="connsiteY131" fmla="*/ 5422 h 8754"/>
              <a:gd name="connsiteX132" fmla="*/ 8231 w 9496"/>
              <a:gd name="connsiteY132" fmla="*/ 5317 h 8754"/>
              <a:gd name="connsiteX133" fmla="*/ 8364 w 9496"/>
              <a:gd name="connsiteY133" fmla="*/ 5317 h 8754"/>
              <a:gd name="connsiteX134" fmla="*/ 8728 w 9496"/>
              <a:gd name="connsiteY134" fmla="*/ 5317 h 8754"/>
              <a:gd name="connsiteX135" fmla="*/ 8872 w 9496"/>
              <a:gd name="connsiteY135" fmla="*/ 5526 h 8754"/>
              <a:gd name="connsiteX136" fmla="*/ 8872 w 9496"/>
              <a:gd name="connsiteY136" fmla="*/ 5628 h 8754"/>
              <a:gd name="connsiteX137" fmla="*/ 8992 w 9496"/>
              <a:gd name="connsiteY137" fmla="*/ 5628 h 8754"/>
              <a:gd name="connsiteX138" fmla="*/ 9242 w 9496"/>
              <a:gd name="connsiteY138" fmla="*/ 5734 h 8754"/>
              <a:gd name="connsiteX139" fmla="*/ 9242 w 9496"/>
              <a:gd name="connsiteY139" fmla="*/ 5839 h 8754"/>
              <a:gd name="connsiteX140" fmla="*/ 9496 w 9496"/>
              <a:gd name="connsiteY140" fmla="*/ 5839 h 8754"/>
              <a:gd name="connsiteX0" fmla="*/ 9587 w 9733"/>
              <a:gd name="connsiteY0" fmla="*/ 479 h 10000"/>
              <a:gd name="connsiteX1" fmla="*/ 6928 w 9733"/>
              <a:gd name="connsiteY1" fmla="*/ 600 h 10000"/>
              <a:gd name="connsiteX2" fmla="*/ 6813 w 9733"/>
              <a:gd name="connsiteY2" fmla="*/ 479 h 10000"/>
              <a:gd name="connsiteX3" fmla="*/ 6011 w 9733"/>
              <a:gd name="connsiteY3" fmla="*/ 717 h 10000"/>
              <a:gd name="connsiteX4" fmla="*/ 5877 w 9733"/>
              <a:gd name="connsiteY4" fmla="*/ 955 h 10000"/>
              <a:gd name="connsiteX5" fmla="*/ 5743 w 9733"/>
              <a:gd name="connsiteY5" fmla="*/ 717 h 10000"/>
              <a:gd name="connsiteX6" fmla="*/ 5743 w 9733"/>
              <a:gd name="connsiteY6" fmla="*/ 479 h 10000"/>
              <a:gd name="connsiteX7" fmla="*/ 4396 w 9733"/>
              <a:gd name="connsiteY7" fmla="*/ 1193 h 10000"/>
              <a:gd name="connsiteX8" fmla="*/ 4396 w 9733"/>
              <a:gd name="connsiteY8" fmla="*/ 1429 h 10000"/>
              <a:gd name="connsiteX9" fmla="*/ 4136 w 9733"/>
              <a:gd name="connsiteY9" fmla="*/ 1550 h 10000"/>
              <a:gd name="connsiteX10" fmla="*/ 3736 w 9733"/>
              <a:gd name="connsiteY10" fmla="*/ 1311 h 10000"/>
              <a:gd name="connsiteX11" fmla="*/ 4136 w 9733"/>
              <a:gd name="connsiteY11" fmla="*/ 1074 h 10000"/>
              <a:gd name="connsiteX12" fmla="*/ 3994 w 9733"/>
              <a:gd name="connsiteY12" fmla="*/ 717 h 10000"/>
              <a:gd name="connsiteX13" fmla="*/ 3469 w 9733"/>
              <a:gd name="connsiteY13" fmla="*/ 600 h 10000"/>
              <a:gd name="connsiteX14" fmla="*/ 3599 w 9733"/>
              <a:gd name="connsiteY14" fmla="*/ 834 h 10000"/>
              <a:gd name="connsiteX15" fmla="*/ 3599 w 9733"/>
              <a:gd name="connsiteY15" fmla="*/ 1429 h 10000"/>
              <a:gd name="connsiteX16" fmla="*/ 3736 w 9733"/>
              <a:gd name="connsiteY16" fmla="*/ 1669 h 10000"/>
              <a:gd name="connsiteX17" fmla="*/ 3599 w 9733"/>
              <a:gd name="connsiteY17" fmla="*/ 1910 h 10000"/>
              <a:gd name="connsiteX18" fmla="*/ 3193 w 9733"/>
              <a:gd name="connsiteY18" fmla="*/ 1790 h 10000"/>
              <a:gd name="connsiteX19" fmla="*/ 2673 w 9733"/>
              <a:gd name="connsiteY19" fmla="*/ 2143 h 10000"/>
              <a:gd name="connsiteX20" fmla="*/ 2932 w 9733"/>
              <a:gd name="connsiteY20" fmla="*/ 2622 h 10000"/>
              <a:gd name="connsiteX21" fmla="*/ 2127 w 9733"/>
              <a:gd name="connsiteY21" fmla="*/ 2384 h 10000"/>
              <a:gd name="connsiteX22" fmla="*/ 2000 w 9733"/>
              <a:gd name="connsiteY22" fmla="*/ 2501 h 10000"/>
              <a:gd name="connsiteX23" fmla="*/ 2271 w 9733"/>
              <a:gd name="connsiteY23" fmla="*/ 2859 h 10000"/>
              <a:gd name="connsiteX24" fmla="*/ 2000 w 9733"/>
              <a:gd name="connsiteY24" fmla="*/ 2859 h 10000"/>
              <a:gd name="connsiteX25" fmla="*/ 1605 w 9733"/>
              <a:gd name="connsiteY25" fmla="*/ 2622 h 10000"/>
              <a:gd name="connsiteX26" fmla="*/ 1605 w 9733"/>
              <a:gd name="connsiteY26" fmla="*/ 1910 h 10000"/>
              <a:gd name="connsiteX27" fmla="*/ 1206 w 9733"/>
              <a:gd name="connsiteY27" fmla="*/ 1669 h 10000"/>
              <a:gd name="connsiteX28" fmla="*/ 1068 w 9733"/>
              <a:gd name="connsiteY28" fmla="*/ 1429 h 10000"/>
              <a:gd name="connsiteX29" fmla="*/ 1328 w 9733"/>
              <a:gd name="connsiteY29" fmla="*/ 1550 h 10000"/>
              <a:gd name="connsiteX30" fmla="*/ 2393 w 9733"/>
              <a:gd name="connsiteY30" fmla="*/ 1910 h 10000"/>
              <a:gd name="connsiteX31" fmla="*/ 3055 w 9733"/>
              <a:gd name="connsiteY31" fmla="*/ 1550 h 10000"/>
              <a:gd name="connsiteX32" fmla="*/ 2932 w 9733"/>
              <a:gd name="connsiteY32" fmla="*/ 1193 h 10000"/>
              <a:gd name="connsiteX33" fmla="*/ 2127 w 9733"/>
              <a:gd name="connsiteY33" fmla="*/ 479 h 10000"/>
              <a:gd name="connsiteX34" fmla="*/ 1328 w 9733"/>
              <a:gd name="connsiteY34" fmla="*/ 241 h 10000"/>
              <a:gd name="connsiteX35" fmla="*/ 1328 w 9733"/>
              <a:gd name="connsiteY35" fmla="*/ 125 h 10000"/>
              <a:gd name="connsiteX36" fmla="*/ 1068 w 9733"/>
              <a:gd name="connsiteY36" fmla="*/ 0 h 10000"/>
              <a:gd name="connsiteX37" fmla="*/ 795 w 9733"/>
              <a:gd name="connsiteY37" fmla="*/ 125 h 10000"/>
              <a:gd name="connsiteX38" fmla="*/ 795 w 9733"/>
              <a:gd name="connsiteY38" fmla="*/ 241 h 10000"/>
              <a:gd name="connsiteX39" fmla="*/ 664 w 9733"/>
              <a:gd name="connsiteY39" fmla="*/ 241 h 10000"/>
              <a:gd name="connsiteX40" fmla="*/ 400 w 9733"/>
              <a:gd name="connsiteY40" fmla="*/ 479 h 10000"/>
              <a:gd name="connsiteX41" fmla="*/ 400 w 9733"/>
              <a:gd name="connsiteY41" fmla="*/ 834 h 10000"/>
              <a:gd name="connsiteX42" fmla="*/ 664 w 9733"/>
              <a:gd name="connsiteY42" fmla="*/ 1074 h 10000"/>
              <a:gd name="connsiteX43" fmla="*/ 538 w 9733"/>
              <a:gd name="connsiteY43" fmla="*/ 1429 h 10000"/>
              <a:gd name="connsiteX44" fmla="*/ 664 w 9733"/>
              <a:gd name="connsiteY44" fmla="*/ 2028 h 10000"/>
              <a:gd name="connsiteX45" fmla="*/ 538 w 9733"/>
              <a:gd name="connsiteY45" fmla="*/ 2384 h 10000"/>
              <a:gd name="connsiteX46" fmla="*/ 795 w 9733"/>
              <a:gd name="connsiteY46" fmla="*/ 2740 h 10000"/>
              <a:gd name="connsiteX47" fmla="*/ 664 w 9733"/>
              <a:gd name="connsiteY47" fmla="*/ 2980 h 10000"/>
              <a:gd name="connsiteX48" fmla="*/ 929 w 9733"/>
              <a:gd name="connsiteY48" fmla="*/ 3216 h 10000"/>
              <a:gd name="connsiteX49" fmla="*/ 929 w 9733"/>
              <a:gd name="connsiteY49" fmla="*/ 3337 h 10000"/>
              <a:gd name="connsiteX50" fmla="*/ 538 w 9733"/>
              <a:gd name="connsiteY50" fmla="*/ 3932 h 10000"/>
              <a:gd name="connsiteX51" fmla="*/ 122 w 9733"/>
              <a:gd name="connsiteY51" fmla="*/ 4170 h 10000"/>
              <a:gd name="connsiteX52" fmla="*/ 261 w 9733"/>
              <a:gd name="connsiteY52" fmla="*/ 4170 h 10000"/>
              <a:gd name="connsiteX53" fmla="*/ 538 w 9733"/>
              <a:gd name="connsiteY53" fmla="*/ 4407 h 10000"/>
              <a:gd name="connsiteX54" fmla="*/ 261 w 9733"/>
              <a:gd name="connsiteY54" fmla="*/ 4644 h 10000"/>
              <a:gd name="connsiteX55" fmla="*/ 122 w 9733"/>
              <a:gd name="connsiteY55" fmla="*/ 4765 h 10000"/>
              <a:gd name="connsiteX56" fmla="*/ 0 w 9733"/>
              <a:gd name="connsiteY56" fmla="*/ 4765 h 10000"/>
              <a:gd name="connsiteX57" fmla="*/ 122 w 9733"/>
              <a:gd name="connsiteY57" fmla="*/ 5123 h 10000"/>
              <a:gd name="connsiteX58" fmla="*/ 122 w 9733"/>
              <a:gd name="connsiteY58" fmla="*/ 5241 h 10000"/>
              <a:gd name="connsiteX59" fmla="*/ 122 w 9733"/>
              <a:gd name="connsiteY59" fmla="*/ 5358 h 10000"/>
              <a:gd name="connsiteX60" fmla="*/ 122 w 9733"/>
              <a:gd name="connsiteY60" fmla="*/ 5479 h 10000"/>
              <a:gd name="connsiteX61" fmla="*/ 261 w 9733"/>
              <a:gd name="connsiteY61" fmla="*/ 5714 h 10000"/>
              <a:gd name="connsiteX62" fmla="*/ 664 w 9733"/>
              <a:gd name="connsiteY62" fmla="*/ 5835 h 10000"/>
              <a:gd name="connsiteX63" fmla="*/ 795 w 9733"/>
              <a:gd name="connsiteY63" fmla="*/ 5950 h 10000"/>
              <a:gd name="connsiteX64" fmla="*/ 795 w 9733"/>
              <a:gd name="connsiteY64" fmla="*/ 6194 h 10000"/>
              <a:gd name="connsiteX65" fmla="*/ 1068 w 9733"/>
              <a:gd name="connsiteY65" fmla="*/ 6550 h 10000"/>
              <a:gd name="connsiteX66" fmla="*/ 1206 w 9733"/>
              <a:gd name="connsiteY66" fmla="*/ 6550 h 10000"/>
              <a:gd name="connsiteX67" fmla="*/ 1068 w 9733"/>
              <a:gd name="connsiteY67" fmla="*/ 6787 h 10000"/>
              <a:gd name="connsiteX68" fmla="*/ 929 w 9733"/>
              <a:gd name="connsiteY68" fmla="*/ 6670 h 10000"/>
              <a:gd name="connsiteX69" fmla="*/ 929 w 9733"/>
              <a:gd name="connsiteY69" fmla="*/ 6787 h 10000"/>
              <a:gd name="connsiteX70" fmla="*/ 1068 w 9733"/>
              <a:gd name="connsiteY70" fmla="*/ 7025 h 10000"/>
              <a:gd name="connsiteX71" fmla="*/ 1476 w 9733"/>
              <a:gd name="connsiteY71" fmla="*/ 7025 h 10000"/>
              <a:gd name="connsiteX72" fmla="*/ 1605 w 9733"/>
              <a:gd name="connsiteY72" fmla="*/ 7144 h 10000"/>
              <a:gd name="connsiteX73" fmla="*/ 1476 w 9733"/>
              <a:gd name="connsiteY73" fmla="*/ 7144 h 10000"/>
              <a:gd name="connsiteX74" fmla="*/ 1605 w 9733"/>
              <a:gd name="connsiteY74" fmla="*/ 7262 h 10000"/>
              <a:gd name="connsiteX75" fmla="*/ 1731 w 9733"/>
              <a:gd name="connsiteY75" fmla="*/ 7262 h 10000"/>
              <a:gd name="connsiteX76" fmla="*/ 1863 w 9733"/>
              <a:gd name="connsiteY76" fmla="*/ 7501 h 10000"/>
              <a:gd name="connsiteX77" fmla="*/ 2000 w 9733"/>
              <a:gd name="connsiteY77" fmla="*/ 7618 h 10000"/>
              <a:gd name="connsiteX78" fmla="*/ 2127 w 9733"/>
              <a:gd name="connsiteY78" fmla="*/ 7501 h 10000"/>
              <a:gd name="connsiteX79" fmla="*/ 2802 w 9733"/>
              <a:gd name="connsiteY79" fmla="*/ 7858 h 10000"/>
              <a:gd name="connsiteX80" fmla="*/ 2673 w 9733"/>
              <a:gd name="connsiteY80" fmla="*/ 8332 h 10000"/>
              <a:gd name="connsiteX81" fmla="*/ 2536 w 9733"/>
              <a:gd name="connsiteY81" fmla="*/ 8216 h 10000"/>
              <a:gd name="connsiteX82" fmla="*/ 2393 w 9733"/>
              <a:gd name="connsiteY82" fmla="*/ 8332 h 10000"/>
              <a:gd name="connsiteX83" fmla="*/ 2393 w 9733"/>
              <a:gd name="connsiteY83" fmla="*/ 8570 h 10000"/>
              <a:gd name="connsiteX84" fmla="*/ 2536 w 9733"/>
              <a:gd name="connsiteY84" fmla="*/ 8453 h 10000"/>
              <a:gd name="connsiteX85" fmla="*/ 2673 w 9733"/>
              <a:gd name="connsiteY85" fmla="*/ 8570 h 10000"/>
              <a:gd name="connsiteX86" fmla="*/ 2271 w 9733"/>
              <a:gd name="connsiteY86" fmla="*/ 8692 h 10000"/>
              <a:gd name="connsiteX87" fmla="*/ 2393 w 9733"/>
              <a:gd name="connsiteY87" fmla="*/ 8810 h 10000"/>
              <a:gd name="connsiteX88" fmla="*/ 2127 w 9733"/>
              <a:gd name="connsiteY88" fmla="*/ 9048 h 10000"/>
              <a:gd name="connsiteX89" fmla="*/ 2000 w 9733"/>
              <a:gd name="connsiteY89" fmla="*/ 9048 h 10000"/>
              <a:gd name="connsiteX90" fmla="*/ 2127 w 9733"/>
              <a:gd name="connsiteY90" fmla="*/ 9048 h 10000"/>
              <a:gd name="connsiteX91" fmla="*/ 2673 w 9733"/>
              <a:gd name="connsiteY91" fmla="*/ 9526 h 10000"/>
              <a:gd name="connsiteX92" fmla="*/ 3337 w 9733"/>
              <a:gd name="connsiteY92" fmla="*/ 9526 h 10000"/>
              <a:gd name="connsiteX93" fmla="*/ 3599 w 9733"/>
              <a:gd name="connsiteY93" fmla="*/ 9644 h 10000"/>
              <a:gd name="connsiteX94" fmla="*/ 3868 w 9733"/>
              <a:gd name="connsiteY94" fmla="*/ 9644 h 10000"/>
              <a:gd name="connsiteX95" fmla="*/ 4136 w 9733"/>
              <a:gd name="connsiteY95" fmla="*/ 9883 h 10000"/>
              <a:gd name="connsiteX96" fmla="*/ 4269 w 9733"/>
              <a:gd name="connsiteY96" fmla="*/ 10000 h 10000"/>
              <a:gd name="connsiteX97" fmla="*/ 4396 w 9733"/>
              <a:gd name="connsiteY97" fmla="*/ 10000 h 10000"/>
              <a:gd name="connsiteX98" fmla="*/ 4538 w 9733"/>
              <a:gd name="connsiteY98" fmla="*/ 9883 h 10000"/>
              <a:gd name="connsiteX99" fmla="*/ 4269 w 9733"/>
              <a:gd name="connsiteY99" fmla="*/ 9644 h 10000"/>
              <a:gd name="connsiteX100" fmla="*/ 4269 w 9733"/>
              <a:gd name="connsiteY100" fmla="*/ 9406 h 10000"/>
              <a:gd name="connsiteX101" fmla="*/ 4136 w 9733"/>
              <a:gd name="connsiteY101" fmla="*/ 9166 h 10000"/>
              <a:gd name="connsiteX102" fmla="*/ 4396 w 9733"/>
              <a:gd name="connsiteY102" fmla="*/ 8810 h 10000"/>
              <a:gd name="connsiteX103" fmla="*/ 4538 w 9733"/>
              <a:gd name="connsiteY103" fmla="*/ 8928 h 10000"/>
              <a:gd name="connsiteX104" fmla="*/ 4665 w 9733"/>
              <a:gd name="connsiteY104" fmla="*/ 8810 h 10000"/>
              <a:gd name="connsiteX105" fmla="*/ 4665 w 9733"/>
              <a:gd name="connsiteY105" fmla="*/ 8692 h 10000"/>
              <a:gd name="connsiteX106" fmla="*/ 4538 w 9733"/>
              <a:gd name="connsiteY106" fmla="*/ 8692 h 10000"/>
              <a:gd name="connsiteX107" fmla="*/ 4665 w 9733"/>
              <a:gd name="connsiteY107" fmla="*/ 8570 h 10000"/>
              <a:gd name="connsiteX108" fmla="*/ 4538 w 9733"/>
              <a:gd name="connsiteY108" fmla="*/ 8332 h 10000"/>
              <a:gd name="connsiteX109" fmla="*/ 4269 w 9733"/>
              <a:gd name="connsiteY109" fmla="*/ 8332 h 10000"/>
              <a:gd name="connsiteX110" fmla="*/ 4136 w 9733"/>
              <a:gd name="connsiteY110" fmla="*/ 8097 h 10000"/>
              <a:gd name="connsiteX111" fmla="*/ 4269 w 9733"/>
              <a:gd name="connsiteY111" fmla="*/ 7501 h 10000"/>
              <a:gd name="connsiteX112" fmla="*/ 4538 w 9733"/>
              <a:gd name="connsiteY112" fmla="*/ 7739 h 10000"/>
              <a:gd name="connsiteX113" fmla="*/ 4665 w 9733"/>
              <a:gd name="connsiteY113" fmla="*/ 7739 h 10000"/>
              <a:gd name="connsiteX114" fmla="*/ 4538 w 9733"/>
              <a:gd name="connsiteY114" fmla="*/ 7501 h 10000"/>
              <a:gd name="connsiteX115" fmla="*/ 4940 w 9733"/>
              <a:gd name="connsiteY115" fmla="*/ 7144 h 10000"/>
              <a:gd name="connsiteX116" fmla="*/ 5210 w 9733"/>
              <a:gd name="connsiteY116" fmla="*/ 7262 h 10000"/>
              <a:gd name="connsiteX117" fmla="*/ 5339 w 9733"/>
              <a:gd name="connsiteY117" fmla="*/ 7144 h 10000"/>
              <a:gd name="connsiteX118" fmla="*/ 5592 w 9733"/>
              <a:gd name="connsiteY118" fmla="*/ 7262 h 10000"/>
              <a:gd name="connsiteX119" fmla="*/ 6011 w 9733"/>
              <a:gd name="connsiteY119" fmla="*/ 7501 h 10000"/>
              <a:gd name="connsiteX120" fmla="*/ 6266 w 9733"/>
              <a:gd name="connsiteY120" fmla="*/ 7381 h 10000"/>
              <a:gd name="connsiteX121" fmla="*/ 6537 w 9733"/>
              <a:gd name="connsiteY121" fmla="*/ 7381 h 10000"/>
              <a:gd name="connsiteX122" fmla="*/ 6674 w 9733"/>
              <a:gd name="connsiteY122" fmla="*/ 7501 h 10000"/>
              <a:gd name="connsiteX123" fmla="*/ 7206 w 9733"/>
              <a:gd name="connsiteY123" fmla="*/ 7501 h 10000"/>
              <a:gd name="connsiteX124" fmla="*/ 7334 w 9733"/>
              <a:gd name="connsiteY124" fmla="*/ 7262 h 10000"/>
              <a:gd name="connsiteX125" fmla="*/ 6928 w 9733"/>
              <a:gd name="connsiteY125" fmla="*/ 7144 h 10000"/>
              <a:gd name="connsiteX126" fmla="*/ 7206 w 9733"/>
              <a:gd name="connsiteY126" fmla="*/ 7025 h 10000"/>
              <a:gd name="connsiteX127" fmla="*/ 7066 w 9733"/>
              <a:gd name="connsiteY127" fmla="*/ 6904 h 10000"/>
              <a:gd name="connsiteX128" fmla="*/ 7206 w 9733"/>
              <a:gd name="connsiteY128" fmla="*/ 6787 h 10000"/>
              <a:gd name="connsiteX129" fmla="*/ 7206 w 9733"/>
              <a:gd name="connsiteY129" fmla="*/ 6429 h 10000"/>
              <a:gd name="connsiteX130" fmla="*/ 7462 w 9733"/>
              <a:gd name="connsiteY130" fmla="*/ 6550 h 10000"/>
              <a:gd name="connsiteX131" fmla="*/ 8668 w 9733"/>
              <a:gd name="connsiteY131" fmla="*/ 6194 h 10000"/>
              <a:gd name="connsiteX132" fmla="*/ 8668 w 9733"/>
              <a:gd name="connsiteY132" fmla="*/ 6074 h 10000"/>
              <a:gd name="connsiteX133" fmla="*/ 8808 w 9733"/>
              <a:gd name="connsiteY133" fmla="*/ 6074 h 10000"/>
              <a:gd name="connsiteX134" fmla="*/ 9191 w 9733"/>
              <a:gd name="connsiteY134" fmla="*/ 6074 h 10000"/>
              <a:gd name="connsiteX135" fmla="*/ 9343 w 9733"/>
              <a:gd name="connsiteY135" fmla="*/ 6313 h 10000"/>
              <a:gd name="connsiteX136" fmla="*/ 9343 w 9733"/>
              <a:gd name="connsiteY136" fmla="*/ 6429 h 10000"/>
              <a:gd name="connsiteX137" fmla="*/ 9469 w 9733"/>
              <a:gd name="connsiteY137" fmla="*/ 6429 h 10000"/>
              <a:gd name="connsiteX138" fmla="*/ 9733 w 9733"/>
              <a:gd name="connsiteY138" fmla="*/ 6550 h 10000"/>
              <a:gd name="connsiteX139" fmla="*/ 9733 w 9733"/>
              <a:gd name="connsiteY139" fmla="*/ 6670 h 10000"/>
              <a:gd name="connsiteX0" fmla="*/ 7118 w 10000"/>
              <a:gd name="connsiteY0" fmla="*/ 600 h 10000"/>
              <a:gd name="connsiteX1" fmla="*/ 7000 w 10000"/>
              <a:gd name="connsiteY1" fmla="*/ 479 h 10000"/>
              <a:gd name="connsiteX2" fmla="*/ 6176 w 10000"/>
              <a:gd name="connsiteY2" fmla="*/ 717 h 10000"/>
              <a:gd name="connsiteX3" fmla="*/ 6038 w 10000"/>
              <a:gd name="connsiteY3" fmla="*/ 955 h 10000"/>
              <a:gd name="connsiteX4" fmla="*/ 5901 w 10000"/>
              <a:gd name="connsiteY4" fmla="*/ 717 h 10000"/>
              <a:gd name="connsiteX5" fmla="*/ 5901 w 10000"/>
              <a:gd name="connsiteY5" fmla="*/ 479 h 10000"/>
              <a:gd name="connsiteX6" fmla="*/ 4517 w 10000"/>
              <a:gd name="connsiteY6" fmla="*/ 1193 h 10000"/>
              <a:gd name="connsiteX7" fmla="*/ 4517 w 10000"/>
              <a:gd name="connsiteY7" fmla="*/ 1429 h 10000"/>
              <a:gd name="connsiteX8" fmla="*/ 4249 w 10000"/>
              <a:gd name="connsiteY8" fmla="*/ 1550 h 10000"/>
              <a:gd name="connsiteX9" fmla="*/ 3838 w 10000"/>
              <a:gd name="connsiteY9" fmla="*/ 1311 h 10000"/>
              <a:gd name="connsiteX10" fmla="*/ 4249 w 10000"/>
              <a:gd name="connsiteY10" fmla="*/ 1074 h 10000"/>
              <a:gd name="connsiteX11" fmla="*/ 4104 w 10000"/>
              <a:gd name="connsiteY11" fmla="*/ 717 h 10000"/>
              <a:gd name="connsiteX12" fmla="*/ 3564 w 10000"/>
              <a:gd name="connsiteY12" fmla="*/ 600 h 10000"/>
              <a:gd name="connsiteX13" fmla="*/ 3698 w 10000"/>
              <a:gd name="connsiteY13" fmla="*/ 834 h 10000"/>
              <a:gd name="connsiteX14" fmla="*/ 3698 w 10000"/>
              <a:gd name="connsiteY14" fmla="*/ 1429 h 10000"/>
              <a:gd name="connsiteX15" fmla="*/ 3838 w 10000"/>
              <a:gd name="connsiteY15" fmla="*/ 1669 h 10000"/>
              <a:gd name="connsiteX16" fmla="*/ 3698 w 10000"/>
              <a:gd name="connsiteY16" fmla="*/ 1910 h 10000"/>
              <a:gd name="connsiteX17" fmla="*/ 3281 w 10000"/>
              <a:gd name="connsiteY17" fmla="*/ 1790 h 10000"/>
              <a:gd name="connsiteX18" fmla="*/ 2746 w 10000"/>
              <a:gd name="connsiteY18" fmla="*/ 2143 h 10000"/>
              <a:gd name="connsiteX19" fmla="*/ 3012 w 10000"/>
              <a:gd name="connsiteY19" fmla="*/ 2622 h 10000"/>
              <a:gd name="connsiteX20" fmla="*/ 2185 w 10000"/>
              <a:gd name="connsiteY20" fmla="*/ 2384 h 10000"/>
              <a:gd name="connsiteX21" fmla="*/ 2055 w 10000"/>
              <a:gd name="connsiteY21" fmla="*/ 2501 h 10000"/>
              <a:gd name="connsiteX22" fmla="*/ 2333 w 10000"/>
              <a:gd name="connsiteY22" fmla="*/ 2859 h 10000"/>
              <a:gd name="connsiteX23" fmla="*/ 2055 w 10000"/>
              <a:gd name="connsiteY23" fmla="*/ 2859 h 10000"/>
              <a:gd name="connsiteX24" fmla="*/ 1649 w 10000"/>
              <a:gd name="connsiteY24" fmla="*/ 2622 h 10000"/>
              <a:gd name="connsiteX25" fmla="*/ 1649 w 10000"/>
              <a:gd name="connsiteY25" fmla="*/ 1910 h 10000"/>
              <a:gd name="connsiteX26" fmla="*/ 1239 w 10000"/>
              <a:gd name="connsiteY26" fmla="*/ 1669 h 10000"/>
              <a:gd name="connsiteX27" fmla="*/ 1097 w 10000"/>
              <a:gd name="connsiteY27" fmla="*/ 1429 h 10000"/>
              <a:gd name="connsiteX28" fmla="*/ 1364 w 10000"/>
              <a:gd name="connsiteY28" fmla="*/ 1550 h 10000"/>
              <a:gd name="connsiteX29" fmla="*/ 2459 w 10000"/>
              <a:gd name="connsiteY29" fmla="*/ 1910 h 10000"/>
              <a:gd name="connsiteX30" fmla="*/ 3139 w 10000"/>
              <a:gd name="connsiteY30" fmla="*/ 1550 h 10000"/>
              <a:gd name="connsiteX31" fmla="*/ 3012 w 10000"/>
              <a:gd name="connsiteY31" fmla="*/ 1193 h 10000"/>
              <a:gd name="connsiteX32" fmla="*/ 2185 w 10000"/>
              <a:gd name="connsiteY32" fmla="*/ 479 h 10000"/>
              <a:gd name="connsiteX33" fmla="*/ 1364 w 10000"/>
              <a:gd name="connsiteY33" fmla="*/ 241 h 10000"/>
              <a:gd name="connsiteX34" fmla="*/ 1364 w 10000"/>
              <a:gd name="connsiteY34" fmla="*/ 125 h 10000"/>
              <a:gd name="connsiteX35" fmla="*/ 1097 w 10000"/>
              <a:gd name="connsiteY35" fmla="*/ 0 h 10000"/>
              <a:gd name="connsiteX36" fmla="*/ 817 w 10000"/>
              <a:gd name="connsiteY36" fmla="*/ 125 h 10000"/>
              <a:gd name="connsiteX37" fmla="*/ 817 w 10000"/>
              <a:gd name="connsiteY37" fmla="*/ 241 h 10000"/>
              <a:gd name="connsiteX38" fmla="*/ 682 w 10000"/>
              <a:gd name="connsiteY38" fmla="*/ 241 h 10000"/>
              <a:gd name="connsiteX39" fmla="*/ 411 w 10000"/>
              <a:gd name="connsiteY39" fmla="*/ 479 h 10000"/>
              <a:gd name="connsiteX40" fmla="*/ 411 w 10000"/>
              <a:gd name="connsiteY40" fmla="*/ 834 h 10000"/>
              <a:gd name="connsiteX41" fmla="*/ 682 w 10000"/>
              <a:gd name="connsiteY41" fmla="*/ 1074 h 10000"/>
              <a:gd name="connsiteX42" fmla="*/ 553 w 10000"/>
              <a:gd name="connsiteY42" fmla="*/ 1429 h 10000"/>
              <a:gd name="connsiteX43" fmla="*/ 682 w 10000"/>
              <a:gd name="connsiteY43" fmla="*/ 2028 h 10000"/>
              <a:gd name="connsiteX44" fmla="*/ 553 w 10000"/>
              <a:gd name="connsiteY44" fmla="*/ 2384 h 10000"/>
              <a:gd name="connsiteX45" fmla="*/ 817 w 10000"/>
              <a:gd name="connsiteY45" fmla="*/ 2740 h 10000"/>
              <a:gd name="connsiteX46" fmla="*/ 682 w 10000"/>
              <a:gd name="connsiteY46" fmla="*/ 2980 h 10000"/>
              <a:gd name="connsiteX47" fmla="*/ 954 w 10000"/>
              <a:gd name="connsiteY47" fmla="*/ 3216 h 10000"/>
              <a:gd name="connsiteX48" fmla="*/ 954 w 10000"/>
              <a:gd name="connsiteY48" fmla="*/ 3337 h 10000"/>
              <a:gd name="connsiteX49" fmla="*/ 553 w 10000"/>
              <a:gd name="connsiteY49" fmla="*/ 3932 h 10000"/>
              <a:gd name="connsiteX50" fmla="*/ 125 w 10000"/>
              <a:gd name="connsiteY50" fmla="*/ 4170 h 10000"/>
              <a:gd name="connsiteX51" fmla="*/ 268 w 10000"/>
              <a:gd name="connsiteY51" fmla="*/ 4170 h 10000"/>
              <a:gd name="connsiteX52" fmla="*/ 553 w 10000"/>
              <a:gd name="connsiteY52" fmla="*/ 4407 h 10000"/>
              <a:gd name="connsiteX53" fmla="*/ 268 w 10000"/>
              <a:gd name="connsiteY53" fmla="*/ 4644 h 10000"/>
              <a:gd name="connsiteX54" fmla="*/ 125 w 10000"/>
              <a:gd name="connsiteY54" fmla="*/ 4765 h 10000"/>
              <a:gd name="connsiteX55" fmla="*/ 0 w 10000"/>
              <a:gd name="connsiteY55" fmla="*/ 4765 h 10000"/>
              <a:gd name="connsiteX56" fmla="*/ 125 w 10000"/>
              <a:gd name="connsiteY56" fmla="*/ 5123 h 10000"/>
              <a:gd name="connsiteX57" fmla="*/ 125 w 10000"/>
              <a:gd name="connsiteY57" fmla="*/ 5241 h 10000"/>
              <a:gd name="connsiteX58" fmla="*/ 125 w 10000"/>
              <a:gd name="connsiteY58" fmla="*/ 5358 h 10000"/>
              <a:gd name="connsiteX59" fmla="*/ 125 w 10000"/>
              <a:gd name="connsiteY59" fmla="*/ 5479 h 10000"/>
              <a:gd name="connsiteX60" fmla="*/ 268 w 10000"/>
              <a:gd name="connsiteY60" fmla="*/ 5714 h 10000"/>
              <a:gd name="connsiteX61" fmla="*/ 682 w 10000"/>
              <a:gd name="connsiteY61" fmla="*/ 5835 h 10000"/>
              <a:gd name="connsiteX62" fmla="*/ 817 w 10000"/>
              <a:gd name="connsiteY62" fmla="*/ 5950 h 10000"/>
              <a:gd name="connsiteX63" fmla="*/ 817 w 10000"/>
              <a:gd name="connsiteY63" fmla="*/ 6194 h 10000"/>
              <a:gd name="connsiteX64" fmla="*/ 1097 w 10000"/>
              <a:gd name="connsiteY64" fmla="*/ 6550 h 10000"/>
              <a:gd name="connsiteX65" fmla="*/ 1239 w 10000"/>
              <a:gd name="connsiteY65" fmla="*/ 6550 h 10000"/>
              <a:gd name="connsiteX66" fmla="*/ 1097 w 10000"/>
              <a:gd name="connsiteY66" fmla="*/ 6787 h 10000"/>
              <a:gd name="connsiteX67" fmla="*/ 954 w 10000"/>
              <a:gd name="connsiteY67" fmla="*/ 6670 h 10000"/>
              <a:gd name="connsiteX68" fmla="*/ 954 w 10000"/>
              <a:gd name="connsiteY68" fmla="*/ 6787 h 10000"/>
              <a:gd name="connsiteX69" fmla="*/ 1097 w 10000"/>
              <a:gd name="connsiteY69" fmla="*/ 7025 h 10000"/>
              <a:gd name="connsiteX70" fmla="*/ 1516 w 10000"/>
              <a:gd name="connsiteY70" fmla="*/ 7025 h 10000"/>
              <a:gd name="connsiteX71" fmla="*/ 1649 w 10000"/>
              <a:gd name="connsiteY71" fmla="*/ 7144 h 10000"/>
              <a:gd name="connsiteX72" fmla="*/ 1516 w 10000"/>
              <a:gd name="connsiteY72" fmla="*/ 7144 h 10000"/>
              <a:gd name="connsiteX73" fmla="*/ 1649 w 10000"/>
              <a:gd name="connsiteY73" fmla="*/ 7262 h 10000"/>
              <a:gd name="connsiteX74" fmla="*/ 1778 w 10000"/>
              <a:gd name="connsiteY74" fmla="*/ 7262 h 10000"/>
              <a:gd name="connsiteX75" fmla="*/ 1914 w 10000"/>
              <a:gd name="connsiteY75" fmla="*/ 7501 h 10000"/>
              <a:gd name="connsiteX76" fmla="*/ 2055 w 10000"/>
              <a:gd name="connsiteY76" fmla="*/ 7618 h 10000"/>
              <a:gd name="connsiteX77" fmla="*/ 2185 w 10000"/>
              <a:gd name="connsiteY77" fmla="*/ 7501 h 10000"/>
              <a:gd name="connsiteX78" fmla="*/ 2879 w 10000"/>
              <a:gd name="connsiteY78" fmla="*/ 7858 h 10000"/>
              <a:gd name="connsiteX79" fmla="*/ 2746 w 10000"/>
              <a:gd name="connsiteY79" fmla="*/ 8332 h 10000"/>
              <a:gd name="connsiteX80" fmla="*/ 2606 w 10000"/>
              <a:gd name="connsiteY80" fmla="*/ 8216 h 10000"/>
              <a:gd name="connsiteX81" fmla="*/ 2459 w 10000"/>
              <a:gd name="connsiteY81" fmla="*/ 8332 h 10000"/>
              <a:gd name="connsiteX82" fmla="*/ 2459 w 10000"/>
              <a:gd name="connsiteY82" fmla="*/ 8570 h 10000"/>
              <a:gd name="connsiteX83" fmla="*/ 2606 w 10000"/>
              <a:gd name="connsiteY83" fmla="*/ 8453 h 10000"/>
              <a:gd name="connsiteX84" fmla="*/ 2746 w 10000"/>
              <a:gd name="connsiteY84" fmla="*/ 8570 h 10000"/>
              <a:gd name="connsiteX85" fmla="*/ 2333 w 10000"/>
              <a:gd name="connsiteY85" fmla="*/ 8692 h 10000"/>
              <a:gd name="connsiteX86" fmla="*/ 2459 w 10000"/>
              <a:gd name="connsiteY86" fmla="*/ 8810 h 10000"/>
              <a:gd name="connsiteX87" fmla="*/ 2185 w 10000"/>
              <a:gd name="connsiteY87" fmla="*/ 9048 h 10000"/>
              <a:gd name="connsiteX88" fmla="*/ 2055 w 10000"/>
              <a:gd name="connsiteY88" fmla="*/ 9048 h 10000"/>
              <a:gd name="connsiteX89" fmla="*/ 2185 w 10000"/>
              <a:gd name="connsiteY89" fmla="*/ 9048 h 10000"/>
              <a:gd name="connsiteX90" fmla="*/ 2746 w 10000"/>
              <a:gd name="connsiteY90" fmla="*/ 9526 h 10000"/>
              <a:gd name="connsiteX91" fmla="*/ 3429 w 10000"/>
              <a:gd name="connsiteY91" fmla="*/ 9526 h 10000"/>
              <a:gd name="connsiteX92" fmla="*/ 3698 w 10000"/>
              <a:gd name="connsiteY92" fmla="*/ 9644 h 10000"/>
              <a:gd name="connsiteX93" fmla="*/ 3974 w 10000"/>
              <a:gd name="connsiteY93" fmla="*/ 9644 h 10000"/>
              <a:gd name="connsiteX94" fmla="*/ 4249 w 10000"/>
              <a:gd name="connsiteY94" fmla="*/ 9883 h 10000"/>
              <a:gd name="connsiteX95" fmla="*/ 4386 w 10000"/>
              <a:gd name="connsiteY95" fmla="*/ 10000 h 10000"/>
              <a:gd name="connsiteX96" fmla="*/ 4517 w 10000"/>
              <a:gd name="connsiteY96" fmla="*/ 10000 h 10000"/>
              <a:gd name="connsiteX97" fmla="*/ 4662 w 10000"/>
              <a:gd name="connsiteY97" fmla="*/ 9883 h 10000"/>
              <a:gd name="connsiteX98" fmla="*/ 4386 w 10000"/>
              <a:gd name="connsiteY98" fmla="*/ 9644 h 10000"/>
              <a:gd name="connsiteX99" fmla="*/ 4386 w 10000"/>
              <a:gd name="connsiteY99" fmla="*/ 9406 h 10000"/>
              <a:gd name="connsiteX100" fmla="*/ 4249 w 10000"/>
              <a:gd name="connsiteY100" fmla="*/ 9166 h 10000"/>
              <a:gd name="connsiteX101" fmla="*/ 4517 w 10000"/>
              <a:gd name="connsiteY101" fmla="*/ 8810 h 10000"/>
              <a:gd name="connsiteX102" fmla="*/ 4662 w 10000"/>
              <a:gd name="connsiteY102" fmla="*/ 8928 h 10000"/>
              <a:gd name="connsiteX103" fmla="*/ 4793 w 10000"/>
              <a:gd name="connsiteY103" fmla="*/ 8810 h 10000"/>
              <a:gd name="connsiteX104" fmla="*/ 4793 w 10000"/>
              <a:gd name="connsiteY104" fmla="*/ 8692 h 10000"/>
              <a:gd name="connsiteX105" fmla="*/ 4662 w 10000"/>
              <a:gd name="connsiteY105" fmla="*/ 8692 h 10000"/>
              <a:gd name="connsiteX106" fmla="*/ 4793 w 10000"/>
              <a:gd name="connsiteY106" fmla="*/ 8570 h 10000"/>
              <a:gd name="connsiteX107" fmla="*/ 4662 w 10000"/>
              <a:gd name="connsiteY107" fmla="*/ 8332 h 10000"/>
              <a:gd name="connsiteX108" fmla="*/ 4386 w 10000"/>
              <a:gd name="connsiteY108" fmla="*/ 8332 h 10000"/>
              <a:gd name="connsiteX109" fmla="*/ 4249 w 10000"/>
              <a:gd name="connsiteY109" fmla="*/ 8097 h 10000"/>
              <a:gd name="connsiteX110" fmla="*/ 4386 w 10000"/>
              <a:gd name="connsiteY110" fmla="*/ 7501 h 10000"/>
              <a:gd name="connsiteX111" fmla="*/ 4662 w 10000"/>
              <a:gd name="connsiteY111" fmla="*/ 7739 h 10000"/>
              <a:gd name="connsiteX112" fmla="*/ 4793 w 10000"/>
              <a:gd name="connsiteY112" fmla="*/ 7739 h 10000"/>
              <a:gd name="connsiteX113" fmla="*/ 4662 w 10000"/>
              <a:gd name="connsiteY113" fmla="*/ 7501 h 10000"/>
              <a:gd name="connsiteX114" fmla="*/ 5076 w 10000"/>
              <a:gd name="connsiteY114" fmla="*/ 7144 h 10000"/>
              <a:gd name="connsiteX115" fmla="*/ 5353 w 10000"/>
              <a:gd name="connsiteY115" fmla="*/ 7262 h 10000"/>
              <a:gd name="connsiteX116" fmla="*/ 5485 w 10000"/>
              <a:gd name="connsiteY116" fmla="*/ 7144 h 10000"/>
              <a:gd name="connsiteX117" fmla="*/ 5745 w 10000"/>
              <a:gd name="connsiteY117" fmla="*/ 7262 h 10000"/>
              <a:gd name="connsiteX118" fmla="*/ 6176 w 10000"/>
              <a:gd name="connsiteY118" fmla="*/ 7501 h 10000"/>
              <a:gd name="connsiteX119" fmla="*/ 6438 w 10000"/>
              <a:gd name="connsiteY119" fmla="*/ 7381 h 10000"/>
              <a:gd name="connsiteX120" fmla="*/ 6716 w 10000"/>
              <a:gd name="connsiteY120" fmla="*/ 7381 h 10000"/>
              <a:gd name="connsiteX121" fmla="*/ 6857 w 10000"/>
              <a:gd name="connsiteY121" fmla="*/ 7501 h 10000"/>
              <a:gd name="connsiteX122" fmla="*/ 7404 w 10000"/>
              <a:gd name="connsiteY122" fmla="*/ 7501 h 10000"/>
              <a:gd name="connsiteX123" fmla="*/ 7535 w 10000"/>
              <a:gd name="connsiteY123" fmla="*/ 7262 h 10000"/>
              <a:gd name="connsiteX124" fmla="*/ 7118 w 10000"/>
              <a:gd name="connsiteY124" fmla="*/ 7144 h 10000"/>
              <a:gd name="connsiteX125" fmla="*/ 7404 w 10000"/>
              <a:gd name="connsiteY125" fmla="*/ 7025 h 10000"/>
              <a:gd name="connsiteX126" fmla="*/ 7260 w 10000"/>
              <a:gd name="connsiteY126" fmla="*/ 6904 h 10000"/>
              <a:gd name="connsiteX127" fmla="*/ 7404 w 10000"/>
              <a:gd name="connsiteY127" fmla="*/ 6787 h 10000"/>
              <a:gd name="connsiteX128" fmla="*/ 7404 w 10000"/>
              <a:gd name="connsiteY128" fmla="*/ 6429 h 10000"/>
              <a:gd name="connsiteX129" fmla="*/ 7667 w 10000"/>
              <a:gd name="connsiteY129" fmla="*/ 6550 h 10000"/>
              <a:gd name="connsiteX130" fmla="*/ 8906 w 10000"/>
              <a:gd name="connsiteY130" fmla="*/ 6194 h 10000"/>
              <a:gd name="connsiteX131" fmla="*/ 8906 w 10000"/>
              <a:gd name="connsiteY131" fmla="*/ 6074 h 10000"/>
              <a:gd name="connsiteX132" fmla="*/ 9050 w 10000"/>
              <a:gd name="connsiteY132" fmla="*/ 6074 h 10000"/>
              <a:gd name="connsiteX133" fmla="*/ 9443 w 10000"/>
              <a:gd name="connsiteY133" fmla="*/ 6074 h 10000"/>
              <a:gd name="connsiteX134" fmla="*/ 9599 w 10000"/>
              <a:gd name="connsiteY134" fmla="*/ 6313 h 10000"/>
              <a:gd name="connsiteX135" fmla="*/ 9599 w 10000"/>
              <a:gd name="connsiteY135" fmla="*/ 6429 h 10000"/>
              <a:gd name="connsiteX136" fmla="*/ 9729 w 10000"/>
              <a:gd name="connsiteY136" fmla="*/ 6429 h 10000"/>
              <a:gd name="connsiteX137" fmla="*/ 10000 w 10000"/>
              <a:gd name="connsiteY137" fmla="*/ 6550 h 10000"/>
              <a:gd name="connsiteX138" fmla="*/ 10000 w 10000"/>
              <a:gd name="connsiteY138" fmla="*/ 6670 h 10000"/>
              <a:gd name="connsiteX0" fmla="*/ 7118 w 10000"/>
              <a:gd name="connsiteY0" fmla="*/ 600 h 10000"/>
              <a:gd name="connsiteX1" fmla="*/ 7000 w 10000"/>
              <a:gd name="connsiteY1" fmla="*/ 479 h 10000"/>
              <a:gd name="connsiteX2" fmla="*/ 6176 w 10000"/>
              <a:gd name="connsiteY2" fmla="*/ 717 h 10000"/>
              <a:gd name="connsiteX3" fmla="*/ 6038 w 10000"/>
              <a:gd name="connsiteY3" fmla="*/ 955 h 10000"/>
              <a:gd name="connsiteX4" fmla="*/ 5901 w 10000"/>
              <a:gd name="connsiteY4" fmla="*/ 717 h 10000"/>
              <a:gd name="connsiteX5" fmla="*/ 5901 w 10000"/>
              <a:gd name="connsiteY5" fmla="*/ 479 h 10000"/>
              <a:gd name="connsiteX6" fmla="*/ 4517 w 10000"/>
              <a:gd name="connsiteY6" fmla="*/ 1193 h 10000"/>
              <a:gd name="connsiteX7" fmla="*/ 4517 w 10000"/>
              <a:gd name="connsiteY7" fmla="*/ 1429 h 10000"/>
              <a:gd name="connsiteX8" fmla="*/ 4249 w 10000"/>
              <a:gd name="connsiteY8" fmla="*/ 1550 h 10000"/>
              <a:gd name="connsiteX9" fmla="*/ 3838 w 10000"/>
              <a:gd name="connsiteY9" fmla="*/ 1311 h 10000"/>
              <a:gd name="connsiteX10" fmla="*/ 4249 w 10000"/>
              <a:gd name="connsiteY10" fmla="*/ 1074 h 10000"/>
              <a:gd name="connsiteX11" fmla="*/ 4104 w 10000"/>
              <a:gd name="connsiteY11" fmla="*/ 717 h 10000"/>
              <a:gd name="connsiteX12" fmla="*/ 3564 w 10000"/>
              <a:gd name="connsiteY12" fmla="*/ 600 h 10000"/>
              <a:gd name="connsiteX13" fmla="*/ 3698 w 10000"/>
              <a:gd name="connsiteY13" fmla="*/ 834 h 10000"/>
              <a:gd name="connsiteX14" fmla="*/ 3698 w 10000"/>
              <a:gd name="connsiteY14" fmla="*/ 1429 h 10000"/>
              <a:gd name="connsiteX15" fmla="*/ 3838 w 10000"/>
              <a:gd name="connsiteY15" fmla="*/ 1669 h 10000"/>
              <a:gd name="connsiteX16" fmla="*/ 3698 w 10000"/>
              <a:gd name="connsiteY16" fmla="*/ 1910 h 10000"/>
              <a:gd name="connsiteX17" fmla="*/ 3281 w 10000"/>
              <a:gd name="connsiteY17" fmla="*/ 1790 h 10000"/>
              <a:gd name="connsiteX18" fmla="*/ 2746 w 10000"/>
              <a:gd name="connsiteY18" fmla="*/ 2143 h 10000"/>
              <a:gd name="connsiteX19" fmla="*/ 3012 w 10000"/>
              <a:gd name="connsiteY19" fmla="*/ 2622 h 10000"/>
              <a:gd name="connsiteX20" fmla="*/ 2185 w 10000"/>
              <a:gd name="connsiteY20" fmla="*/ 2384 h 10000"/>
              <a:gd name="connsiteX21" fmla="*/ 2055 w 10000"/>
              <a:gd name="connsiteY21" fmla="*/ 2501 h 10000"/>
              <a:gd name="connsiteX22" fmla="*/ 2333 w 10000"/>
              <a:gd name="connsiteY22" fmla="*/ 2859 h 10000"/>
              <a:gd name="connsiteX23" fmla="*/ 2055 w 10000"/>
              <a:gd name="connsiteY23" fmla="*/ 2859 h 10000"/>
              <a:gd name="connsiteX24" fmla="*/ 1649 w 10000"/>
              <a:gd name="connsiteY24" fmla="*/ 2622 h 10000"/>
              <a:gd name="connsiteX25" fmla="*/ 1649 w 10000"/>
              <a:gd name="connsiteY25" fmla="*/ 1910 h 10000"/>
              <a:gd name="connsiteX26" fmla="*/ 1239 w 10000"/>
              <a:gd name="connsiteY26" fmla="*/ 1669 h 10000"/>
              <a:gd name="connsiteX27" fmla="*/ 1097 w 10000"/>
              <a:gd name="connsiteY27" fmla="*/ 1429 h 10000"/>
              <a:gd name="connsiteX28" fmla="*/ 1364 w 10000"/>
              <a:gd name="connsiteY28" fmla="*/ 1550 h 10000"/>
              <a:gd name="connsiteX29" fmla="*/ 2459 w 10000"/>
              <a:gd name="connsiteY29" fmla="*/ 1910 h 10000"/>
              <a:gd name="connsiteX30" fmla="*/ 3139 w 10000"/>
              <a:gd name="connsiteY30" fmla="*/ 1550 h 10000"/>
              <a:gd name="connsiteX31" fmla="*/ 3012 w 10000"/>
              <a:gd name="connsiteY31" fmla="*/ 1193 h 10000"/>
              <a:gd name="connsiteX32" fmla="*/ 2185 w 10000"/>
              <a:gd name="connsiteY32" fmla="*/ 479 h 10000"/>
              <a:gd name="connsiteX33" fmla="*/ 1364 w 10000"/>
              <a:gd name="connsiteY33" fmla="*/ 241 h 10000"/>
              <a:gd name="connsiteX34" fmla="*/ 1364 w 10000"/>
              <a:gd name="connsiteY34" fmla="*/ 125 h 10000"/>
              <a:gd name="connsiteX35" fmla="*/ 1097 w 10000"/>
              <a:gd name="connsiteY35" fmla="*/ 0 h 10000"/>
              <a:gd name="connsiteX36" fmla="*/ 817 w 10000"/>
              <a:gd name="connsiteY36" fmla="*/ 125 h 10000"/>
              <a:gd name="connsiteX37" fmla="*/ 817 w 10000"/>
              <a:gd name="connsiteY37" fmla="*/ 241 h 10000"/>
              <a:gd name="connsiteX38" fmla="*/ 682 w 10000"/>
              <a:gd name="connsiteY38" fmla="*/ 241 h 10000"/>
              <a:gd name="connsiteX39" fmla="*/ 411 w 10000"/>
              <a:gd name="connsiteY39" fmla="*/ 479 h 10000"/>
              <a:gd name="connsiteX40" fmla="*/ 411 w 10000"/>
              <a:gd name="connsiteY40" fmla="*/ 834 h 10000"/>
              <a:gd name="connsiteX41" fmla="*/ 682 w 10000"/>
              <a:gd name="connsiteY41" fmla="*/ 1074 h 10000"/>
              <a:gd name="connsiteX42" fmla="*/ 553 w 10000"/>
              <a:gd name="connsiteY42" fmla="*/ 1429 h 10000"/>
              <a:gd name="connsiteX43" fmla="*/ 682 w 10000"/>
              <a:gd name="connsiteY43" fmla="*/ 2028 h 10000"/>
              <a:gd name="connsiteX44" fmla="*/ 553 w 10000"/>
              <a:gd name="connsiteY44" fmla="*/ 2384 h 10000"/>
              <a:gd name="connsiteX45" fmla="*/ 817 w 10000"/>
              <a:gd name="connsiteY45" fmla="*/ 2740 h 10000"/>
              <a:gd name="connsiteX46" fmla="*/ 682 w 10000"/>
              <a:gd name="connsiteY46" fmla="*/ 2980 h 10000"/>
              <a:gd name="connsiteX47" fmla="*/ 954 w 10000"/>
              <a:gd name="connsiteY47" fmla="*/ 3216 h 10000"/>
              <a:gd name="connsiteX48" fmla="*/ 954 w 10000"/>
              <a:gd name="connsiteY48" fmla="*/ 3337 h 10000"/>
              <a:gd name="connsiteX49" fmla="*/ 553 w 10000"/>
              <a:gd name="connsiteY49" fmla="*/ 3932 h 10000"/>
              <a:gd name="connsiteX50" fmla="*/ 125 w 10000"/>
              <a:gd name="connsiteY50" fmla="*/ 4170 h 10000"/>
              <a:gd name="connsiteX51" fmla="*/ 268 w 10000"/>
              <a:gd name="connsiteY51" fmla="*/ 4170 h 10000"/>
              <a:gd name="connsiteX52" fmla="*/ 553 w 10000"/>
              <a:gd name="connsiteY52" fmla="*/ 4407 h 10000"/>
              <a:gd name="connsiteX53" fmla="*/ 268 w 10000"/>
              <a:gd name="connsiteY53" fmla="*/ 4644 h 10000"/>
              <a:gd name="connsiteX54" fmla="*/ 125 w 10000"/>
              <a:gd name="connsiteY54" fmla="*/ 4765 h 10000"/>
              <a:gd name="connsiteX55" fmla="*/ 0 w 10000"/>
              <a:gd name="connsiteY55" fmla="*/ 4765 h 10000"/>
              <a:gd name="connsiteX56" fmla="*/ 125 w 10000"/>
              <a:gd name="connsiteY56" fmla="*/ 5123 h 10000"/>
              <a:gd name="connsiteX57" fmla="*/ 125 w 10000"/>
              <a:gd name="connsiteY57" fmla="*/ 5241 h 10000"/>
              <a:gd name="connsiteX58" fmla="*/ 125 w 10000"/>
              <a:gd name="connsiteY58" fmla="*/ 5358 h 10000"/>
              <a:gd name="connsiteX59" fmla="*/ 125 w 10000"/>
              <a:gd name="connsiteY59" fmla="*/ 5479 h 10000"/>
              <a:gd name="connsiteX60" fmla="*/ 268 w 10000"/>
              <a:gd name="connsiteY60" fmla="*/ 5714 h 10000"/>
              <a:gd name="connsiteX61" fmla="*/ 682 w 10000"/>
              <a:gd name="connsiteY61" fmla="*/ 5835 h 10000"/>
              <a:gd name="connsiteX62" fmla="*/ 817 w 10000"/>
              <a:gd name="connsiteY62" fmla="*/ 5950 h 10000"/>
              <a:gd name="connsiteX63" fmla="*/ 817 w 10000"/>
              <a:gd name="connsiteY63" fmla="*/ 6194 h 10000"/>
              <a:gd name="connsiteX64" fmla="*/ 1097 w 10000"/>
              <a:gd name="connsiteY64" fmla="*/ 6550 h 10000"/>
              <a:gd name="connsiteX65" fmla="*/ 1239 w 10000"/>
              <a:gd name="connsiteY65" fmla="*/ 6550 h 10000"/>
              <a:gd name="connsiteX66" fmla="*/ 1097 w 10000"/>
              <a:gd name="connsiteY66" fmla="*/ 6787 h 10000"/>
              <a:gd name="connsiteX67" fmla="*/ 954 w 10000"/>
              <a:gd name="connsiteY67" fmla="*/ 6670 h 10000"/>
              <a:gd name="connsiteX68" fmla="*/ 954 w 10000"/>
              <a:gd name="connsiteY68" fmla="*/ 6787 h 10000"/>
              <a:gd name="connsiteX69" fmla="*/ 1097 w 10000"/>
              <a:gd name="connsiteY69" fmla="*/ 7025 h 10000"/>
              <a:gd name="connsiteX70" fmla="*/ 1516 w 10000"/>
              <a:gd name="connsiteY70" fmla="*/ 7025 h 10000"/>
              <a:gd name="connsiteX71" fmla="*/ 1649 w 10000"/>
              <a:gd name="connsiteY71" fmla="*/ 7144 h 10000"/>
              <a:gd name="connsiteX72" fmla="*/ 1516 w 10000"/>
              <a:gd name="connsiteY72" fmla="*/ 7144 h 10000"/>
              <a:gd name="connsiteX73" fmla="*/ 1649 w 10000"/>
              <a:gd name="connsiteY73" fmla="*/ 7262 h 10000"/>
              <a:gd name="connsiteX74" fmla="*/ 1778 w 10000"/>
              <a:gd name="connsiteY74" fmla="*/ 7262 h 10000"/>
              <a:gd name="connsiteX75" fmla="*/ 1914 w 10000"/>
              <a:gd name="connsiteY75" fmla="*/ 7501 h 10000"/>
              <a:gd name="connsiteX76" fmla="*/ 2055 w 10000"/>
              <a:gd name="connsiteY76" fmla="*/ 7618 h 10000"/>
              <a:gd name="connsiteX77" fmla="*/ 2185 w 10000"/>
              <a:gd name="connsiteY77" fmla="*/ 7501 h 10000"/>
              <a:gd name="connsiteX78" fmla="*/ 2879 w 10000"/>
              <a:gd name="connsiteY78" fmla="*/ 7858 h 10000"/>
              <a:gd name="connsiteX79" fmla="*/ 2746 w 10000"/>
              <a:gd name="connsiteY79" fmla="*/ 8332 h 10000"/>
              <a:gd name="connsiteX80" fmla="*/ 2606 w 10000"/>
              <a:gd name="connsiteY80" fmla="*/ 8216 h 10000"/>
              <a:gd name="connsiteX81" fmla="*/ 2459 w 10000"/>
              <a:gd name="connsiteY81" fmla="*/ 8332 h 10000"/>
              <a:gd name="connsiteX82" fmla="*/ 2459 w 10000"/>
              <a:gd name="connsiteY82" fmla="*/ 8570 h 10000"/>
              <a:gd name="connsiteX83" fmla="*/ 2606 w 10000"/>
              <a:gd name="connsiteY83" fmla="*/ 8453 h 10000"/>
              <a:gd name="connsiteX84" fmla="*/ 2746 w 10000"/>
              <a:gd name="connsiteY84" fmla="*/ 8570 h 10000"/>
              <a:gd name="connsiteX85" fmla="*/ 2333 w 10000"/>
              <a:gd name="connsiteY85" fmla="*/ 8692 h 10000"/>
              <a:gd name="connsiteX86" fmla="*/ 2459 w 10000"/>
              <a:gd name="connsiteY86" fmla="*/ 8810 h 10000"/>
              <a:gd name="connsiteX87" fmla="*/ 2185 w 10000"/>
              <a:gd name="connsiteY87" fmla="*/ 9048 h 10000"/>
              <a:gd name="connsiteX88" fmla="*/ 2055 w 10000"/>
              <a:gd name="connsiteY88" fmla="*/ 9048 h 10000"/>
              <a:gd name="connsiteX89" fmla="*/ 2185 w 10000"/>
              <a:gd name="connsiteY89" fmla="*/ 9048 h 10000"/>
              <a:gd name="connsiteX90" fmla="*/ 2746 w 10000"/>
              <a:gd name="connsiteY90" fmla="*/ 9526 h 10000"/>
              <a:gd name="connsiteX91" fmla="*/ 3429 w 10000"/>
              <a:gd name="connsiteY91" fmla="*/ 9526 h 10000"/>
              <a:gd name="connsiteX92" fmla="*/ 3698 w 10000"/>
              <a:gd name="connsiteY92" fmla="*/ 9644 h 10000"/>
              <a:gd name="connsiteX93" fmla="*/ 3974 w 10000"/>
              <a:gd name="connsiteY93" fmla="*/ 9644 h 10000"/>
              <a:gd name="connsiteX94" fmla="*/ 4249 w 10000"/>
              <a:gd name="connsiteY94" fmla="*/ 9883 h 10000"/>
              <a:gd name="connsiteX95" fmla="*/ 4386 w 10000"/>
              <a:gd name="connsiteY95" fmla="*/ 10000 h 10000"/>
              <a:gd name="connsiteX96" fmla="*/ 4517 w 10000"/>
              <a:gd name="connsiteY96" fmla="*/ 10000 h 10000"/>
              <a:gd name="connsiteX97" fmla="*/ 4662 w 10000"/>
              <a:gd name="connsiteY97" fmla="*/ 9883 h 10000"/>
              <a:gd name="connsiteX98" fmla="*/ 4386 w 10000"/>
              <a:gd name="connsiteY98" fmla="*/ 9644 h 10000"/>
              <a:gd name="connsiteX99" fmla="*/ 4386 w 10000"/>
              <a:gd name="connsiteY99" fmla="*/ 9406 h 10000"/>
              <a:gd name="connsiteX100" fmla="*/ 4249 w 10000"/>
              <a:gd name="connsiteY100" fmla="*/ 9166 h 10000"/>
              <a:gd name="connsiteX101" fmla="*/ 4517 w 10000"/>
              <a:gd name="connsiteY101" fmla="*/ 8810 h 10000"/>
              <a:gd name="connsiteX102" fmla="*/ 4662 w 10000"/>
              <a:gd name="connsiteY102" fmla="*/ 8928 h 10000"/>
              <a:gd name="connsiteX103" fmla="*/ 4793 w 10000"/>
              <a:gd name="connsiteY103" fmla="*/ 8810 h 10000"/>
              <a:gd name="connsiteX104" fmla="*/ 4793 w 10000"/>
              <a:gd name="connsiteY104" fmla="*/ 8692 h 10000"/>
              <a:gd name="connsiteX105" fmla="*/ 4662 w 10000"/>
              <a:gd name="connsiteY105" fmla="*/ 8692 h 10000"/>
              <a:gd name="connsiteX106" fmla="*/ 4793 w 10000"/>
              <a:gd name="connsiteY106" fmla="*/ 8570 h 10000"/>
              <a:gd name="connsiteX107" fmla="*/ 4662 w 10000"/>
              <a:gd name="connsiteY107" fmla="*/ 8332 h 10000"/>
              <a:gd name="connsiteX108" fmla="*/ 4386 w 10000"/>
              <a:gd name="connsiteY108" fmla="*/ 8332 h 10000"/>
              <a:gd name="connsiteX109" fmla="*/ 4249 w 10000"/>
              <a:gd name="connsiteY109" fmla="*/ 8097 h 10000"/>
              <a:gd name="connsiteX110" fmla="*/ 4386 w 10000"/>
              <a:gd name="connsiteY110" fmla="*/ 7501 h 10000"/>
              <a:gd name="connsiteX111" fmla="*/ 4662 w 10000"/>
              <a:gd name="connsiteY111" fmla="*/ 7739 h 10000"/>
              <a:gd name="connsiteX112" fmla="*/ 4793 w 10000"/>
              <a:gd name="connsiteY112" fmla="*/ 7739 h 10000"/>
              <a:gd name="connsiteX113" fmla="*/ 4662 w 10000"/>
              <a:gd name="connsiteY113" fmla="*/ 7501 h 10000"/>
              <a:gd name="connsiteX114" fmla="*/ 5076 w 10000"/>
              <a:gd name="connsiteY114" fmla="*/ 7144 h 10000"/>
              <a:gd name="connsiteX115" fmla="*/ 5353 w 10000"/>
              <a:gd name="connsiteY115" fmla="*/ 7262 h 10000"/>
              <a:gd name="connsiteX116" fmla="*/ 5485 w 10000"/>
              <a:gd name="connsiteY116" fmla="*/ 7144 h 10000"/>
              <a:gd name="connsiteX117" fmla="*/ 5745 w 10000"/>
              <a:gd name="connsiteY117" fmla="*/ 7262 h 10000"/>
              <a:gd name="connsiteX118" fmla="*/ 6176 w 10000"/>
              <a:gd name="connsiteY118" fmla="*/ 7501 h 10000"/>
              <a:gd name="connsiteX119" fmla="*/ 6438 w 10000"/>
              <a:gd name="connsiteY119" fmla="*/ 7381 h 10000"/>
              <a:gd name="connsiteX120" fmla="*/ 6716 w 10000"/>
              <a:gd name="connsiteY120" fmla="*/ 7381 h 10000"/>
              <a:gd name="connsiteX121" fmla="*/ 6857 w 10000"/>
              <a:gd name="connsiteY121" fmla="*/ 7501 h 10000"/>
              <a:gd name="connsiteX122" fmla="*/ 7404 w 10000"/>
              <a:gd name="connsiteY122" fmla="*/ 7501 h 10000"/>
              <a:gd name="connsiteX123" fmla="*/ 7535 w 10000"/>
              <a:gd name="connsiteY123" fmla="*/ 7262 h 10000"/>
              <a:gd name="connsiteX124" fmla="*/ 7118 w 10000"/>
              <a:gd name="connsiteY124" fmla="*/ 7144 h 10000"/>
              <a:gd name="connsiteX125" fmla="*/ 7404 w 10000"/>
              <a:gd name="connsiteY125" fmla="*/ 7025 h 10000"/>
              <a:gd name="connsiteX126" fmla="*/ 7260 w 10000"/>
              <a:gd name="connsiteY126" fmla="*/ 6904 h 10000"/>
              <a:gd name="connsiteX127" fmla="*/ 7404 w 10000"/>
              <a:gd name="connsiteY127" fmla="*/ 6787 h 10000"/>
              <a:gd name="connsiteX128" fmla="*/ 7404 w 10000"/>
              <a:gd name="connsiteY128" fmla="*/ 6429 h 10000"/>
              <a:gd name="connsiteX129" fmla="*/ 7667 w 10000"/>
              <a:gd name="connsiteY129" fmla="*/ 6550 h 10000"/>
              <a:gd name="connsiteX130" fmla="*/ 8906 w 10000"/>
              <a:gd name="connsiteY130" fmla="*/ 6194 h 10000"/>
              <a:gd name="connsiteX131" fmla="*/ 8906 w 10000"/>
              <a:gd name="connsiteY131" fmla="*/ 6074 h 10000"/>
              <a:gd name="connsiteX132" fmla="*/ 9050 w 10000"/>
              <a:gd name="connsiteY132" fmla="*/ 6074 h 10000"/>
              <a:gd name="connsiteX133" fmla="*/ 9443 w 10000"/>
              <a:gd name="connsiteY133" fmla="*/ 6074 h 10000"/>
              <a:gd name="connsiteX134" fmla="*/ 9599 w 10000"/>
              <a:gd name="connsiteY134" fmla="*/ 6313 h 10000"/>
              <a:gd name="connsiteX135" fmla="*/ 9599 w 10000"/>
              <a:gd name="connsiteY135" fmla="*/ 6429 h 10000"/>
              <a:gd name="connsiteX136" fmla="*/ 9729 w 10000"/>
              <a:gd name="connsiteY136" fmla="*/ 6429 h 10000"/>
              <a:gd name="connsiteX137" fmla="*/ 10000 w 10000"/>
              <a:gd name="connsiteY137" fmla="*/ 6550 h 10000"/>
              <a:gd name="connsiteX0" fmla="*/ 7118 w 9729"/>
              <a:gd name="connsiteY0" fmla="*/ 600 h 10000"/>
              <a:gd name="connsiteX1" fmla="*/ 7000 w 9729"/>
              <a:gd name="connsiteY1" fmla="*/ 479 h 10000"/>
              <a:gd name="connsiteX2" fmla="*/ 6176 w 9729"/>
              <a:gd name="connsiteY2" fmla="*/ 717 h 10000"/>
              <a:gd name="connsiteX3" fmla="*/ 6038 w 9729"/>
              <a:gd name="connsiteY3" fmla="*/ 955 h 10000"/>
              <a:gd name="connsiteX4" fmla="*/ 5901 w 9729"/>
              <a:gd name="connsiteY4" fmla="*/ 717 h 10000"/>
              <a:gd name="connsiteX5" fmla="*/ 5901 w 9729"/>
              <a:gd name="connsiteY5" fmla="*/ 479 h 10000"/>
              <a:gd name="connsiteX6" fmla="*/ 4517 w 9729"/>
              <a:gd name="connsiteY6" fmla="*/ 1193 h 10000"/>
              <a:gd name="connsiteX7" fmla="*/ 4517 w 9729"/>
              <a:gd name="connsiteY7" fmla="*/ 1429 h 10000"/>
              <a:gd name="connsiteX8" fmla="*/ 4249 w 9729"/>
              <a:gd name="connsiteY8" fmla="*/ 1550 h 10000"/>
              <a:gd name="connsiteX9" fmla="*/ 3838 w 9729"/>
              <a:gd name="connsiteY9" fmla="*/ 1311 h 10000"/>
              <a:gd name="connsiteX10" fmla="*/ 4249 w 9729"/>
              <a:gd name="connsiteY10" fmla="*/ 1074 h 10000"/>
              <a:gd name="connsiteX11" fmla="*/ 4104 w 9729"/>
              <a:gd name="connsiteY11" fmla="*/ 717 h 10000"/>
              <a:gd name="connsiteX12" fmla="*/ 3564 w 9729"/>
              <a:gd name="connsiteY12" fmla="*/ 600 h 10000"/>
              <a:gd name="connsiteX13" fmla="*/ 3698 w 9729"/>
              <a:gd name="connsiteY13" fmla="*/ 834 h 10000"/>
              <a:gd name="connsiteX14" fmla="*/ 3698 w 9729"/>
              <a:gd name="connsiteY14" fmla="*/ 1429 h 10000"/>
              <a:gd name="connsiteX15" fmla="*/ 3838 w 9729"/>
              <a:gd name="connsiteY15" fmla="*/ 1669 h 10000"/>
              <a:gd name="connsiteX16" fmla="*/ 3698 w 9729"/>
              <a:gd name="connsiteY16" fmla="*/ 1910 h 10000"/>
              <a:gd name="connsiteX17" fmla="*/ 3281 w 9729"/>
              <a:gd name="connsiteY17" fmla="*/ 1790 h 10000"/>
              <a:gd name="connsiteX18" fmla="*/ 2746 w 9729"/>
              <a:gd name="connsiteY18" fmla="*/ 2143 h 10000"/>
              <a:gd name="connsiteX19" fmla="*/ 3012 w 9729"/>
              <a:gd name="connsiteY19" fmla="*/ 2622 h 10000"/>
              <a:gd name="connsiteX20" fmla="*/ 2185 w 9729"/>
              <a:gd name="connsiteY20" fmla="*/ 2384 h 10000"/>
              <a:gd name="connsiteX21" fmla="*/ 2055 w 9729"/>
              <a:gd name="connsiteY21" fmla="*/ 2501 h 10000"/>
              <a:gd name="connsiteX22" fmla="*/ 2333 w 9729"/>
              <a:gd name="connsiteY22" fmla="*/ 2859 h 10000"/>
              <a:gd name="connsiteX23" fmla="*/ 2055 w 9729"/>
              <a:gd name="connsiteY23" fmla="*/ 2859 h 10000"/>
              <a:gd name="connsiteX24" fmla="*/ 1649 w 9729"/>
              <a:gd name="connsiteY24" fmla="*/ 2622 h 10000"/>
              <a:gd name="connsiteX25" fmla="*/ 1649 w 9729"/>
              <a:gd name="connsiteY25" fmla="*/ 1910 h 10000"/>
              <a:gd name="connsiteX26" fmla="*/ 1239 w 9729"/>
              <a:gd name="connsiteY26" fmla="*/ 1669 h 10000"/>
              <a:gd name="connsiteX27" fmla="*/ 1097 w 9729"/>
              <a:gd name="connsiteY27" fmla="*/ 1429 h 10000"/>
              <a:gd name="connsiteX28" fmla="*/ 1364 w 9729"/>
              <a:gd name="connsiteY28" fmla="*/ 1550 h 10000"/>
              <a:gd name="connsiteX29" fmla="*/ 2459 w 9729"/>
              <a:gd name="connsiteY29" fmla="*/ 1910 h 10000"/>
              <a:gd name="connsiteX30" fmla="*/ 3139 w 9729"/>
              <a:gd name="connsiteY30" fmla="*/ 1550 h 10000"/>
              <a:gd name="connsiteX31" fmla="*/ 3012 w 9729"/>
              <a:gd name="connsiteY31" fmla="*/ 1193 h 10000"/>
              <a:gd name="connsiteX32" fmla="*/ 2185 w 9729"/>
              <a:gd name="connsiteY32" fmla="*/ 479 h 10000"/>
              <a:gd name="connsiteX33" fmla="*/ 1364 w 9729"/>
              <a:gd name="connsiteY33" fmla="*/ 241 h 10000"/>
              <a:gd name="connsiteX34" fmla="*/ 1364 w 9729"/>
              <a:gd name="connsiteY34" fmla="*/ 125 h 10000"/>
              <a:gd name="connsiteX35" fmla="*/ 1097 w 9729"/>
              <a:gd name="connsiteY35" fmla="*/ 0 h 10000"/>
              <a:gd name="connsiteX36" fmla="*/ 817 w 9729"/>
              <a:gd name="connsiteY36" fmla="*/ 125 h 10000"/>
              <a:gd name="connsiteX37" fmla="*/ 817 w 9729"/>
              <a:gd name="connsiteY37" fmla="*/ 241 h 10000"/>
              <a:gd name="connsiteX38" fmla="*/ 682 w 9729"/>
              <a:gd name="connsiteY38" fmla="*/ 241 h 10000"/>
              <a:gd name="connsiteX39" fmla="*/ 411 w 9729"/>
              <a:gd name="connsiteY39" fmla="*/ 479 h 10000"/>
              <a:gd name="connsiteX40" fmla="*/ 411 w 9729"/>
              <a:gd name="connsiteY40" fmla="*/ 834 h 10000"/>
              <a:gd name="connsiteX41" fmla="*/ 682 w 9729"/>
              <a:gd name="connsiteY41" fmla="*/ 1074 h 10000"/>
              <a:gd name="connsiteX42" fmla="*/ 553 w 9729"/>
              <a:gd name="connsiteY42" fmla="*/ 1429 h 10000"/>
              <a:gd name="connsiteX43" fmla="*/ 682 w 9729"/>
              <a:gd name="connsiteY43" fmla="*/ 2028 h 10000"/>
              <a:gd name="connsiteX44" fmla="*/ 553 w 9729"/>
              <a:gd name="connsiteY44" fmla="*/ 2384 h 10000"/>
              <a:gd name="connsiteX45" fmla="*/ 817 w 9729"/>
              <a:gd name="connsiteY45" fmla="*/ 2740 h 10000"/>
              <a:gd name="connsiteX46" fmla="*/ 682 w 9729"/>
              <a:gd name="connsiteY46" fmla="*/ 2980 h 10000"/>
              <a:gd name="connsiteX47" fmla="*/ 954 w 9729"/>
              <a:gd name="connsiteY47" fmla="*/ 3216 h 10000"/>
              <a:gd name="connsiteX48" fmla="*/ 954 w 9729"/>
              <a:gd name="connsiteY48" fmla="*/ 3337 h 10000"/>
              <a:gd name="connsiteX49" fmla="*/ 553 w 9729"/>
              <a:gd name="connsiteY49" fmla="*/ 3932 h 10000"/>
              <a:gd name="connsiteX50" fmla="*/ 125 w 9729"/>
              <a:gd name="connsiteY50" fmla="*/ 4170 h 10000"/>
              <a:gd name="connsiteX51" fmla="*/ 268 w 9729"/>
              <a:gd name="connsiteY51" fmla="*/ 4170 h 10000"/>
              <a:gd name="connsiteX52" fmla="*/ 553 w 9729"/>
              <a:gd name="connsiteY52" fmla="*/ 4407 h 10000"/>
              <a:gd name="connsiteX53" fmla="*/ 268 w 9729"/>
              <a:gd name="connsiteY53" fmla="*/ 4644 h 10000"/>
              <a:gd name="connsiteX54" fmla="*/ 125 w 9729"/>
              <a:gd name="connsiteY54" fmla="*/ 4765 h 10000"/>
              <a:gd name="connsiteX55" fmla="*/ 0 w 9729"/>
              <a:gd name="connsiteY55" fmla="*/ 4765 h 10000"/>
              <a:gd name="connsiteX56" fmla="*/ 125 w 9729"/>
              <a:gd name="connsiteY56" fmla="*/ 5123 h 10000"/>
              <a:gd name="connsiteX57" fmla="*/ 125 w 9729"/>
              <a:gd name="connsiteY57" fmla="*/ 5241 h 10000"/>
              <a:gd name="connsiteX58" fmla="*/ 125 w 9729"/>
              <a:gd name="connsiteY58" fmla="*/ 5358 h 10000"/>
              <a:gd name="connsiteX59" fmla="*/ 125 w 9729"/>
              <a:gd name="connsiteY59" fmla="*/ 5479 h 10000"/>
              <a:gd name="connsiteX60" fmla="*/ 268 w 9729"/>
              <a:gd name="connsiteY60" fmla="*/ 5714 h 10000"/>
              <a:gd name="connsiteX61" fmla="*/ 682 w 9729"/>
              <a:gd name="connsiteY61" fmla="*/ 5835 h 10000"/>
              <a:gd name="connsiteX62" fmla="*/ 817 w 9729"/>
              <a:gd name="connsiteY62" fmla="*/ 5950 h 10000"/>
              <a:gd name="connsiteX63" fmla="*/ 817 w 9729"/>
              <a:gd name="connsiteY63" fmla="*/ 6194 h 10000"/>
              <a:gd name="connsiteX64" fmla="*/ 1097 w 9729"/>
              <a:gd name="connsiteY64" fmla="*/ 6550 h 10000"/>
              <a:gd name="connsiteX65" fmla="*/ 1239 w 9729"/>
              <a:gd name="connsiteY65" fmla="*/ 6550 h 10000"/>
              <a:gd name="connsiteX66" fmla="*/ 1097 w 9729"/>
              <a:gd name="connsiteY66" fmla="*/ 6787 h 10000"/>
              <a:gd name="connsiteX67" fmla="*/ 954 w 9729"/>
              <a:gd name="connsiteY67" fmla="*/ 6670 h 10000"/>
              <a:gd name="connsiteX68" fmla="*/ 954 w 9729"/>
              <a:gd name="connsiteY68" fmla="*/ 6787 h 10000"/>
              <a:gd name="connsiteX69" fmla="*/ 1097 w 9729"/>
              <a:gd name="connsiteY69" fmla="*/ 7025 h 10000"/>
              <a:gd name="connsiteX70" fmla="*/ 1516 w 9729"/>
              <a:gd name="connsiteY70" fmla="*/ 7025 h 10000"/>
              <a:gd name="connsiteX71" fmla="*/ 1649 w 9729"/>
              <a:gd name="connsiteY71" fmla="*/ 7144 h 10000"/>
              <a:gd name="connsiteX72" fmla="*/ 1516 w 9729"/>
              <a:gd name="connsiteY72" fmla="*/ 7144 h 10000"/>
              <a:gd name="connsiteX73" fmla="*/ 1649 w 9729"/>
              <a:gd name="connsiteY73" fmla="*/ 7262 h 10000"/>
              <a:gd name="connsiteX74" fmla="*/ 1778 w 9729"/>
              <a:gd name="connsiteY74" fmla="*/ 7262 h 10000"/>
              <a:gd name="connsiteX75" fmla="*/ 1914 w 9729"/>
              <a:gd name="connsiteY75" fmla="*/ 7501 h 10000"/>
              <a:gd name="connsiteX76" fmla="*/ 2055 w 9729"/>
              <a:gd name="connsiteY76" fmla="*/ 7618 h 10000"/>
              <a:gd name="connsiteX77" fmla="*/ 2185 w 9729"/>
              <a:gd name="connsiteY77" fmla="*/ 7501 h 10000"/>
              <a:gd name="connsiteX78" fmla="*/ 2879 w 9729"/>
              <a:gd name="connsiteY78" fmla="*/ 7858 h 10000"/>
              <a:gd name="connsiteX79" fmla="*/ 2746 w 9729"/>
              <a:gd name="connsiteY79" fmla="*/ 8332 h 10000"/>
              <a:gd name="connsiteX80" fmla="*/ 2606 w 9729"/>
              <a:gd name="connsiteY80" fmla="*/ 8216 h 10000"/>
              <a:gd name="connsiteX81" fmla="*/ 2459 w 9729"/>
              <a:gd name="connsiteY81" fmla="*/ 8332 h 10000"/>
              <a:gd name="connsiteX82" fmla="*/ 2459 w 9729"/>
              <a:gd name="connsiteY82" fmla="*/ 8570 h 10000"/>
              <a:gd name="connsiteX83" fmla="*/ 2606 w 9729"/>
              <a:gd name="connsiteY83" fmla="*/ 8453 h 10000"/>
              <a:gd name="connsiteX84" fmla="*/ 2746 w 9729"/>
              <a:gd name="connsiteY84" fmla="*/ 8570 h 10000"/>
              <a:gd name="connsiteX85" fmla="*/ 2333 w 9729"/>
              <a:gd name="connsiteY85" fmla="*/ 8692 h 10000"/>
              <a:gd name="connsiteX86" fmla="*/ 2459 w 9729"/>
              <a:gd name="connsiteY86" fmla="*/ 8810 h 10000"/>
              <a:gd name="connsiteX87" fmla="*/ 2185 w 9729"/>
              <a:gd name="connsiteY87" fmla="*/ 9048 h 10000"/>
              <a:gd name="connsiteX88" fmla="*/ 2055 w 9729"/>
              <a:gd name="connsiteY88" fmla="*/ 9048 h 10000"/>
              <a:gd name="connsiteX89" fmla="*/ 2185 w 9729"/>
              <a:gd name="connsiteY89" fmla="*/ 9048 h 10000"/>
              <a:gd name="connsiteX90" fmla="*/ 2746 w 9729"/>
              <a:gd name="connsiteY90" fmla="*/ 9526 h 10000"/>
              <a:gd name="connsiteX91" fmla="*/ 3429 w 9729"/>
              <a:gd name="connsiteY91" fmla="*/ 9526 h 10000"/>
              <a:gd name="connsiteX92" fmla="*/ 3698 w 9729"/>
              <a:gd name="connsiteY92" fmla="*/ 9644 h 10000"/>
              <a:gd name="connsiteX93" fmla="*/ 3974 w 9729"/>
              <a:gd name="connsiteY93" fmla="*/ 9644 h 10000"/>
              <a:gd name="connsiteX94" fmla="*/ 4249 w 9729"/>
              <a:gd name="connsiteY94" fmla="*/ 9883 h 10000"/>
              <a:gd name="connsiteX95" fmla="*/ 4386 w 9729"/>
              <a:gd name="connsiteY95" fmla="*/ 10000 h 10000"/>
              <a:gd name="connsiteX96" fmla="*/ 4517 w 9729"/>
              <a:gd name="connsiteY96" fmla="*/ 10000 h 10000"/>
              <a:gd name="connsiteX97" fmla="*/ 4662 w 9729"/>
              <a:gd name="connsiteY97" fmla="*/ 9883 h 10000"/>
              <a:gd name="connsiteX98" fmla="*/ 4386 w 9729"/>
              <a:gd name="connsiteY98" fmla="*/ 9644 h 10000"/>
              <a:gd name="connsiteX99" fmla="*/ 4386 w 9729"/>
              <a:gd name="connsiteY99" fmla="*/ 9406 h 10000"/>
              <a:gd name="connsiteX100" fmla="*/ 4249 w 9729"/>
              <a:gd name="connsiteY100" fmla="*/ 9166 h 10000"/>
              <a:gd name="connsiteX101" fmla="*/ 4517 w 9729"/>
              <a:gd name="connsiteY101" fmla="*/ 8810 h 10000"/>
              <a:gd name="connsiteX102" fmla="*/ 4662 w 9729"/>
              <a:gd name="connsiteY102" fmla="*/ 8928 h 10000"/>
              <a:gd name="connsiteX103" fmla="*/ 4793 w 9729"/>
              <a:gd name="connsiteY103" fmla="*/ 8810 h 10000"/>
              <a:gd name="connsiteX104" fmla="*/ 4793 w 9729"/>
              <a:gd name="connsiteY104" fmla="*/ 8692 h 10000"/>
              <a:gd name="connsiteX105" fmla="*/ 4662 w 9729"/>
              <a:gd name="connsiteY105" fmla="*/ 8692 h 10000"/>
              <a:gd name="connsiteX106" fmla="*/ 4793 w 9729"/>
              <a:gd name="connsiteY106" fmla="*/ 8570 h 10000"/>
              <a:gd name="connsiteX107" fmla="*/ 4662 w 9729"/>
              <a:gd name="connsiteY107" fmla="*/ 8332 h 10000"/>
              <a:gd name="connsiteX108" fmla="*/ 4386 w 9729"/>
              <a:gd name="connsiteY108" fmla="*/ 8332 h 10000"/>
              <a:gd name="connsiteX109" fmla="*/ 4249 w 9729"/>
              <a:gd name="connsiteY109" fmla="*/ 8097 h 10000"/>
              <a:gd name="connsiteX110" fmla="*/ 4386 w 9729"/>
              <a:gd name="connsiteY110" fmla="*/ 7501 h 10000"/>
              <a:gd name="connsiteX111" fmla="*/ 4662 w 9729"/>
              <a:gd name="connsiteY111" fmla="*/ 7739 h 10000"/>
              <a:gd name="connsiteX112" fmla="*/ 4793 w 9729"/>
              <a:gd name="connsiteY112" fmla="*/ 7739 h 10000"/>
              <a:gd name="connsiteX113" fmla="*/ 4662 w 9729"/>
              <a:gd name="connsiteY113" fmla="*/ 7501 h 10000"/>
              <a:gd name="connsiteX114" fmla="*/ 5076 w 9729"/>
              <a:gd name="connsiteY114" fmla="*/ 7144 h 10000"/>
              <a:gd name="connsiteX115" fmla="*/ 5353 w 9729"/>
              <a:gd name="connsiteY115" fmla="*/ 7262 h 10000"/>
              <a:gd name="connsiteX116" fmla="*/ 5485 w 9729"/>
              <a:gd name="connsiteY116" fmla="*/ 7144 h 10000"/>
              <a:gd name="connsiteX117" fmla="*/ 5745 w 9729"/>
              <a:gd name="connsiteY117" fmla="*/ 7262 h 10000"/>
              <a:gd name="connsiteX118" fmla="*/ 6176 w 9729"/>
              <a:gd name="connsiteY118" fmla="*/ 7501 h 10000"/>
              <a:gd name="connsiteX119" fmla="*/ 6438 w 9729"/>
              <a:gd name="connsiteY119" fmla="*/ 7381 h 10000"/>
              <a:gd name="connsiteX120" fmla="*/ 6716 w 9729"/>
              <a:gd name="connsiteY120" fmla="*/ 7381 h 10000"/>
              <a:gd name="connsiteX121" fmla="*/ 6857 w 9729"/>
              <a:gd name="connsiteY121" fmla="*/ 7501 h 10000"/>
              <a:gd name="connsiteX122" fmla="*/ 7404 w 9729"/>
              <a:gd name="connsiteY122" fmla="*/ 7501 h 10000"/>
              <a:gd name="connsiteX123" fmla="*/ 7535 w 9729"/>
              <a:gd name="connsiteY123" fmla="*/ 7262 h 10000"/>
              <a:gd name="connsiteX124" fmla="*/ 7118 w 9729"/>
              <a:gd name="connsiteY124" fmla="*/ 7144 h 10000"/>
              <a:gd name="connsiteX125" fmla="*/ 7404 w 9729"/>
              <a:gd name="connsiteY125" fmla="*/ 7025 h 10000"/>
              <a:gd name="connsiteX126" fmla="*/ 7260 w 9729"/>
              <a:gd name="connsiteY126" fmla="*/ 6904 h 10000"/>
              <a:gd name="connsiteX127" fmla="*/ 7404 w 9729"/>
              <a:gd name="connsiteY127" fmla="*/ 6787 h 10000"/>
              <a:gd name="connsiteX128" fmla="*/ 7404 w 9729"/>
              <a:gd name="connsiteY128" fmla="*/ 6429 h 10000"/>
              <a:gd name="connsiteX129" fmla="*/ 7667 w 9729"/>
              <a:gd name="connsiteY129" fmla="*/ 6550 h 10000"/>
              <a:gd name="connsiteX130" fmla="*/ 8906 w 9729"/>
              <a:gd name="connsiteY130" fmla="*/ 6194 h 10000"/>
              <a:gd name="connsiteX131" fmla="*/ 8906 w 9729"/>
              <a:gd name="connsiteY131" fmla="*/ 6074 h 10000"/>
              <a:gd name="connsiteX132" fmla="*/ 9050 w 9729"/>
              <a:gd name="connsiteY132" fmla="*/ 6074 h 10000"/>
              <a:gd name="connsiteX133" fmla="*/ 9443 w 9729"/>
              <a:gd name="connsiteY133" fmla="*/ 6074 h 10000"/>
              <a:gd name="connsiteX134" fmla="*/ 9599 w 9729"/>
              <a:gd name="connsiteY134" fmla="*/ 6313 h 10000"/>
              <a:gd name="connsiteX135" fmla="*/ 9599 w 9729"/>
              <a:gd name="connsiteY135" fmla="*/ 6429 h 10000"/>
              <a:gd name="connsiteX136" fmla="*/ 9729 w 9729"/>
              <a:gd name="connsiteY136" fmla="*/ 6429 h 10000"/>
              <a:gd name="connsiteX0" fmla="*/ 7316 w 9866"/>
              <a:gd name="connsiteY0" fmla="*/ 600 h 10000"/>
              <a:gd name="connsiteX1" fmla="*/ 7195 w 9866"/>
              <a:gd name="connsiteY1" fmla="*/ 479 h 10000"/>
              <a:gd name="connsiteX2" fmla="*/ 6348 w 9866"/>
              <a:gd name="connsiteY2" fmla="*/ 717 h 10000"/>
              <a:gd name="connsiteX3" fmla="*/ 6206 w 9866"/>
              <a:gd name="connsiteY3" fmla="*/ 955 h 10000"/>
              <a:gd name="connsiteX4" fmla="*/ 6065 w 9866"/>
              <a:gd name="connsiteY4" fmla="*/ 717 h 10000"/>
              <a:gd name="connsiteX5" fmla="*/ 6065 w 9866"/>
              <a:gd name="connsiteY5" fmla="*/ 479 h 10000"/>
              <a:gd name="connsiteX6" fmla="*/ 4643 w 9866"/>
              <a:gd name="connsiteY6" fmla="*/ 1193 h 10000"/>
              <a:gd name="connsiteX7" fmla="*/ 4643 w 9866"/>
              <a:gd name="connsiteY7" fmla="*/ 1429 h 10000"/>
              <a:gd name="connsiteX8" fmla="*/ 4367 w 9866"/>
              <a:gd name="connsiteY8" fmla="*/ 1550 h 10000"/>
              <a:gd name="connsiteX9" fmla="*/ 3945 w 9866"/>
              <a:gd name="connsiteY9" fmla="*/ 1311 h 10000"/>
              <a:gd name="connsiteX10" fmla="*/ 4367 w 9866"/>
              <a:gd name="connsiteY10" fmla="*/ 1074 h 10000"/>
              <a:gd name="connsiteX11" fmla="*/ 4218 w 9866"/>
              <a:gd name="connsiteY11" fmla="*/ 717 h 10000"/>
              <a:gd name="connsiteX12" fmla="*/ 3663 w 9866"/>
              <a:gd name="connsiteY12" fmla="*/ 600 h 10000"/>
              <a:gd name="connsiteX13" fmla="*/ 3801 w 9866"/>
              <a:gd name="connsiteY13" fmla="*/ 834 h 10000"/>
              <a:gd name="connsiteX14" fmla="*/ 3801 w 9866"/>
              <a:gd name="connsiteY14" fmla="*/ 1429 h 10000"/>
              <a:gd name="connsiteX15" fmla="*/ 3945 w 9866"/>
              <a:gd name="connsiteY15" fmla="*/ 1669 h 10000"/>
              <a:gd name="connsiteX16" fmla="*/ 3801 w 9866"/>
              <a:gd name="connsiteY16" fmla="*/ 1910 h 10000"/>
              <a:gd name="connsiteX17" fmla="*/ 3372 w 9866"/>
              <a:gd name="connsiteY17" fmla="*/ 1790 h 10000"/>
              <a:gd name="connsiteX18" fmla="*/ 2822 w 9866"/>
              <a:gd name="connsiteY18" fmla="*/ 2143 h 10000"/>
              <a:gd name="connsiteX19" fmla="*/ 3096 w 9866"/>
              <a:gd name="connsiteY19" fmla="*/ 2622 h 10000"/>
              <a:gd name="connsiteX20" fmla="*/ 2246 w 9866"/>
              <a:gd name="connsiteY20" fmla="*/ 2384 h 10000"/>
              <a:gd name="connsiteX21" fmla="*/ 2112 w 9866"/>
              <a:gd name="connsiteY21" fmla="*/ 2501 h 10000"/>
              <a:gd name="connsiteX22" fmla="*/ 2398 w 9866"/>
              <a:gd name="connsiteY22" fmla="*/ 2859 h 10000"/>
              <a:gd name="connsiteX23" fmla="*/ 2112 w 9866"/>
              <a:gd name="connsiteY23" fmla="*/ 2859 h 10000"/>
              <a:gd name="connsiteX24" fmla="*/ 1695 w 9866"/>
              <a:gd name="connsiteY24" fmla="*/ 2622 h 10000"/>
              <a:gd name="connsiteX25" fmla="*/ 1695 w 9866"/>
              <a:gd name="connsiteY25" fmla="*/ 1910 h 10000"/>
              <a:gd name="connsiteX26" fmla="*/ 1274 w 9866"/>
              <a:gd name="connsiteY26" fmla="*/ 1669 h 10000"/>
              <a:gd name="connsiteX27" fmla="*/ 1128 w 9866"/>
              <a:gd name="connsiteY27" fmla="*/ 1429 h 10000"/>
              <a:gd name="connsiteX28" fmla="*/ 1402 w 9866"/>
              <a:gd name="connsiteY28" fmla="*/ 1550 h 10000"/>
              <a:gd name="connsiteX29" fmla="*/ 2527 w 9866"/>
              <a:gd name="connsiteY29" fmla="*/ 1910 h 10000"/>
              <a:gd name="connsiteX30" fmla="*/ 3226 w 9866"/>
              <a:gd name="connsiteY30" fmla="*/ 1550 h 10000"/>
              <a:gd name="connsiteX31" fmla="*/ 3096 w 9866"/>
              <a:gd name="connsiteY31" fmla="*/ 1193 h 10000"/>
              <a:gd name="connsiteX32" fmla="*/ 2246 w 9866"/>
              <a:gd name="connsiteY32" fmla="*/ 479 h 10000"/>
              <a:gd name="connsiteX33" fmla="*/ 1402 w 9866"/>
              <a:gd name="connsiteY33" fmla="*/ 241 h 10000"/>
              <a:gd name="connsiteX34" fmla="*/ 1402 w 9866"/>
              <a:gd name="connsiteY34" fmla="*/ 125 h 10000"/>
              <a:gd name="connsiteX35" fmla="*/ 1128 w 9866"/>
              <a:gd name="connsiteY35" fmla="*/ 0 h 10000"/>
              <a:gd name="connsiteX36" fmla="*/ 840 w 9866"/>
              <a:gd name="connsiteY36" fmla="*/ 125 h 10000"/>
              <a:gd name="connsiteX37" fmla="*/ 840 w 9866"/>
              <a:gd name="connsiteY37" fmla="*/ 241 h 10000"/>
              <a:gd name="connsiteX38" fmla="*/ 701 w 9866"/>
              <a:gd name="connsiteY38" fmla="*/ 241 h 10000"/>
              <a:gd name="connsiteX39" fmla="*/ 422 w 9866"/>
              <a:gd name="connsiteY39" fmla="*/ 479 h 10000"/>
              <a:gd name="connsiteX40" fmla="*/ 422 w 9866"/>
              <a:gd name="connsiteY40" fmla="*/ 834 h 10000"/>
              <a:gd name="connsiteX41" fmla="*/ 701 w 9866"/>
              <a:gd name="connsiteY41" fmla="*/ 1074 h 10000"/>
              <a:gd name="connsiteX42" fmla="*/ 568 w 9866"/>
              <a:gd name="connsiteY42" fmla="*/ 1429 h 10000"/>
              <a:gd name="connsiteX43" fmla="*/ 701 w 9866"/>
              <a:gd name="connsiteY43" fmla="*/ 2028 h 10000"/>
              <a:gd name="connsiteX44" fmla="*/ 568 w 9866"/>
              <a:gd name="connsiteY44" fmla="*/ 2384 h 10000"/>
              <a:gd name="connsiteX45" fmla="*/ 840 w 9866"/>
              <a:gd name="connsiteY45" fmla="*/ 2740 h 10000"/>
              <a:gd name="connsiteX46" fmla="*/ 701 w 9866"/>
              <a:gd name="connsiteY46" fmla="*/ 2980 h 10000"/>
              <a:gd name="connsiteX47" fmla="*/ 981 w 9866"/>
              <a:gd name="connsiteY47" fmla="*/ 3216 h 10000"/>
              <a:gd name="connsiteX48" fmla="*/ 981 w 9866"/>
              <a:gd name="connsiteY48" fmla="*/ 3337 h 10000"/>
              <a:gd name="connsiteX49" fmla="*/ 568 w 9866"/>
              <a:gd name="connsiteY49" fmla="*/ 3932 h 10000"/>
              <a:gd name="connsiteX50" fmla="*/ 128 w 9866"/>
              <a:gd name="connsiteY50" fmla="*/ 4170 h 10000"/>
              <a:gd name="connsiteX51" fmla="*/ 275 w 9866"/>
              <a:gd name="connsiteY51" fmla="*/ 4170 h 10000"/>
              <a:gd name="connsiteX52" fmla="*/ 568 w 9866"/>
              <a:gd name="connsiteY52" fmla="*/ 4407 h 10000"/>
              <a:gd name="connsiteX53" fmla="*/ 275 w 9866"/>
              <a:gd name="connsiteY53" fmla="*/ 4644 h 10000"/>
              <a:gd name="connsiteX54" fmla="*/ 128 w 9866"/>
              <a:gd name="connsiteY54" fmla="*/ 4765 h 10000"/>
              <a:gd name="connsiteX55" fmla="*/ 0 w 9866"/>
              <a:gd name="connsiteY55" fmla="*/ 4765 h 10000"/>
              <a:gd name="connsiteX56" fmla="*/ 128 w 9866"/>
              <a:gd name="connsiteY56" fmla="*/ 5123 h 10000"/>
              <a:gd name="connsiteX57" fmla="*/ 128 w 9866"/>
              <a:gd name="connsiteY57" fmla="*/ 5241 h 10000"/>
              <a:gd name="connsiteX58" fmla="*/ 128 w 9866"/>
              <a:gd name="connsiteY58" fmla="*/ 5358 h 10000"/>
              <a:gd name="connsiteX59" fmla="*/ 128 w 9866"/>
              <a:gd name="connsiteY59" fmla="*/ 5479 h 10000"/>
              <a:gd name="connsiteX60" fmla="*/ 275 w 9866"/>
              <a:gd name="connsiteY60" fmla="*/ 5714 h 10000"/>
              <a:gd name="connsiteX61" fmla="*/ 701 w 9866"/>
              <a:gd name="connsiteY61" fmla="*/ 5835 h 10000"/>
              <a:gd name="connsiteX62" fmla="*/ 840 w 9866"/>
              <a:gd name="connsiteY62" fmla="*/ 5950 h 10000"/>
              <a:gd name="connsiteX63" fmla="*/ 840 w 9866"/>
              <a:gd name="connsiteY63" fmla="*/ 6194 h 10000"/>
              <a:gd name="connsiteX64" fmla="*/ 1128 w 9866"/>
              <a:gd name="connsiteY64" fmla="*/ 6550 h 10000"/>
              <a:gd name="connsiteX65" fmla="*/ 1274 w 9866"/>
              <a:gd name="connsiteY65" fmla="*/ 6550 h 10000"/>
              <a:gd name="connsiteX66" fmla="*/ 1128 w 9866"/>
              <a:gd name="connsiteY66" fmla="*/ 6787 h 10000"/>
              <a:gd name="connsiteX67" fmla="*/ 981 w 9866"/>
              <a:gd name="connsiteY67" fmla="*/ 6670 h 10000"/>
              <a:gd name="connsiteX68" fmla="*/ 981 w 9866"/>
              <a:gd name="connsiteY68" fmla="*/ 6787 h 10000"/>
              <a:gd name="connsiteX69" fmla="*/ 1128 w 9866"/>
              <a:gd name="connsiteY69" fmla="*/ 7025 h 10000"/>
              <a:gd name="connsiteX70" fmla="*/ 1558 w 9866"/>
              <a:gd name="connsiteY70" fmla="*/ 7025 h 10000"/>
              <a:gd name="connsiteX71" fmla="*/ 1695 w 9866"/>
              <a:gd name="connsiteY71" fmla="*/ 7144 h 10000"/>
              <a:gd name="connsiteX72" fmla="*/ 1558 w 9866"/>
              <a:gd name="connsiteY72" fmla="*/ 7144 h 10000"/>
              <a:gd name="connsiteX73" fmla="*/ 1695 w 9866"/>
              <a:gd name="connsiteY73" fmla="*/ 7262 h 10000"/>
              <a:gd name="connsiteX74" fmla="*/ 1828 w 9866"/>
              <a:gd name="connsiteY74" fmla="*/ 7262 h 10000"/>
              <a:gd name="connsiteX75" fmla="*/ 1967 w 9866"/>
              <a:gd name="connsiteY75" fmla="*/ 7501 h 10000"/>
              <a:gd name="connsiteX76" fmla="*/ 2112 w 9866"/>
              <a:gd name="connsiteY76" fmla="*/ 7618 h 10000"/>
              <a:gd name="connsiteX77" fmla="*/ 2246 w 9866"/>
              <a:gd name="connsiteY77" fmla="*/ 7501 h 10000"/>
              <a:gd name="connsiteX78" fmla="*/ 2959 w 9866"/>
              <a:gd name="connsiteY78" fmla="*/ 7858 h 10000"/>
              <a:gd name="connsiteX79" fmla="*/ 2822 w 9866"/>
              <a:gd name="connsiteY79" fmla="*/ 8332 h 10000"/>
              <a:gd name="connsiteX80" fmla="*/ 2679 w 9866"/>
              <a:gd name="connsiteY80" fmla="*/ 8216 h 10000"/>
              <a:gd name="connsiteX81" fmla="*/ 2527 w 9866"/>
              <a:gd name="connsiteY81" fmla="*/ 8332 h 10000"/>
              <a:gd name="connsiteX82" fmla="*/ 2527 w 9866"/>
              <a:gd name="connsiteY82" fmla="*/ 8570 h 10000"/>
              <a:gd name="connsiteX83" fmla="*/ 2679 w 9866"/>
              <a:gd name="connsiteY83" fmla="*/ 8453 h 10000"/>
              <a:gd name="connsiteX84" fmla="*/ 2822 w 9866"/>
              <a:gd name="connsiteY84" fmla="*/ 8570 h 10000"/>
              <a:gd name="connsiteX85" fmla="*/ 2398 w 9866"/>
              <a:gd name="connsiteY85" fmla="*/ 8692 h 10000"/>
              <a:gd name="connsiteX86" fmla="*/ 2527 w 9866"/>
              <a:gd name="connsiteY86" fmla="*/ 8810 h 10000"/>
              <a:gd name="connsiteX87" fmla="*/ 2246 w 9866"/>
              <a:gd name="connsiteY87" fmla="*/ 9048 h 10000"/>
              <a:gd name="connsiteX88" fmla="*/ 2112 w 9866"/>
              <a:gd name="connsiteY88" fmla="*/ 9048 h 10000"/>
              <a:gd name="connsiteX89" fmla="*/ 2246 w 9866"/>
              <a:gd name="connsiteY89" fmla="*/ 9048 h 10000"/>
              <a:gd name="connsiteX90" fmla="*/ 2822 w 9866"/>
              <a:gd name="connsiteY90" fmla="*/ 9526 h 10000"/>
              <a:gd name="connsiteX91" fmla="*/ 3525 w 9866"/>
              <a:gd name="connsiteY91" fmla="*/ 9526 h 10000"/>
              <a:gd name="connsiteX92" fmla="*/ 3801 w 9866"/>
              <a:gd name="connsiteY92" fmla="*/ 9644 h 10000"/>
              <a:gd name="connsiteX93" fmla="*/ 4085 w 9866"/>
              <a:gd name="connsiteY93" fmla="*/ 9644 h 10000"/>
              <a:gd name="connsiteX94" fmla="*/ 4367 w 9866"/>
              <a:gd name="connsiteY94" fmla="*/ 9883 h 10000"/>
              <a:gd name="connsiteX95" fmla="*/ 4508 w 9866"/>
              <a:gd name="connsiteY95" fmla="*/ 10000 h 10000"/>
              <a:gd name="connsiteX96" fmla="*/ 4643 w 9866"/>
              <a:gd name="connsiteY96" fmla="*/ 10000 h 10000"/>
              <a:gd name="connsiteX97" fmla="*/ 4792 w 9866"/>
              <a:gd name="connsiteY97" fmla="*/ 9883 h 10000"/>
              <a:gd name="connsiteX98" fmla="*/ 4508 w 9866"/>
              <a:gd name="connsiteY98" fmla="*/ 9644 h 10000"/>
              <a:gd name="connsiteX99" fmla="*/ 4508 w 9866"/>
              <a:gd name="connsiteY99" fmla="*/ 9406 h 10000"/>
              <a:gd name="connsiteX100" fmla="*/ 4367 w 9866"/>
              <a:gd name="connsiteY100" fmla="*/ 9166 h 10000"/>
              <a:gd name="connsiteX101" fmla="*/ 4643 w 9866"/>
              <a:gd name="connsiteY101" fmla="*/ 8810 h 10000"/>
              <a:gd name="connsiteX102" fmla="*/ 4792 w 9866"/>
              <a:gd name="connsiteY102" fmla="*/ 8928 h 10000"/>
              <a:gd name="connsiteX103" fmla="*/ 4927 w 9866"/>
              <a:gd name="connsiteY103" fmla="*/ 8810 h 10000"/>
              <a:gd name="connsiteX104" fmla="*/ 4927 w 9866"/>
              <a:gd name="connsiteY104" fmla="*/ 8692 h 10000"/>
              <a:gd name="connsiteX105" fmla="*/ 4792 w 9866"/>
              <a:gd name="connsiteY105" fmla="*/ 8692 h 10000"/>
              <a:gd name="connsiteX106" fmla="*/ 4927 w 9866"/>
              <a:gd name="connsiteY106" fmla="*/ 8570 h 10000"/>
              <a:gd name="connsiteX107" fmla="*/ 4792 w 9866"/>
              <a:gd name="connsiteY107" fmla="*/ 8332 h 10000"/>
              <a:gd name="connsiteX108" fmla="*/ 4508 w 9866"/>
              <a:gd name="connsiteY108" fmla="*/ 8332 h 10000"/>
              <a:gd name="connsiteX109" fmla="*/ 4367 w 9866"/>
              <a:gd name="connsiteY109" fmla="*/ 8097 h 10000"/>
              <a:gd name="connsiteX110" fmla="*/ 4508 w 9866"/>
              <a:gd name="connsiteY110" fmla="*/ 7501 h 10000"/>
              <a:gd name="connsiteX111" fmla="*/ 4792 w 9866"/>
              <a:gd name="connsiteY111" fmla="*/ 7739 h 10000"/>
              <a:gd name="connsiteX112" fmla="*/ 4927 w 9866"/>
              <a:gd name="connsiteY112" fmla="*/ 7739 h 10000"/>
              <a:gd name="connsiteX113" fmla="*/ 4792 w 9866"/>
              <a:gd name="connsiteY113" fmla="*/ 7501 h 10000"/>
              <a:gd name="connsiteX114" fmla="*/ 5217 w 9866"/>
              <a:gd name="connsiteY114" fmla="*/ 7144 h 10000"/>
              <a:gd name="connsiteX115" fmla="*/ 5502 w 9866"/>
              <a:gd name="connsiteY115" fmla="*/ 7262 h 10000"/>
              <a:gd name="connsiteX116" fmla="*/ 5638 w 9866"/>
              <a:gd name="connsiteY116" fmla="*/ 7144 h 10000"/>
              <a:gd name="connsiteX117" fmla="*/ 5905 w 9866"/>
              <a:gd name="connsiteY117" fmla="*/ 7262 h 10000"/>
              <a:gd name="connsiteX118" fmla="*/ 6348 w 9866"/>
              <a:gd name="connsiteY118" fmla="*/ 7501 h 10000"/>
              <a:gd name="connsiteX119" fmla="*/ 6617 w 9866"/>
              <a:gd name="connsiteY119" fmla="*/ 7381 h 10000"/>
              <a:gd name="connsiteX120" fmla="*/ 6903 w 9866"/>
              <a:gd name="connsiteY120" fmla="*/ 7381 h 10000"/>
              <a:gd name="connsiteX121" fmla="*/ 7048 w 9866"/>
              <a:gd name="connsiteY121" fmla="*/ 7501 h 10000"/>
              <a:gd name="connsiteX122" fmla="*/ 7610 w 9866"/>
              <a:gd name="connsiteY122" fmla="*/ 7501 h 10000"/>
              <a:gd name="connsiteX123" fmla="*/ 7745 w 9866"/>
              <a:gd name="connsiteY123" fmla="*/ 7262 h 10000"/>
              <a:gd name="connsiteX124" fmla="*/ 7316 w 9866"/>
              <a:gd name="connsiteY124" fmla="*/ 7144 h 10000"/>
              <a:gd name="connsiteX125" fmla="*/ 7610 w 9866"/>
              <a:gd name="connsiteY125" fmla="*/ 7025 h 10000"/>
              <a:gd name="connsiteX126" fmla="*/ 7462 w 9866"/>
              <a:gd name="connsiteY126" fmla="*/ 6904 h 10000"/>
              <a:gd name="connsiteX127" fmla="*/ 7610 w 9866"/>
              <a:gd name="connsiteY127" fmla="*/ 6787 h 10000"/>
              <a:gd name="connsiteX128" fmla="*/ 7610 w 9866"/>
              <a:gd name="connsiteY128" fmla="*/ 6429 h 10000"/>
              <a:gd name="connsiteX129" fmla="*/ 7881 w 9866"/>
              <a:gd name="connsiteY129" fmla="*/ 6550 h 10000"/>
              <a:gd name="connsiteX130" fmla="*/ 9154 w 9866"/>
              <a:gd name="connsiteY130" fmla="*/ 6194 h 10000"/>
              <a:gd name="connsiteX131" fmla="*/ 9154 w 9866"/>
              <a:gd name="connsiteY131" fmla="*/ 6074 h 10000"/>
              <a:gd name="connsiteX132" fmla="*/ 9302 w 9866"/>
              <a:gd name="connsiteY132" fmla="*/ 6074 h 10000"/>
              <a:gd name="connsiteX133" fmla="*/ 9706 w 9866"/>
              <a:gd name="connsiteY133" fmla="*/ 6074 h 10000"/>
              <a:gd name="connsiteX134" fmla="*/ 9866 w 9866"/>
              <a:gd name="connsiteY134" fmla="*/ 6313 h 10000"/>
              <a:gd name="connsiteX135" fmla="*/ 9866 w 9866"/>
              <a:gd name="connsiteY135" fmla="*/ 6429 h 10000"/>
              <a:gd name="connsiteX0" fmla="*/ 7415 w 10000"/>
              <a:gd name="connsiteY0" fmla="*/ 600 h 10000"/>
              <a:gd name="connsiteX1" fmla="*/ 7293 w 10000"/>
              <a:gd name="connsiteY1" fmla="*/ 479 h 10000"/>
              <a:gd name="connsiteX2" fmla="*/ 6434 w 10000"/>
              <a:gd name="connsiteY2" fmla="*/ 717 h 10000"/>
              <a:gd name="connsiteX3" fmla="*/ 6290 w 10000"/>
              <a:gd name="connsiteY3" fmla="*/ 955 h 10000"/>
              <a:gd name="connsiteX4" fmla="*/ 6147 w 10000"/>
              <a:gd name="connsiteY4" fmla="*/ 717 h 10000"/>
              <a:gd name="connsiteX5" fmla="*/ 6147 w 10000"/>
              <a:gd name="connsiteY5" fmla="*/ 479 h 10000"/>
              <a:gd name="connsiteX6" fmla="*/ 4706 w 10000"/>
              <a:gd name="connsiteY6" fmla="*/ 1193 h 10000"/>
              <a:gd name="connsiteX7" fmla="*/ 4706 w 10000"/>
              <a:gd name="connsiteY7" fmla="*/ 1429 h 10000"/>
              <a:gd name="connsiteX8" fmla="*/ 4426 w 10000"/>
              <a:gd name="connsiteY8" fmla="*/ 1550 h 10000"/>
              <a:gd name="connsiteX9" fmla="*/ 3999 w 10000"/>
              <a:gd name="connsiteY9" fmla="*/ 1311 h 10000"/>
              <a:gd name="connsiteX10" fmla="*/ 4426 w 10000"/>
              <a:gd name="connsiteY10" fmla="*/ 1074 h 10000"/>
              <a:gd name="connsiteX11" fmla="*/ 4275 w 10000"/>
              <a:gd name="connsiteY11" fmla="*/ 717 h 10000"/>
              <a:gd name="connsiteX12" fmla="*/ 3713 w 10000"/>
              <a:gd name="connsiteY12" fmla="*/ 600 h 10000"/>
              <a:gd name="connsiteX13" fmla="*/ 3853 w 10000"/>
              <a:gd name="connsiteY13" fmla="*/ 834 h 10000"/>
              <a:gd name="connsiteX14" fmla="*/ 3853 w 10000"/>
              <a:gd name="connsiteY14" fmla="*/ 1429 h 10000"/>
              <a:gd name="connsiteX15" fmla="*/ 3999 w 10000"/>
              <a:gd name="connsiteY15" fmla="*/ 1669 h 10000"/>
              <a:gd name="connsiteX16" fmla="*/ 3853 w 10000"/>
              <a:gd name="connsiteY16" fmla="*/ 1910 h 10000"/>
              <a:gd name="connsiteX17" fmla="*/ 3418 w 10000"/>
              <a:gd name="connsiteY17" fmla="*/ 1790 h 10000"/>
              <a:gd name="connsiteX18" fmla="*/ 2860 w 10000"/>
              <a:gd name="connsiteY18" fmla="*/ 2143 h 10000"/>
              <a:gd name="connsiteX19" fmla="*/ 3138 w 10000"/>
              <a:gd name="connsiteY19" fmla="*/ 2622 h 10000"/>
              <a:gd name="connsiteX20" fmla="*/ 2277 w 10000"/>
              <a:gd name="connsiteY20" fmla="*/ 2384 h 10000"/>
              <a:gd name="connsiteX21" fmla="*/ 2141 w 10000"/>
              <a:gd name="connsiteY21" fmla="*/ 2501 h 10000"/>
              <a:gd name="connsiteX22" fmla="*/ 2431 w 10000"/>
              <a:gd name="connsiteY22" fmla="*/ 2859 h 10000"/>
              <a:gd name="connsiteX23" fmla="*/ 2141 w 10000"/>
              <a:gd name="connsiteY23" fmla="*/ 2859 h 10000"/>
              <a:gd name="connsiteX24" fmla="*/ 1718 w 10000"/>
              <a:gd name="connsiteY24" fmla="*/ 2622 h 10000"/>
              <a:gd name="connsiteX25" fmla="*/ 1718 w 10000"/>
              <a:gd name="connsiteY25" fmla="*/ 1910 h 10000"/>
              <a:gd name="connsiteX26" fmla="*/ 1291 w 10000"/>
              <a:gd name="connsiteY26" fmla="*/ 1669 h 10000"/>
              <a:gd name="connsiteX27" fmla="*/ 1143 w 10000"/>
              <a:gd name="connsiteY27" fmla="*/ 1429 h 10000"/>
              <a:gd name="connsiteX28" fmla="*/ 1421 w 10000"/>
              <a:gd name="connsiteY28" fmla="*/ 1550 h 10000"/>
              <a:gd name="connsiteX29" fmla="*/ 2561 w 10000"/>
              <a:gd name="connsiteY29" fmla="*/ 1910 h 10000"/>
              <a:gd name="connsiteX30" fmla="*/ 3270 w 10000"/>
              <a:gd name="connsiteY30" fmla="*/ 1550 h 10000"/>
              <a:gd name="connsiteX31" fmla="*/ 3138 w 10000"/>
              <a:gd name="connsiteY31" fmla="*/ 1193 h 10000"/>
              <a:gd name="connsiteX32" fmla="*/ 2277 w 10000"/>
              <a:gd name="connsiteY32" fmla="*/ 479 h 10000"/>
              <a:gd name="connsiteX33" fmla="*/ 1421 w 10000"/>
              <a:gd name="connsiteY33" fmla="*/ 241 h 10000"/>
              <a:gd name="connsiteX34" fmla="*/ 1421 w 10000"/>
              <a:gd name="connsiteY34" fmla="*/ 125 h 10000"/>
              <a:gd name="connsiteX35" fmla="*/ 1143 w 10000"/>
              <a:gd name="connsiteY35" fmla="*/ 0 h 10000"/>
              <a:gd name="connsiteX36" fmla="*/ 851 w 10000"/>
              <a:gd name="connsiteY36" fmla="*/ 125 h 10000"/>
              <a:gd name="connsiteX37" fmla="*/ 851 w 10000"/>
              <a:gd name="connsiteY37" fmla="*/ 241 h 10000"/>
              <a:gd name="connsiteX38" fmla="*/ 711 w 10000"/>
              <a:gd name="connsiteY38" fmla="*/ 241 h 10000"/>
              <a:gd name="connsiteX39" fmla="*/ 428 w 10000"/>
              <a:gd name="connsiteY39" fmla="*/ 479 h 10000"/>
              <a:gd name="connsiteX40" fmla="*/ 428 w 10000"/>
              <a:gd name="connsiteY40" fmla="*/ 834 h 10000"/>
              <a:gd name="connsiteX41" fmla="*/ 711 w 10000"/>
              <a:gd name="connsiteY41" fmla="*/ 1074 h 10000"/>
              <a:gd name="connsiteX42" fmla="*/ 576 w 10000"/>
              <a:gd name="connsiteY42" fmla="*/ 1429 h 10000"/>
              <a:gd name="connsiteX43" fmla="*/ 711 w 10000"/>
              <a:gd name="connsiteY43" fmla="*/ 2028 h 10000"/>
              <a:gd name="connsiteX44" fmla="*/ 576 w 10000"/>
              <a:gd name="connsiteY44" fmla="*/ 2384 h 10000"/>
              <a:gd name="connsiteX45" fmla="*/ 851 w 10000"/>
              <a:gd name="connsiteY45" fmla="*/ 2740 h 10000"/>
              <a:gd name="connsiteX46" fmla="*/ 711 w 10000"/>
              <a:gd name="connsiteY46" fmla="*/ 2980 h 10000"/>
              <a:gd name="connsiteX47" fmla="*/ 994 w 10000"/>
              <a:gd name="connsiteY47" fmla="*/ 3216 h 10000"/>
              <a:gd name="connsiteX48" fmla="*/ 994 w 10000"/>
              <a:gd name="connsiteY48" fmla="*/ 3337 h 10000"/>
              <a:gd name="connsiteX49" fmla="*/ 576 w 10000"/>
              <a:gd name="connsiteY49" fmla="*/ 3932 h 10000"/>
              <a:gd name="connsiteX50" fmla="*/ 130 w 10000"/>
              <a:gd name="connsiteY50" fmla="*/ 4170 h 10000"/>
              <a:gd name="connsiteX51" fmla="*/ 279 w 10000"/>
              <a:gd name="connsiteY51" fmla="*/ 4170 h 10000"/>
              <a:gd name="connsiteX52" fmla="*/ 576 w 10000"/>
              <a:gd name="connsiteY52" fmla="*/ 4407 h 10000"/>
              <a:gd name="connsiteX53" fmla="*/ 279 w 10000"/>
              <a:gd name="connsiteY53" fmla="*/ 4644 h 10000"/>
              <a:gd name="connsiteX54" fmla="*/ 130 w 10000"/>
              <a:gd name="connsiteY54" fmla="*/ 4765 h 10000"/>
              <a:gd name="connsiteX55" fmla="*/ 0 w 10000"/>
              <a:gd name="connsiteY55" fmla="*/ 4765 h 10000"/>
              <a:gd name="connsiteX56" fmla="*/ 130 w 10000"/>
              <a:gd name="connsiteY56" fmla="*/ 5123 h 10000"/>
              <a:gd name="connsiteX57" fmla="*/ 130 w 10000"/>
              <a:gd name="connsiteY57" fmla="*/ 5241 h 10000"/>
              <a:gd name="connsiteX58" fmla="*/ 130 w 10000"/>
              <a:gd name="connsiteY58" fmla="*/ 5358 h 10000"/>
              <a:gd name="connsiteX59" fmla="*/ 130 w 10000"/>
              <a:gd name="connsiteY59" fmla="*/ 5479 h 10000"/>
              <a:gd name="connsiteX60" fmla="*/ 279 w 10000"/>
              <a:gd name="connsiteY60" fmla="*/ 5714 h 10000"/>
              <a:gd name="connsiteX61" fmla="*/ 711 w 10000"/>
              <a:gd name="connsiteY61" fmla="*/ 5835 h 10000"/>
              <a:gd name="connsiteX62" fmla="*/ 851 w 10000"/>
              <a:gd name="connsiteY62" fmla="*/ 5950 h 10000"/>
              <a:gd name="connsiteX63" fmla="*/ 851 w 10000"/>
              <a:gd name="connsiteY63" fmla="*/ 6194 h 10000"/>
              <a:gd name="connsiteX64" fmla="*/ 1143 w 10000"/>
              <a:gd name="connsiteY64" fmla="*/ 6550 h 10000"/>
              <a:gd name="connsiteX65" fmla="*/ 1291 w 10000"/>
              <a:gd name="connsiteY65" fmla="*/ 6550 h 10000"/>
              <a:gd name="connsiteX66" fmla="*/ 1143 w 10000"/>
              <a:gd name="connsiteY66" fmla="*/ 6787 h 10000"/>
              <a:gd name="connsiteX67" fmla="*/ 994 w 10000"/>
              <a:gd name="connsiteY67" fmla="*/ 6670 h 10000"/>
              <a:gd name="connsiteX68" fmla="*/ 994 w 10000"/>
              <a:gd name="connsiteY68" fmla="*/ 6787 h 10000"/>
              <a:gd name="connsiteX69" fmla="*/ 1143 w 10000"/>
              <a:gd name="connsiteY69" fmla="*/ 7025 h 10000"/>
              <a:gd name="connsiteX70" fmla="*/ 1579 w 10000"/>
              <a:gd name="connsiteY70" fmla="*/ 7025 h 10000"/>
              <a:gd name="connsiteX71" fmla="*/ 1718 w 10000"/>
              <a:gd name="connsiteY71" fmla="*/ 7144 h 10000"/>
              <a:gd name="connsiteX72" fmla="*/ 1579 w 10000"/>
              <a:gd name="connsiteY72" fmla="*/ 7144 h 10000"/>
              <a:gd name="connsiteX73" fmla="*/ 1718 w 10000"/>
              <a:gd name="connsiteY73" fmla="*/ 7262 h 10000"/>
              <a:gd name="connsiteX74" fmla="*/ 1853 w 10000"/>
              <a:gd name="connsiteY74" fmla="*/ 7262 h 10000"/>
              <a:gd name="connsiteX75" fmla="*/ 1994 w 10000"/>
              <a:gd name="connsiteY75" fmla="*/ 7501 h 10000"/>
              <a:gd name="connsiteX76" fmla="*/ 2141 w 10000"/>
              <a:gd name="connsiteY76" fmla="*/ 7618 h 10000"/>
              <a:gd name="connsiteX77" fmla="*/ 2277 w 10000"/>
              <a:gd name="connsiteY77" fmla="*/ 7501 h 10000"/>
              <a:gd name="connsiteX78" fmla="*/ 2999 w 10000"/>
              <a:gd name="connsiteY78" fmla="*/ 7858 h 10000"/>
              <a:gd name="connsiteX79" fmla="*/ 2860 w 10000"/>
              <a:gd name="connsiteY79" fmla="*/ 8332 h 10000"/>
              <a:gd name="connsiteX80" fmla="*/ 2715 w 10000"/>
              <a:gd name="connsiteY80" fmla="*/ 8216 h 10000"/>
              <a:gd name="connsiteX81" fmla="*/ 2561 w 10000"/>
              <a:gd name="connsiteY81" fmla="*/ 8332 h 10000"/>
              <a:gd name="connsiteX82" fmla="*/ 2561 w 10000"/>
              <a:gd name="connsiteY82" fmla="*/ 8570 h 10000"/>
              <a:gd name="connsiteX83" fmla="*/ 2715 w 10000"/>
              <a:gd name="connsiteY83" fmla="*/ 8453 h 10000"/>
              <a:gd name="connsiteX84" fmla="*/ 2860 w 10000"/>
              <a:gd name="connsiteY84" fmla="*/ 8570 h 10000"/>
              <a:gd name="connsiteX85" fmla="*/ 2431 w 10000"/>
              <a:gd name="connsiteY85" fmla="*/ 8692 h 10000"/>
              <a:gd name="connsiteX86" fmla="*/ 2561 w 10000"/>
              <a:gd name="connsiteY86" fmla="*/ 8810 h 10000"/>
              <a:gd name="connsiteX87" fmla="*/ 2277 w 10000"/>
              <a:gd name="connsiteY87" fmla="*/ 9048 h 10000"/>
              <a:gd name="connsiteX88" fmla="*/ 2141 w 10000"/>
              <a:gd name="connsiteY88" fmla="*/ 9048 h 10000"/>
              <a:gd name="connsiteX89" fmla="*/ 2277 w 10000"/>
              <a:gd name="connsiteY89" fmla="*/ 9048 h 10000"/>
              <a:gd name="connsiteX90" fmla="*/ 2860 w 10000"/>
              <a:gd name="connsiteY90" fmla="*/ 9526 h 10000"/>
              <a:gd name="connsiteX91" fmla="*/ 3573 w 10000"/>
              <a:gd name="connsiteY91" fmla="*/ 9526 h 10000"/>
              <a:gd name="connsiteX92" fmla="*/ 3853 w 10000"/>
              <a:gd name="connsiteY92" fmla="*/ 9644 h 10000"/>
              <a:gd name="connsiteX93" fmla="*/ 4140 w 10000"/>
              <a:gd name="connsiteY93" fmla="*/ 9644 h 10000"/>
              <a:gd name="connsiteX94" fmla="*/ 4426 w 10000"/>
              <a:gd name="connsiteY94" fmla="*/ 9883 h 10000"/>
              <a:gd name="connsiteX95" fmla="*/ 4569 w 10000"/>
              <a:gd name="connsiteY95" fmla="*/ 10000 h 10000"/>
              <a:gd name="connsiteX96" fmla="*/ 4706 w 10000"/>
              <a:gd name="connsiteY96" fmla="*/ 10000 h 10000"/>
              <a:gd name="connsiteX97" fmla="*/ 4857 w 10000"/>
              <a:gd name="connsiteY97" fmla="*/ 9883 h 10000"/>
              <a:gd name="connsiteX98" fmla="*/ 4569 w 10000"/>
              <a:gd name="connsiteY98" fmla="*/ 9644 h 10000"/>
              <a:gd name="connsiteX99" fmla="*/ 4569 w 10000"/>
              <a:gd name="connsiteY99" fmla="*/ 9406 h 10000"/>
              <a:gd name="connsiteX100" fmla="*/ 4426 w 10000"/>
              <a:gd name="connsiteY100" fmla="*/ 9166 h 10000"/>
              <a:gd name="connsiteX101" fmla="*/ 4706 w 10000"/>
              <a:gd name="connsiteY101" fmla="*/ 8810 h 10000"/>
              <a:gd name="connsiteX102" fmla="*/ 4857 w 10000"/>
              <a:gd name="connsiteY102" fmla="*/ 8928 h 10000"/>
              <a:gd name="connsiteX103" fmla="*/ 4994 w 10000"/>
              <a:gd name="connsiteY103" fmla="*/ 8810 h 10000"/>
              <a:gd name="connsiteX104" fmla="*/ 4994 w 10000"/>
              <a:gd name="connsiteY104" fmla="*/ 8692 h 10000"/>
              <a:gd name="connsiteX105" fmla="*/ 4857 w 10000"/>
              <a:gd name="connsiteY105" fmla="*/ 8692 h 10000"/>
              <a:gd name="connsiteX106" fmla="*/ 4994 w 10000"/>
              <a:gd name="connsiteY106" fmla="*/ 8570 h 10000"/>
              <a:gd name="connsiteX107" fmla="*/ 4857 w 10000"/>
              <a:gd name="connsiteY107" fmla="*/ 8332 h 10000"/>
              <a:gd name="connsiteX108" fmla="*/ 4569 w 10000"/>
              <a:gd name="connsiteY108" fmla="*/ 8332 h 10000"/>
              <a:gd name="connsiteX109" fmla="*/ 4426 w 10000"/>
              <a:gd name="connsiteY109" fmla="*/ 8097 h 10000"/>
              <a:gd name="connsiteX110" fmla="*/ 4569 w 10000"/>
              <a:gd name="connsiteY110" fmla="*/ 7501 h 10000"/>
              <a:gd name="connsiteX111" fmla="*/ 4857 w 10000"/>
              <a:gd name="connsiteY111" fmla="*/ 7739 h 10000"/>
              <a:gd name="connsiteX112" fmla="*/ 4994 w 10000"/>
              <a:gd name="connsiteY112" fmla="*/ 7739 h 10000"/>
              <a:gd name="connsiteX113" fmla="*/ 4857 w 10000"/>
              <a:gd name="connsiteY113" fmla="*/ 7501 h 10000"/>
              <a:gd name="connsiteX114" fmla="*/ 5288 w 10000"/>
              <a:gd name="connsiteY114" fmla="*/ 7144 h 10000"/>
              <a:gd name="connsiteX115" fmla="*/ 5577 w 10000"/>
              <a:gd name="connsiteY115" fmla="*/ 7262 h 10000"/>
              <a:gd name="connsiteX116" fmla="*/ 5715 w 10000"/>
              <a:gd name="connsiteY116" fmla="*/ 7144 h 10000"/>
              <a:gd name="connsiteX117" fmla="*/ 5985 w 10000"/>
              <a:gd name="connsiteY117" fmla="*/ 7262 h 10000"/>
              <a:gd name="connsiteX118" fmla="*/ 6434 w 10000"/>
              <a:gd name="connsiteY118" fmla="*/ 7501 h 10000"/>
              <a:gd name="connsiteX119" fmla="*/ 6707 w 10000"/>
              <a:gd name="connsiteY119" fmla="*/ 7381 h 10000"/>
              <a:gd name="connsiteX120" fmla="*/ 6997 w 10000"/>
              <a:gd name="connsiteY120" fmla="*/ 7381 h 10000"/>
              <a:gd name="connsiteX121" fmla="*/ 7144 w 10000"/>
              <a:gd name="connsiteY121" fmla="*/ 7501 h 10000"/>
              <a:gd name="connsiteX122" fmla="*/ 7713 w 10000"/>
              <a:gd name="connsiteY122" fmla="*/ 7501 h 10000"/>
              <a:gd name="connsiteX123" fmla="*/ 7850 w 10000"/>
              <a:gd name="connsiteY123" fmla="*/ 7262 h 10000"/>
              <a:gd name="connsiteX124" fmla="*/ 7415 w 10000"/>
              <a:gd name="connsiteY124" fmla="*/ 7144 h 10000"/>
              <a:gd name="connsiteX125" fmla="*/ 7713 w 10000"/>
              <a:gd name="connsiteY125" fmla="*/ 7025 h 10000"/>
              <a:gd name="connsiteX126" fmla="*/ 7563 w 10000"/>
              <a:gd name="connsiteY126" fmla="*/ 6904 h 10000"/>
              <a:gd name="connsiteX127" fmla="*/ 7713 w 10000"/>
              <a:gd name="connsiteY127" fmla="*/ 6787 h 10000"/>
              <a:gd name="connsiteX128" fmla="*/ 7713 w 10000"/>
              <a:gd name="connsiteY128" fmla="*/ 6429 h 10000"/>
              <a:gd name="connsiteX129" fmla="*/ 7988 w 10000"/>
              <a:gd name="connsiteY129" fmla="*/ 6550 h 10000"/>
              <a:gd name="connsiteX130" fmla="*/ 9278 w 10000"/>
              <a:gd name="connsiteY130" fmla="*/ 6194 h 10000"/>
              <a:gd name="connsiteX131" fmla="*/ 9278 w 10000"/>
              <a:gd name="connsiteY131" fmla="*/ 6074 h 10000"/>
              <a:gd name="connsiteX132" fmla="*/ 9428 w 10000"/>
              <a:gd name="connsiteY132" fmla="*/ 6074 h 10000"/>
              <a:gd name="connsiteX133" fmla="*/ 9838 w 10000"/>
              <a:gd name="connsiteY133" fmla="*/ 6074 h 10000"/>
              <a:gd name="connsiteX134" fmla="*/ 10000 w 10000"/>
              <a:gd name="connsiteY134" fmla="*/ 6313 h 10000"/>
              <a:gd name="connsiteX0" fmla="*/ 7415 w 10000"/>
              <a:gd name="connsiteY0" fmla="*/ 600 h 10000"/>
              <a:gd name="connsiteX1" fmla="*/ 7293 w 10000"/>
              <a:gd name="connsiteY1" fmla="*/ 479 h 10000"/>
              <a:gd name="connsiteX2" fmla="*/ 6434 w 10000"/>
              <a:gd name="connsiteY2" fmla="*/ 717 h 10000"/>
              <a:gd name="connsiteX3" fmla="*/ 6290 w 10000"/>
              <a:gd name="connsiteY3" fmla="*/ 955 h 10000"/>
              <a:gd name="connsiteX4" fmla="*/ 6147 w 10000"/>
              <a:gd name="connsiteY4" fmla="*/ 717 h 10000"/>
              <a:gd name="connsiteX5" fmla="*/ 6147 w 10000"/>
              <a:gd name="connsiteY5" fmla="*/ 479 h 10000"/>
              <a:gd name="connsiteX6" fmla="*/ 4706 w 10000"/>
              <a:gd name="connsiteY6" fmla="*/ 1193 h 10000"/>
              <a:gd name="connsiteX7" fmla="*/ 4706 w 10000"/>
              <a:gd name="connsiteY7" fmla="*/ 1429 h 10000"/>
              <a:gd name="connsiteX8" fmla="*/ 4426 w 10000"/>
              <a:gd name="connsiteY8" fmla="*/ 1550 h 10000"/>
              <a:gd name="connsiteX9" fmla="*/ 3999 w 10000"/>
              <a:gd name="connsiteY9" fmla="*/ 1311 h 10000"/>
              <a:gd name="connsiteX10" fmla="*/ 4426 w 10000"/>
              <a:gd name="connsiteY10" fmla="*/ 1074 h 10000"/>
              <a:gd name="connsiteX11" fmla="*/ 4275 w 10000"/>
              <a:gd name="connsiteY11" fmla="*/ 717 h 10000"/>
              <a:gd name="connsiteX12" fmla="*/ 3713 w 10000"/>
              <a:gd name="connsiteY12" fmla="*/ 600 h 10000"/>
              <a:gd name="connsiteX13" fmla="*/ 3853 w 10000"/>
              <a:gd name="connsiteY13" fmla="*/ 834 h 10000"/>
              <a:gd name="connsiteX14" fmla="*/ 3853 w 10000"/>
              <a:gd name="connsiteY14" fmla="*/ 1429 h 10000"/>
              <a:gd name="connsiteX15" fmla="*/ 3999 w 10000"/>
              <a:gd name="connsiteY15" fmla="*/ 1669 h 10000"/>
              <a:gd name="connsiteX16" fmla="*/ 3853 w 10000"/>
              <a:gd name="connsiteY16" fmla="*/ 1910 h 10000"/>
              <a:gd name="connsiteX17" fmla="*/ 3418 w 10000"/>
              <a:gd name="connsiteY17" fmla="*/ 1790 h 10000"/>
              <a:gd name="connsiteX18" fmla="*/ 2860 w 10000"/>
              <a:gd name="connsiteY18" fmla="*/ 2143 h 10000"/>
              <a:gd name="connsiteX19" fmla="*/ 3138 w 10000"/>
              <a:gd name="connsiteY19" fmla="*/ 2622 h 10000"/>
              <a:gd name="connsiteX20" fmla="*/ 2277 w 10000"/>
              <a:gd name="connsiteY20" fmla="*/ 2384 h 10000"/>
              <a:gd name="connsiteX21" fmla="*/ 2141 w 10000"/>
              <a:gd name="connsiteY21" fmla="*/ 2501 h 10000"/>
              <a:gd name="connsiteX22" fmla="*/ 2431 w 10000"/>
              <a:gd name="connsiteY22" fmla="*/ 2859 h 10000"/>
              <a:gd name="connsiteX23" fmla="*/ 2141 w 10000"/>
              <a:gd name="connsiteY23" fmla="*/ 2859 h 10000"/>
              <a:gd name="connsiteX24" fmla="*/ 1718 w 10000"/>
              <a:gd name="connsiteY24" fmla="*/ 2622 h 10000"/>
              <a:gd name="connsiteX25" fmla="*/ 1718 w 10000"/>
              <a:gd name="connsiteY25" fmla="*/ 1910 h 10000"/>
              <a:gd name="connsiteX26" fmla="*/ 1291 w 10000"/>
              <a:gd name="connsiteY26" fmla="*/ 1669 h 10000"/>
              <a:gd name="connsiteX27" fmla="*/ 1143 w 10000"/>
              <a:gd name="connsiteY27" fmla="*/ 1429 h 10000"/>
              <a:gd name="connsiteX28" fmla="*/ 1421 w 10000"/>
              <a:gd name="connsiteY28" fmla="*/ 1550 h 10000"/>
              <a:gd name="connsiteX29" fmla="*/ 2561 w 10000"/>
              <a:gd name="connsiteY29" fmla="*/ 1910 h 10000"/>
              <a:gd name="connsiteX30" fmla="*/ 3270 w 10000"/>
              <a:gd name="connsiteY30" fmla="*/ 1550 h 10000"/>
              <a:gd name="connsiteX31" fmla="*/ 3138 w 10000"/>
              <a:gd name="connsiteY31" fmla="*/ 1193 h 10000"/>
              <a:gd name="connsiteX32" fmla="*/ 2277 w 10000"/>
              <a:gd name="connsiteY32" fmla="*/ 479 h 10000"/>
              <a:gd name="connsiteX33" fmla="*/ 1421 w 10000"/>
              <a:gd name="connsiteY33" fmla="*/ 241 h 10000"/>
              <a:gd name="connsiteX34" fmla="*/ 1421 w 10000"/>
              <a:gd name="connsiteY34" fmla="*/ 125 h 10000"/>
              <a:gd name="connsiteX35" fmla="*/ 1143 w 10000"/>
              <a:gd name="connsiteY35" fmla="*/ 0 h 10000"/>
              <a:gd name="connsiteX36" fmla="*/ 851 w 10000"/>
              <a:gd name="connsiteY36" fmla="*/ 125 h 10000"/>
              <a:gd name="connsiteX37" fmla="*/ 851 w 10000"/>
              <a:gd name="connsiteY37" fmla="*/ 241 h 10000"/>
              <a:gd name="connsiteX38" fmla="*/ 711 w 10000"/>
              <a:gd name="connsiteY38" fmla="*/ 241 h 10000"/>
              <a:gd name="connsiteX39" fmla="*/ 428 w 10000"/>
              <a:gd name="connsiteY39" fmla="*/ 479 h 10000"/>
              <a:gd name="connsiteX40" fmla="*/ 428 w 10000"/>
              <a:gd name="connsiteY40" fmla="*/ 834 h 10000"/>
              <a:gd name="connsiteX41" fmla="*/ 711 w 10000"/>
              <a:gd name="connsiteY41" fmla="*/ 1074 h 10000"/>
              <a:gd name="connsiteX42" fmla="*/ 576 w 10000"/>
              <a:gd name="connsiteY42" fmla="*/ 1429 h 10000"/>
              <a:gd name="connsiteX43" fmla="*/ 711 w 10000"/>
              <a:gd name="connsiteY43" fmla="*/ 2028 h 10000"/>
              <a:gd name="connsiteX44" fmla="*/ 576 w 10000"/>
              <a:gd name="connsiteY44" fmla="*/ 2384 h 10000"/>
              <a:gd name="connsiteX45" fmla="*/ 851 w 10000"/>
              <a:gd name="connsiteY45" fmla="*/ 2740 h 10000"/>
              <a:gd name="connsiteX46" fmla="*/ 711 w 10000"/>
              <a:gd name="connsiteY46" fmla="*/ 2980 h 10000"/>
              <a:gd name="connsiteX47" fmla="*/ 994 w 10000"/>
              <a:gd name="connsiteY47" fmla="*/ 3216 h 10000"/>
              <a:gd name="connsiteX48" fmla="*/ 994 w 10000"/>
              <a:gd name="connsiteY48" fmla="*/ 3337 h 10000"/>
              <a:gd name="connsiteX49" fmla="*/ 576 w 10000"/>
              <a:gd name="connsiteY49" fmla="*/ 3932 h 10000"/>
              <a:gd name="connsiteX50" fmla="*/ 130 w 10000"/>
              <a:gd name="connsiteY50" fmla="*/ 4170 h 10000"/>
              <a:gd name="connsiteX51" fmla="*/ 279 w 10000"/>
              <a:gd name="connsiteY51" fmla="*/ 4170 h 10000"/>
              <a:gd name="connsiteX52" fmla="*/ 576 w 10000"/>
              <a:gd name="connsiteY52" fmla="*/ 4407 h 10000"/>
              <a:gd name="connsiteX53" fmla="*/ 279 w 10000"/>
              <a:gd name="connsiteY53" fmla="*/ 4644 h 10000"/>
              <a:gd name="connsiteX54" fmla="*/ 130 w 10000"/>
              <a:gd name="connsiteY54" fmla="*/ 4765 h 10000"/>
              <a:gd name="connsiteX55" fmla="*/ 0 w 10000"/>
              <a:gd name="connsiteY55" fmla="*/ 4765 h 10000"/>
              <a:gd name="connsiteX56" fmla="*/ 130 w 10000"/>
              <a:gd name="connsiteY56" fmla="*/ 5123 h 10000"/>
              <a:gd name="connsiteX57" fmla="*/ 130 w 10000"/>
              <a:gd name="connsiteY57" fmla="*/ 5241 h 10000"/>
              <a:gd name="connsiteX58" fmla="*/ 130 w 10000"/>
              <a:gd name="connsiteY58" fmla="*/ 5358 h 10000"/>
              <a:gd name="connsiteX59" fmla="*/ 130 w 10000"/>
              <a:gd name="connsiteY59" fmla="*/ 5479 h 10000"/>
              <a:gd name="connsiteX60" fmla="*/ 279 w 10000"/>
              <a:gd name="connsiteY60" fmla="*/ 5714 h 10000"/>
              <a:gd name="connsiteX61" fmla="*/ 711 w 10000"/>
              <a:gd name="connsiteY61" fmla="*/ 5835 h 10000"/>
              <a:gd name="connsiteX62" fmla="*/ 851 w 10000"/>
              <a:gd name="connsiteY62" fmla="*/ 5950 h 10000"/>
              <a:gd name="connsiteX63" fmla="*/ 851 w 10000"/>
              <a:gd name="connsiteY63" fmla="*/ 6194 h 10000"/>
              <a:gd name="connsiteX64" fmla="*/ 1143 w 10000"/>
              <a:gd name="connsiteY64" fmla="*/ 6550 h 10000"/>
              <a:gd name="connsiteX65" fmla="*/ 1291 w 10000"/>
              <a:gd name="connsiteY65" fmla="*/ 6550 h 10000"/>
              <a:gd name="connsiteX66" fmla="*/ 1143 w 10000"/>
              <a:gd name="connsiteY66" fmla="*/ 6787 h 10000"/>
              <a:gd name="connsiteX67" fmla="*/ 994 w 10000"/>
              <a:gd name="connsiteY67" fmla="*/ 6670 h 10000"/>
              <a:gd name="connsiteX68" fmla="*/ 994 w 10000"/>
              <a:gd name="connsiteY68" fmla="*/ 6787 h 10000"/>
              <a:gd name="connsiteX69" fmla="*/ 1143 w 10000"/>
              <a:gd name="connsiteY69" fmla="*/ 7025 h 10000"/>
              <a:gd name="connsiteX70" fmla="*/ 1579 w 10000"/>
              <a:gd name="connsiteY70" fmla="*/ 7025 h 10000"/>
              <a:gd name="connsiteX71" fmla="*/ 1718 w 10000"/>
              <a:gd name="connsiteY71" fmla="*/ 7144 h 10000"/>
              <a:gd name="connsiteX72" fmla="*/ 1579 w 10000"/>
              <a:gd name="connsiteY72" fmla="*/ 7144 h 10000"/>
              <a:gd name="connsiteX73" fmla="*/ 1718 w 10000"/>
              <a:gd name="connsiteY73" fmla="*/ 7262 h 10000"/>
              <a:gd name="connsiteX74" fmla="*/ 1853 w 10000"/>
              <a:gd name="connsiteY74" fmla="*/ 7262 h 10000"/>
              <a:gd name="connsiteX75" fmla="*/ 1994 w 10000"/>
              <a:gd name="connsiteY75" fmla="*/ 7501 h 10000"/>
              <a:gd name="connsiteX76" fmla="*/ 2141 w 10000"/>
              <a:gd name="connsiteY76" fmla="*/ 7618 h 10000"/>
              <a:gd name="connsiteX77" fmla="*/ 2277 w 10000"/>
              <a:gd name="connsiteY77" fmla="*/ 7501 h 10000"/>
              <a:gd name="connsiteX78" fmla="*/ 2999 w 10000"/>
              <a:gd name="connsiteY78" fmla="*/ 7858 h 10000"/>
              <a:gd name="connsiteX79" fmla="*/ 2860 w 10000"/>
              <a:gd name="connsiteY79" fmla="*/ 8332 h 10000"/>
              <a:gd name="connsiteX80" fmla="*/ 2715 w 10000"/>
              <a:gd name="connsiteY80" fmla="*/ 8216 h 10000"/>
              <a:gd name="connsiteX81" fmla="*/ 2561 w 10000"/>
              <a:gd name="connsiteY81" fmla="*/ 8332 h 10000"/>
              <a:gd name="connsiteX82" fmla="*/ 2561 w 10000"/>
              <a:gd name="connsiteY82" fmla="*/ 8570 h 10000"/>
              <a:gd name="connsiteX83" fmla="*/ 2715 w 10000"/>
              <a:gd name="connsiteY83" fmla="*/ 8453 h 10000"/>
              <a:gd name="connsiteX84" fmla="*/ 2860 w 10000"/>
              <a:gd name="connsiteY84" fmla="*/ 8570 h 10000"/>
              <a:gd name="connsiteX85" fmla="*/ 2431 w 10000"/>
              <a:gd name="connsiteY85" fmla="*/ 8692 h 10000"/>
              <a:gd name="connsiteX86" fmla="*/ 2561 w 10000"/>
              <a:gd name="connsiteY86" fmla="*/ 8810 h 10000"/>
              <a:gd name="connsiteX87" fmla="*/ 2277 w 10000"/>
              <a:gd name="connsiteY87" fmla="*/ 9048 h 10000"/>
              <a:gd name="connsiteX88" fmla="*/ 2141 w 10000"/>
              <a:gd name="connsiteY88" fmla="*/ 9048 h 10000"/>
              <a:gd name="connsiteX89" fmla="*/ 2277 w 10000"/>
              <a:gd name="connsiteY89" fmla="*/ 9048 h 10000"/>
              <a:gd name="connsiteX90" fmla="*/ 2860 w 10000"/>
              <a:gd name="connsiteY90" fmla="*/ 9526 h 10000"/>
              <a:gd name="connsiteX91" fmla="*/ 3573 w 10000"/>
              <a:gd name="connsiteY91" fmla="*/ 9526 h 10000"/>
              <a:gd name="connsiteX92" fmla="*/ 3853 w 10000"/>
              <a:gd name="connsiteY92" fmla="*/ 9644 h 10000"/>
              <a:gd name="connsiteX93" fmla="*/ 4140 w 10000"/>
              <a:gd name="connsiteY93" fmla="*/ 9644 h 10000"/>
              <a:gd name="connsiteX94" fmla="*/ 4426 w 10000"/>
              <a:gd name="connsiteY94" fmla="*/ 9883 h 10000"/>
              <a:gd name="connsiteX95" fmla="*/ 4569 w 10000"/>
              <a:gd name="connsiteY95" fmla="*/ 10000 h 10000"/>
              <a:gd name="connsiteX96" fmla="*/ 4706 w 10000"/>
              <a:gd name="connsiteY96" fmla="*/ 10000 h 10000"/>
              <a:gd name="connsiteX97" fmla="*/ 4857 w 10000"/>
              <a:gd name="connsiteY97" fmla="*/ 9883 h 10000"/>
              <a:gd name="connsiteX98" fmla="*/ 4569 w 10000"/>
              <a:gd name="connsiteY98" fmla="*/ 9644 h 10000"/>
              <a:gd name="connsiteX99" fmla="*/ 4569 w 10000"/>
              <a:gd name="connsiteY99" fmla="*/ 9406 h 10000"/>
              <a:gd name="connsiteX100" fmla="*/ 4426 w 10000"/>
              <a:gd name="connsiteY100" fmla="*/ 9166 h 10000"/>
              <a:gd name="connsiteX101" fmla="*/ 4706 w 10000"/>
              <a:gd name="connsiteY101" fmla="*/ 8810 h 10000"/>
              <a:gd name="connsiteX102" fmla="*/ 4857 w 10000"/>
              <a:gd name="connsiteY102" fmla="*/ 8928 h 10000"/>
              <a:gd name="connsiteX103" fmla="*/ 4994 w 10000"/>
              <a:gd name="connsiteY103" fmla="*/ 8810 h 10000"/>
              <a:gd name="connsiteX104" fmla="*/ 4994 w 10000"/>
              <a:gd name="connsiteY104" fmla="*/ 8692 h 10000"/>
              <a:gd name="connsiteX105" fmla="*/ 4857 w 10000"/>
              <a:gd name="connsiteY105" fmla="*/ 8692 h 10000"/>
              <a:gd name="connsiteX106" fmla="*/ 4994 w 10000"/>
              <a:gd name="connsiteY106" fmla="*/ 8570 h 10000"/>
              <a:gd name="connsiteX107" fmla="*/ 4857 w 10000"/>
              <a:gd name="connsiteY107" fmla="*/ 8332 h 10000"/>
              <a:gd name="connsiteX108" fmla="*/ 4569 w 10000"/>
              <a:gd name="connsiteY108" fmla="*/ 8332 h 10000"/>
              <a:gd name="connsiteX109" fmla="*/ 4426 w 10000"/>
              <a:gd name="connsiteY109" fmla="*/ 8097 h 10000"/>
              <a:gd name="connsiteX110" fmla="*/ 4569 w 10000"/>
              <a:gd name="connsiteY110" fmla="*/ 7501 h 10000"/>
              <a:gd name="connsiteX111" fmla="*/ 4857 w 10000"/>
              <a:gd name="connsiteY111" fmla="*/ 7739 h 10000"/>
              <a:gd name="connsiteX112" fmla="*/ 4994 w 10000"/>
              <a:gd name="connsiteY112" fmla="*/ 7739 h 10000"/>
              <a:gd name="connsiteX113" fmla="*/ 4857 w 10000"/>
              <a:gd name="connsiteY113" fmla="*/ 7501 h 10000"/>
              <a:gd name="connsiteX114" fmla="*/ 5288 w 10000"/>
              <a:gd name="connsiteY114" fmla="*/ 7144 h 10000"/>
              <a:gd name="connsiteX115" fmla="*/ 5577 w 10000"/>
              <a:gd name="connsiteY115" fmla="*/ 7262 h 10000"/>
              <a:gd name="connsiteX116" fmla="*/ 5715 w 10000"/>
              <a:gd name="connsiteY116" fmla="*/ 7144 h 10000"/>
              <a:gd name="connsiteX117" fmla="*/ 5985 w 10000"/>
              <a:gd name="connsiteY117" fmla="*/ 7262 h 10000"/>
              <a:gd name="connsiteX118" fmla="*/ 6434 w 10000"/>
              <a:gd name="connsiteY118" fmla="*/ 7501 h 10000"/>
              <a:gd name="connsiteX119" fmla="*/ 6707 w 10000"/>
              <a:gd name="connsiteY119" fmla="*/ 7381 h 10000"/>
              <a:gd name="connsiteX120" fmla="*/ 6997 w 10000"/>
              <a:gd name="connsiteY120" fmla="*/ 7381 h 10000"/>
              <a:gd name="connsiteX121" fmla="*/ 7144 w 10000"/>
              <a:gd name="connsiteY121" fmla="*/ 7501 h 10000"/>
              <a:gd name="connsiteX122" fmla="*/ 7713 w 10000"/>
              <a:gd name="connsiteY122" fmla="*/ 7501 h 10000"/>
              <a:gd name="connsiteX123" fmla="*/ 7850 w 10000"/>
              <a:gd name="connsiteY123" fmla="*/ 7262 h 10000"/>
              <a:gd name="connsiteX124" fmla="*/ 7415 w 10000"/>
              <a:gd name="connsiteY124" fmla="*/ 7144 h 10000"/>
              <a:gd name="connsiteX125" fmla="*/ 7713 w 10000"/>
              <a:gd name="connsiteY125" fmla="*/ 7025 h 10000"/>
              <a:gd name="connsiteX126" fmla="*/ 7563 w 10000"/>
              <a:gd name="connsiteY126" fmla="*/ 6904 h 10000"/>
              <a:gd name="connsiteX127" fmla="*/ 7713 w 10000"/>
              <a:gd name="connsiteY127" fmla="*/ 6787 h 10000"/>
              <a:gd name="connsiteX128" fmla="*/ 7713 w 10000"/>
              <a:gd name="connsiteY128" fmla="*/ 6429 h 10000"/>
              <a:gd name="connsiteX129" fmla="*/ 7988 w 10000"/>
              <a:gd name="connsiteY129" fmla="*/ 6550 h 10000"/>
              <a:gd name="connsiteX130" fmla="*/ 9278 w 10000"/>
              <a:gd name="connsiteY130" fmla="*/ 6194 h 10000"/>
              <a:gd name="connsiteX131" fmla="*/ 9278 w 10000"/>
              <a:gd name="connsiteY131" fmla="*/ 6074 h 10000"/>
              <a:gd name="connsiteX132" fmla="*/ 9428 w 10000"/>
              <a:gd name="connsiteY132" fmla="*/ 6074 h 10000"/>
              <a:gd name="connsiteX133" fmla="*/ 10000 w 10000"/>
              <a:gd name="connsiteY133" fmla="*/ 6313 h 10000"/>
              <a:gd name="connsiteX0" fmla="*/ 7293 w 10000"/>
              <a:gd name="connsiteY0" fmla="*/ 479 h 10000"/>
              <a:gd name="connsiteX1" fmla="*/ 6434 w 10000"/>
              <a:gd name="connsiteY1" fmla="*/ 717 h 10000"/>
              <a:gd name="connsiteX2" fmla="*/ 6290 w 10000"/>
              <a:gd name="connsiteY2" fmla="*/ 955 h 10000"/>
              <a:gd name="connsiteX3" fmla="*/ 6147 w 10000"/>
              <a:gd name="connsiteY3" fmla="*/ 717 h 10000"/>
              <a:gd name="connsiteX4" fmla="*/ 6147 w 10000"/>
              <a:gd name="connsiteY4" fmla="*/ 479 h 10000"/>
              <a:gd name="connsiteX5" fmla="*/ 4706 w 10000"/>
              <a:gd name="connsiteY5" fmla="*/ 1193 h 10000"/>
              <a:gd name="connsiteX6" fmla="*/ 4706 w 10000"/>
              <a:gd name="connsiteY6" fmla="*/ 1429 h 10000"/>
              <a:gd name="connsiteX7" fmla="*/ 4426 w 10000"/>
              <a:gd name="connsiteY7" fmla="*/ 1550 h 10000"/>
              <a:gd name="connsiteX8" fmla="*/ 3999 w 10000"/>
              <a:gd name="connsiteY8" fmla="*/ 1311 h 10000"/>
              <a:gd name="connsiteX9" fmla="*/ 4426 w 10000"/>
              <a:gd name="connsiteY9" fmla="*/ 1074 h 10000"/>
              <a:gd name="connsiteX10" fmla="*/ 4275 w 10000"/>
              <a:gd name="connsiteY10" fmla="*/ 717 h 10000"/>
              <a:gd name="connsiteX11" fmla="*/ 3713 w 10000"/>
              <a:gd name="connsiteY11" fmla="*/ 600 h 10000"/>
              <a:gd name="connsiteX12" fmla="*/ 3853 w 10000"/>
              <a:gd name="connsiteY12" fmla="*/ 834 h 10000"/>
              <a:gd name="connsiteX13" fmla="*/ 3853 w 10000"/>
              <a:gd name="connsiteY13" fmla="*/ 1429 h 10000"/>
              <a:gd name="connsiteX14" fmla="*/ 3999 w 10000"/>
              <a:gd name="connsiteY14" fmla="*/ 1669 h 10000"/>
              <a:gd name="connsiteX15" fmla="*/ 3853 w 10000"/>
              <a:gd name="connsiteY15" fmla="*/ 1910 h 10000"/>
              <a:gd name="connsiteX16" fmla="*/ 3418 w 10000"/>
              <a:gd name="connsiteY16" fmla="*/ 1790 h 10000"/>
              <a:gd name="connsiteX17" fmla="*/ 2860 w 10000"/>
              <a:gd name="connsiteY17" fmla="*/ 2143 h 10000"/>
              <a:gd name="connsiteX18" fmla="*/ 3138 w 10000"/>
              <a:gd name="connsiteY18" fmla="*/ 2622 h 10000"/>
              <a:gd name="connsiteX19" fmla="*/ 2277 w 10000"/>
              <a:gd name="connsiteY19" fmla="*/ 2384 h 10000"/>
              <a:gd name="connsiteX20" fmla="*/ 2141 w 10000"/>
              <a:gd name="connsiteY20" fmla="*/ 2501 h 10000"/>
              <a:gd name="connsiteX21" fmla="*/ 2431 w 10000"/>
              <a:gd name="connsiteY21" fmla="*/ 2859 h 10000"/>
              <a:gd name="connsiteX22" fmla="*/ 2141 w 10000"/>
              <a:gd name="connsiteY22" fmla="*/ 2859 h 10000"/>
              <a:gd name="connsiteX23" fmla="*/ 1718 w 10000"/>
              <a:gd name="connsiteY23" fmla="*/ 2622 h 10000"/>
              <a:gd name="connsiteX24" fmla="*/ 1718 w 10000"/>
              <a:gd name="connsiteY24" fmla="*/ 1910 h 10000"/>
              <a:gd name="connsiteX25" fmla="*/ 1291 w 10000"/>
              <a:gd name="connsiteY25" fmla="*/ 1669 h 10000"/>
              <a:gd name="connsiteX26" fmla="*/ 1143 w 10000"/>
              <a:gd name="connsiteY26" fmla="*/ 1429 h 10000"/>
              <a:gd name="connsiteX27" fmla="*/ 1421 w 10000"/>
              <a:gd name="connsiteY27" fmla="*/ 1550 h 10000"/>
              <a:gd name="connsiteX28" fmla="*/ 2561 w 10000"/>
              <a:gd name="connsiteY28" fmla="*/ 1910 h 10000"/>
              <a:gd name="connsiteX29" fmla="*/ 3270 w 10000"/>
              <a:gd name="connsiteY29" fmla="*/ 1550 h 10000"/>
              <a:gd name="connsiteX30" fmla="*/ 3138 w 10000"/>
              <a:gd name="connsiteY30" fmla="*/ 1193 h 10000"/>
              <a:gd name="connsiteX31" fmla="*/ 2277 w 10000"/>
              <a:gd name="connsiteY31" fmla="*/ 479 h 10000"/>
              <a:gd name="connsiteX32" fmla="*/ 1421 w 10000"/>
              <a:gd name="connsiteY32" fmla="*/ 241 h 10000"/>
              <a:gd name="connsiteX33" fmla="*/ 1421 w 10000"/>
              <a:gd name="connsiteY33" fmla="*/ 125 h 10000"/>
              <a:gd name="connsiteX34" fmla="*/ 1143 w 10000"/>
              <a:gd name="connsiteY34" fmla="*/ 0 h 10000"/>
              <a:gd name="connsiteX35" fmla="*/ 851 w 10000"/>
              <a:gd name="connsiteY35" fmla="*/ 125 h 10000"/>
              <a:gd name="connsiteX36" fmla="*/ 851 w 10000"/>
              <a:gd name="connsiteY36" fmla="*/ 241 h 10000"/>
              <a:gd name="connsiteX37" fmla="*/ 711 w 10000"/>
              <a:gd name="connsiteY37" fmla="*/ 241 h 10000"/>
              <a:gd name="connsiteX38" fmla="*/ 428 w 10000"/>
              <a:gd name="connsiteY38" fmla="*/ 479 h 10000"/>
              <a:gd name="connsiteX39" fmla="*/ 428 w 10000"/>
              <a:gd name="connsiteY39" fmla="*/ 834 h 10000"/>
              <a:gd name="connsiteX40" fmla="*/ 711 w 10000"/>
              <a:gd name="connsiteY40" fmla="*/ 1074 h 10000"/>
              <a:gd name="connsiteX41" fmla="*/ 576 w 10000"/>
              <a:gd name="connsiteY41" fmla="*/ 1429 h 10000"/>
              <a:gd name="connsiteX42" fmla="*/ 711 w 10000"/>
              <a:gd name="connsiteY42" fmla="*/ 2028 h 10000"/>
              <a:gd name="connsiteX43" fmla="*/ 576 w 10000"/>
              <a:gd name="connsiteY43" fmla="*/ 2384 h 10000"/>
              <a:gd name="connsiteX44" fmla="*/ 851 w 10000"/>
              <a:gd name="connsiteY44" fmla="*/ 2740 h 10000"/>
              <a:gd name="connsiteX45" fmla="*/ 711 w 10000"/>
              <a:gd name="connsiteY45" fmla="*/ 2980 h 10000"/>
              <a:gd name="connsiteX46" fmla="*/ 994 w 10000"/>
              <a:gd name="connsiteY46" fmla="*/ 3216 h 10000"/>
              <a:gd name="connsiteX47" fmla="*/ 994 w 10000"/>
              <a:gd name="connsiteY47" fmla="*/ 3337 h 10000"/>
              <a:gd name="connsiteX48" fmla="*/ 576 w 10000"/>
              <a:gd name="connsiteY48" fmla="*/ 3932 h 10000"/>
              <a:gd name="connsiteX49" fmla="*/ 130 w 10000"/>
              <a:gd name="connsiteY49" fmla="*/ 4170 h 10000"/>
              <a:gd name="connsiteX50" fmla="*/ 279 w 10000"/>
              <a:gd name="connsiteY50" fmla="*/ 4170 h 10000"/>
              <a:gd name="connsiteX51" fmla="*/ 576 w 10000"/>
              <a:gd name="connsiteY51" fmla="*/ 4407 h 10000"/>
              <a:gd name="connsiteX52" fmla="*/ 279 w 10000"/>
              <a:gd name="connsiteY52" fmla="*/ 4644 h 10000"/>
              <a:gd name="connsiteX53" fmla="*/ 130 w 10000"/>
              <a:gd name="connsiteY53" fmla="*/ 4765 h 10000"/>
              <a:gd name="connsiteX54" fmla="*/ 0 w 10000"/>
              <a:gd name="connsiteY54" fmla="*/ 4765 h 10000"/>
              <a:gd name="connsiteX55" fmla="*/ 130 w 10000"/>
              <a:gd name="connsiteY55" fmla="*/ 5123 h 10000"/>
              <a:gd name="connsiteX56" fmla="*/ 130 w 10000"/>
              <a:gd name="connsiteY56" fmla="*/ 5241 h 10000"/>
              <a:gd name="connsiteX57" fmla="*/ 130 w 10000"/>
              <a:gd name="connsiteY57" fmla="*/ 5358 h 10000"/>
              <a:gd name="connsiteX58" fmla="*/ 130 w 10000"/>
              <a:gd name="connsiteY58" fmla="*/ 5479 h 10000"/>
              <a:gd name="connsiteX59" fmla="*/ 279 w 10000"/>
              <a:gd name="connsiteY59" fmla="*/ 5714 h 10000"/>
              <a:gd name="connsiteX60" fmla="*/ 711 w 10000"/>
              <a:gd name="connsiteY60" fmla="*/ 5835 h 10000"/>
              <a:gd name="connsiteX61" fmla="*/ 851 w 10000"/>
              <a:gd name="connsiteY61" fmla="*/ 5950 h 10000"/>
              <a:gd name="connsiteX62" fmla="*/ 851 w 10000"/>
              <a:gd name="connsiteY62" fmla="*/ 6194 h 10000"/>
              <a:gd name="connsiteX63" fmla="*/ 1143 w 10000"/>
              <a:gd name="connsiteY63" fmla="*/ 6550 h 10000"/>
              <a:gd name="connsiteX64" fmla="*/ 1291 w 10000"/>
              <a:gd name="connsiteY64" fmla="*/ 6550 h 10000"/>
              <a:gd name="connsiteX65" fmla="*/ 1143 w 10000"/>
              <a:gd name="connsiteY65" fmla="*/ 6787 h 10000"/>
              <a:gd name="connsiteX66" fmla="*/ 994 w 10000"/>
              <a:gd name="connsiteY66" fmla="*/ 6670 h 10000"/>
              <a:gd name="connsiteX67" fmla="*/ 994 w 10000"/>
              <a:gd name="connsiteY67" fmla="*/ 6787 h 10000"/>
              <a:gd name="connsiteX68" fmla="*/ 1143 w 10000"/>
              <a:gd name="connsiteY68" fmla="*/ 7025 h 10000"/>
              <a:gd name="connsiteX69" fmla="*/ 1579 w 10000"/>
              <a:gd name="connsiteY69" fmla="*/ 7025 h 10000"/>
              <a:gd name="connsiteX70" fmla="*/ 1718 w 10000"/>
              <a:gd name="connsiteY70" fmla="*/ 7144 h 10000"/>
              <a:gd name="connsiteX71" fmla="*/ 1579 w 10000"/>
              <a:gd name="connsiteY71" fmla="*/ 7144 h 10000"/>
              <a:gd name="connsiteX72" fmla="*/ 1718 w 10000"/>
              <a:gd name="connsiteY72" fmla="*/ 7262 h 10000"/>
              <a:gd name="connsiteX73" fmla="*/ 1853 w 10000"/>
              <a:gd name="connsiteY73" fmla="*/ 7262 h 10000"/>
              <a:gd name="connsiteX74" fmla="*/ 1994 w 10000"/>
              <a:gd name="connsiteY74" fmla="*/ 7501 h 10000"/>
              <a:gd name="connsiteX75" fmla="*/ 2141 w 10000"/>
              <a:gd name="connsiteY75" fmla="*/ 7618 h 10000"/>
              <a:gd name="connsiteX76" fmla="*/ 2277 w 10000"/>
              <a:gd name="connsiteY76" fmla="*/ 7501 h 10000"/>
              <a:gd name="connsiteX77" fmla="*/ 2999 w 10000"/>
              <a:gd name="connsiteY77" fmla="*/ 7858 h 10000"/>
              <a:gd name="connsiteX78" fmla="*/ 2860 w 10000"/>
              <a:gd name="connsiteY78" fmla="*/ 8332 h 10000"/>
              <a:gd name="connsiteX79" fmla="*/ 2715 w 10000"/>
              <a:gd name="connsiteY79" fmla="*/ 8216 h 10000"/>
              <a:gd name="connsiteX80" fmla="*/ 2561 w 10000"/>
              <a:gd name="connsiteY80" fmla="*/ 8332 h 10000"/>
              <a:gd name="connsiteX81" fmla="*/ 2561 w 10000"/>
              <a:gd name="connsiteY81" fmla="*/ 8570 h 10000"/>
              <a:gd name="connsiteX82" fmla="*/ 2715 w 10000"/>
              <a:gd name="connsiteY82" fmla="*/ 8453 h 10000"/>
              <a:gd name="connsiteX83" fmla="*/ 2860 w 10000"/>
              <a:gd name="connsiteY83" fmla="*/ 8570 h 10000"/>
              <a:gd name="connsiteX84" fmla="*/ 2431 w 10000"/>
              <a:gd name="connsiteY84" fmla="*/ 8692 h 10000"/>
              <a:gd name="connsiteX85" fmla="*/ 2561 w 10000"/>
              <a:gd name="connsiteY85" fmla="*/ 8810 h 10000"/>
              <a:gd name="connsiteX86" fmla="*/ 2277 w 10000"/>
              <a:gd name="connsiteY86" fmla="*/ 9048 h 10000"/>
              <a:gd name="connsiteX87" fmla="*/ 2141 w 10000"/>
              <a:gd name="connsiteY87" fmla="*/ 9048 h 10000"/>
              <a:gd name="connsiteX88" fmla="*/ 2277 w 10000"/>
              <a:gd name="connsiteY88" fmla="*/ 9048 h 10000"/>
              <a:gd name="connsiteX89" fmla="*/ 2860 w 10000"/>
              <a:gd name="connsiteY89" fmla="*/ 9526 h 10000"/>
              <a:gd name="connsiteX90" fmla="*/ 3573 w 10000"/>
              <a:gd name="connsiteY90" fmla="*/ 9526 h 10000"/>
              <a:gd name="connsiteX91" fmla="*/ 3853 w 10000"/>
              <a:gd name="connsiteY91" fmla="*/ 9644 h 10000"/>
              <a:gd name="connsiteX92" fmla="*/ 4140 w 10000"/>
              <a:gd name="connsiteY92" fmla="*/ 9644 h 10000"/>
              <a:gd name="connsiteX93" fmla="*/ 4426 w 10000"/>
              <a:gd name="connsiteY93" fmla="*/ 9883 h 10000"/>
              <a:gd name="connsiteX94" fmla="*/ 4569 w 10000"/>
              <a:gd name="connsiteY94" fmla="*/ 10000 h 10000"/>
              <a:gd name="connsiteX95" fmla="*/ 4706 w 10000"/>
              <a:gd name="connsiteY95" fmla="*/ 10000 h 10000"/>
              <a:gd name="connsiteX96" fmla="*/ 4857 w 10000"/>
              <a:gd name="connsiteY96" fmla="*/ 9883 h 10000"/>
              <a:gd name="connsiteX97" fmla="*/ 4569 w 10000"/>
              <a:gd name="connsiteY97" fmla="*/ 9644 h 10000"/>
              <a:gd name="connsiteX98" fmla="*/ 4569 w 10000"/>
              <a:gd name="connsiteY98" fmla="*/ 9406 h 10000"/>
              <a:gd name="connsiteX99" fmla="*/ 4426 w 10000"/>
              <a:gd name="connsiteY99" fmla="*/ 9166 h 10000"/>
              <a:gd name="connsiteX100" fmla="*/ 4706 w 10000"/>
              <a:gd name="connsiteY100" fmla="*/ 8810 h 10000"/>
              <a:gd name="connsiteX101" fmla="*/ 4857 w 10000"/>
              <a:gd name="connsiteY101" fmla="*/ 8928 h 10000"/>
              <a:gd name="connsiteX102" fmla="*/ 4994 w 10000"/>
              <a:gd name="connsiteY102" fmla="*/ 8810 h 10000"/>
              <a:gd name="connsiteX103" fmla="*/ 4994 w 10000"/>
              <a:gd name="connsiteY103" fmla="*/ 8692 h 10000"/>
              <a:gd name="connsiteX104" fmla="*/ 4857 w 10000"/>
              <a:gd name="connsiteY104" fmla="*/ 8692 h 10000"/>
              <a:gd name="connsiteX105" fmla="*/ 4994 w 10000"/>
              <a:gd name="connsiteY105" fmla="*/ 8570 h 10000"/>
              <a:gd name="connsiteX106" fmla="*/ 4857 w 10000"/>
              <a:gd name="connsiteY106" fmla="*/ 8332 h 10000"/>
              <a:gd name="connsiteX107" fmla="*/ 4569 w 10000"/>
              <a:gd name="connsiteY107" fmla="*/ 8332 h 10000"/>
              <a:gd name="connsiteX108" fmla="*/ 4426 w 10000"/>
              <a:gd name="connsiteY108" fmla="*/ 8097 h 10000"/>
              <a:gd name="connsiteX109" fmla="*/ 4569 w 10000"/>
              <a:gd name="connsiteY109" fmla="*/ 7501 h 10000"/>
              <a:gd name="connsiteX110" fmla="*/ 4857 w 10000"/>
              <a:gd name="connsiteY110" fmla="*/ 7739 h 10000"/>
              <a:gd name="connsiteX111" fmla="*/ 4994 w 10000"/>
              <a:gd name="connsiteY111" fmla="*/ 7739 h 10000"/>
              <a:gd name="connsiteX112" fmla="*/ 4857 w 10000"/>
              <a:gd name="connsiteY112" fmla="*/ 7501 h 10000"/>
              <a:gd name="connsiteX113" fmla="*/ 5288 w 10000"/>
              <a:gd name="connsiteY113" fmla="*/ 7144 h 10000"/>
              <a:gd name="connsiteX114" fmla="*/ 5577 w 10000"/>
              <a:gd name="connsiteY114" fmla="*/ 7262 h 10000"/>
              <a:gd name="connsiteX115" fmla="*/ 5715 w 10000"/>
              <a:gd name="connsiteY115" fmla="*/ 7144 h 10000"/>
              <a:gd name="connsiteX116" fmla="*/ 5985 w 10000"/>
              <a:gd name="connsiteY116" fmla="*/ 7262 h 10000"/>
              <a:gd name="connsiteX117" fmla="*/ 6434 w 10000"/>
              <a:gd name="connsiteY117" fmla="*/ 7501 h 10000"/>
              <a:gd name="connsiteX118" fmla="*/ 6707 w 10000"/>
              <a:gd name="connsiteY118" fmla="*/ 7381 h 10000"/>
              <a:gd name="connsiteX119" fmla="*/ 6997 w 10000"/>
              <a:gd name="connsiteY119" fmla="*/ 7381 h 10000"/>
              <a:gd name="connsiteX120" fmla="*/ 7144 w 10000"/>
              <a:gd name="connsiteY120" fmla="*/ 7501 h 10000"/>
              <a:gd name="connsiteX121" fmla="*/ 7713 w 10000"/>
              <a:gd name="connsiteY121" fmla="*/ 7501 h 10000"/>
              <a:gd name="connsiteX122" fmla="*/ 7850 w 10000"/>
              <a:gd name="connsiteY122" fmla="*/ 7262 h 10000"/>
              <a:gd name="connsiteX123" fmla="*/ 7415 w 10000"/>
              <a:gd name="connsiteY123" fmla="*/ 7144 h 10000"/>
              <a:gd name="connsiteX124" fmla="*/ 7713 w 10000"/>
              <a:gd name="connsiteY124" fmla="*/ 7025 h 10000"/>
              <a:gd name="connsiteX125" fmla="*/ 7563 w 10000"/>
              <a:gd name="connsiteY125" fmla="*/ 6904 h 10000"/>
              <a:gd name="connsiteX126" fmla="*/ 7713 w 10000"/>
              <a:gd name="connsiteY126" fmla="*/ 6787 h 10000"/>
              <a:gd name="connsiteX127" fmla="*/ 7713 w 10000"/>
              <a:gd name="connsiteY127" fmla="*/ 6429 h 10000"/>
              <a:gd name="connsiteX128" fmla="*/ 7988 w 10000"/>
              <a:gd name="connsiteY128" fmla="*/ 6550 h 10000"/>
              <a:gd name="connsiteX129" fmla="*/ 9278 w 10000"/>
              <a:gd name="connsiteY129" fmla="*/ 6194 h 10000"/>
              <a:gd name="connsiteX130" fmla="*/ 9278 w 10000"/>
              <a:gd name="connsiteY130" fmla="*/ 6074 h 10000"/>
              <a:gd name="connsiteX131" fmla="*/ 9428 w 10000"/>
              <a:gd name="connsiteY131" fmla="*/ 6074 h 10000"/>
              <a:gd name="connsiteX132" fmla="*/ 10000 w 10000"/>
              <a:gd name="connsiteY132" fmla="*/ 6313 h 10000"/>
              <a:gd name="connsiteX0" fmla="*/ 6889 w 10000"/>
              <a:gd name="connsiteY0" fmla="*/ 691 h 10000"/>
              <a:gd name="connsiteX1" fmla="*/ 6434 w 10000"/>
              <a:gd name="connsiteY1" fmla="*/ 717 h 10000"/>
              <a:gd name="connsiteX2" fmla="*/ 6290 w 10000"/>
              <a:gd name="connsiteY2" fmla="*/ 955 h 10000"/>
              <a:gd name="connsiteX3" fmla="*/ 6147 w 10000"/>
              <a:gd name="connsiteY3" fmla="*/ 717 h 10000"/>
              <a:gd name="connsiteX4" fmla="*/ 6147 w 10000"/>
              <a:gd name="connsiteY4" fmla="*/ 479 h 10000"/>
              <a:gd name="connsiteX5" fmla="*/ 4706 w 10000"/>
              <a:gd name="connsiteY5" fmla="*/ 1193 h 10000"/>
              <a:gd name="connsiteX6" fmla="*/ 4706 w 10000"/>
              <a:gd name="connsiteY6" fmla="*/ 1429 h 10000"/>
              <a:gd name="connsiteX7" fmla="*/ 4426 w 10000"/>
              <a:gd name="connsiteY7" fmla="*/ 1550 h 10000"/>
              <a:gd name="connsiteX8" fmla="*/ 3999 w 10000"/>
              <a:gd name="connsiteY8" fmla="*/ 1311 h 10000"/>
              <a:gd name="connsiteX9" fmla="*/ 4426 w 10000"/>
              <a:gd name="connsiteY9" fmla="*/ 1074 h 10000"/>
              <a:gd name="connsiteX10" fmla="*/ 4275 w 10000"/>
              <a:gd name="connsiteY10" fmla="*/ 717 h 10000"/>
              <a:gd name="connsiteX11" fmla="*/ 3713 w 10000"/>
              <a:gd name="connsiteY11" fmla="*/ 600 h 10000"/>
              <a:gd name="connsiteX12" fmla="*/ 3853 w 10000"/>
              <a:gd name="connsiteY12" fmla="*/ 834 h 10000"/>
              <a:gd name="connsiteX13" fmla="*/ 3853 w 10000"/>
              <a:gd name="connsiteY13" fmla="*/ 1429 h 10000"/>
              <a:gd name="connsiteX14" fmla="*/ 3999 w 10000"/>
              <a:gd name="connsiteY14" fmla="*/ 1669 h 10000"/>
              <a:gd name="connsiteX15" fmla="*/ 3853 w 10000"/>
              <a:gd name="connsiteY15" fmla="*/ 1910 h 10000"/>
              <a:gd name="connsiteX16" fmla="*/ 3418 w 10000"/>
              <a:gd name="connsiteY16" fmla="*/ 1790 h 10000"/>
              <a:gd name="connsiteX17" fmla="*/ 2860 w 10000"/>
              <a:gd name="connsiteY17" fmla="*/ 2143 h 10000"/>
              <a:gd name="connsiteX18" fmla="*/ 3138 w 10000"/>
              <a:gd name="connsiteY18" fmla="*/ 2622 h 10000"/>
              <a:gd name="connsiteX19" fmla="*/ 2277 w 10000"/>
              <a:gd name="connsiteY19" fmla="*/ 2384 h 10000"/>
              <a:gd name="connsiteX20" fmla="*/ 2141 w 10000"/>
              <a:gd name="connsiteY20" fmla="*/ 2501 h 10000"/>
              <a:gd name="connsiteX21" fmla="*/ 2431 w 10000"/>
              <a:gd name="connsiteY21" fmla="*/ 2859 h 10000"/>
              <a:gd name="connsiteX22" fmla="*/ 2141 w 10000"/>
              <a:gd name="connsiteY22" fmla="*/ 2859 h 10000"/>
              <a:gd name="connsiteX23" fmla="*/ 1718 w 10000"/>
              <a:gd name="connsiteY23" fmla="*/ 2622 h 10000"/>
              <a:gd name="connsiteX24" fmla="*/ 1718 w 10000"/>
              <a:gd name="connsiteY24" fmla="*/ 1910 h 10000"/>
              <a:gd name="connsiteX25" fmla="*/ 1291 w 10000"/>
              <a:gd name="connsiteY25" fmla="*/ 1669 h 10000"/>
              <a:gd name="connsiteX26" fmla="*/ 1143 w 10000"/>
              <a:gd name="connsiteY26" fmla="*/ 1429 h 10000"/>
              <a:gd name="connsiteX27" fmla="*/ 1421 w 10000"/>
              <a:gd name="connsiteY27" fmla="*/ 1550 h 10000"/>
              <a:gd name="connsiteX28" fmla="*/ 2561 w 10000"/>
              <a:gd name="connsiteY28" fmla="*/ 1910 h 10000"/>
              <a:gd name="connsiteX29" fmla="*/ 3270 w 10000"/>
              <a:gd name="connsiteY29" fmla="*/ 1550 h 10000"/>
              <a:gd name="connsiteX30" fmla="*/ 3138 w 10000"/>
              <a:gd name="connsiteY30" fmla="*/ 1193 h 10000"/>
              <a:gd name="connsiteX31" fmla="*/ 2277 w 10000"/>
              <a:gd name="connsiteY31" fmla="*/ 479 h 10000"/>
              <a:gd name="connsiteX32" fmla="*/ 1421 w 10000"/>
              <a:gd name="connsiteY32" fmla="*/ 241 h 10000"/>
              <a:gd name="connsiteX33" fmla="*/ 1421 w 10000"/>
              <a:gd name="connsiteY33" fmla="*/ 125 h 10000"/>
              <a:gd name="connsiteX34" fmla="*/ 1143 w 10000"/>
              <a:gd name="connsiteY34" fmla="*/ 0 h 10000"/>
              <a:gd name="connsiteX35" fmla="*/ 851 w 10000"/>
              <a:gd name="connsiteY35" fmla="*/ 125 h 10000"/>
              <a:gd name="connsiteX36" fmla="*/ 851 w 10000"/>
              <a:gd name="connsiteY36" fmla="*/ 241 h 10000"/>
              <a:gd name="connsiteX37" fmla="*/ 711 w 10000"/>
              <a:gd name="connsiteY37" fmla="*/ 241 h 10000"/>
              <a:gd name="connsiteX38" fmla="*/ 428 w 10000"/>
              <a:gd name="connsiteY38" fmla="*/ 479 h 10000"/>
              <a:gd name="connsiteX39" fmla="*/ 428 w 10000"/>
              <a:gd name="connsiteY39" fmla="*/ 834 h 10000"/>
              <a:gd name="connsiteX40" fmla="*/ 711 w 10000"/>
              <a:gd name="connsiteY40" fmla="*/ 1074 h 10000"/>
              <a:gd name="connsiteX41" fmla="*/ 576 w 10000"/>
              <a:gd name="connsiteY41" fmla="*/ 1429 h 10000"/>
              <a:gd name="connsiteX42" fmla="*/ 711 w 10000"/>
              <a:gd name="connsiteY42" fmla="*/ 2028 h 10000"/>
              <a:gd name="connsiteX43" fmla="*/ 576 w 10000"/>
              <a:gd name="connsiteY43" fmla="*/ 2384 h 10000"/>
              <a:gd name="connsiteX44" fmla="*/ 851 w 10000"/>
              <a:gd name="connsiteY44" fmla="*/ 2740 h 10000"/>
              <a:gd name="connsiteX45" fmla="*/ 711 w 10000"/>
              <a:gd name="connsiteY45" fmla="*/ 2980 h 10000"/>
              <a:gd name="connsiteX46" fmla="*/ 994 w 10000"/>
              <a:gd name="connsiteY46" fmla="*/ 3216 h 10000"/>
              <a:gd name="connsiteX47" fmla="*/ 994 w 10000"/>
              <a:gd name="connsiteY47" fmla="*/ 3337 h 10000"/>
              <a:gd name="connsiteX48" fmla="*/ 576 w 10000"/>
              <a:gd name="connsiteY48" fmla="*/ 3932 h 10000"/>
              <a:gd name="connsiteX49" fmla="*/ 130 w 10000"/>
              <a:gd name="connsiteY49" fmla="*/ 4170 h 10000"/>
              <a:gd name="connsiteX50" fmla="*/ 279 w 10000"/>
              <a:gd name="connsiteY50" fmla="*/ 4170 h 10000"/>
              <a:gd name="connsiteX51" fmla="*/ 576 w 10000"/>
              <a:gd name="connsiteY51" fmla="*/ 4407 h 10000"/>
              <a:gd name="connsiteX52" fmla="*/ 279 w 10000"/>
              <a:gd name="connsiteY52" fmla="*/ 4644 h 10000"/>
              <a:gd name="connsiteX53" fmla="*/ 130 w 10000"/>
              <a:gd name="connsiteY53" fmla="*/ 4765 h 10000"/>
              <a:gd name="connsiteX54" fmla="*/ 0 w 10000"/>
              <a:gd name="connsiteY54" fmla="*/ 4765 h 10000"/>
              <a:gd name="connsiteX55" fmla="*/ 130 w 10000"/>
              <a:gd name="connsiteY55" fmla="*/ 5123 h 10000"/>
              <a:gd name="connsiteX56" fmla="*/ 130 w 10000"/>
              <a:gd name="connsiteY56" fmla="*/ 5241 h 10000"/>
              <a:gd name="connsiteX57" fmla="*/ 130 w 10000"/>
              <a:gd name="connsiteY57" fmla="*/ 5358 h 10000"/>
              <a:gd name="connsiteX58" fmla="*/ 130 w 10000"/>
              <a:gd name="connsiteY58" fmla="*/ 5479 h 10000"/>
              <a:gd name="connsiteX59" fmla="*/ 279 w 10000"/>
              <a:gd name="connsiteY59" fmla="*/ 5714 h 10000"/>
              <a:gd name="connsiteX60" fmla="*/ 711 w 10000"/>
              <a:gd name="connsiteY60" fmla="*/ 5835 h 10000"/>
              <a:gd name="connsiteX61" fmla="*/ 851 w 10000"/>
              <a:gd name="connsiteY61" fmla="*/ 5950 h 10000"/>
              <a:gd name="connsiteX62" fmla="*/ 851 w 10000"/>
              <a:gd name="connsiteY62" fmla="*/ 6194 h 10000"/>
              <a:gd name="connsiteX63" fmla="*/ 1143 w 10000"/>
              <a:gd name="connsiteY63" fmla="*/ 6550 h 10000"/>
              <a:gd name="connsiteX64" fmla="*/ 1291 w 10000"/>
              <a:gd name="connsiteY64" fmla="*/ 6550 h 10000"/>
              <a:gd name="connsiteX65" fmla="*/ 1143 w 10000"/>
              <a:gd name="connsiteY65" fmla="*/ 6787 h 10000"/>
              <a:gd name="connsiteX66" fmla="*/ 994 w 10000"/>
              <a:gd name="connsiteY66" fmla="*/ 6670 h 10000"/>
              <a:gd name="connsiteX67" fmla="*/ 994 w 10000"/>
              <a:gd name="connsiteY67" fmla="*/ 6787 h 10000"/>
              <a:gd name="connsiteX68" fmla="*/ 1143 w 10000"/>
              <a:gd name="connsiteY68" fmla="*/ 7025 h 10000"/>
              <a:gd name="connsiteX69" fmla="*/ 1579 w 10000"/>
              <a:gd name="connsiteY69" fmla="*/ 7025 h 10000"/>
              <a:gd name="connsiteX70" fmla="*/ 1718 w 10000"/>
              <a:gd name="connsiteY70" fmla="*/ 7144 h 10000"/>
              <a:gd name="connsiteX71" fmla="*/ 1579 w 10000"/>
              <a:gd name="connsiteY71" fmla="*/ 7144 h 10000"/>
              <a:gd name="connsiteX72" fmla="*/ 1718 w 10000"/>
              <a:gd name="connsiteY72" fmla="*/ 7262 h 10000"/>
              <a:gd name="connsiteX73" fmla="*/ 1853 w 10000"/>
              <a:gd name="connsiteY73" fmla="*/ 7262 h 10000"/>
              <a:gd name="connsiteX74" fmla="*/ 1994 w 10000"/>
              <a:gd name="connsiteY74" fmla="*/ 7501 h 10000"/>
              <a:gd name="connsiteX75" fmla="*/ 2141 w 10000"/>
              <a:gd name="connsiteY75" fmla="*/ 7618 h 10000"/>
              <a:gd name="connsiteX76" fmla="*/ 2277 w 10000"/>
              <a:gd name="connsiteY76" fmla="*/ 7501 h 10000"/>
              <a:gd name="connsiteX77" fmla="*/ 2999 w 10000"/>
              <a:gd name="connsiteY77" fmla="*/ 7858 h 10000"/>
              <a:gd name="connsiteX78" fmla="*/ 2860 w 10000"/>
              <a:gd name="connsiteY78" fmla="*/ 8332 h 10000"/>
              <a:gd name="connsiteX79" fmla="*/ 2715 w 10000"/>
              <a:gd name="connsiteY79" fmla="*/ 8216 h 10000"/>
              <a:gd name="connsiteX80" fmla="*/ 2561 w 10000"/>
              <a:gd name="connsiteY80" fmla="*/ 8332 h 10000"/>
              <a:gd name="connsiteX81" fmla="*/ 2561 w 10000"/>
              <a:gd name="connsiteY81" fmla="*/ 8570 h 10000"/>
              <a:gd name="connsiteX82" fmla="*/ 2715 w 10000"/>
              <a:gd name="connsiteY82" fmla="*/ 8453 h 10000"/>
              <a:gd name="connsiteX83" fmla="*/ 2860 w 10000"/>
              <a:gd name="connsiteY83" fmla="*/ 8570 h 10000"/>
              <a:gd name="connsiteX84" fmla="*/ 2431 w 10000"/>
              <a:gd name="connsiteY84" fmla="*/ 8692 h 10000"/>
              <a:gd name="connsiteX85" fmla="*/ 2561 w 10000"/>
              <a:gd name="connsiteY85" fmla="*/ 8810 h 10000"/>
              <a:gd name="connsiteX86" fmla="*/ 2277 w 10000"/>
              <a:gd name="connsiteY86" fmla="*/ 9048 h 10000"/>
              <a:gd name="connsiteX87" fmla="*/ 2141 w 10000"/>
              <a:gd name="connsiteY87" fmla="*/ 9048 h 10000"/>
              <a:gd name="connsiteX88" fmla="*/ 2277 w 10000"/>
              <a:gd name="connsiteY88" fmla="*/ 9048 h 10000"/>
              <a:gd name="connsiteX89" fmla="*/ 2860 w 10000"/>
              <a:gd name="connsiteY89" fmla="*/ 9526 h 10000"/>
              <a:gd name="connsiteX90" fmla="*/ 3573 w 10000"/>
              <a:gd name="connsiteY90" fmla="*/ 9526 h 10000"/>
              <a:gd name="connsiteX91" fmla="*/ 3853 w 10000"/>
              <a:gd name="connsiteY91" fmla="*/ 9644 h 10000"/>
              <a:gd name="connsiteX92" fmla="*/ 4140 w 10000"/>
              <a:gd name="connsiteY92" fmla="*/ 9644 h 10000"/>
              <a:gd name="connsiteX93" fmla="*/ 4426 w 10000"/>
              <a:gd name="connsiteY93" fmla="*/ 9883 h 10000"/>
              <a:gd name="connsiteX94" fmla="*/ 4569 w 10000"/>
              <a:gd name="connsiteY94" fmla="*/ 10000 h 10000"/>
              <a:gd name="connsiteX95" fmla="*/ 4706 w 10000"/>
              <a:gd name="connsiteY95" fmla="*/ 10000 h 10000"/>
              <a:gd name="connsiteX96" fmla="*/ 4857 w 10000"/>
              <a:gd name="connsiteY96" fmla="*/ 9883 h 10000"/>
              <a:gd name="connsiteX97" fmla="*/ 4569 w 10000"/>
              <a:gd name="connsiteY97" fmla="*/ 9644 h 10000"/>
              <a:gd name="connsiteX98" fmla="*/ 4569 w 10000"/>
              <a:gd name="connsiteY98" fmla="*/ 9406 h 10000"/>
              <a:gd name="connsiteX99" fmla="*/ 4426 w 10000"/>
              <a:gd name="connsiteY99" fmla="*/ 9166 h 10000"/>
              <a:gd name="connsiteX100" fmla="*/ 4706 w 10000"/>
              <a:gd name="connsiteY100" fmla="*/ 8810 h 10000"/>
              <a:gd name="connsiteX101" fmla="*/ 4857 w 10000"/>
              <a:gd name="connsiteY101" fmla="*/ 8928 h 10000"/>
              <a:gd name="connsiteX102" fmla="*/ 4994 w 10000"/>
              <a:gd name="connsiteY102" fmla="*/ 8810 h 10000"/>
              <a:gd name="connsiteX103" fmla="*/ 4994 w 10000"/>
              <a:gd name="connsiteY103" fmla="*/ 8692 h 10000"/>
              <a:gd name="connsiteX104" fmla="*/ 4857 w 10000"/>
              <a:gd name="connsiteY104" fmla="*/ 8692 h 10000"/>
              <a:gd name="connsiteX105" fmla="*/ 4994 w 10000"/>
              <a:gd name="connsiteY105" fmla="*/ 8570 h 10000"/>
              <a:gd name="connsiteX106" fmla="*/ 4857 w 10000"/>
              <a:gd name="connsiteY106" fmla="*/ 8332 h 10000"/>
              <a:gd name="connsiteX107" fmla="*/ 4569 w 10000"/>
              <a:gd name="connsiteY107" fmla="*/ 8332 h 10000"/>
              <a:gd name="connsiteX108" fmla="*/ 4426 w 10000"/>
              <a:gd name="connsiteY108" fmla="*/ 8097 h 10000"/>
              <a:gd name="connsiteX109" fmla="*/ 4569 w 10000"/>
              <a:gd name="connsiteY109" fmla="*/ 7501 h 10000"/>
              <a:gd name="connsiteX110" fmla="*/ 4857 w 10000"/>
              <a:gd name="connsiteY110" fmla="*/ 7739 h 10000"/>
              <a:gd name="connsiteX111" fmla="*/ 4994 w 10000"/>
              <a:gd name="connsiteY111" fmla="*/ 7739 h 10000"/>
              <a:gd name="connsiteX112" fmla="*/ 4857 w 10000"/>
              <a:gd name="connsiteY112" fmla="*/ 7501 h 10000"/>
              <a:gd name="connsiteX113" fmla="*/ 5288 w 10000"/>
              <a:gd name="connsiteY113" fmla="*/ 7144 h 10000"/>
              <a:gd name="connsiteX114" fmla="*/ 5577 w 10000"/>
              <a:gd name="connsiteY114" fmla="*/ 7262 h 10000"/>
              <a:gd name="connsiteX115" fmla="*/ 5715 w 10000"/>
              <a:gd name="connsiteY115" fmla="*/ 7144 h 10000"/>
              <a:gd name="connsiteX116" fmla="*/ 5985 w 10000"/>
              <a:gd name="connsiteY116" fmla="*/ 7262 h 10000"/>
              <a:gd name="connsiteX117" fmla="*/ 6434 w 10000"/>
              <a:gd name="connsiteY117" fmla="*/ 7501 h 10000"/>
              <a:gd name="connsiteX118" fmla="*/ 6707 w 10000"/>
              <a:gd name="connsiteY118" fmla="*/ 7381 h 10000"/>
              <a:gd name="connsiteX119" fmla="*/ 6997 w 10000"/>
              <a:gd name="connsiteY119" fmla="*/ 7381 h 10000"/>
              <a:gd name="connsiteX120" fmla="*/ 7144 w 10000"/>
              <a:gd name="connsiteY120" fmla="*/ 7501 h 10000"/>
              <a:gd name="connsiteX121" fmla="*/ 7713 w 10000"/>
              <a:gd name="connsiteY121" fmla="*/ 7501 h 10000"/>
              <a:gd name="connsiteX122" fmla="*/ 7850 w 10000"/>
              <a:gd name="connsiteY122" fmla="*/ 7262 h 10000"/>
              <a:gd name="connsiteX123" fmla="*/ 7415 w 10000"/>
              <a:gd name="connsiteY123" fmla="*/ 7144 h 10000"/>
              <a:gd name="connsiteX124" fmla="*/ 7713 w 10000"/>
              <a:gd name="connsiteY124" fmla="*/ 7025 h 10000"/>
              <a:gd name="connsiteX125" fmla="*/ 7563 w 10000"/>
              <a:gd name="connsiteY125" fmla="*/ 6904 h 10000"/>
              <a:gd name="connsiteX126" fmla="*/ 7713 w 10000"/>
              <a:gd name="connsiteY126" fmla="*/ 6787 h 10000"/>
              <a:gd name="connsiteX127" fmla="*/ 7713 w 10000"/>
              <a:gd name="connsiteY127" fmla="*/ 6429 h 10000"/>
              <a:gd name="connsiteX128" fmla="*/ 7988 w 10000"/>
              <a:gd name="connsiteY128" fmla="*/ 6550 h 10000"/>
              <a:gd name="connsiteX129" fmla="*/ 9278 w 10000"/>
              <a:gd name="connsiteY129" fmla="*/ 6194 h 10000"/>
              <a:gd name="connsiteX130" fmla="*/ 9278 w 10000"/>
              <a:gd name="connsiteY130" fmla="*/ 6074 h 10000"/>
              <a:gd name="connsiteX131" fmla="*/ 9428 w 10000"/>
              <a:gd name="connsiteY131" fmla="*/ 6074 h 10000"/>
              <a:gd name="connsiteX132" fmla="*/ 10000 w 10000"/>
              <a:gd name="connsiteY132" fmla="*/ 6313 h 10000"/>
              <a:gd name="connsiteX0" fmla="*/ 6889 w 9428"/>
              <a:gd name="connsiteY0" fmla="*/ 691 h 10000"/>
              <a:gd name="connsiteX1" fmla="*/ 6434 w 9428"/>
              <a:gd name="connsiteY1" fmla="*/ 717 h 10000"/>
              <a:gd name="connsiteX2" fmla="*/ 6290 w 9428"/>
              <a:gd name="connsiteY2" fmla="*/ 955 h 10000"/>
              <a:gd name="connsiteX3" fmla="*/ 6147 w 9428"/>
              <a:gd name="connsiteY3" fmla="*/ 717 h 10000"/>
              <a:gd name="connsiteX4" fmla="*/ 6147 w 9428"/>
              <a:gd name="connsiteY4" fmla="*/ 479 h 10000"/>
              <a:gd name="connsiteX5" fmla="*/ 4706 w 9428"/>
              <a:gd name="connsiteY5" fmla="*/ 1193 h 10000"/>
              <a:gd name="connsiteX6" fmla="*/ 4706 w 9428"/>
              <a:gd name="connsiteY6" fmla="*/ 1429 h 10000"/>
              <a:gd name="connsiteX7" fmla="*/ 4426 w 9428"/>
              <a:gd name="connsiteY7" fmla="*/ 1550 h 10000"/>
              <a:gd name="connsiteX8" fmla="*/ 3999 w 9428"/>
              <a:gd name="connsiteY8" fmla="*/ 1311 h 10000"/>
              <a:gd name="connsiteX9" fmla="*/ 4426 w 9428"/>
              <a:gd name="connsiteY9" fmla="*/ 1074 h 10000"/>
              <a:gd name="connsiteX10" fmla="*/ 4275 w 9428"/>
              <a:gd name="connsiteY10" fmla="*/ 717 h 10000"/>
              <a:gd name="connsiteX11" fmla="*/ 3713 w 9428"/>
              <a:gd name="connsiteY11" fmla="*/ 600 h 10000"/>
              <a:gd name="connsiteX12" fmla="*/ 3853 w 9428"/>
              <a:gd name="connsiteY12" fmla="*/ 834 h 10000"/>
              <a:gd name="connsiteX13" fmla="*/ 3853 w 9428"/>
              <a:gd name="connsiteY13" fmla="*/ 1429 h 10000"/>
              <a:gd name="connsiteX14" fmla="*/ 3999 w 9428"/>
              <a:gd name="connsiteY14" fmla="*/ 1669 h 10000"/>
              <a:gd name="connsiteX15" fmla="*/ 3853 w 9428"/>
              <a:gd name="connsiteY15" fmla="*/ 1910 h 10000"/>
              <a:gd name="connsiteX16" fmla="*/ 3418 w 9428"/>
              <a:gd name="connsiteY16" fmla="*/ 1790 h 10000"/>
              <a:gd name="connsiteX17" fmla="*/ 2860 w 9428"/>
              <a:gd name="connsiteY17" fmla="*/ 2143 h 10000"/>
              <a:gd name="connsiteX18" fmla="*/ 3138 w 9428"/>
              <a:gd name="connsiteY18" fmla="*/ 2622 h 10000"/>
              <a:gd name="connsiteX19" fmla="*/ 2277 w 9428"/>
              <a:gd name="connsiteY19" fmla="*/ 2384 h 10000"/>
              <a:gd name="connsiteX20" fmla="*/ 2141 w 9428"/>
              <a:gd name="connsiteY20" fmla="*/ 2501 h 10000"/>
              <a:gd name="connsiteX21" fmla="*/ 2431 w 9428"/>
              <a:gd name="connsiteY21" fmla="*/ 2859 h 10000"/>
              <a:gd name="connsiteX22" fmla="*/ 2141 w 9428"/>
              <a:gd name="connsiteY22" fmla="*/ 2859 h 10000"/>
              <a:gd name="connsiteX23" fmla="*/ 1718 w 9428"/>
              <a:gd name="connsiteY23" fmla="*/ 2622 h 10000"/>
              <a:gd name="connsiteX24" fmla="*/ 1718 w 9428"/>
              <a:gd name="connsiteY24" fmla="*/ 1910 h 10000"/>
              <a:gd name="connsiteX25" fmla="*/ 1291 w 9428"/>
              <a:gd name="connsiteY25" fmla="*/ 1669 h 10000"/>
              <a:gd name="connsiteX26" fmla="*/ 1143 w 9428"/>
              <a:gd name="connsiteY26" fmla="*/ 1429 h 10000"/>
              <a:gd name="connsiteX27" fmla="*/ 1421 w 9428"/>
              <a:gd name="connsiteY27" fmla="*/ 1550 h 10000"/>
              <a:gd name="connsiteX28" fmla="*/ 2561 w 9428"/>
              <a:gd name="connsiteY28" fmla="*/ 1910 h 10000"/>
              <a:gd name="connsiteX29" fmla="*/ 3270 w 9428"/>
              <a:gd name="connsiteY29" fmla="*/ 1550 h 10000"/>
              <a:gd name="connsiteX30" fmla="*/ 3138 w 9428"/>
              <a:gd name="connsiteY30" fmla="*/ 1193 h 10000"/>
              <a:gd name="connsiteX31" fmla="*/ 2277 w 9428"/>
              <a:gd name="connsiteY31" fmla="*/ 479 h 10000"/>
              <a:gd name="connsiteX32" fmla="*/ 1421 w 9428"/>
              <a:gd name="connsiteY32" fmla="*/ 241 h 10000"/>
              <a:gd name="connsiteX33" fmla="*/ 1421 w 9428"/>
              <a:gd name="connsiteY33" fmla="*/ 125 h 10000"/>
              <a:gd name="connsiteX34" fmla="*/ 1143 w 9428"/>
              <a:gd name="connsiteY34" fmla="*/ 0 h 10000"/>
              <a:gd name="connsiteX35" fmla="*/ 851 w 9428"/>
              <a:gd name="connsiteY35" fmla="*/ 125 h 10000"/>
              <a:gd name="connsiteX36" fmla="*/ 851 w 9428"/>
              <a:gd name="connsiteY36" fmla="*/ 241 h 10000"/>
              <a:gd name="connsiteX37" fmla="*/ 711 w 9428"/>
              <a:gd name="connsiteY37" fmla="*/ 241 h 10000"/>
              <a:gd name="connsiteX38" fmla="*/ 428 w 9428"/>
              <a:gd name="connsiteY38" fmla="*/ 479 h 10000"/>
              <a:gd name="connsiteX39" fmla="*/ 428 w 9428"/>
              <a:gd name="connsiteY39" fmla="*/ 834 h 10000"/>
              <a:gd name="connsiteX40" fmla="*/ 711 w 9428"/>
              <a:gd name="connsiteY40" fmla="*/ 1074 h 10000"/>
              <a:gd name="connsiteX41" fmla="*/ 576 w 9428"/>
              <a:gd name="connsiteY41" fmla="*/ 1429 h 10000"/>
              <a:gd name="connsiteX42" fmla="*/ 711 w 9428"/>
              <a:gd name="connsiteY42" fmla="*/ 2028 h 10000"/>
              <a:gd name="connsiteX43" fmla="*/ 576 w 9428"/>
              <a:gd name="connsiteY43" fmla="*/ 2384 h 10000"/>
              <a:gd name="connsiteX44" fmla="*/ 851 w 9428"/>
              <a:gd name="connsiteY44" fmla="*/ 2740 h 10000"/>
              <a:gd name="connsiteX45" fmla="*/ 711 w 9428"/>
              <a:gd name="connsiteY45" fmla="*/ 2980 h 10000"/>
              <a:gd name="connsiteX46" fmla="*/ 994 w 9428"/>
              <a:gd name="connsiteY46" fmla="*/ 3216 h 10000"/>
              <a:gd name="connsiteX47" fmla="*/ 994 w 9428"/>
              <a:gd name="connsiteY47" fmla="*/ 3337 h 10000"/>
              <a:gd name="connsiteX48" fmla="*/ 576 w 9428"/>
              <a:gd name="connsiteY48" fmla="*/ 3932 h 10000"/>
              <a:gd name="connsiteX49" fmla="*/ 130 w 9428"/>
              <a:gd name="connsiteY49" fmla="*/ 4170 h 10000"/>
              <a:gd name="connsiteX50" fmla="*/ 279 w 9428"/>
              <a:gd name="connsiteY50" fmla="*/ 4170 h 10000"/>
              <a:gd name="connsiteX51" fmla="*/ 576 w 9428"/>
              <a:gd name="connsiteY51" fmla="*/ 4407 h 10000"/>
              <a:gd name="connsiteX52" fmla="*/ 279 w 9428"/>
              <a:gd name="connsiteY52" fmla="*/ 4644 h 10000"/>
              <a:gd name="connsiteX53" fmla="*/ 130 w 9428"/>
              <a:gd name="connsiteY53" fmla="*/ 4765 h 10000"/>
              <a:gd name="connsiteX54" fmla="*/ 0 w 9428"/>
              <a:gd name="connsiteY54" fmla="*/ 4765 h 10000"/>
              <a:gd name="connsiteX55" fmla="*/ 130 w 9428"/>
              <a:gd name="connsiteY55" fmla="*/ 5123 h 10000"/>
              <a:gd name="connsiteX56" fmla="*/ 130 w 9428"/>
              <a:gd name="connsiteY56" fmla="*/ 5241 h 10000"/>
              <a:gd name="connsiteX57" fmla="*/ 130 w 9428"/>
              <a:gd name="connsiteY57" fmla="*/ 5358 h 10000"/>
              <a:gd name="connsiteX58" fmla="*/ 130 w 9428"/>
              <a:gd name="connsiteY58" fmla="*/ 5479 h 10000"/>
              <a:gd name="connsiteX59" fmla="*/ 279 w 9428"/>
              <a:gd name="connsiteY59" fmla="*/ 5714 h 10000"/>
              <a:gd name="connsiteX60" fmla="*/ 711 w 9428"/>
              <a:gd name="connsiteY60" fmla="*/ 5835 h 10000"/>
              <a:gd name="connsiteX61" fmla="*/ 851 w 9428"/>
              <a:gd name="connsiteY61" fmla="*/ 5950 h 10000"/>
              <a:gd name="connsiteX62" fmla="*/ 851 w 9428"/>
              <a:gd name="connsiteY62" fmla="*/ 6194 h 10000"/>
              <a:gd name="connsiteX63" fmla="*/ 1143 w 9428"/>
              <a:gd name="connsiteY63" fmla="*/ 6550 h 10000"/>
              <a:gd name="connsiteX64" fmla="*/ 1291 w 9428"/>
              <a:gd name="connsiteY64" fmla="*/ 6550 h 10000"/>
              <a:gd name="connsiteX65" fmla="*/ 1143 w 9428"/>
              <a:gd name="connsiteY65" fmla="*/ 6787 h 10000"/>
              <a:gd name="connsiteX66" fmla="*/ 994 w 9428"/>
              <a:gd name="connsiteY66" fmla="*/ 6670 h 10000"/>
              <a:gd name="connsiteX67" fmla="*/ 994 w 9428"/>
              <a:gd name="connsiteY67" fmla="*/ 6787 h 10000"/>
              <a:gd name="connsiteX68" fmla="*/ 1143 w 9428"/>
              <a:gd name="connsiteY68" fmla="*/ 7025 h 10000"/>
              <a:gd name="connsiteX69" fmla="*/ 1579 w 9428"/>
              <a:gd name="connsiteY69" fmla="*/ 7025 h 10000"/>
              <a:gd name="connsiteX70" fmla="*/ 1718 w 9428"/>
              <a:gd name="connsiteY70" fmla="*/ 7144 h 10000"/>
              <a:gd name="connsiteX71" fmla="*/ 1579 w 9428"/>
              <a:gd name="connsiteY71" fmla="*/ 7144 h 10000"/>
              <a:gd name="connsiteX72" fmla="*/ 1718 w 9428"/>
              <a:gd name="connsiteY72" fmla="*/ 7262 h 10000"/>
              <a:gd name="connsiteX73" fmla="*/ 1853 w 9428"/>
              <a:gd name="connsiteY73" fmla="*/ 7262 h 10000"/>
              <a:gd name="connsiteX74" fmla="*/ 1994 w 9428"/>
              <a:gd name="connsiteY74" fmla="*/ 7501 h 10000"/>
              <a:gd name="connsiteX75" fmla="*/ 2141 w 9428"/>
              <a:gd name="connsiteY75" fmla="*/ 7618 h 10000"/>
              <a:gd name="connsiteX76" fmla="*/ 2277 w 9428"/>
              <a:gd name="connsiteY76" fmla="*/ 7501 h 10000"/>
              <a:gd name="connsiteX77" fmla="*/ 2999 w 9428"/>
              <a:gd name="connsiteY77" fmla="*/ 7858 h 10000"/>
              <a:gd name="connsiteX78" fmla="*/ 2860 w 9428"/>
              <a:gd name="connsiteY78" fmla="*/ 8332 h 10000"/>
              <a:gd name="connsiteX79" fmla="*/ 2715 w 9428"/>
              <a:gd name="connsiteY79" fmla="*/ 8216 h 10000"/>
              <a:gd name="connsiteX80" fmla="*/ 2561 w 9428"/>
              <a:gd name="connsiteY80" fmla="*/ 8332 h 10000"/>
              <a:gd name="connsiteX81" fmla="*/ 2561 w 9428"/>
              <a:gd name="connsiteY81" fmla="*/ 8570 h 10000"/>
              <a:gd name="connsiteX82" fmla="*/ 2715 w 9428"/>
              <a:gd name="connsiteY82" fmla="*/ 8453 h 10000"/>
              <a:gd name="connsiteX83" fmla="*/ 2860 w 9428"/>
              <a:gd name="connsiteY83" fmla="*/ 8570 h 10000"/>
              <a:gd name="connsiteX84" fmla="*/ 2431 w 9428"/>
              <a:gd name="connsiteY84" fmla="*/ 8692 h 10000"/>
              <a:gd name="connsiteX85" fmla="*/ 2561 w 9428"/>
              <a:gd name="connsiteY85" fmla="*/ 8810 h 10000"/>
              <a:gd name="connsiteX86" fmla="*/ 2277 w 9428"/>
              <a:gd name="connsiteY86" fmla="*/ 9048 h 10000"/>
              <a:gd name="connsiteX87" fmla="*/ 2141 w 9428"/>
              <a:gd name="connsiteY87" fmla="*/ 9048 h 10000"/>
              <a:gd name="connsiteX88" fmla="*/ 2277 w 9428"/>
              <a:gd name="connsiteY88" fmla="*/ 9048 h 10000"/>
              <a:gd name="connsiteX89" fmla="*/ 2860 w 9428"/>
              <a:gd name="connsiteY89" fmla="*/ 9526 h 10000"/>
              <a:gd name="connsiteX90" fmla="*/ 3573 w 9428"/>
              <a:gd name="connsiteY90" fmla="*/ 9526 h 10000"/>
              <a:gd name="connsiteX91" fmla="*/ 3853 w 9428"/>
              <a:gd name="connsiteY91" fmla="*/ 9644 h 10000"/>
              <a:gd name="connsiteX92" fmla="*/ 4140 w 9428"/>
              <a:gd name="connsiteY92" fmla="*/ 9644 h 10000"/>
              <a:gd name="connsiteX93" fmla="*/ 4426 w 9428"/>
              <a:gd name="connsiteY93" fmla="*/ 9883 h 10000"/>
              <a:gd name="connsiteX94" fmla="*/ 4569 w 9428"/>
              <a:gd name="connsiteY94" fmla="*/ 10000 h 10000"/>
              <a:gd name="connsiteX95" fmla="*/ 4706 w 9428"/>
              <a:gd name="connsiteY95" fmla="*/ 10000 h 10000"/>
              <a:gd name="connsiteX96" fmla="*/ 4857 w 9428"/>
              <a:gd name="connsiteY96" fmla="*/ 9883 h 10000"/>
              <a:gd name="connsiteX97" fmla="*/ 4569 w 9428"/>
              <a:gd name="connsiteY97" fmla="*/ 9644 h 10000"/>
              <a:gd name="connsiteX98" fmla="*/ 4569 w 9428"/>
              <a:gd name="connsiteY98" fmla="*/ 9406 h 10000"/>
              <a:gd name="connsiteX99" fmla="*/ 4426 w 9428"/>
              <a:gd name="connsiteY99" fmla="*/ 9166 h 10000"/>
              <a:gd name="connsiteX100" fmla="*/ 4706 w 9428"/>
              <a:gd name="connsiteY100" fmla="*/ 8810 h 10000"/>
              <a:gd name="connsiteX101" fmla="*/ 4857 w 9428"/>
              <a:gd name="connsiteY101" fmla="*/ 8928 h 10000"/>
              <a:gd name="connsiteX102" fmla="*/ 4994 w 9428"/>
              <a:gd name="connsiteY102" fmla="*/ 8810 h 10000"/>
              <a:gd name="connsiteX103" fmla="*/ 4994 w 9428"/>
              <a:gd name="connsiteY103" fmla="*/ 8692 h 10000"/>
              <a:gd name="connsiteX104" fmla="*/ 4857 w 9428"/>
              <a:gd name="connsiteY104" fmla="*/ 8692 h 10000"/>
              <a:gd name="connsiteX105" fmla="*/ 4994 w 9428"/>
              <a:gd name="connsiteY105" fmla="*/ 8570 h 10000"/>
              <a:gd name="connsiteX106" fmla="*/ 4857 w 9428"/>
              <a:gd name="connsiteY106" fmla="*/ 8332 h 10000"/>
              <a:gd name="connsiteX107" fmla="*/ 4569 w 9428"/>
              <a:gd name="connsiteY107" fmla="*/ 8332 h 10000"/>
              <a:gd name="connsiteX108" fmla="*/ 4426 w 9428"/>
              <a:gd name="connsiteY108" fmla="*/ 8097 h 10000"/>
              <a:gd name="connsiteX109" fmla="*/ 4569 w 9428"/>
              <a:gd name="connsiteY109" fmla="*/ 7501 h 10000"/>
              <a:gd name="connsiteX110" fmla="*/ 4857 w 9428"/>
              <a:gd name="connsiteY110" fmla="*/ 7739 h 10000"/>
              <a:gd name="connsiteX111" fmla="*/ 4994 w 9428"/>
              <a:gd name="connsiteY111" fmla="*/ 7739 h 10000"/>
              <a:gd name="connsiteX112" fmla="*/ 4857 w 9428"/>
              <a:gd name="connsiteY112" fmla="*/ 7501 h 10000"/>
              <a:gd name="connsiteX113" fmla="*/ 5288 w 9428"/>
              <a:gd name="connsiteY113" fmla="*/ 7144 h 10000"/>
              <a:gd name="connsiteX114" fmla="*/ 5577 w 9428"/>
              <a:gd name="connsiteY114" fmla="*/ 7262 h 10000"/>
              <a:gd name="connsiteX115" fmla="*/ 5715 w 9428"/>
              <a:gd name="connsiteY115" fmla="*/ 7144 h 10000"/>
              <a:gd name="connsiteX116" fmla="*/ 5985 w 9428"/>
              <a:gd name="connsiteY116" fmla="*/ 7262 h 10000"/>
              <a:gd name="connsiteX117" fmla="*/ 6434 w 9428"/>
              <a:gd name="connsiteY117" fmla="*/ 7501 h 10000"/>
              <a:gd name="connsiteX118" fmla="*/ 6707 w 9428"/>
              <a:gd name="connsiteY118" fmla="*/ 7381 h 10000"/>
              <a:gd name="connsiteX119" fmla="*/ 6997 w 9428"/>
              <a:gd name="connsiteY119" fmla="*/ 7381 h 10000"/>
              <a:gd name="connsiteX120" fmla="*/ 7144 w 9428"/>
              <a:gd name="connsiteY120" fmla="*/ 7501 h 10000"/>
              <a:gd name="connsiteX121" fmla="*/ 7713 w 9428"/>
              <a:gd name="connsiteY121" fmla="*/ 7501 h 10000"/>
              <a:gd name="connsiteX122" fmla="*/ 7850 w 9428"/>
              <a:gd name="connsiteY122" fmla="*/ 7262 h 10000"/>
              <a:gd name="connsiteX123" fmla="*/ 7415 w 9428"/>
              <a:gd name="connsiteY123" fmla="*/ 7144 h 10000"/>
              <a:gd name="connsiteX124" fmla="*/ 7713 w 9428"/>
              <a:gd name="connsiteY124" fmla="*/ 7025 h 10000"/>
              <a:gd name="connsiteX125" fmla="*/ 7563 w 9428"/>
              <a:gd name="connsiteY125" fmla="*/ 6904 h 10000"/>
              <a:gd name="connsiteX126" fmla="*/ 7713 w 9428"/>
              <a:gd name="connsiteY126" fmla="*/ 6787 h 10000"/>
              <a:gd name="connsiteX127" fmla="*/ 7713 w 9428"/>
              <a:gd name="connsiteY127" fmla="*/ 6429 h 10000"/>
              <a:gd name="connsiteX128" fmla="*/ 7988 w 9428"/>
              <a:gd name="connsiteY128" fmla="*/ 6550 h 10000"/>
              <a:gd name="connsiteX129" fmla="*/ 9278 w 9428"/>
              <a:gd name="connsiteY129" fmla="*/ 6194 h 10000"/>
              <a:gd name="connsiteX130" fmla="*/ 9278 w 9428"/>
              <a:gd name="connsiteY130" fmla="*/ 6074 h 10000"/>
              <a:gd name="connsiteX131" fmla="*/ 9428 w 9428"/>
              <a:gd name="connsiteY131" fmla="*/ 6074 h 10000"/>
              <a:gd name="connsiteX0" fmla="*/ 7307 w 9841"/>
              <a:gd name="connsiteY0" fmla="*/ 691 h 10000"/>
              <a:gd name="connsiteX1" fmla="*/ 6824 w 9841"/>
              <a:gd name="connsiteY1" fmla="*/ 717 h 10000"/>
              <a:gd name="connsiteX2" fmla="*/ 6672 w 9841"/>
              <a:gd name="connsiteY2" fmla="*/ 955 h 10000"/>
              <a:gd name="connsiteX3" fmla="*/ 6520 w 9841"/>
              <a:gd name="connsiteY3" fmla="*/ 717 h 10000"/>
              <a:gd name="connsiteX4" fmla="*/ 6520 w 9841"/>
              <a:gd name="connsiteY4" fmla="*/ 479 h 10000"/>
              <a:gd name="connsiteX5" fmla="*/ 4992 w 9841"/>
              <a:gd name="connsiteY5" fmla="*/ 1193 h 10000"/>
              <a:gd name="connsiteX6" fmla="*/ 4992 w 9841"/>
              <a:gd name="connsiteY6" fmla="*/ 1429 h 10000"/>
              <a:gd name="connsiteX7" fmla="*/ 4695 w 9841"/>
              <a:gd name="connsiteY7" fmla="*/ 1550 h 10000"/>
              <a:gd name="connsiteX8" fmla="*/ 4242 w 9841"/>
              <a:gd name="connsiteY8" fmla="*/ 1311 h 10000"/>
              <a:gd name="connsiteX9" fmla="*/ 4695 w 9841"/>
              <a:gd name="connsiteY9" fmla="*/ 1074 h 10000"/>
              <a:gd name="connsiteX10" fmla="*/ 4534 w 9841"/>
              <a:gd name="connsiteY10" fmla="*/ 717 h 10000"/>
              <a:gd name="connsiteX11" fmla="*/ 3938 w 9841"/>
              <a:gd name="connsiteY11" fmla="*/ 600 h 10000"/>
              <a:gd name="connsiteX12" fmla="*/ 4087 w 9841"/>
              <a:gd name="connsiteY12" fmla="*/ 834 h 10000"/>
              <a:gd name="connsiteX13" fmla="*/ 4087 w 9841"/>
              <a:gd name="connsiteY13" fmla="*/ 1429 h 10000"/>
              <a:gd name="connsiteX14" fmla="*/ 4242 w 9841"/>
              <a:gd name="connsiteY14" fmla="*/ 1669 h 10000"/>
              <a:gd name="connsiteX15" fmla="*/ 4087 w 9841"/>
              <a:gd name="connsiteY15" fmla="*/ 1910 h 10000"/>
              <a:gd name="connsiteX16" fmla="*/ 3625 w 9841"/>
              <a:gd name="connsiteY16" fmla="*/ 1790 h 10000"/>
              <a:gd name="connsiteX17" fmla="*/ 3034 w 9841"/>
              <a:gd name="connsiteY17" fmla="*/ 2143 h 10000"/>
              <a:gd name="connsiteX18" fmla="*/ 3328 w 9841"/>
              <a:gd name="connsiteY18" fmla="*/ 2622 h 10000"/>
              <a:gd name="connsiteX19" fmla="*/ 2415 w 9841"/>
              <a:gd name="connsiteY19" fmla="*/ 2384 h 10000"/>
              <a:gd name="connsiteX20" fmla="*/ 2271 w 9841"/>
              <a:gd name="connsiteY20" fmla="*/ 2501 h 10000"/>
              <a:gd name="connsiteX21" fmla="*/ 2578 w 9841"/>
              <a:gd name="connsiteY21" fmla="*/ 2859 h 10000"/>
              <a:gd name="connsiteX22" fmla="*/ 2271 w 9841"/>
              <a:gd name="connsiteY22" fmla="*/ 2859 h 10000"/>
              <a:gd name="connsiteX23" fmla="*/ 1822 w 9841"/>
              <a:gd name="connsiteY23" fmla="*/ 2622 h 10000"/>
              <a:gd name="connsiteX24" fmla="*/ 1822 w 9841"/>
              <a:gd name="connsiteY24" fmla="*/ 1910 h 10000"/>
              <a:gd name="connsiteX25" fmla="*/ 1369 w 9841"/>
              <a:gd name="connsiteY25" fmla="*/ 1669 h 10000"/>
              <a:gd name="connsiteX26" fmla="*/ 1212 w 9841"/>
              <a:gd name="connsiteY26" fmla="*/ 1429 h 10000"/>
              <a:gd name="connsiteX27" fmla="*/ 1507 w 9841"/>
              <a:gd name="connsiteY27" fmla="*/ 1550 h 10000"/>
              <a:gd name="connsiteX28" fmla="*/ 2716 w 9841"/>
              <a:gd name="connsiteY28" fmla="*/ 1910 h 10000"/>
              <a:gd name="connsiteX29" fmla="*/ 3468 w 9841"/>
              <a:gd name="connsiteY29" fmla="*/ 1550 h 10000"/>
              <a:gd name="connsiteX30" fmla="*/ 3328 w 9841"/>
              <a:gd name="connsiteY30" fmla="*/ 1193 h 10000"/>
              <a:gd name="connsiteX31" fmla="*/ 2415 w 9841"/>
              <a:gd name="connsiteY31" fmla="*/ 479 h 10000"/>
              <a:gd name="connsiteX32" fmla="*/ 1507 w 9841"/>
              <a:gd name="connsiteY32" fmla="*/ 241 h 10000"/>
              <a:gd name="connsiteX33" fmla="*/ 1507 w 9841"/>
              <a:gd name="connsiteY33" fmla="*/ 125 h 10000"/>
              <a:gd name="connsiteX34" fmla="*/ 1212 w 9841"/>
              <a:gd name="connsiteY34" fmla="*/ 0 h 10000"/>
              <a:gd name="connsiteX35" fmla="*/ 903 w 9841"/>
              <a:gd name="connsiteY35" fmla="*/ 125 h 10000"/>
              <a:gd name="connsiteX36" fmla="*/ 903 w 9841"/>
              <a:gd name="connsiteY36" fmla="*/ 241 h 10000"/>
              <a:gd name="connsiteX37" fmla="*/ 754 w 9841"/>
              <a:gd name="connsiteY37" fmla="*/ 241 h 10000"/>
              <a:gd name="connsiteX38" fmla="*/ 454 w 9841"/>
              <a:gd name="connsiteY38" fmla="*/ 479 h 10000"/>
              <a:gd name="connsiteX39" fmla="*/ 454 w 9841"/>
              <a:gd name="connsiteY39" fmla="*/ 834 h 10000"/>
              <a:gd name="connsiteX40" fmla="*/ 754 w 9841"/>
              <a:gd name="connsiteY40" fmla="*/ 1074 h 10000"/>
              <a:gd name="connsiteX41" fmla="*/ 611 w 9841"/>
              <a:gd name="connsiteY41" fmla="*/ 1429 h 10000"/>
              <a:gd name="connsiteX42" fmla="*/ 754 w 9841"/>
              <a:gd name="connsiteY42" fmla="*/ 2028 h 10000"/>
              <a:gd name="connsiteX43" fmla="*/ 611 w 9841"/>
              <a:gd name="connsiteY43" fmla="*/ 2384 h 10000"/>
              <a:gd name="connsiteX44" fmla="*/ 903 w 9841"/>
              <a:gd name="connsiteY44" fmla="*/ 2740 h 10000"/>
              <a:gd name="connsiteX45" fmla="*/ 754 w 9841"/>
              <a:gd name="connsiteY45" fmla="*/ 2980 h 10000"/>
              <a:gd name="connsiteX46" fmla="*/ 1054 w 9841"/>
              <a:gd name="connsiteY46" fmla="*/ 3216 h 10000"/>
              <a:gd name="connsiteX47" fmla="*/ 1054 w 9841"/>
              <a:gd name="connsiteY47" fmla="*/ 3337 h 10000"/>
              <a:gd name="connsiteX48" fmla="*/ 611 w 9841"/>
              <a:gd name="connsiteY48" fmla="*/ 3932 h 10000"/>
              <a:gd name="connsiteX49" fmla="*/ 138 w 9841"/>
              <a:gd name="connsiteY49" fmla="*/ 4170 h 10000"/>
              <a:gd name="connsiteX50" fmla="*/ 296 w 9841"/>
              <a:gd name="connsiteY50" fmla="*/ 4170 h 10000"/>
              <a:gd name="connsiteX51" fmla="*/ 611 w 9841"/>
              <a:gd name="connsiteY51" fmla="*/ 4407 h 10000"/>
              <a:gd name="connsiteX52" fmla="*/ 296 w 9841"/>
              <a:gd name="connsiteY52" fmla="*/ 4644 h 10000"/>
              <a:gd name="connsiteX53" fmla="*/ 138 w 9841"/>
              <a:gd name="connsiteY53" fmla="*/ 4765 h 10000"/>
              <a:gd name="connsiteX54" fmla="*/ 0 w 9841"/>
              <a:gd name="connsiteY54" fmla="*/ 4765 h 10000"/>
              <a:gd name="connsiteX55" fmla="*/ 138 w 9841"/>
              <a:gd name="connsiteY55" fmla="*/ 5123 h 10000"/>
              <a:gd name="connsiteX56" fmla="*/ 138 w 9841"/>
              <a:gd name="connsiteY56" fmla="*/ 5241 h 10000"/>
              <a:gd name="connsiteX57" fmla="*/ 138 w 9841"/>
              <a:gd name="connsiteY57" fmla="*/ 5358 h 10000"/>
              <a:gd name="connsiteX58" fmla="*/ 138 w 9841"/>
              <a:gd name="connsiteY58" fmla="*/ 5479 h 10000"/>
              <a:gd name="connsiteX59" fmla="*/ 296 w 9841"/>
              <a:gd name="connsiteY59" fmla="*/ 5714 h 10000"/>
              <a:gd name="connsiteX60" fmla="*/ 754 w 9841"/>
              <a:gd name="connsiteY60" fmla="*/ 5835 h 10000"/>
              <a:gd name="connsiteX61" fmla="*/ 903 w 9841"/>
              <a:gd name="connsiteY61" fmla="*/ 5950 h 10000"/>
              <a:gd name="connsiteX62" fmla="*/ 903 w 9841"/>
              <a:gd name="connsiteY62" fmla="*/ 6194 h 10000"/>
              <a:gd name="connsiteX63" fmla="*/ 1212 w 9841"/>
              <a:gd name="connsiteY63" fmla="*/ 6550 h 10000"/>
              <a:gd name="connsiteX64" fmla="*/ 1369 w 9841"/>
              <a:gd name="connsiteY64" fmla="*/ 6550 h 10000"/>
              <a:gd name="connsiteX65" fmla="*/ 1212 w 9841"/>
              <a:gd name="connsiteY65" fmla="*/ 6787 h 10000"/>
              <a:gd name="connsiteX66" fmla="*/ 1054 w 9841"/>
              <a:gd name="connsiteY66" fmla="*/ 6670 h 10000"/>
              <a:gd name="connsiteX67" fmla="*/ 1054 w 9841"/>
              <a:gd name="connsiteY67" fmla="*/ 6787 h 10000"/>
              <a:gd name="connsiteX68" fmla="*/ 1212 w 9841"/>
              <a:gd name="connsiteY68" fmla="*/ 7025 h 10000"/>
              <a:gd name="connsiteX69" fmla="*/ 1675 w 9841"/>
              <a:gd name="connsiteY69" fmla="*/ 7025 h 10000"/>
              <a:gd name="connsiteX70" fmla="*/ 1822 w 9841"/>
              <a:gd name="connsiteY70" fmla="*/ 7144 h 10000"/>
              <a:gd name="connsiteX71" fmla="*/ 1675 w 9841"/>
              <a:gd name="connsiteY71" fmla="*/ 7144 h 10000"/>
              <a:gd name="connsiteX72" fmla="*/ 1822 w 9841"/>
              <a:gd name="connsiteY72" fmla="*/ 7262 h 10000"/>
              <a:gd name="connsiteX73" fmla="*/ 1965 w 9841"/>
              <a:gd name="connsiteY73" fmla="*/ 7262 h 10000"/>
              <a:gd name="connsiteX74" fmla="*/ 2115 w 9841"/>
              <a:gd name="connsiteY74" fmla="*/ 7501 h 10000"/>
              <a:gd name="connsiteX75" fmla="*/ 2271 w 9841"/>
              <a:gd name="connsiteY75" fmla="*/ 7618 h 10000"/>
              <a:gd name="connsiteX76" fmla="*/ 2415 w 9841"/>
              <a:gd name="connsiteY76" fmla="*/ 7501 h 10000"/>
              <a:gd name="connsiteX77" fmla="*/ 3181 w 9841"/>
              <a:gd name="connsiteY77" fmla="*/ 7858 h 10000"/>
              <a:gd name="connsiteX78" fmla="*/ 3034 w 9841"/>
              <a:gd name="connsiteY78" fmla="*/ 8332 h 10000"/>
              <a:gd name="connsiteX79" fmla="*/ 2880 w 9841"/>
              <a:gd name="connsiteY79" fmla="*/ 8216 h 10000"/>
              <a:gd name="connsiteX80" fmla="*/ 2716 w 9841"/>
              <a:gd name="connsiteY80" fmla="*/ 8332 h 10000"/>
              <a:gd name="connsiteX81" fmla="*/ 2716 w 9841"/>
              <a:gd name="connsiteY81" fmla="*/ 8570 h 10000"/>
              <a:gd name="connsiteX82" fmla="*/ 2880 w 9841"/>
              <a:gd name="connsiteY82" fmla="*/ 8453 h 10000"/>
              <a:gd name="connsiteX83" fmla="*/ 3034 w 9841"/>
              <a:gd name="connsiteY83" fmla="*/ 8570 h 10000"/>
              <a:gd name="connsiteX84" fmla="*/ 2578 w 9841"/>
              <a:gd name="connsiteY84" fmla="*/ 8692 h 10000"/>
              <a:gd name="connsiteX85" fmla="*/ 2716 w 9841"/>
              <a:gd name="connsiteY85" fmla="*/ 8810 h 10000"/>
              <a:gd name="connsiteX86" fmla="*/ 2415 w 9841"/>
              <a:gd name="connsiteY86" fmla="*/ 9048 h 10000"/>
              <a:gd name="connsiteX87" fmla="*/ 2271 w 9841"/>
              <a:gd name="connsiteY87" fmla="*/ 9048 h 10000"/>
              <a:gd name="connsiteX88" fmla="*/ 2415 w 9841"/>
              <a:gd name="connsiteY88" fmla="*/ 9048 h 10000"/>
              <a:gd name="connsiteX89" fmla="*/ 3034 w 9841"/>
              <a:gd name="connsiteY89" fmla="*/ 9526 h 10000"/>
              <a:gd name="connsiteX90" fmla="*/ 3790 w 9841"/>
              <a:gd name="connsiteY90" fmla="*/ 9526 h 10000"/>
              <a:gd name="connsiteX91" fmla="*/ 4087 w 9841"/>
              <a:gd name="connsiteY91" fmla="*/ 9644 h 10000"/>
              <a:gd name="connsiteX92" fmla="*/ 4391 w 9841"/>
              <a:gd name="connsiteY92" fmla="*/ 9644 h 10000"/>
              <a:gd name="connsiteX93" fmla="*/ 4695 w 9841"/>
              <a:gd name="connsiteY93" fmla="*/ 9883 h 10000"/>
              <a:gd name="connsiteX94" fmla="*/ 4846 w 9841"/>
              <a:gd name="connsiteY94" fmla="*/ 10000 h 10000"/>
              <a:gd name="connsiteX95" fmla="*/ 4992 w 9841"/>
              <a:gd name="connsiteY95" fmla="*/ 10000 h 10000"/>
              <a:gd name="connsiteX96" fmla="*/ 5152 w 9841"/>
              <a:gd name="connsiteY96" fmla="*/ 9883 h 10000"/>
              <a:gd name="connsiteX97" fmla="*/ 4846 w 9841"/>
              <a:gd name="connsiteY97" fmla="*/ 9644 h 10000"/>
              <a:gd name="connsiteX98" fmla="*/ 4846 w 9841"/>
              <a:gd name="connsiteY98" fmla="*/ 9406 h 10000"/>
              <a:gd name="connsiteX99" fmla="*/ 4695 w 9841"/>
              <a:gd name="connsiteY99" fmla="*/ 9166 h 10000"/>
              <a:gd name="connsiteX100" fmla="*/ 4992 w 9841"/>
              <a:gd name="connsiteY100" fmla="*/ 8810 h 10000"/>
              <a:gd name="connsiteX101" fmla="*/ 5152 w 9841"/>
              <a:gd name="connsiteY101" fmla="*/ 8928 h 10000"/>
              <a:gd name="connsiteX102" fmla="*/ 5297 w 9841"/>
              <a:gd name="connsiteY102" fmla="*/ 8810 h 10000"/>
              <a:gd name="connsiteX103" fmla="*/ 5297 w 9841"/>
              <a:gd name="connsiteY103" fmla="*/ 8692 h 10000"/>
              <a:gd name="connsiteX104" fmla="*/ 5152 w 9841"/>
              <a:gd name="connsiteY104" fmla="*/ 8692 h 10000"/>
              <a:gd name="connsiteX105" fmla="*/ 5297 w 9841"/>
              <a:gd name="connsiteY105" fmla="*/ 8570 h 10000"/>
              <a:gd name="connsiteX106" fmla="*/ 5152 w 9841"/>
              <a:gd name="connsiteY106" fmla="*/ 8332 h 10000"/>
              <a:gd name="connsiteX107" fmla="*/ 4846 w 9841"/>
              <a:gd name="connsiteY107" fmla="*/ 8332 h 10000"/>
              <a:gd name="connsiteX108" fmla="*/ 4695 w 9841"/>
              <a:gd name="connsiteY108" fmla="*/ 8097 h 10000"/>
              <a:gd name="connsiteX109" fmla="*/ 4846 w 9841"/>
              <a:gd name="connsiteY109" fmla="*/ 7501 h 10000"/>
              <a:gd name="connsiteX110" fmla="*/ 5152 w 9841"/>
              <a:gd name="connsiteY110" fmla="*/ 7739 h 10000"/>
              <a:gd name="connsiteX111" fmla="*/ 5297 w 9841"/>
              <a:gd name="connsiteY111" fmla="*/ 7739 h 10000"/>
              <a:gd name="connsiteX112" fmla="*/ 5152 w 9841"/>
              <a:gd name="connsiteY112" fmla="*/ 7501 h 10000"/>
              <a:gd name="connsiteX113" fmla="*/ 5609 w 9841"/>
              <a:gd name="connsiteY113" fmla="*/ 7144 h 10000"/>
              <a:gd name="connsiteX114" fmla="*/ 5915 w 9841"/>
              <a:gd name="connsiteY114" fmla="*/ 7262 h 10000"/>
              <a:gd name="connsiteX115" fmla="*/ 6062 w 9841"/>
              <a:gd name="connsiteY115" fmla="*/ 7144 h 10000"/>
              <a:gd name="connsiteX116" fmla="*/ 6348 w 9841"/>
              <a:gd name="connsiteY116" fmla="*/ 7262 h 10000"/>
              <a:gd name="connsiteX117" fmla="*/ 6824 w 9841"/>
              <a:gd name="connsiteY117" fmla="*/ 7501 h 10000"/>
              <a:gd name="connsiteX118" fmla="*/ 7114 w 9841"/>
              <a:gd name="connsiteY118" fmla="*/ 7381 h 10000"/>
              <a:gd name="connsiteX119" fmla="*/ 7422 w 9841"/>
              <a:gd name="connsiteY119" fmla="*/ 7381 h 10000"/>
              <a:gd name="connsiteX120" fmla="*/ 7577 w 9841"/>
              <a:gd name="connsiteY120" fmla="*/ 7501 h 10000"/>
              <a:gd name="connsiteX121" fmla="*/ 8181 w 9841"/>
              <a:gd name="connsiteY121" fmla="*/ 7501 h 10000"/>
              <a:gd name="connsiteX122" fmla="*/ 8326 w 9841"/>
              <a:gd name="connsiteY122" fmla="*/ 7262 h 10000"/>
              <a:gd name="connsiteX123" fmla="*/ 7865 w 9841"/>
              <a:gd name="connsiteY123" fmla="*/ 7144 h 10000"/>
              <a:gd name="connsiteX124" fmla="*/ 8181 w 9841"/>
              <a:gd name="connsiteY124" fmla="*/ 7025 h 10000"/>
              <a:gd name="connsiteX125" fmla="*/ 8022 w 9841"/>
              <a:gd name="connsiteY125" fmla="*/ 6904 h 10000"/>
              <a:gd name="connsiteX126" fmla="*/ 8181 w 9841"/>
              <a:gd name="connsiteY126" fmla="*/ 6787 h 10000"/>
              <a:gd name="connsiteX127" fmla="*/ 8181 w 9841"/>
              <a:gd name="connsiteY127" fmla="*/ 6429 h 10000"/>
              <a:gd name="connsiteX128" fmla="*/ 8473 w 9841"/>
              <a:gd name="connsiteY128" fmla="*/ 6550 h 10000"/>
              <a:gd name="connsiteX129" fmla="*/ 9841 w 9841"/>
              <a:gd name="connsiteY129" fmla="*/ 6194 h 10000"/>
              <a:gd name="connsiteX130" fmla="*/ 9841 w 9841"/>
              <a:gd name="connsiteY130" fmla="*/ 6074 h 10000"/>
              <a:gd name="connsiteX0" fmla="*/ 7262 w 10000"/>
              <a:gd name="connsiteY0" fmla="*/ 691 h 10000"/>
              <a:gd name="connsiteX1" fmla="*/ 6934 w 10000"/>
              <a:gd name="connsiteY1" fmla="*/ 717 h 10000"/>
              <a:gd name="connsiteX2" fmla="*/ 6780 w 10000"/>
              <a:gd name="connsiteY2" fmla="*/ 955 h 10000"/>
              <a:gd name="connsiteX3" fmla="*/ 6625 w 10000"/>
              <a:gd name="connsiteY3" fmla="*/ 717 h 10000"/>
              <a:gd name="connsiteX4" fmla="*/ 6625 w 10000"/>
              <a:gd name="connsiteY4" fmla="*/ 479 h 10000"/>
              <a:gd name="connsiteX5" fmla="*/ 5073 w 10000"/>
              <a:gd name="connsiteY5" fmla="*/ 1193 h 10000"/>
              <a:gd name="connsiteX6" fmla="*/ 5073 w 10000"/>
              <a:gd name="connsiteY6" fmla="*/ 1429 h 10000"/>
              <a:gd name="connsiteX7" fmla="*/ 4771 w 10000"/>
              <a:gd name="connsiteY7" fmla="*/ 1550 h 10000"/>
              <a:gd name="connsiteX8" fmla="*/ 4311 w 10000"/>
              <a:gd name="connsiteY8" fmla="*/ 1311 h 10000"/>
              <a:gd name="connsiteX9" fmla="*/ 4771 w 10000"/>
              <a:gd name="connsiteY9" fmla="*/ 1074 h 10000"/>
              <a:gd name="connsiteX10" fmla="*/ 4607 w 10000"/>
              <a:gd name="connsiteY10" fmla="*/ 717 h 10000"/>
              <a:gd name="connsiteX11" fmla="*/ 4002 w 10000"/>
              <a:gd name="connsiteY11" fmla="*/ 600 h 10000"/>
              <a:gd name="connsiteX12" fmla="*/ 4153 w 10000"/>
              <a:gd name="connsiteY12" fmla="*/ 834 h 10000"/>
              <a:gd name="connsiteX13" fmla="*/ 4153 w 10000"/>
              <a:gd name="connsiteY13" fmla="*/ 1429 h 10000"/>
              <a:gd name="connsiteX14" fmla="*/ 4311 w 10000"/>
              <a:gd name="connsiteY14" fmla="*/ 1669 h 10000"/>
              <a:gd name="connsiteX15" fmla="*/ 4153 w 10000"/>
              <a:gd name="connsiteY15" fmla="*/ 1910 h 10000"/>
              <a:gd name="connsiteX16" fmla="*/ 3684 w 10000"/>
              <a:gd name="connsiteY16" fmla="*/ 1790 h 10000"/>
              <a:gd name="connsiteX17" fmla="*/ 3083 w 10000"/>
              <a:gd name="connsiteY17" fmla="*/ 2143 h 10000"/>
              <a:gd name="connsiteX18" fmla="*/ 3382 w 10000"/>
              <a:gd name="connsiteY18" fmla="*/ 2622 h 10000"/>
              <a:gd name="connsiteX19" fmla="*/ 2454 w 10000"/>
              <a:gd name="connsiteY19" fmla="*/ 2384 h 10000"/>
              <a:gd name="connsiteX20" fmla="*/ 2308 w 10000"/>
              <a:gd name="connsiteY20" fmla="*/ 2501 h 10000"/>
              <a:gd name="connsiteX21" fmla="*/ 2620 w 10000"/>
              <a:gd name="connsiteY21" fmla="*/ 2859 h 10000"/>
              <a:gd name="connsiteX22" fmla="*/ 2308 w 10000"/>
              <a:gd name="connsiteY22" fmla="*/ 2859 h 10000"/>
              <a:gd name="connsiteX23" fmla="*/ 1851 w 10000"/>
              <a:gd name="connsiteY23" fmla="*/ 2622 h 10000"/>
              <a:gd name="connsiteX24" fmla="*/ 1851 w 10000"/>
              <a:gd name="connsiteY24" fmla="*/ 1910 h 10000"/>
              <a:gd name="connsiteX25" fmla="*/ 1391 w 10000"/>
              <a:gd name="connsiteY25" fmla="*/ 1669 h 10000"/>
              <a:gd name="connsiteX26" fmla="*/ 1232 w 10000"/>
              <a:gd name="connsiteY26" fmla="*/ 1429 h 10000"/>
              <a:gd name="connsiteX27" fmla="*/ 1531 w 10000"/>
              <a:gd name="connsiteY27" fmla="*/ 1550 h 10000"/>
              <a:gd name="connsiteX28" fmla="*/ 2760 w 10000"/>
              <a:gd name="connsiteY28" fmla="*/ 1910 h 10000"/>
              <a:gd name="connsiteX29" fmla="*/ 3524 w 10000"/>
              <a:gd name="connsiteY29" fmla="*/ 1550 h 10000"/>
              <a:gd name="connsiteX30" fmla="*/ 3382 w 10000"/>
              <a:gd name="connsiteY30" fmla="*/ 1193 h 10000"/>
              <a:gd name="connsiteX31" fmla="*/ 2454 w 10000"/>
              <a:gd name="connsiteY31" fmla="*/ 479 h 10000"/>
              <a:gd name="connsiteX32" fmla="*/ 1531 w 10000"/>
              <a:gd name="connsiteY32" fmla="*/ 241 h 10000"/>
              <a:gd name="connsiteX33" fmla="*/ 1531 w 10000"/>
              <a:gd name="connsiteY33" fmla="*/ 125 h 10000"/>
              <a:gd name="connsiteX34" fmla="*/ 1232 w 10000"/>
              <a:gd name="connsiteY34" fmla="*/ 0 h 10000"/>
              <a:gd name="connsiteX35" fmla="*/ 918 w 10000"/>
              <a:gd name="connsiteY35" fmla="*/ 125 h 10000"/>
              <a:gd name="connsiteX36" fmla="*/ 918 w 10000"/>
              <a:gd name="connsiteY36" fmla="*/ 241 h 10000"/>
              <a:gd name="connsiteX37" fmla="*/ 766 w 10000"/>
              <a:gd name="connsiteY37" fmla="*/ 241 h 10000"/>
              <a:gd name="connsiteX38" fmla="*/ 461 w 10000"/>
              <a:gd name="connsiteY38" fmla="*/ 479 h 10000"/>
              <a:gd name="connsiteX39" fmla="*/ 461 w 10000"/>
              <a:gd name="connsiteY39" fmla="*/ 834 h 10000"/>
              <a:gd name="connsiteX40" fmla="*/ 766 w 10000"/>
              <a:gd name="connsiteY40" fmla="*/ 1074 h 10000"/>
              <a:gd name="connsiteX41" fmla="*/ 621 w 10000"/>
              <a:gd name="connsiteY41" fmla="*/ 1429 h 10000"/>
              <a:gd name="connsiteX42" fmla="*/ 766 w 10000"/>
              <a:gd name="connsiteY42" fmla="*/ 2028 h 10000"/>
              <a:gd name="connsiteX43" fmla="*/ 621 w 10000"/>
              <a:gd name="connsiteY43" fmla="*/ 2384 h 10000"/>
              <a:gd name="connsiteX44" fmla="*/ 918 w 10000"/>
              <a:gd name="connsiteY44" fmla="*/ 2740 h 10000"/>
              <a:gd name="connsiteX45" fmla="*/ 766 w 10000"/>
              <a:gd name="connsiteY45" fmla="*/ 2980 h 10000"/>
              <a:gd name="connsiteX46" fmla="*/ 1071 w 10000"/>
              <a:gd name="connsiteY46" fmla="*/ 3216 h 10000"/>
              <a:gd name="connsiteX47" fmla="*/ 1071 w 10000"/>
              <a:gd name="connsiteY47" fmla="*/ 3337 h 10000"/>
              <a:gd name="connsiteX48" fmla="*/ 621 w 10000"/>
              <a:gd name="connsiteY48" fmla="*/ 3932 h 10000"/>
              <a:gd name="connsiteX49" fmla="*/ 140 w 10000"/>
              <a:gd name="connsiteY49" fmla="*/ 4170 h 10000"/>
              <a:gd name="connsiteX50" fmla="*/ 301 w 10000"/>
              <a:gd name="connsiteY50" fmla="*/ 4170 h 10000"/>
              <a:gd name="connsiteX51" fmla="*/ 621 w 10000"/>
              <a:gd name="connsiteY51" fmla="*/ 4407 h 10000"/>
              <a:gd name="connsiteX52" fmla="*/ 301 w 10000"/>
              <a:gd name="connsiteY52" fmla="*/ 4644 h 10000"/>
              <a:gd name="connsiteX53" fmla="*/ 140 w 10000"/>
              <a:gd name="connsiteY53" fmla="*/ 4765 h 10000"/>
              <a:gd name="connsiteX54" fmla="*/ 0 w 10000"/>
              <a:gd name="connsiteY54" fmla="*/ 4765 h 10000"/>
              <a:gd name="connsiteX55" fmla="*/ 140 w 10000"/>
              <a:gd name="connsiteY55" fmla="*/ 5123 h 10000"/>
              <a:gd name="connsiteX56" fmla="*/ 140 w 10000"/>
              <a:gd name="connsiteY56" fmla="*/ 5241 h 10000"/>
              <a:gd name="connsiteX57" fmla="*/ 140 w 10000"/>
              <a:gd name="connsiteY57" fmla="*/ 5358 h 10000"/>
              <a:gd name="connsiteX58" fmla="*/ 140 w 10000"/>
              <a:gd name="connsiteY58" fmla="*/ 5479 h 10000"/>
              <a:gd name="connsiteX59" fmla="*/ 301 w 10000"/>
              <a:gd name="connsiteY59" fmla="*/ 5714 h 10000"/>
              <a:gd name="connsiteX60" fmla="*/ 766 w 10000"/>
              <a:gd name="connsiteY60" fmla="*/ 5835 h 10000"/>
              <a:gd name="connsiteX61" fmla="*/ 918 w 10000"/>
              <a:gd name="connsiteY61" fmla="*/ 5950 h 10000"/>
              <a:gd name="connsiteX62" fmla="*/ 918 w 10000"/>
              <a:gd name="connsiteY62" fmla="*/ 6194 h 10000"/>
              <a:gd name="connsiteX63" fmla="*/ 1232 w 10000"/>
              <a:gd name="connsiteY63" fmla="*/ 6550 h 10000"/>
              <a:gd name="connsiteX64" fmla="*/ 1391 w 10000"/>
              <a:gd name="connsiteY64" fmla="*/ 6550 h 10000"/>
              <a:gd name="connsiteX65" fmla="*/ 1232 w 10000"/>
              <a:gd name="connsiteY65" fmla="*/ 6787 h 10000"/>
              <a:gd name="connsiteX66" fmla="*/ 1071 w 10000"/>
              <a:gd name="connsiteY66" fmla="*/ 6670 h 10000"/>
              <a:gd name="connsiteX67" fmla="*/ 1071 w 10000"/>
              <a:gd name="connsiteY67" fmla="*/ 6787 h 10000"/>
              <a:gd name="connsiteX68" fmla="*/ 1232 w 10000"/>
              <a:gd name="connsiteY68" fmla="*/ 7025 h 10000"/>
              <a:gd name="connsiteX69" fmla="*/ 1702 w 10000"/>
              <a:gd name="connsiteY69" fmla="*/ 7025 h 10000"/>
              <a:gd name="connsiteX70" fmla="*/ 1851 w 10000"/>
              <a:gd name="connsiteY70" fmla="*/ 7144 h 10000"/>
              <a:gd name="connsiteX71" fmla="*/ 1702 w 10000"/>
              <a:gd name="connsiteY71" fmla="*/ 7144 h 10000"/>
              <a:gd name="connsiteX72" fmla="*/ 1851 w 10000"/>
              <a:gd name="connsiteY72" fmla="*/ 7262 h 10000"/>
              <a:gd name="connsiteX73" fmla="*/ 1997 w 10000"/>
              <a:gd name="connsiteY73" fmla="*/ 7262 h 10000"/>
              <a:gd name="connsiteX74" fmla="*/ 2149 w 10000"/>
              <a:gd name="connsiteY74" fmla="*/ 7501 h 10000"/>
              <a:gd name="connsiteX75" fmla="*/ 2308 w 10000"/>
              <a:gd name="connsiteY75" fmla="*/ 7618 h 10000"/>
              <a:gd name="connsiteX76" fmla="*/ 2454 w 10000"/>
              <a:gd name="connsiteY76" fmla="*/ 7501 h 10000"/>
              <a:gd name="connsiteX77" fmla="*/ 3232 w 10000"/>
              <a:gd name="connsiteY77" fmla="*/ 7858 h 10000"/>
              <a:gd name="connsiteX78" fmla="*/ 3083 w 10000"/>
              <a:gd name="connsiteY78" fmla="*/ 8332 h 10000"/>
              <a:gd name="connsiteX79" fmla="*/ 2927 w 10000"/>
              <a:gd name="connsiteY79" fmla="*/ 8216 h 10000"/>
              <a:gd name="connsiteX80" fmla="*/ 2760 w 10000"/>
              <a:gd name="connsiteY80" fmla="*/ 8332 h 10000"/>
              <a:gd name="connsiteX81" fmla="*/ 2760 w 10000"/>
              <a:gd name="connsiteY81" fmla="*/ 8570 h 10000"/>
              <a:gd name="connsiteX82" fmla="*/ 2927 w 10000"/>
              <a:gd name="connsiteY82" fmla="*/ 8453 h 10000"/>
              <a:gd name="connsiteX83" fmla="*/ 3083 w 10000"/>
              <a:gd name="connsiteY83" fmla="*/ 8570 h 10000"/>
              <a:gd name="connsiteX84" fmla="*/ 2620 w 10000"/>
              <a:gd name="connsiteY84" fmla="*/ 8692 h 10000"/>
              <a:gd name="connsiteX85" fmla="*/ 2760 w 10000"/>
              <a:gd name="connsiteY85" fmla="*/ 8810 h 10000"/>
              <a:gd name="connsiteX86" fmla="*/ 2454 w 10000"/>
              <a:gd name="connsiteY86" fmla="*/ 9048 h 10000"/>
              <a:gd name="connsiteX87" fmla="*/ 2308 w 10000"/>
              <a:gd name="connsiteY87" fmla="*/ 9048 h 10000"/>
              <a:gd name="connsiteX88" fmla="*/ 2454 w 10000"/>
              <a:gd name="connsiteY88" fmla="*/ 9048 h 10000"/>
              <a:gd name="connsiteX89" fmla="*/ 3083 w 10000"/>
              <a:gd name="connsiteY89" fmla="*/ 9526 h 10000"/>
              <a:gd name="connsiteX90" fmla="*/ 3851 w 10000"/>
              <a:gd name="connsiteY90" fmla="*/ 9526 h 10000"/>
              <a:gd name="connsiteX91" fmla="*/ 4153 w 10000"/>
              <a:gd name="connsiteY91" fmla="*/ 9644 h 10000"/>
              <a:gd name="connsiteX92" fmla="*/ 4462 w 10000"/>
              <a:gd name="connsiteY92" fmla="*/ 9644 h 10000"/>
              <a:gd name="connsiteX93" fmla="*/ 4771 w 10000"/>
              <a:gd name="connsiteY93" fmla="*/ 9883 h 10000"/>
              <a:gd name="connsiteX94" fmla="*/ 4924 w 10000"/>
              <a:gd name="connsiteY94" fmla="*/ 10000 h 10000"/>
              <a:gd name="connsiteX95" fmla="*/ 5073 w 10000"/>
              <a:gd name="connsiteY95" fmla="*/ 10000 h 10000"/>
              <a:gd name="connsiteX96" fmla="*/ 5235 w 10000"/>
              <a:gd name="connsiteY96" fmla="*/ 9883 h 10000"/>
              <a:gd name="connsiteX97" fmla="*/ 4924 w 10000"/>
              <a:gd name="connsiteY97" fmla="*/ 9644 h 10000"/>
              <a:gd name="connsiteX98" fmla="*/ 4924 w 10000"/>
              <a:gd name="connsiteY98" fmla="*/ 9406 h 10000"/>
              <a:gd name="connsiteX99" fmla="*/ 4771 w 10000"/>
              <a:gd name="connsiteY99" fmla="*/ 9166 h 10000"/>
              <a:gd name="connsiteX100" fmla="*/ 5073 w 10000"/>
              <a:gd name="connsiteY100" fmla="*/ 8810 h 10000"/>
              <a:gd name="connsiteX101" fmla="*/ 5235 w 10000"/>
              <a:gd name="connsiteY101" fmla="*/ 8928 h 10000"/>
              <a:gd name="connsiteX102" fmla="*/ 5383 w 10000"/>
              <a:gd name="connsiteY102" fmla="*/ 8810 h 10000"/>
              <a:gd name="connsiteX103" fmla="*/ 5383 w 10000"/>
              <a:gd name="connsiteY103" fmla="*/ 8692 h 10000"/>
              <a:gd name="connsiteX104" fmla="*/ 5235 w 10000"/>
              <a:gd name="connsiteY104" fmla="*/ 8692 h 10000"/>
              <a:gd name="connsiteX105" fmla="*/ 5383 w 10000"/>
              <a:gd name="connsiteY105" fmla="*/ 8570 h 10000"/>
              <a:gd name="connsiteX106" fmla="*/ 5235 w 10000"/>
              <a:gd name="connsiteY106" fmla="*/ 8332 h 10000"/>
              <a:gd name="connsiteX107" fmla="*/ 4924 w 10000"/>
              <a:gd name="connsiteY107" fmla="*/ 8332 h 10000"/>
              <a:gd name="connsiteX108" fmla="*/ 4771 w 10000"/>
              <a:gd name="connsiteY108" fmla="*/ 8097 h 10000"/>
              <a:gd name="connsiteX109" fmla="*/ 4924 w 10000"/>
              <a:gd name="connsiteY109" fmla="*/ 7501 h 10000"/>
              <a:gd name="connsiteX110" fmla="*/ 5235 w 10000"/>
              <a:gd name="connsiteY110" fmla="*/ 7739 h 10000"/>
              <a:gd name="connsiteX111" fmla="*/ 5383 w 10000"/>
              <a:gd name="connsiteY111" fmla="*/ 7739 h 10000"/>
              <a:gd name="connsiteX112" fmla="*/ 5235 w 10000"/>
              <a:gd name="connsiteY112" fmla="*/ 7501 h 10000"/>
              <a:gd name="connsiteX113" fmla="*/ 5700 w 10000"/>
              <a:gd name="connsiteY113" fmla="*/ 7144 h 10000"/>
              <a:gd name="connsiteX114" fmla="*/ 6011 w 10000"/>
              <a:gd name="connsiteY114" fmla="*/ 7262 h 10000"/>
              <a:gd name="connsiteX115" fmla="*/ 6160 w 10000"/>
              <a:gd name="connsiteY115" fmla="*/ 7144 h 10000"/>
              <a:gd name="connsiteX116" fmla="*/ 6451 w 10000"/>
              <a:gd name="connsiteY116" fmla="*/ 7262 h 10000"/>
              <a:gd name="connsiteX117" fmla="*/ 6934 w 10000"/>
              <a:gd name="connsiteY117" fmla="*/ 7501 h 10000"/>
              <a:gd name="connsiteX118" fmla="*/ 7229 w 10000"/>
              <a:gd name="connsiteY118" fmla="*/ 7381 h 10000"/>
              <a:gd name="connsiteX119" fmla="*/ 7542 w 10000"/>
              <a:gd name="connsiteY119" fmla="*/ 7381 h 10000"/>
              <a:gd name="connsiteX120" fmla="*/ 7699 w 10000"/>
              <a:gd name="connsiteY120" fmla="*/ 7501 h 10000"/>
              <a:gd name="connsiteX121" fmla="*/ 8313 w 10000"/>
              <a:gd name="connsiteY121" fmla="*/ 7501 h 10000"/>
              <a:gd name="connsiteX122" fmla="*/ 8461 w 10000"/>
              <a:gd name="connsiteY122" fmla="*/ 7262 h 10000"/>
              <a:gd name="connsiteX123" fmla="*/ 7992 w 10000"/>
              <a:gd name="connsiteY123" fmla="*/ 7144 h 10000"/>
              <a:gd name="connsiteX124" fmla="*/ 8313 w 10000"/>
              <a:gd name="connsiteY124" fmla="*/ 7025 h 10000"/>
              <a:gd name="connsiteX125" fmla="*/ 8152 w 10000"/>
              <a:gd name="connsiteY125" fmla="*/ 6904 h 10000"/>
              <a:gd name="connsiteX126" fmla="*/ 8313 w 10000"/>
              <a:gd name="connsiteY126" fmla="*/ 6787 h 10000"/>
              <a:gd name="connsiteX127" fmla="*/ 8313 w 10000"/>
              <a:gd name="connsiteY127" fmla="*/ 6429 h 10000"/>
              <a:gd name="connsiteX128" fmla="*/ 8610 w 10000"/>
              <a:gd name="connsiteY128" fmla="*/ 6550 h 10000"/>
              <a:gd name="connsiteX129" fmla="*/ 10000 w 10000"/>
              <a:gd name="connsiteY129" fmla="*/ 6194 h 10000"/>
              <a:gd name="connsiteX130" fmla="*/ 10000 w 10000"/>
              <a:gd name="connsiteY130" fmla="*/ 6074 h 10000"/>
              <a:gd name="connsiteX0" fmla="*/ 7262 w 10000"/>
              <a:gd name="connsiteY0" fmla="*/ 691 h 10000"/>
              <a:gd name="connsiteX1" fmla="*/ 6934 w 10000"/>
              <a:gd name="connsiteY1" fmla="*/ 717 h 10000"/>
              <a:gd name="connsiteX2" fmla="*/ 6780 w 10000"/>
              <a:gd name="connsiteY2" fmla="*/ 955 h 10000"/>
              <a:gd name="connsiteX3" fmla="*/ 6625 w 10000"/>
              <a:gd name="connsiteY3" fmla="*/ 717 h 10000"/>
              <a:gd name="connsiteX4" fmla="*/ 6625 w 10000"/>
              <a:gd name="connsiteY4" fmla="*/ 479 h 10000"/>
              <a:gd name="connsiteX5" fmla="*/ 5073 w 10000"/>
              <a:gd name="connsiteY5" fmla="*/ 1193 h 10000"/>
              <a:gd name="connsiteX6" fmla="*/ 5073 w 10000"/>
              <a:gd name="connsiteY6" fmla="*/ 1429 h 10000"/>
              <a:gd name="connsiteX7" fmla="*/ 4771 w 10000"/>
              <a:gd name="connsiteY7" fmla="*/ 1550 h 10000"/>
              <a:gd name="connsiteX8" fmla="*/ 4311 w 10000"/>
              <a:gd name="connsiteY8" fmla="*/ 1311 h 10000"/>
              <a:gd name="connsiteX9" fmla="*/ 4771 w 10000"/>
              <a:gd name="connsiteY9" fmla="*/ 1074 h 10000"/>
              <a:gd name="connsiteX10" fmla="*/ 4607 w 10000"/>
              <a:gd name="connsiteY10" fmla="*/ 717 h 10000"/>
              <a:gd name="connsiteX11" fmla="*/ 4002 w 10000"/>
              <a:gd name="connsiteY11" fmla="*/ 600 h 10000"/>
              <a:gd name="connsiteX12" fmla="*/ 4153 w 10000"/>
              <a:gd name="connsiteY12" fmla="*/ 834 h 10000"/>
              <a:gd name="connsiteX13" fmla="*/ 4153 w 10000"/>
              <a:gd name="connsiteY13" fmla="*/ 1429 h 10000"/>
              <a:gd name="connsiteX14" fmla="*/ 4311 w 10000"/>
              <a:gd name="connsiteY14" fmla="*/ 1669 h 10000"/>
              <a:gd name="connsiteX15" fmla="*/ 4153 w 10000"/>
              <a:gd name="connsiteY15" fmla="*/ 1910 h 10000"/>
              <a:gd name="connsiteX16" fmla="*/ 3684 w 10000"/>
              <a:gd name="connsiteY16" fmla="*/ 1790 h 10000"/>
              <a:gd name="connsiteX17" fmla="*/ 3083 w 10000"/>
              <a:gd name="connsiteY17" fmla="*/ 2143 h 10000"/>
              <a:gd name="connsiteX18" fmla="*/ 3382 w 10000"/>
              <a:gd name="connsiteY18" fmla="*/ 2622 h 10000"/>
              <a:gd name="connsiteX19" fmla="*/ 2454 w 10000"/>
              <a:gd name="connsiteY19" fmla="*/ 2384 h 10000"/>
              <a:gd name="connsiteX20" fmla="*/ 2308 w 10000"/>
              <a:gd name="connsiteY20" fmla="*/ 2501 h 10000"/>
              <a:gd name="connsiteX21" fmla="*/ 2620 w 10000"/>
              <a:gd name="connsiteY21" fmla="*/ 2859 h 10000"/>
              <a:gd name="connsiteX22" fmla="*/ 2308 w 10000"/>
              <a:gd name="connsiteY22" fmla="*/ 2859 h 10000"/>
              <a:gd name="connsiteX23" fmla="*/ 1851 w 10000"/>
              <a:gd name="connsiteY23" fmla="*/ 2622 h 10000"/>
              <a:gd name="connsiteX24" fmla="*/ 1851 w 10000"/>
              <a:gd name="connsiteY24" fmla="*/ 1910 h 10000"/>
              <a:gd name="connsiteX25" fmla="*/ 1391 w 10000"/>
              <a:gd name="connsiteY25" fmla="*/ 1669 h 10000"/>
              <a:gd name="connsiteX26" fmla="*/ 1232 w 10000"/>
              <a:gd name="connsiteY26" fmla="*/ 1429 h 10000"/>
              <a:gd name="connsiteX27" fmla="*/ 1531 w 10000"/>
              <a:gd name="connsiteY27" fmla="*/ 1550 h 10000"/>
              <a:gd name="connsiteX28" fmla="*/ 2760 w 10000"/>
              <a:gd name="connsiteY28" fmla="*/ 1910 h 10000"/>
              <a:gd name="connsiteX29" fmla="*/ 3524 w 10000"/>
              <a:gd name="connsiteY29" fmla="*/ 1550 h 10000"/>
              <a:gd name="connsiteX30" fmla="*/ 3382 w 10000"/>
              <a:gd name="connsiteY30" fmla="*/ 1193 h 10000"/>
              <a:gd name="connsiteX31" fmla="*/ 2454 w 10000"/>
              <a:gd name="connsiteY31" fmla="*/ 479 h 10000"/>
              <a:gd name="connsiteX32" fmla="*/ 1531 w 10000"/>
              <a:gd name="connsiteY32" fmla="*/ 241 h 10000"/>
              <a:gd name="connsiteX33" fmla="*/ 1531 w 10000"/>
              <a:gd name="connsiteY33" fmla="*/ 125 h 10000"/>
              <a:gd name="connsiteX34" fmla="*/ 1232 w 10000"/>
              <a:gd name="connsiteY34" fmla="*/ 0 h 10000"/>
              <a:gd name="connsiteX35" fmla="*/ 918 w 10000"/>
              <a:gd name="connsiteY35" fmla="*/ 125 h 10000"/>
              <a:gd name="connsiteX36" fmla="*/ 918 w 10000"/>
              <a:gd name="connsiteY36" fmla="*/ 241 h 10000"/>
              <a:gd name="connsiteX37" fmla="*/ 766 w 10000"/>
              <a:gd name="connsiteY37" fmla="*/ 241 h 10000"/>
              <a:gd name="connsiteX38" fmla="*/ 461 w 10000"/>
              <a:gd name="connsiteY38" fmla="*/ 479 h 10000"/>
              <a:gd name="connsiteX39" fmla="*/ 461 w 10000"/>
              <a:gd name="connsiteY39" fmla="*/ 834 h 10000"/>
              <a:gd name="connsiteX40" fmla="*/ 766 w 10000"/>
              <a:gd name="connsiteY40" fmla="*/ 1074 h 10000"/>
              <a:gd name="connsiteX41" fmla="*/ 621 w 10000"/>
              <a:gd name="connsiteY41" fmla="*/ 1429 h 10000"/>
              <a:gd name="connsiteX42" fmla="*/ 766 w 10000"/>
              <a:gd name="connsiteY42" fmla="*/ 2028 h 10000"/>
              <a:gd name="connsiteX43" fmla="*/ 621 w 10000"/>
              <a:gd name="connsiteY43" fmla="*/ 2384 h 10000"/>
              <a:gd name="connsiteX44" fmla="*/ 918 w 10000"/>
              <a:gd name="connsiteY44" fmla="*/ 2740 h 10000"/>
              <a:gd name="connsiteX45" fmla="*/ 766 w 10000"/>
              <a:gd name="connsiteY45" fmla="*/ 2980 h 10000"/>
              <a:gd name="connsiteX46" fmla="*/ 1071 w 10000"/>
              <a:gd name="connsiteY46" fmla="*/ 3216 h 10000"/>
              <a:gd name="connsiteX47" fmla="*/ 1071 w 10000"/>
              <a:gd name="connsiteY47" fmla="*/ 3337 h 10000"/>
              <a:gd name="connsiteX48" fmla="*/ 621 w 10000"/>
              <a:gd name="connsiteY48" fmla="*/ 3932 h 10000"/>
              <a:gd name="connsiteX49" fmla="*/ 140 w 10000"/>
              <a:gd name="connsiteY49" fmla="*/ 4170 h 10000"/>
              <a:gd name="connsiteX50" fmla="*/ 301 w 10000"/>
              <a:gd name="connsiteY50" fmla="*/ 4170 h 10000"/>
              <a:gd name="connsiteX51" fmla="*/ 621 w 10000"/>
              <a:gd name="connsiteY51" fmla="*/ 4407 h 10000"/>
              <a:gd name="connsiteX52" fmla="*/ 301 w 10000"/>
              <a:gd name="connsiteY52" fmla="*/ 4644 h 10000"/>
              <a:gd name="connsiteX53" fmla="*/ 140 w 10000"/>
              <a:gd name="connsiteY53" fmla="*/ 4765 h 10000"/>
              <a:gd name="connsiteX54" fmla="*/ 0 w 10000"/>
              <a:gd name="connsiteY54" fmla="*/ 4765 h 10000"/>
              <a:gd name="connsiteX55" fmla="*/ 140 w 10000"/>
              <a:gd name="connsiteY55" fmla="*/ 5123 h 10000"/>
              <a:gd name="connsiteX56" fmla="*/ 140 w 10000"/>
              <a:gd name="connsiteY56" fmla="*/ 5241 h 10000"/>
              <a:gd name="connsiteX57" fmla="*/ 140 w 10000"/>
              <a:gd name="connsiteY57" fmla="*/ 5358 h 10000"/>
              <a:gd name="connsiteX58" fmla="*/ 140 w 10000"/>
              <a:gd name="connsiteY58" fmla="*/ 5479 h 10000"/>
              <a:gd name="connsiteX59" fmla="*/ 301 w 10000"/>
              <a:gd name="connsiteY59" fmla="*/ 5714 h 10000"/>
              <a:gd name="connsiteX60" fmla="*/ 766 w 10000"/>
              <a:gd name="connsiteY60" fmla="*/ 5835 h 10000"/>
              <a:gd name="connsiteX61" fmla="*/ 918 w 10000"/>
              <a:gd name="connsiteY61" fmla="*/ 5950 h 10000"/>
              <a:gd name="connsiteX62" fmla="*/ 918 w 10000"/>
              <a:gd name="connsiteY62" fmla="*/ 6194 h 10000"/>
              <a:gd name="connsiteX63" fmla="*/ 1232 w 10000"/>
              <a:gd name="connsiteY63" fmla="*/ 6550 h 10000"/>
              <a:gd name="connsiteX64" fmla="*/ 1391 w 10000"/>
              <a:gd name="connsiteY64" fmla="*/ 6550 h 10000"/>
              <a:gd name="connsiteX65" fmla="*/ 1232 w 10000"/>
              <a:gd name="connsiteY65" fmla="*/ 6787 h 10000"/>
              <a:gd name="connsiteX66" fmla="*/ 1071 w 10000"/>
              <a:gd name="connsiteY66" fmla="*/ 6670 h 10000"/>
              <a:gd name="connsiteX67" fmla="*/ 1071 w 10000"/>
              <a:gd name="connsiteY67" fmla="*/ 6787 h 10000"/>
              <a:gd name="connsiteX68" fmla="*/ 1232 w 10000"/>
              <a:gd name="connsiteY68" fmla="*/ 7025 h 10000"/>
              <a:gd name="connsiteX69" fmla="*/ 1702 w 10000"/>
              <a:gd name="connsiteY69" fmla="*/ 7025 h 10000"/>
              <a:gd name="connsiteX70" fmla="*/ 1851 w 10000"/>
              <a:gd name="connsiteY70" fmla="*/ 7144 h 10000"/>
              <a:gd name="connsiteX71" fmla="*/ 1702 w 10000"/>
              <a:gd name="connsiteY71" fmla="*/ 7144 h 10000"/>
              <a:gd name="connsiteX72" fmla="*/ 1851 w 10000"/>
              <a:gd name="connsiteY72" fmla="*/ 7262 h 10000"/>
              <a:gd name="connsiteX73" fmla="*/ 1997 w 10000"/>
              <a:gd name="connsiteY73" fmla="*/ 7262 h 10000"/>
              <a:gd name="connsiteX74" fmla="*/ 2149 w 10000"/>
              <a:gd name="connsiteY74" fmla="*/ 7501 h 10000"/>
              <a:gd name="connsiteX75" fmla="*/ 2308 w 10000"/>
              <a:gd name="connsiteY75" fmla="*/ 7618 h 10000"/>
              <a:gd name="connsiteX76" fmla="*/ 2454 w 10000"/>
              <a:gd name="connsiteY76" fmla="*/ 7501 h 10000"/>
              <a:gd name="connsiteX77" fmla="*/ 3232 w 10000"/>
              <a:gd name="connsiteY77" fmla="*/ 7858 h 10000"/>
              <a:gd name="connsiteX78" fmla="*/ 3083 w 10000"/>
              <a:gd name="connsiteY78" fmla="*/ 8332 h 10000"/>
              <a:gd name="connsiteX79" fmla="*/ 2927 w 10000"/>
              <a:gd name="connsiteY79" fmla="*/ 8216 h 10000"/>
              <a:gd name="connsiteX80" fmla="*/ 2760 w 10000"/>
              <a:gd name="connsiteY80" fmla="*/ 8332 h 10000"/>
              <a:gd name="connsiteX81" fmla="*/ 2760 w 10000"/>
              <a:gd name="connsiteY81" fmla="*/ 8570 h 10000"/>
              <a:gd name="connsiteX82" fmla="*/ 2927 w 10000"/>
              <a:gd name="connsiteY82" fmla="*/ 8453 h 10000"/>
              <a:gd name="connsiteX83" fmla="*/ 3083 w 10000"/>
              <a:gd name="connsiteY83" fmla="*/ 8570 h 10000"/>
              <a:gd name="connsiteX84" fmla="*/ 2620 w 10000"/>
              <a:gd name="connsiteY84" fmla="*/ 8692 h 10000"/>
              <a:gd name="connsiteX85" fmla="*/ 2760 w 10000"/>
              <a:gd name="connsiteY85" fmla="*/ 8810 h 10000"/>
              <a:gd name="connsiteX86" fmla="*/ 2454 w 10000"/>
              <a:gd name="connsiteY86" fmla="*/ 9048 h 10000"/>
              <a:gd name="connsiteX87" fmla="*/ 2308 w 10000"/>
              <a:gd name="connsiteY87" fmla="*/ 9048 h 10000"/>
              <a:gd name="connsiteX88" fmla="*/ 2454 w 10000"/>
              <a:gd name="connsiteY88" fmla="*/ 9048 h 10000"/>
              <a:gd name="connsiteX89" fmla="*/ 3083 w 10000"/>
              <a:gd name="connsiteY89" fmla="*/ 9526 h 10000"/>
              <a:gd name="connsiteX90" fmla="*/ 3851 w 10000"/>
              <a:gd name="connsiteY90" fmla="*/ 9526 h 10000"/>
              <a:gd name="connsiteX91" fmla="*/ 4153 w 10000"/>
              <a:gd name="connsiteY91" fmla="*/ 9644 h 10000"/>
              <a:gd name="connsiteX92" fmla="*/ 4462 w 10000"/>
              <a:gd name="connsiteY92" fmla="*/ 9644 h 10000"/>
              <a:gd name="connsiteX93" fmla="*/ 4771 w 10000"/>
              <a:gd name="connsiteY93" fmla="*/ 9883 h 10000"/>
              <a:gd name="connsiteX94" fmla="*/ 4924 w 10000"/>
              <a:gd name="connsiteY94" fmla="*/ 10000 h 10000"/>
              <a:gd name="connsiteX95" fmla="*/ 5073 w 10000"/>
              <a:gd name="connsiteY95" fmla="*/ 10000 h 10000"/>
              <a:gd name="connsiteX96" fmla="*/ 5235 w 10000"/>
              <a:gd name="connsiteY96" fmla="*/ 9883 h 10000"/>
              <a:gd name="connsiteX97" fmla="*/ 4924 w 10000"/>
              <a:gd name="connsiteY97" fmla="*/ 9644 h 10000"/>
              <a:gd name="connsiteX98" fmla="*/ 4924 w 10000"/>
              <a:gd name="connsiteY98" fmla="*/ 9406 h 10000"/>
              <a:gd name="connsiteX99" fmla="*/ 4771 w 10000"/>
              <a:gd name="connsiteY99" fmla="*/ 9166 h 10000"/>
              <a:gd name="connsiteX100" fmla="*/ 5073 w 10000"/>
              <a:gd name="connsiteY100" fmla="*/ 8810 h 10000"/>
              <a:gd name="connsiteX101" fmla="*/ 5235 w 10000"/>
              <a:gd name="connsiteY101" fmla="*/ 8928 h 10000"/>
              <a:gd name="connsiteX102" fmla="*/ 5383 w 10000"/>
              <a:gd name="connsiteY102" fmla="*/ 8810 h 10000"/>
              <a:gd name="connsiteX103" fmla="*/ 5383 w 10000"/>
              <a:gd name="connsiteY103" fmla="*/ 8692 h 10000"/>
              <a:gd name="connsiteX104" fmla="*/ 5235 w 10000"/>
              <a:gd name="connsiteY104" fmla="*/ 8692 h 10000"/>
              <a:gd name="connsiteX105" fmla="*/ 5383 w 10000"/>
              <a:gd name="connsiteY105" fmla="*/ 8570 h 10000"/>
              <a:gd name="connsiteX106" fmla="*/ 5235 w 10000"/>
              <a:gd name="connsiteY106" fmla="*/ 8332 h 10000"/>
              <a:gd name="connsiteX107" fmla="*/ 4924 w 10000"/>
              <a:gd name="connsiteY107" fmla="*/ 8332 h 10000"/>
              <a:gd name="connsiteX108" fmla="*/ 4771 w 10000"/>
              <a:gd name="connsiteY108" fmla="*/ 8097 h 10000"/>
              <a:gd name="connsiteX109" fmla="*/ 4924 w 10000"/>
              <a:gd name="connsiteY109" fmla="*/ 7501 h 10000"/>
              <a:gd name="connsiteX110" fmla="*/ 5235 w 10000"/>
              <a:gd name="connsiteY110" fmla="*/ 7739 h 10000"/>
              <a:gd name="connsiteX111" fmla="*/ 5383 w 10000"/>
              <a:gd name="connsiteY111" fmla="*/ 7739 h 10000"/>
              <a:gd name="connsiteX112" fmla="*/ 5235 w 10000"/>
              <a:gd name="connsiteY112" fmla="*/ 7501 h 10000"/>
              <a:gd name="connsiteX113" fmla="*/ 5700 w 10000"/>
              <a:gd name="connsiteY113" fmla="*/ 7144 h 10000"/>
              <a:gd name="connsiteX114" fmla="*/ 6011 w 10000"/>
              <a:gd name="connsiteY114" fmla="*/ 7262 h 10000"/>
              <a:gd name="connsiteX115" fmla="*/ 6160 w 10000"/>
              <a:gd name="connsiteY115" fmla="*/ 7144 h 10000"/>
              <a:gd name="connsiteX116" fmla="*/ 6451 w 10000"/>
              <a:gd name="connsiteY116" fmla="*/ 7262 h 10000"/>
              <a:gd name="connsiteX117" fmla="*/ 6934 w 10000"/>
              <a:gd name="connsiteY117" fmla="*/ 7501 h 10000"/>
              <a:gd name="connsiteX118" fmla="*/ 7229 w 10000"/>
              <a:gd name="connsiteY118" fmla="*/ 7381 h 10000"/>
              <a:gd name="connsiteX119" fmla="*/ 7542 w 10000"/>
              <a:gd name="connsiteY119" fmla="*/ 7381 h 10000"/>
              <a:gd name="connsiteX120" fmla="*/ 7699 w 10000"/>
              <a:gd name="connsiteY120" fmla="*/ 7501 h 10000"/>
              <a:gd name="connsiteX121" fmla="*/ 8313 w 10000"/>
              <a:gd name="connsiteY121" fmla="*/ 7501 h 10000"/>
              <a:gd name="connsiteX122" fmla="*/ 8461 w 10000"/>
              <a:gd name="connsiteY122" fmla="*/ 7262 h 10000"/>
              <a:gd name="connsiteX123" fmla="*/ 7992 w 10000"/>
              <a:gd name="connsiteY123" fmla="*/ 7144 h 10000"/>
              <a:gd name="connsiteX124" fmla="*/ 8313 w 10000"/>
              <a:gd name="connsiteY124" fmla="*/ 7025 h 10000"/>
              <a:gd name="connsiteX125" fmla="*/ 8152 w 10000"/>
              <a:gd name="connsiteY125" fmla="*/ 6904 h 10000"/>
              <a:gd name="connsiteX126" fmla="*/ 8313 w 10000"/>
              <a:gd name="connsiteY126" fmla="*/ 6787 h 10000"/>
              <a:gd name="connsiteX127" fmla="*/ 8313 w 10000"/>
              <a:gd name="connsiteY127" fmla="*/ 6429 h 10000"/>
              <a:gd name="connsiteX128" fmla="*/ 8610 w 10000"/>
              <a:gd name="connsiteY128" fmla="*/ 6550 h 10000"/>
              <a:gd name="connsiteX129" fmla="*/ 10000 w 10000"/>
              <a:gd name="connsiteY129" fmla="*/ 6194 h 10000"/>
              <a:gd name="connsiteX0" fmla="*/ 7262 w 8610"/>
              <a:gd name="connsiteY0" fmla="*/ 691 h 10000"/>
              <a:gd name="connsiteX1" fmla="*/ 6934 w 8610"/>
              <a:gd name="connsiteY1" fmla="*/ 717 h 10000"/>
              <a:gd name="connsiteX2" fmla="*/ 6780 w 8610"/>
              <a:gd name="connsiteY2" fmla="*/ 955 h 10000"/>
              <a:gd name="connsiteX3" fmla="*/ 6625 w 8610"/>
              <a:gd name="connsiteY3" fmla="*/ 717 h 10000"/>
              <a:gd name="connsiteX4" fmla="*/ 6625 w 8610"/>
              <a:gd name="connsiteY4" fmla="*/ 479 h 10000"/>
              <a:gd name="connsiteX5" fmla="*/ 5073 w 8610"/>
              <a:gd name="connsiteY5" fmla="*/ 1193 h 10000"/>
              <a:gd name="connsiteX6" fmla="*/ 5073 w 8610"/>
              <a:gd name="connsiteY6" fmla="*/ 1429 h 10000"/>
              <a:gd name="connsiteX7" fmla="*/ 4771 w 8610"/>
              <a:gd name="connsiteY7" fmla="*/ 1550 h 10000"/>
              <a:gd name="connsiteX8" fmla="*/ 4311 w 8610"/>
              <a:gd name="connsiteY8" fmla="*/ 1311 h 10000"/>
              <a:gd name="connsiteX9" fmla="*/ 4771 w 8610"/>
              <a:gd name="connsiteY9" fmla="*/ 1074 h 10000"/>
              <a:gd name="connsiteX10" fmla="*/ 4607 w 8610"/>
              <a:gd name="connsiteY10" fmla="*/ 717 h 10000"/>
              <a:gd name="connsiteX11" fmla="*/ 4002 w 8610"/>
              <a:gd name="connsiteY11" fmla="*/ 600 h 10000"/>
              <a:gd name="connsiteX12" fmla="*/ 4153 w 8610"/>
              <a:gd name="connsiteY12" fmla="*/ 834 h 10000"/>
              <a:gd name="connsiteX13" fmla="*/ 4153 w 8610"/>
              <a:gd name="connsiteY13" fmla="*/ 1429 h 10000"/>
              <a:gd name="connsiteX14" fmla="*/ 4311 w 8610"/>
              <a:gd name="connsiteY14" fmla="*/ 1669 h 10000"/>
              <a:gd name="connsiteX15" fmla="*/ 4153 w 8610"/>
              <a:gd name="connsiteY15" fmla="*/ 1910 h 10000"/>
              <a:gd name="connsiteX16" fmla="*/ 3684 w 8610"/>
              <a:gd name="connsiteY16" fmla="*/ 1790 h 10000"/>
              <a:gd name="connsiteX17" fmla="*/ 3083 w 8610"/>
              <a:gd name="connsiteY17" fmla="*/ 2143 h 10000"/>
              <a:gd name="connsiteX18" fmla="*/ 3382 w 8610"/>
              <a:gd name="connsiteY18" fmla="*/ 2622 h 10000"/>
              <a:gd name="connsiteX19" fmla="*/ 2454 w 8610"/>
              <a:gd name="connsiteY19" fmla="*/ 2384 h 10000"/>
              <a:gd name="connsiteX20" fmla="*/ 2308 w 8610"/>
              <a:gd name="connsiteY20" fmla="*/ 2501 h 10000"/>
              <a:gd name="connsiteX21" fmla="*/ 2620 w 8610"/>
              <a:gd name="connsiteY21" fmla="*/ 2859 h 10000"/>
              <a:gd name="connsiteX22" fmla="*/ 2308 w 8610"/>
              <a:gd name="connsiteY22" fmla="*/ 2859 h 10000"/>
              <a:gd name="connsiteX23" fmla="*/ 1851 w 8610"/>
              <a:gd name="connsiteY23" fmla="*/ 2622 h 10000"/>
              <a:gd name="connsiteX24" fmla="*/ 1851 w 8610"/>
              <a:gd name="connsiteY24" fmla="*/ 1910 h 10000"/>
              <a:gd name="connsiteX25" fmla="*/ 1391 w 8610"/>
              <a:gd name="connsiteY25" fmla="*/ 1669 h 10000"/>
              <a:gd name="connsiteX26" fmla="*/ 1232 w 8610"/>
              <a:gd name="connsiteY26" fmla="*/ 1429 h 10000"/>
              <a:gd name="connsiteX27" fmla="*/ 1531 w 8610"/>
              <a:gd name="connsiteY27" fmla="*/ 1550 h 10000"/>
              <a:gd name="connsiteX28" fmla="*/ 2760 w 8610"/>
              <a:gd name="connsiteY28" fmla="*/ 1910 h 10000"/>
              <a:gd name="connsiteX29" fmla="*/ 3524 w 8610"/>
              <a:gd name="connsiteY29" fmla="*/ 1550 h 10000"/>
              <a:gd name="connsiteX30" fmla="*/ 3382 w 8610"/>
              <a:gd name="connsiteY30" fmla="*/ 1193 h 10000"/>
              <a:gd name="connsiteX31" fmla="*/ 2454 w 8610"/>
              <a:gd name="connsiteY31" fmla="*/ 479 h 10000"/>
              <a:gd name="connsiteX32" fmla="*/ 1531 w 8610"/>
              <a:gd name="connsiteY32" fmla="*/ 241 h 10000"/>
              <a:gd name="connsiteX33" fmla="*/ 1531 w 8610"/>
              <a:gd name="connsiteY33" fmla="*/ 125 h 10000"/>
              <a:gd name="connsiteX34" fmla="*/ 1232 w 8610"/>
              <a:gd name="connsiteY34" fmla="*/ 0 h 10000"/>
              <a:gd name="connsiteX35" fmla="*/ 918 w 8610"/>
              <a:gd name="connsiteY35" fmla="*/ 125 h 10000"/>
              <a:gd name="connsiteX36" fmla="*/ 918 w 8610"/>
              <a:gd name="connsiteY36" fmla="*/ 241 h 10000"/>
              <a:gd name="connsiteX37" fmla="*/ 766 w 8610"/>
              <a:gd name="connsiteY37" fmla="*/ 241 h 10000"/>
              <a:gd name="connsiteX38" fmla="*/ 461 w 8610"/>
              <a:gd name="connsiteY38" fmla="*/ 479 h 10000"/>
              <a:gd name="connsiteX39" fmla="*/ 461 w 8610"/>
              <a:gd name="connsiteY39" fmla="*/ 834 h 10000"/>
              <a:gd name="connsiteX40" fmla="*/ 766 w 8610"/>
              <a:gd name="connsiteY40" fmla="*/ 1074 h 10000"/>
              <a:gd name="connsiteX41" fmla="*/ 621 w 8610"/>
              <a:gd name="connsiteY41" fmla="*/ 1429 h 10000"/>
              <a:gd name="connsiteX42" fmla="*/ 766 w 8610"/>
              <a:gd name="connsiteY42" fmla="*/ 2028 h 10000"/>
              <a:gd name="connsiteX43" fmla="*/ 621 w 8610"/>
              <a:gd name="connsiteY43" fmla="*/ 2384 h 10000"/>
              <a:gd name="connsiteX44" fmla="*/ 918 w 8610"/>
              <a:gd name="connsiteY44" fmla="*/ 2740 h 10000"/>
              <a:gd name="connsiteX45" fmla="*/ 766 w 8610"/>
              <a:gd name="connsiteY45" fmla="*/ 2980 h 10000"/>
              <a:gd name="connsiteX46" fmla="*/ 1071 w 8610"/>
              <a:gd name="connsiteY46" fmla="*/ 3216 h 10000"/>
              <a:gd name="connsiteX47" fmla="*/ 1071 w 8610"/>
              <a:gd name="connsiteY47" fmla="*/ 3337 h 10000"/>
              <a:gd name="connsiteX48" fmla="*/ 621 w 8610"/>
              <a:gd name="connsiteY48" fmla="*/ 3932 h 10000"/>
              <a:gd name="connsiteX49" fmla="*/ 140 w 8610"/>
              <a:gd name="connsiteY49" fmla="*/ 4170 h 10000"/>
              <a:gd name="connsiteX50" fmla="*/ 301 w 8610"/>
              <a:gd name="connsiteY50" fmla="*/ 4170 h 10000"/>
              <a:gd name="connsiteX51" fmla="*/ 621 w 8610"/>
              <a:gd name="connsiteY51" fmla="*/ 4407 h 10000"/>
              <a:gd name="connsiteX52" fmla="*/ 301 w 8610"/>
              <a:gd name="connsiteY52" fmla="*/ 4644 h 10000"/>
              <a:gd name="connsiteX53" fmla="*/ 140 w 8610"/>
              <a:gd name="connsiteY53" fmla="*/ 4765 h 10000"/>
              <a:gd name="connsiteX54" fmla="*/ 0 w 8610"/>
              <a:gd name="connsiteY54" fmla="*/ 4765 h 10000"/>
              <a:gd name="connsiteX55" fmla="*/ 140 w 8610"/>
              <a:gd name="connsiteY55" fmla="*/ 5123 h 10000"/>
              <a:gd name="connsiteX56" fmla="*/ 140 w 8610"/>
              <a:gd name="connsiteY56" fmla="*/ 5241 h 10000"/>
              <a:gd name="connsiteX57" fmla="*/ 140 w 8610"/>
              <a:gd name="connsiteY57" fmla="*/ 5358 h 10000"/>
              <a:gd name="connsiteX58" fmla="*/ 140 w 8610"/>
              <a:gd name="connsiteY58" fmla="*/ 5479 h 10000"/>
              <a:gd name="connsiteX59" fmla="*/ 301 w 8610"/>
              <a:gd name="connsiteY59" fmla="*/ 5714 h 10000"/>
              <a:gd name="connsiteX60" fmla="*/ 766 w 8610"/>
              <a:gd name="connsiteY60" fmla="*/ 5835 h 10000"/>
              <a:gd name="connsiteX61" fmla="*/ 918 w 8610"/>
              <a:gd name="connsiteY61" fmla="*/ 5950 h 10000"/>
              <a:gd name="connsiteX62" fmla="*/ 918 w 8610"/>
              <a:gd name="connsiteY62" fmla="*/ 6194 h 10000"/>
              <a:gd name="connsiteX63" fmla="*/ 1232 w 8610"/>
              <a:gd name="connsiteY63" fmla="*/ 6550 h 10000"/>
              <a:gd name="connsiteX64" fmla="*/ 1391 w 8610"/>
              <a:gd name="connsiteY64" fmla="*/ 6550 h 10000"/>
              <a:gd name="connsiteX65" fmla="*/ 1232 w 8610"/>
              <a:gd name="connsiteY65" fmla="*/ 6787 h 10000"/>
              <a:gd name="connsiteX66" fmla="*/ 1071 w 8610"/>
              <a:gd name="connsiteY66" fmla="*/ 6670 h 10000"/>
              <a:gd name="connsiteX67" fmla="*/ 1071 w 8610"/>
              <a:gd name="connsiteY67" fmla="*/ 6787 h 10000"/>
              <a:gd name="connsiteX68" fmla="*/ 1232 w 8610"/>
              <a:gd name="connsiteY68" fmla="*/ 7025 h 10000"/>
              <a:gd name="connsiteX69" fmla="*/ 1702 w 8610"/>
              <a:gd name="connsiteY69" fmla="*/ 7025 h 10000"/>
              <a:gd name="connsiteX70" fmla="*/ 1851 w 8610"/>
              <a:gd name="connsiteY70" fmla="*/ 7144 h 10000"/>
              <a:gd name="connsiteX71" fmla="*/ 1702 w 8610"/>
              <a:gd name="connsiteY71" fmla="*/ 7144 h 10000"/>
              <a:gd name="connsiteX72" fmla="*/ 1851 w 8610"/>
              <a:gd name="connsiteY72" fmla="*/ 7262 h 10000"/>
              <a:gd name="connsiteX73" fmla="*/ 1997 w 8610"/>
              <a:gd name="connsiteY73" fmla="*/ 7262 h 10000"/>
              <a:gd name="connsiteX74" fmla="*/ 2149 w 8610"/>
              <a:gd name="connsiteY74" fmla="*/ 7501 h 10000"/>
              <a:gd name="connsiteX75" fmla="*/ 2308 w 8610"/>
              <a:gd name="connsiteY75" fmla="*/ 7618 h 10000"/>
              <a:gd name="connsiteX76" fmla="*/ 2454 w 8610"/>
              <a:gd name="connsiteY76" fmla="*/ 7501 h 10000"/>
              <a:gd name="connsiteX77" fmla="*/ 3232 w 8610"/>
              <a:gd name="connsiteY77" fmla="*/ 7858 h 10000"/>
              <a:gd name="connsiteX78" fmla="*/ 3083 w 8610"/>
              <a:gd name="connsiteY78" fmla="*/ 8332 h 10000"/>
              <a:gd name="connsiteX79" fmla="*/ 2927 w 8610"/>
              <a:gd name="connsiteY79" fmla="*/ 8216 h 10000"/>
              <a:gd name="connsiteX80" fmla="*/ 2760 w 8610"/>
              <a:gd name="connsiteY80" fmla="*/ 8332 h 10000"/>
              <a:gd name="connsiteX81" fmla="*/ 2760 w 8610"/>
              <a:gd name="connsiteY81" fmla="*/ 8570 h 10000"/>
              <a:gd name="connsiteX82" fmla="*/ 2927 w 8610"/>
              <a:gd name="connsiteY82" fmla="*/ 8453 h 10000"/>
              <a:gd name="connsiteX83" fmla="*/ 3083 w 8610"/>
              <a:gd name="connsiteY83" fmla="*/ 8570 h 10000"/>
              <a:gd name="connsiteX84" fmla="*/ 2620 w 8610"/>
              <a:gd name="connsiteY84" fmla="*/ 8692 h 10000"/>
              <a:gd name="connsiteX85" fmla="*/ 2760 w 8610"/>
              <a:gd name="connsiteY85" fmla="*/ 8810 h 10000"/>
              <a:gd name="connsiteX86" fmla="*/ 2454 w 8610"/>
              <a:gd name="connsiteY86" fmla="*/ 9048 h 10000"/>
              <a:gd name="connsiteX87" fmla="*/ 2308 w 8610"/>
              <a:gd name="connsiteY87" fmla="*/ 9048 h 10000"/>
              <a:gd name="connsiteX88" fmla="*/ 2454 w 8610"/>
              <a:gd name="connsiteY88" fmla="*/ 9048 h 10000"/>
              <a:gd name="connsiteX89" fmla="*/ 3083 w 8610"/>
              <a:gd name="connsiteY89" fmla="*/ 9526 h 10000"/>
              <a:gd name="connsiteX90" fmla="*/ 3851 w 8610"/>
              <a:gd name="connsiteY90" fmla="*/ 9526 h 10000"/>
              <a:gd name="connsiteX91" fmla="*/ 4153 w 8610"/>
              <a:gd name="connsiteY91" fmla="*/ 9644 h 10000"/>
              <a:gd name="connsiteX92" fmla="*/ 4462 w 8610"/>
              <a:gd name="connsiteY92" fmla="*/ 9644 h 10000"/>
              <a:gd name="connsiteX93" fmla="*/ 4771 w 8610"/>
              <a:gd name="connsiteY93" fmla="*/ 9883 h 10000"/>
              <a:gd name="connsiteX94" fmla="*/ 4924 w 8610"/>
              <a:gd name="connsiteY94" fmla="*/ 10000 h 10000"/>
              <a:gd name="connsiteX95" fmla="*/ 5073 w 8610"/>
              <a:gd name="connsiteY95" fmla="*/ 10000 h 10000"/>
              <a:gd name="connsiteX96" fmla="*/ 5235 w 8610"/>
              <a:gd name="connsiteY96" fmla="*/ 9883 h 10000"/>
              <a:gd name="connsiteX97" fmla="*/ 4924 w 8610"/>
              <a:gd name="connsiteY97" fmla="*/ 9644 h 10000"/>
              <a:gd name="connsiteX98" fmla="*/ 4924 w 8610"/>
              <a:gd name="connsiteY98" fmla="*/ 9406 h 10000"/>
              <a:gd name="connsiteX99" fmla="*/ 4771 w 8610"/>
              <a:gd name="connsiteY99" fmla="*/ 9166 h 10000"/>
              <a:gd name="connsiteX100" fmla="*/ 5073 w 8610"/>
              <a:gd name="connsiteY100" fmla="*/ 8810 h 10000"/>
              <a:gd name="connsiteX101" fmla="*/ 5235 w 8610"/>
              <a:gd name="connsiteY101" fmla="*/ 8928 h 10000"/>
              <a:gd name="connsiteX102" fmla="*/ 5383 w 8610"/>
              <a:gd name="connsiteY102" fmla="*/ 8810 h 10000"/>
              <a:gd name="connsiteX103" fmla="*/ 5383 w 8610"/>
              <a:gd name="connsiteY103" fmla="*/ 8692 h 10000"/>
              <a:gd name="connsiteX104" fmla="*/ 5235 w 8610"/>
              <a:gd name="connsiteY104" fmla="*/ 8692 h 10000"/>
              <a:gd name="connsiteX105" fmla="*/ 5383 w 8610"/>
              <a:gd name="connsiteY105" fmla="*/ 8570 h 10000"/>
              <a:gd name="connsiteX106" fmla="*/ 5235 w 8610"/>
              <a:gd name="connsiteY106" fmla="*/ 8332 h 10000"/>
              <a:gd name="connsiteX107" fmla="*/ 4924 w 8610"/>
              <a:gd name="connsiteY107" fmla="*/ 8332 h 10000"/>
              <a:gd name="connsiteX108" fmla="*/ 4771 w 8610"/>
              <a:gd name="connsiteY108" fmla="*/ 8097 h 10000"/>
              <a:gd name="connsiteX109" fmla="*/ 4924 w 8610"/>
              <a:gd name="connsiteY109" fmla="*/ 7501 h 10000"/>
              <a:gd name="connsiteX110" fmla="*/ 5235 w 8610"/>
              <a:gd name="connsiteY110" fmla="*/ 7739 h 10000"/>
              <a:gd name="connsiteX111" fmla="*/ 5383 w 8610"/>
              <a:gd name="connsiteY111" fmla="*/ 7739 h 10000"/>
              <a:gd name="connsiteX112" fmla="*/ 5235 w 8610"/>
              <a:gd name="connsiteY112" fmla="*/ 7501 h 10000"/>
              <a:gd name="connsiteX113" fmla="*/ 5700 w 8610"/>
              <a:gd name="connsiteY113" fmla="*/ 7144 h 10000"/>
              <a:gd name="connsiteX114" fmla="*/ 6011 w 8610"/>
              <a:gd name="connsiteY114" fmla="*/ 7262 h 10000"/>
              <a:gd name="connsiteX115" fmla="*/ 6160 w 8610"/>
              <a:gd name="connsiteY115" fmla="*/ 7144 h 10000"/>
              <a:gd name="connsiteX116" fmla="*/ 6451 w 8610"/>
              <a:gd name="connsiteY116" fmla="*/ 7262 h 10000"/>
              <a:gd name="connsiteX117" fmla="*/ 6934 w 8610"/>
              <a:gd name="connsiteY117" fmla="*/ 7501 h 10000"/>
              <a:gd name="connsiteX118" fmla="*/ 7229 w 8610"/>
              <a:gd name="connsiteY118" fmla="*/ 7381 h 10000"/>
              <a:gd name="connsiteX119" fmla="*/ 7542 w 8610"/>
              <a:gd name="connsiteY119" fmla="*/ 7381 h 10000"/>
              <a:gd name="connsiteX120" fmla="*/ 7699 w 8610"/>
              <a:gd name="connsiteY120" fmla="*/ 7501 h 10000"/>
              <a:gd name="connsiteX121" fmla="*/ 8313 w 8610"/>
              <a:gd name="connsiteY121" fmla="*/ 7501 h 10000"/>
              <a:gd name="connsiteX122" fmla="*/ 8461 w 8610"/>
              <a:gd name="connsiteY122" fmla="*/ 7262 h 10000"/>
              <a:gd name="connsiteX123" fmla="*/ 7992 w 8610"/>
              <a:gd name="connsiteY123" fmla="*/ 7144 h 10000"/>
              <a:gd name="connsiteX124" fmla="*/ 8313 w 8610"/>
              <a:gd name="connsiteY124" fmla="*/ 7025 h 10000"/>
              <a:gd name="connsiteX125" fmla="*/ 8152 w 8610"/>
              <a:gd name="connsiteY125" fmla="*/ 6904 h 10000"/>
              <a:gd name="connsiteX126" fmla="*/ 8313 w 8610"/>
              <a:gd name="connsiteY126" fmla="*/ 6787 h 10000"/>
              <a:gd name="connsiteX127" fmla="*/ 8313 w 8610"/>
              <a:gd name="connsiteY127" fmla="*/ 6429 h 10000"/>
              <a:gd name="connsiteX128" fmla="*/ 8610 w 8610"/>
              <a:gd name="connsiteY128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8760 w 10000"/>
              <a:gd name="connsiteY119" fmla="*/ 7381 h 10000"/>
              <a:gd name="connsiteX120" fmla="*/ 9655 w 10000"/>
              <a:gd name="connsiteY120" fmla="*/ 7501 h 10000"/>
              <a:gd name="connsiteX121" fmla="*/ 9827 w 10000"/>
              <a:gd name="connsiteY121" fmla="*/ 7262 h 10000"/>
              <a:gd name="connsiteX122" fmla="*/ 9282 w 10000"/>
              <a:gd name="connsiteY122" fmla="*/ 7144 h 10000"/>
              <a:gd name="connsiteX123" fmla="*/ 9655 w 10000"/>
              <a:gd name="connsiteY123" fmla="*/ 7025 h 10000"/>
              <a:gd name="connsiteX124" fmla="*/ 9468 w 10000"/>
              <a:gd name="connsiteY124" fmla="*/ 6904 h 10000"/>
              <a:gd name="connsiteX125" fmla="*/ 9655 w 10000"/>
              <a:gd name="connsiteY125" fmla="*/ 6787 h 10000"/>
              <a:gd name="connsiteX126" fmla="*/ 9655 w 10000"/>
              <a:gd name="connsiteY126" fmla="*/ 6429 h 10000"/>
              <a:gd name="connsiteX127" fmla="*/ 10000 w 10000"/>
              <a:gd name="connsiteY127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8760 w 10000"/>
              <a:gd name="connsiteY119" fmla="*/ 7381 h 10000"/>
              <a:gd name="connsiteX120" fmla="*/ 9827 w 10000"/>
              <a:gd name="connsiteY120" fmla="*/ 7262 h 10000"/>
              <a:gd name="connsiteX121" fmla="*/ 9282 w 10000"/>
              <a:gd name="connsiteY121" fmla="*/ 7144 h 10000"/>
              <a:gd name="connsiteX122" fmla="*/ 9655 w 10000"/>
              <a:gd name="connsiteY122" fmla="*/ 7025 h 10000"/>
              <a:gd name="connsiteX123" fmla="*/ 9468 w 10000"/>
              <a:gd name="connsiteY123" fmla="*/ 6904 h 10000"/>
              <a:gd name="connsiteX124" fmla="*/ 9655 w 10000"/>
              <a:gd name="connsiteY124" fmla="*/ 6787 h 10000"/>
              <a:gd name="connsiteX125" fmla="*/ 9655 w 10000"/>
              <a:gd name="connsiteY125" fmla="*/ 6429 h 10000"/>
              <a:gd name="connsiteX126" fmla="*/ 10000 w 10000"/>
              <a:gd name="connsiteY126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9827 w 10000"/>
              <a:gd name="connsiteY119" fmla="*/ 7262 h 10000"/>
              <a:gd name="connsiteX120" fmla="*/ 9282 w 10000"/>
              <a:gd name="connsiteY120" fmla="*/ 7144 h 10000"/>
              <a:gd name="connsiteX121" fmla="*/ 9655 w 10000"/>
              <a:gd name="connsiteY121" fmla="*/ 7025 h 10000"/>
              <a:gd name="connsiteX122" fmla="*/ 9468 w 10000"/>
              <a:gd name="connsiteY122" fmla="*/ 6904 h 10000"/>
              <a:gd name="connsiteX123" fmla="*/ 9655 w 10000"/>
              <a:gd name="connsiteY123" fmla="*/ 6787 h 10000"/>
              <a:gd name="connsiteX124" fmla="*/ 9655 w 10000"/>
              <a:gd name="connsiteY124" fmla="*/ 6429 h 10000"/>
              <a:gd name="connsiteX125" fmla="*/ 10000 w 10000"/>
              <a:gd name="connsiteY125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9827 w 10000"/>
              <a:gd name="connsiteY119" fmla="*/ 7262 h 10000"/>
              <a:gd name="connsiteX120" fmla="*/ 9655 w 10000"/>
              <a:gd name="connsiteY120" fmla="*/ 7025 h 10000"/>
              <a:gd name="connsiteX121" fmla="*/ 9468 w 10000"/>
              <a:gd name="connsiteY121" fmla="*/ 6904 h 10000"/>
              <a:gd name="connsiteX122" fmla="*/ 9655 w 10000"/>
              <a:gd name="connsiteY122" fmla="*/ 6787 h 10000"/>
              <a:gd name="connsiteX123" fmla="*/ 9655 w 10000"/>
              <a:gd name="connsiteY123" fmla="*/ 6429 h 10000"/>
              <a:gd name="connsiteX124" fmla="*/ 10000 w 10000"/>
              <a:gd name="connsiteY124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9655 w 10000"/>
              <a:gd name="connsiteY119" fmla="*/ 7025 h 10000"/>
              <a:gd name="connsiteX120" fmla="*/ 9468 w 10000"/>
              <a:gd name="connsiteY120" fmla="*/ 6904 h 10000"/>
              <a:gd name="connsiteX121" fmla="*/ 9655 w 10000"/>
              <a:gd name="connsiteY121" fmla="*/ 6787 h 10000"/>
              <a:gd name="connsiteX122" fmla="*/ 9655 w 10000"/>
              <a:gd name="connsiteY122" fmla="*/ 6429 h 10000"/>
              <a:gd name="connsiteX123" fmla="*/ 10000 w 10000"/>
              <a:gd name="connsiteY123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9468 w 10000"/>
              <a:gd name="connsiteY119" fmla="*/ 6904 h 10000"/>
              <a:gd name="connsiteX120" fmla="*/ 9655 w 10000"/>
              <a:gd name="connsiteY120" fmla="*/ 6787 h 10000"/>
              <a:gd name="connsiteX121" fmla="*/ 9655 w 10000"/>
              <a:gd name="connsiteY121" fmla="*/ 6429 h 10000"/>
              <a:gd name="connsiteX122" fmla="*/ 10000 w 10000"/>
              <a:gd name="connsiteY122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9655 w 10000"/>
              <a:gd name="connsiteY119" fmla="*/ 6787 h 10000"/>
              <a:gd name="connsiteX120" fmla="*/ 9655 w 10000"/>
              <a:gd name="connsiteY120" fmla="*/ 6429 h 10000"/>
              <a:gd name="connsiteX121" fmla="*/ 10000 w 10000"/>
              <a:gd name="connsiteY121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9655 w 10000"/>
              <a:gd name="connsiteY119" fmla="*/ 6429 h 10000"/>
              <a:gd name="connsiteX120" fmla="*/ 10000 w 10000"/>
              <a:gd name="connsiteY120" fmla="*/ 6550 h 10000"/>
              <a:gd name="connsiteX0" fmla="*/ 8434 w 10000"/>
              <a:gd name="connsiteY0" fmla="*/ 691 h 10000"/>
              <a:gd name="connsiteX1" fmla="*/ 8053 w 10000"/>
              <a:gd name="connsiteY1" fmla="*/ 717 h 10000"/>
              <a:gd name="connsiteX2" fmla="*/ 7875 w 10000"/>
              <a:gd name="connsiteY2" fmla="*/ 955 h 10000"/>
              <a:gd name="connsiteX3" fmla="*/ 7695 w 10000"/>
              <a:gd name="connsiteY3" fmla="*/ 717 h 10000"/>
              <a:gd name="connsiteX4" fmla="*/ 7695 w 10000"/>
              <a:gd name="connsiteY4" fmla="*/ 479 h 10000"/>
              <a:gd name="connsiteX5" fmla="*/ 5892 w 10000"/>
              <a:gd name="connsiteY5" fmla="*/ 1193 h 10000"/>
              <a:gd name="connsiteX6" fmla="*/ 5892 w 10000"/>
              <a:gd name="connsiteY6" fmla="*/ 1429 h 10000"/>
              <a:gd name="connsiteX7" fmla="*/ 5541 w 10000"/>
              <a:gd name="connsiteY7" fmla="*/ 1550 h 10000"/>
              <a:gd name="connsiteX8" fmla="*/ 5007 w 10000"/>
              <a:gd name="connsiteY8" fmla="*/ 1311 h 10000"/>
              <a:gd name="connsiteX9" fmla="*/ 5541 w 10000"/>
              <a:gd name="connsiteY9" fmla="*/ 1074 h 10000"/>
              <a:gd name="connsiteX10" fmla="*/ 5351 w 10000"/>
              <a:gd name="connsiteY10" fmla="*/ 717 h 10000"/>
              <a:gd name="connsiteX11" fmla="*/ 4648 w 10000"/>
              <a:gd name="connsiteY11" fmla="*/ 600 h 10000"/>
              <a:gd name="connsiteX12" fmla="*/ 4823 w 10000"/>
              <a:gd name="connsiteY12" fmla="*/ 834 h 10000"/>
              <a:gd name="connsiteX13" fmla="*/ 4823 w 10000"/>
              <a:gd name="connsiteY13" fmla="*/ 1429 h 10000"/>
              <a:gd name="connsiteX14" fmla="*/ 5007 w 10000"/>
              <a:gd name="connsiteY14" fmla="*/ 1669 h 10000"/>
              <a:gd name="connsiteX15" fmla="*/ 4823 w 10000"/>
              <a:gd name="connsiteY15" fmla="*/ 1910 h 10000"/>
              <a:gd name="connsiteX16" fmla="*/ 4279 w 10000"/>
              <a:gd name="connsiteY16" fmla="*/ 1790 h 10000"/>
              <a:gd name="connsiteX17" fmla="*/ 3581 w 10000"/>
              <a:gd name="connsiteY17" fmla="*/ 2143 h 10000"/>
              <a:gd name="connsiteX18" fmla="*/ 3928 w 10000"/>
              <a:gd name="connsiteY18" fmla="*/ 2622 h 10000"/>
              <a:gd name="connsiteX19" fmla="*/ 2850 w 10000"/>
              <a:gd name="connsiteY19" fmla="*/ 2384 h 10000"/>
              <a:gd name="connsiteX20" fmla="*/ 2681 w 10000"/>
              <a:gd name="connsiteY20" fmla="*/ 2501 h 10000"/>
              <a:gd name="connsiteX21" fmla="*/ 3043 w 10000"/>
              <a:gd name="connsiteY21" fmla="*/ 2859 h 10000"/>
              <a:gd name="connsiteX22" fmla="*/ 2681 w 10000"/>
              <a:gd name="connsiteY22" fmla="*/ 2859 h 10000"/>
              <a:gd name="connsiteX23" fmla="*/ 2150 w 10000"/>
              <a:gd name="connsiteY23" fmla="*/ 2622 h 10000"/>
              <a:gd name="connsiteX24" fmla="*/ 2150 w 10000"/>
              <a:gd name="connsiteY24" fmla="*/ 1910 h 10000"/>
              <a:gd name="connsiteX25" fmla="*/ 1616 w 10000"/>
              <a:gd name="connsiteY25" fmla="*/ 1669 h 10000"/>
              <a:gd name="connsiteX26" fmla="*/ 1431 w 10000"/>
              <a:gd name="connsiteY26" fmla="*/ 1429 h 10000"/>
              <a:gd name="connsiteX27" fmla="*/ 1778 w 10000"/>
              <a:gd name="connsiteY27" fmla="*/ 1550 h 10000"/>
              <a:gd name="connsiteX28" fmla="*/ 3206 w 10000"/>
              <a:gd name="connsiteY28" fmla="*/ 1910 h 10000"/>
              <a:gd name="connsiteX29" fmla="*/ 4093 w 10000"/>
              <a:gd name="connsiteY29" fmla="*/ 1550 h 10000"/>
              <a:gd name="connsiteX30" fmla="*/ 3928 w 10000"/>
              <a:gd name="connsiteY30" fmla="*/ 1193 h 10000"/>
              <a:gd name="connsiteX31" fmla="*/ 2850 w 10000"/>
              <a:gd name="connsiteY31" fmla="*/ 479 h 10000"/>
              <a:gd name="connsiteX32" fmla="*/ 1778 w 10000"/>
              <a:gd name="connsiteY32" fmla="*/ 241 h 10000"/>
              <a:gd name="connsiteX33" fmla="*/ 1778 w 10000"/>
              <a:gd name="connsiteY33" fmla="*/ 125 h 10000"/>
              <a:gd name="connsiteX34" fmla="*/ 1431 w 10000"/>
              <a:gd name="connsiteY34" fmla="*/ 0 h 10000"/>
              <a:gd name="connsiteX35" fmla="*/ 1066 w 10000"/>
              <a:gd name="connsiteY35" fmla="*/ 125 h 10000"/>
              <a:gd name="connsiteX36" fmla="*/ 1066 w 10000"/>
              <a:gd name="connsiteY36" fmla="*/ 241 h 10000"/>
              <a:gd name="connsiteX37" fmla="*/ 890 w 10000"/>
              <a:gd name="connsiteY37" fmla="*/ 241 h 10000"/>
              <a:gd name="connsiteX38" fmla="*/ 535 w 10000"/>
              <a:gd name="connsiteY38" fmla="*/ 479 h 10000"/>
              <a:gd name="connsiteX39" fmla="*/ 535 w 10000"/>
              <a:gd name="connsiteY39" fmla="*/ 834 h 10000"/>
              <a:gd name="connsiteX40" fmla="*/ 890 w 10000"/>
              <a:gd name="connsiteY40" fmla="*/ 1074 h 10000"/>
              <a:gd name="connsiteX41" fmla="*/ 721 w 10000"/>
              <a:gd name="connsiteY41" fmla="*/ 1429 h 10000"/>
              <a:gd name="connsiteX42" fmla="*/ 890 w 10000"/>
              <a:gd name="connsiteY42" fmla="*/ 2028 h 10000"/>
              <a:gd name="connsiteX43" fmla="*/ 721 w 10000"/>
              <a:gd name="connsiteY43" fmla="*/ 2384 h 10000"/>
              <a:gd name="connsiteX44" fmla="*/ 1066 w 10000"/>
              <a:gd name="connsiteY44" fmla="*/ 2740 h 10000"/>
              <a:gd name="connsiteX45" fmla="*/ 890 w 10000"/>
              <a:gd name="connsiteY45" fmla="*/ 2980 h 10000"/>
              <a:gd name="connsiteX46" fmla="*/ 1244 w 10000"/>
              <a:gd name="connsiteY46" fmla="*/ 3216 h 10000"/>
              <a:gd name="connsiteX47" fmla="*/ 1244 w 10000"/>
              <a:gd name="connsiteY47" fmla="*/ 3337 h 10000"/>
              <a:gd name="connsiteX48" fmla="*/ 721 w 10000"/>
              <a:gd name="connsiteY48" fmla="*/ 3932 h 10000"/>
              <a:gd name="connsiteX49" fmla="*/ 163 w 10000"/>
              <a:gd name="connsiteY49" fmla="*/ 4170 h 10000"/>
              <a:gd name="connsiteX50" fmla="*/ 350 w 10000"/>
              <a:gd name="connsiteY50" fmla="*/ 4170 h 10000"/>
              <a:gd name="connsiteX51" fmla="*/ 721 w 10000"/>
              <a:gd name="connsiteY51" fmla="*/ 4407 h 10000"/>
              <a:gd name="connsiteX52" fmla="*/ 350 w 10000"/>
              <a:gd name="connsiteY52" fmla="*/ 4644 h 10000"/>
              <a:gd name="connsiteX53" fmla="*/ 163 w 10000"/>
              <a:gd name="connsiteY53" fmla="*/ 4765 h 10000"/>
              <a:gd name="connsiteX54" fmla="*/ 0 w 10000"/>
              <a:gd name="connsiteY54" fmla="*/ 4765 h 10000"/>
              <a:gd name="connsiteX55" fmla="*/ 163 w 10000"/>
              <a:gd name="connsiteY55" fmla="*/ 5123 h 10000"/>
              <a:gd name="connsiteX56" fmla="*/ 163 w 10000"/>
              <a:gd name="connsiteY56" fmla="*/ 5241 h 10000"/>
              <a:gd name="connsiteX57" fmla="*/ 163 w 10000"/>
              <a:gd name="connsiteY57" fmla="*/ 5358 h 10000"/>
              <a:gd name="connsiteX58" fmla="*/ 163 w 10000"/>
              <a:gd name="connsiteY58" fmla="*/ 5479 h 10000"/>
              <a:gd name="connsiteX59" fmla="*/ 350 w 10000"/>
              <a:gd name="connsiteY59" fmla="*/ 5714 h 10000"/>
              <a:gd name="connsiteX60" fmla="*/ 890 w 10000"/>
              <a:gd name="connsiteY60" fmla="*/ 5835 h 10000"/>
              <a:gd name="connsiteX61" fmla="*/ 1066 w 10000"/>
              <a:gd name="connsiteY61" fmla="*/ 5950 h 10000"/>
              <a:gd name="connsiteX62" fmla="*/ 1066 w 10000"/>
              <a:gd name="connsiteY62" fmla="*/ 6194 h 10000"/>
              <a:gd name="connsiteX63" fmla="*/ 1431 w 10000"/>
              <a:gd name="connsiteY63" fmla="*/ 6550 h 10000"/>
              <a:gd name="connsiteX64" fmla="*/ 1616 w 10000"/>
              <a:gd name="connsiteY64" fmla="*/ 6550 h 10000"/>
              <a:gd name="connsiteX65" fmla="*/ 1431 w 10000"/>
              <a:gd name="connsiteY65" fmla="*/ 6787 h 10000"/>
              <a:gd name="connsiteX66" fmla="*/ 1244 w 10000"/>
              <a:gd name="connsiteY66" fmla="*/ 6670 h 10000"/>
              <a:gd name="connsiteX67" fmla="*/ 1244 w 10000"/>
              <a:gd name="connsiteY67" fmla="*/ 6787 h 10000"/>
              <a:gd name="connsiteX68" fmla="*/ 1431 w 10000"/>
              <a:gd name="connsiteY68" fmla="*/ 7025 h 10000"/>
              <a:gd name="connsiteX69" fmla="*/ 1977 w 10000"/>
              <a:gd name="connsiteY69" fmla="*/ 7025 h 10000"/>
              <a:gd name="connsiteX70" fmla="*/ 2150 w 10000"/>
              <a:gd name="connsiteY70" fmla="*/ 7144 h 10000"/>
              <a:gd name="connsiteX71" fmla="*/ 1977 w 10000"/>
              <a:gd name="connsiteY71" fmla="*/ 7144 h 10000"/>
              <a:gd name="connsiteX72" fmla="*/ 2150 w 10000"/>
              <a:gd name="connsiteY72" fmla="*/ 7262 h 10000"/>
              <a:gd name="connsiteX73" fmla="*/ 2319 w 10000"/>
              <a:gd name="connsiteY73" fmla="*/ 7262 h 10000"/>
              <a:gd name="connsiteX74" fmla="*/ 2496 w 10000"/>
              <a:gd name="connsiteY74" fmla="*/ 7501 h 10000"/>
              <a:gd name="connsiteX75" fmla="*/ 2681 w 10000"/>
              <a:gd name="connsiteY75" fmla="*/ 7618 h 10000"/>
              <a:gd name="connsiteX76" fmla="*/ 2850 w 10000"/>
              <a:gd name="connsiteY76" fmla="*/ 7501 h 10000"/>
              <a:gd name="connsiteX77" fmla="*/ 3754 w 10000"/>
              <a:gd name="connsiteY77" fmla="*/ 7858 h 10000"/>
              <a:gd name="connsiteX78" fmla="*/ 3581 w 10000"/>
              <a:gd name="connsiteY78" fmla="*/ 8332 h 10000"/>
              <a:gd name="connsiteX79" fmla="*/ 3400 w 10000"/>
              <a:gd name="connsiteY79" fmla="*/ 8216 h 10000"/>
              <a:gd name="connsiteX80" fmla="*/ 3206 w 10000"/>
              <a:gd name="connsiteY80" fmla="*/ 8332 h 10000"/>
              <a:gd name="connsiteX81" fmla="*/ 3206 w 10000"/>
              <a:gd name="connsiteY81" fmla="*/ 8570 h 10000"/>
              <a:gd name="connsiteX82" fmla="*/ 3400 w 10000"/>
              <a:gd name="connsiteY82" fmla="*/ 8453 h 10000"/>
              <a:gd name="connsiteX83" fmla="*/ 3581 w 10000"/>
              <a:gd name="connsiteY83" fmla="*/ 8570 h 10000"/>
              <a:gd name="connsiteX84" fmla="*/ 3043 w 10000"/>
              <a:gd name="connsiteY84" fmla="*/ 8692 h 10000"/>
              <a:gd name="connsiteX85" fmla="*/ 3206 w 10000"/>
              <a:gd name="connsiteY85" fmla="*/ 8810 h 10000"/>
              <a:gd name="connsiteX86" fmla="*/ 2850 w 10000"/>
              <a:gd name="connsiteY86" fmla="*/ 9048 h 10000"/>
              <a:gd name="connsiteX87" fmla="*/ 2681 w 10000"/>
              <a:gd name="connsiteY87" fmla="*/ 9048 h 10000"/>
              <a:gd name="connsiteX88" fmla="*/ 2850 w 10000"/>
              <a:gd name="connsiteY88" fmla="*/ 9048 h 10000"/>
              <a:gd name="connsiteX89" fmla="*/ 3581 w 10000"/>
              <a:gd name="connsiteY89" fmla="*/ 9526 h 10000"/>
              <a:gd name="connsiteX90" fmla="*/ 4473 w 10000"/>
              <a:gd name="connsiteY90" fmla="*/ 9526 h 10000"/>
              <a:gd name="connsiteX91" fmla="*/ 4823 w 10000"/>
              <a:gd name="connsiteY91" fmla="*/ 9644 h 10000"/>
              <a:gd name="connsiteX92" fmla="*/ 5182 w 10000"/>
              <a:gd name="connsiteY92" fmla="*/ 9644 h 10000"/>
              <a:gd name="connsiteX93" fmla="*/ 5541 w 10000"/>
              <a:gd name="connsiteY93" fmla="*/ 9883 h 10000"/>
              <a:gd name="connsiteX94" fmla="*/ 5719 w 10000"/>
              <a:gd name="connsiteY94" fmla="*/ 10000 h 10000"/>
              <a:gd name="connsiteX95" fmla="*/ 5892 w 10000"/>
              <a:gd name="connsiteY95" fmla="*/ 10000 h 10000"/>
              <a:gd name="connsiteX96" fmla="*/ 6080 w 10000"/>
              <a:gd name="connsiteY96" fmla="*/ 9883 h 10000"/>
              <a:gd name="connsiteX97" fmla="*/ 5719 w 10000"/>
              <a:gd name="connsiteY97" fmla="*/ 9644 h 10000"/>
              <a:gd name="connsiteX98" fmla="*/ 5719 w 10000"/>
              <a:gd name="connsiteY98" fmla="*/ 9406 h 10000"/>
              <a:gd name="connsiteX99" fmla="*/ 5541 w 10000"/>
              <a:gd name="connsiteY99" fmla="*/ 9166 h 10000"/>
              <a:gd name="connsiteX100" fmla="*/ 5892 w 10000"/>
              <a:gd name="connsiteY100" fmla="*/ 8810 h 10000"/>
              <a:gd name="connsiteX101" fmla="*/ 6080 w 10000"/>
              <a:gd name="connsiteY101" fmla="*/ 8928 h 10000"/>
              <a:gd name="connsiteX102" fmla="*/ 6252 w 10000"/>
              <a:gd name="connsiteY102" fmla="*/ 8810 h 10000"/>
              <a:gd name="connsiteX103" fmla="*/ 6252 w 10000"/>
              <a:gd name="connsiteY103" fmla="*/ 8692 h 10000"/>
              <a:gd name="connsiteX104" fmla="*/ 6080 w 10000"/>
              <a:gd name="connsiteY104" fmla="*/ 8692 h 10000"/>
              <a:gd name="connsiteX105" fmla="*/ 6252 w 10000"/>
              <a:gd name="connsiteY105" fmla="*/ 8570 h 10000"/>
              <a:gd name="connsiteX106" fmla="*/ 6080 w 10000"/>
              <a:gd name="connsiteY106" fmla="*/ 8332 h 10000"/>
              <a:gd name="connsiteX107" fmla="*/ 5719 w 10000"/>
              <a:gd name="connsiteY107" fmla="*/ 8332 h 10000"/>
              <a:gd name="connsiteX108" fmla="*/ 5541 w 10000"/>
              <a:gd name="connsiteY108" fmla="*/ 8097 h 10000"/>
              <a:gd name="connsiteX109" fmla="*/ 5719 w 10000"/>
              <a:gd name="connsiteY109" fmla="*/ 7501 h 10000"/>
              <a:gd name="connsiteX110" fmla="*/ 6080 w 10000"/>
              <a:gd name="connsiteY110" fmla="*/ 7739 h 10000"/>
              <a:gd name="connsiteX111" fmla="*/ 6252 w 10000"/>
              <a:gd name="connsiteY111" fmla="*/ 7739 h 10000"/>
              <a:gd name="connsiteX112" fmla="*/ 6080 w 10000"/>
              <a:gd name="connsiteY112" fmla="*/ 7501 h 10000"/>
              <a:gd name="connsiteX113" fmla="*/ 6620 w 10000"/>
              <a:gd name="connsiteY113" fmla="*/ 7144 h 10000"/>
              <a:gd name="connsiteX114" fmla="*/ 6981 w 10000"/>
              <a:gd name="connsiteY114" fmla="*/ 7262 h 10000"/>
              <a:gd name="connsiteX115" fmla="*/ 7154 w 10000"/>
              <a:gd name="connsiteY115" fmla="*/ 7144 h 10000"/>
              <a:gd name="connsiteX116" fmla="*/ 7492 w 10000"/>
              <a:gd name="connsiteY116" fmla="*/ 7262 h 10000"/>
              <a:gd name="connsiteX117" fmla="*/ 8053 w 10000"/>
              <a:gd name="connsiteY117" fmla="*/ 7501 h 10000"/>
              <a:gd name="connsiteX118" fmla="*/ 8396 w 10000"/>
              <a:gd name="connsiteY118" fmla="*/ 7381 h 10000"/>
              <a:gd name="connsiteX119" fmla="*/ 10000 w 10000"/>
              <a:gd name="connsiteY119" fmla="*/ 6550 h 10000"/>
              <a:gd name="connsiteX0" fmla="*/ 8434 w 8434"/>
              <a:gd name="connsiteY0" fmla="*/ 691 h 10000"/>
              <a:gd name="connsiteX1" fmla="*/ 8053 w 8434"/>
              <a:gd name="connsiteY1" fmla="*/ 717 h 10000"/>
              <a:gd name="connsiteX2" fmla="*/ 7875 w 8434"/>
              <a:gd name="connsiteY2" fmla="*/ 955 h 10000"/>
              <a:gd name="connsiteX3" fmla="*/ 7695 w 8434"/>
              <a:gd name="connsiteY3" fmla="*/ 717 h 10000"/>
              <a:gd name="connsiteX4" fmla="*/ 7695 w 8434"/>
              <a:gd name="connsiteY4" fmla="*/ 479 h 10000"/>
              <a:gd name="connsiteX5" fmla="*/ 5892 w 8434"/>
              <a:gd name="connsiteY5" fmla="*/ 1193 h 10000"/>
              <a:gd name="connsiteX6" fmla="*/ 5892 w 8434"/>
              <a:gd name="connsiteY6" fmla="*/ 1429 h 10000"/>
              <a:gd name="connsiteX7" fmla="*/ 5541 w 8434"/>
              <a:gd name="connsiteY7" fmla="*/ 1550 h 10000"/>
              <a:gd name="connsiteX8" fmla="*/ 5007 w 8434"/>
              <a:gd name="connsiteY8" fmla="*/ 1311 h 10000"/>
              <a:gd name="connsiteX9" fmla="*/ 5541 w 8434"/>
              <a:gd name="connsiteY9" fmla="*/ 1074 h 10000"/>
              <a:gd name="connsiteX10" fmla="*/ 5351 w 8434"/>
              <a:gd name="connsiteY10" fmla="*/ 717 h 10000"/>
              <a:gd name="connsiteX11" fmla="*/ 4648 w 8434"/>
              <a:gd name="connsiteY11" fmla="*/ 600 h 10000"/>
              <a:gd name="connsiteX12" fmla="*/ 4823 w 8434"/>
              <a:gd name="connsiteY12" fmla="*/ 834 h 10000"/>
              <a:gd name="connsiteX13" fmla="*/ 4823 w 8434"/>
              <a:gd name="connsiteY13" fmla="*/ 1429 h 10000"/>
              <a:gd name="connsiteX14" fmla="*/ 5007 w 8434"/>
              <a:gd name="connsiteY14" fmla="*/ 1669 h 10000"/>
              <a:gd name="connsiteX15" fmla="*/ 4823 w 8434"/>
              <a:gd name="connsiteY15" fmla="*/ 1910 h 10000"/>
              <a:gd name="connsiteX16" fmla="*/ 4279 w 8434"/>
              <a:gd name="connsiteY16" fmla="*/ 1790 h 10000"/>
              <a:gd name="connsiteX17" fmla="*/ 3581 w 8434"/>
              <a:gd name="connsiteY17" fmla="*/ 2143 h 10000"/>
              <a:gd name="connsiteX18" fmla="*/ 3928 w 8434"/>
              <a:gd name="connsiteY18" fmla="*/ 2622 h 10000"/>
              <a:gd name="connsiteX19" fmla="*/ 2850 w 8434"/>
              <a:gd name="connsiteY19" fmla="*/ 2384 h 10000"/>
              <a:gd name="connsiteX20" fmla="*/ 2681 w 8434"/>
              <a:gd name="connsiteY20" fmla="*/ 2501 h 10000"/>
              <a:gd name="connsiteX21" fmla="*/ 3043 w 8434"/>
              <a:gd name="connsiteY21" fmla="*/ 2859 h 10000"/>
              <a:gd name="connsiteX22" fmla="*/ 2681 w 8434"/>
              <a:gd name="connsiteY22" fmla="*/ 2859 h 10000"/>
              <a:gd name="connsiteX23" fmla="*/ 2150 w 8434"/>
              <a:gd name="connsiteY23" fmla="*/ 2622 h 10000"/>
              <a:gd name="connsiteX24" fmla="*/ 2150 w 8434"/>
              <a:gd name="connsiteY24" fmla="*/ 1910 h 10000"/>
              <a:gd name="connsiteX25" fmla="*/ 1616 w 8434"/>
              <a:gd name="connsiteY25" fmla="*/ 1669 h 10000"/>
              <a:gd name="connsiteX26" fmla="*/ 1431 w 8434"/>
              <a:gd name="connsiteY26" fmla="*/ 1429 h 10000"/>
              <a:gd name="connsiteX27" fmla="*/ 1778 w 8434"/>
              <a:gd name="connsiteY27" fmla="*/ 1550 h 10000"/>
              <a:gd name="connsiteX28" fmla="*/ 3206 w 8434"/>
              <a:gd name="connsiteY28" fmla="*/ 1910 h 10000"/>
              <a:gd name="connsiteX29" fmla="*/ 4093 w 8434"/>
              <a:gd name="connsiteY29" fmla="*/ 1550 h 10000"/>
              <a:gd name="connsiteX30" fmla="*/ 3928 w 8434"/>
              <a:gd name="connsiteY30" fmla="*/ 1193 h 10000"/>
              <a:gd name="connsiteX31" fmla="*/ 2850 w 8434"/>
              <a:gd name="connsiteY31" fmla="*/ 479 h 10000"/>
              <a:gd name="connsiteX32" fmla="*/ 1778 w 8434"/>
              <a:gd name="connsiteY32" fmla="*/ 241 h 10000"/>
              <a:gd name="connsiteX33" fmla="*/ 1778 w 8434"/>
              <a:gd name="connsiteY33" fmla="*/ 125 h 10000"/>
              <a:gd name="connsiteX34" fmla="*/ 1431 w 8434"/>
              <a:gd name="connsiteY34" fmla="*/ 0 h 10000"/>
              <a:gd name="connsiteX35" fmla="*/ 1066 w 8434"/>
              <a:gd name="connsiteY35" fmla="*/ 125 h 10000"/>
              <a:gd name="connsiteX36" fmla="*/ 1066 w 8434"/>
              <a:gd name="connsiteY36" fmla="*/ 241 h 10000"/>
              <a:gd name="connsiteX37" fmla="*/ 890 w 8434"/>
              <a:gd name="connsiteY37" fmla="*/ 241 h 10000"/>
              <a:gd name="connsiteX38" fmla="*/ 535 w 8434"/>
              <a:gd name="connsiteY38" fmla="*/ 479 h 10000"/>
              <a:gd name="connsiteX39" fmla="*/ 535 w 8434"/>
              <a:gd name="connsiteY39" fmla="*/ 834 h 10000"/>
              <a:gd name="connsiteX40" fmla="*/ 890 w 8434"/>
              <a:gd name="connsiteY40" fmla="*/ 1074 h 10000"/>
              <a:gd name="connsiteX41" fmla="*/ 721 w 8434"/>
              <a:gd name="connsiteY41" fmla="*/ 1429 h 10000"/>
              <a:gd name="connsiteX42" fmla="*/ 890 w 8434"/>
              <a:gd name="connsiteY42" fmla="*/ 2028 h 10000"/>
              <a:gd name="connsiteX43" fmla="*/ 721 w 8434"/>
              <a:gd name="connsiteY43" fmla="*/ 2384 h 10000"/>
              <a:gd name="connsiteX44" fmla="*/ 1066 w 8434"/>
              <a:gd name="connsiteY44" fmla="*/ 2740 h 10000"/>
              <a:gd name="connsiteX45" fmla="*/ 890 w 8434"/>
              <a:gd name="connsiteY45" fmla="*/ 2980 h 10000"/>
              <a:gd name="connsiteX46" fmla="*/ 1244 w 8434"/>
              <a:gd name="connsiteY46" fmla="*/ 3216 h 10000"/>
              <a:gd name="connsiteX47" fmla="*/ 1244 w 8434"/>
              <a:gd name="connsiteY47" fmla="*/ 3337 h 10000"/>
              <a:gd name="connsiteX48" fmla="*/ 721 w 8434"/>
              <a:gd name="connsiteY48" fmla="*/ 3932 h 10000"/>
              <a:gd name="connsiteX49" fmla="*/ 163 w 8434"/>
              <a:gd name="connsiteY49" fmla="*/ 4170 h 10000"/>
              <a:gd name="connsiteX50" fmla="*/ 350 w 8434"/>
              <a:gd name="connsiteY50" fmla="*/ 4170 h 10000"/>
              <a:gd name="connsiteX51" fmla="*/ 721 w 8434"/>
              <a:gd name="connsiteY51" fmla="*/ 4407 h 10000"/>
              <a:gd name="connsiteX52" fmla="*/ 350 w 8434"/>
              <a:gd name="connsiteY52" fmla="*/ 4644 h 10000"/>
              <a:gd name="connsiteX53" fmla="*/ 163 w 8434"/>
              <a:gd name="connsiteY53" fmla="*/ 4765 h 10000"/>
              <a:gd name="connsiteX54" fmla="*/ 0 w 8434"/>
              <a:gd name="connsiteY54" fmla="*/ 4765 h 10000"/>
              <a:gd name="connsiteX55" fmla="*/ 163 w 8434"/>
              <a:gd name="connsiteY55" fmla="*/ 5123 h 10000"/>
              <a:gd name="connsiteX56" fmla="*/ 163 w 8434"/>
              <a:gd name="connsiteY56" fmla="*/ 5241 h 10000"/>
              <a:gd name="connsiteX57" fmla="*/ 163 w 8434"/>
              <a:gd name="connsiteY57" fmla="*/ 5358 h 10000"/>
              <a:gd name="connsiteX58" fmla="*/ 163 w 8434"/>
              <a:gd name="connsiteY58" fmla="*/ 5479 h 10000"/>
              <a:gd name="connsiteX59" fmla="*/ 350 w 8434"/>
              <a:gd name="connsiteY59" fmla="*/ 5714 h 10000"/>
              <a:gd name="connsiteX60" fmla="*/ 890 w 8434"/>
              <a:gd name="connsiteY60" fmla="*/ 5835 h 10000"/>
              <a:gd name="connsiteX61" fmla="*/ 1066 w 8434"/>
              <a:gd name="connsiteY61" fmla="*/ 5950 h 10000"/>
              <a:gd name="connsiteX62" fmla="*/ 1066 w 8434"/>
              <a:gd name="connsiteY62" fmla="*/ 6194 h 10000"/>
              <a:gd name="connsiteX63" fmla="*/ 1431 w 8434"/>
              <a:gd name="connsiteY63" fmla="*/ 6550 h 10000"/>
              <a:gd name="connsiteX64" fmla="*/ 1616 w 8434"/>
              <a:gd name="connsiteY64" fmla="*/ 6550 h 10000"/>
              <a:gd name="connsiteX65" fmla="*/ 1431 w 8434"/>
              <a:gd name="connsiteY65" fmla="*/ 6787 h 10000"/>
              <a:gd name="connsiteX66" fmla="*/ 1244 w 8434"/>
              <a:gd name="connsiteY66" fmla="*/ 6670 h 10000"/>
              <a:gd name="connsiteX67" fmla="*/ 1244 w 8434"/>
              <a:gd name="connsiteY67" fmla="*/ 6787 h 10000"/>
              <a:gd name="connsiteX68" fmla="*/ 1431 w 8434"/>
              <a:gd name="connsiteY68" fmla="*/ 7025 h 10000"/>
              <a:gd name="connsiteX69" fmla="*/ 1977 w 8434"/>
              <a:gd name="connsiteY69" fmla="*/ 7025 h 10000"/>
              <a:gd name="connsiteX70" fmla="*/ 2150 w 8434"/>
              <a:gd name="connsiteY70" fmla="*/ 7144 h 10000"/>
              <a:gd name="connsiteX71" fmla="*/ 1977 w 8434"/>
              <a:gd name="connsiteY71" fmla="*/ 7144 h 10000"/>
              <a:gd name="connsiteX72" fmla="*/ 2150 w 8434"/>
              <a:gd name="connsiteY72" fmla="*/ 7262 h 10000"/>
              <a:gd name="connsiteX73" fmla="*/ 2319 w 8434"/>
              <a:gd name="connsiteY73" fmla="*/ 7262 h 10000"/>
              <a:gd name="connsiteX74" fmla="*/ 2496 w 8434"/>
              <a:gd name="connsiteY74" fmla="*/ 7501 h 10000"/>
              <a:gd name="connsiteX75" fmla="*/ 2681 w 8434"/>
              <a:gd name="connsiteY75" fmla="*/ 7618 h 10000"/>
              <a:gd name="connsiteX76" fmla="*/ 2850 w 8434"/>
              <a:gd name="connsiteY76" fmla="*/ 7501 h 10000"/>
              <a:gd name="connsiteX77" fmla="*/ 3754 w 8434"/>
              <a:gd name="connsiteY77" fmla="*/ 7858 h 10000"/>
              <a:gd name="connsiteX78" fmla="*/ 3581 w 8434"/>
              <a:gd name="connsiteY78" fmla="*/ 8332 h 10000"/>
              <a:gd name="connsiteX79" fmla="*/ 3400 w 8434"/>
              <a:gd name="connsiteY79" fmla="*/ 8216 h 10000"/>
              <a:gd name="connsiteX80" fmla="*/ 3206 w 8434"/>
              <a:gd name="connsiteY80" fmla="*/ 8332 h 10000"/>
              <a:gd name="connsiteX81" fmla="*/ 3206 w 8434"/>
              <a:gd name="connsiteY81" fmla="*/ 8570 h 10000"/>
              <a:gd name="connsiteX82" fmla="*/ 3400 w 8434"/>
              <a:gd name="connsiteY82" fmla="*/ 8453 h 10000"/>
              <a:gd name="connsiteX83" fmla="*/ 3581 w 8434"/>
              <a:gd name="connsiteY83" fmla="*/ 8570 h 10000"/>
              <a:gd name="connsiteX84" fmla="*/ 3043 w 8434"/>
              <a:gd name="connsiteY84" fmla="*/ 8692 h 10000"/>
              <a:gd name="connsiteX85" fmla="*/ 3206 w 8434"/>
              <a:gd name="connsiteY85" fmla="*/ 8810 h 10000"/>
              <a:gd name="connsiteX86" fmla="*/ 2850 w 8434"/>
              <a:gd name="connsiteY86" fmla="*/ 9048 h 10000"/>
              <a:gd name="connsiteX87" fmla="*/ 2681 w 8434"/>
              <a:gd name="connsiteY87" fmla="*/ 9048 h 10000"/>
              <a:gd name="connsiteX88" fmla="*/ 2850 w 8434"/>
              <a:gd name="connsiteY88" fmla="*/ 9048 h 10000"/>
              <a:gd name="connsiteX89" fmla="*/ 3581 w 8434"/>
              <a:gd name="connsiteY89" fmla="*/ 9526 h 10000"/>
              <a:gd name="connsiteX90" fmla="*/ 4473 w 8434"/>
              <a:gd name="connsiteY90" fmla="*/ 9526 h 10000"/>
              <a:gd name="connsiteX91" fmla="*/ 4823 w 8434"/>
              <a:gd name="connsiteY91" fmla="*/ 9644 h 10000"/>
              <a:gd name="connsiteX92" fmla="*/ 5182 w 8434"/>
              <a:gd name="connsiteY92" fmla="*/ 9644 h 10000"/>
              <a:gd name="connsiteX93" fmla="*/ 5541 w 8434"/>
              <a:gd name="connsiteY93" fmla="*/ 9883 h 10000"/>
              <a:gd name="connsiteX94" fmla="*/ 5719 w 8434"/>
              <a:gd name="connsiteY94" fmla="*/ 10000 h 10000"/>
              <a:gd name="connsiteX95" fmla="*/ 5892 w 8434"/>
              <a:gd name="connsiteY95" fmla="*/ 10000 h 10000"/>
              <a:gd name="connsiteX96" fmla="*/ 6080 w 8434"/>
              <a:gd name="connsiteY96" fmla="*/ 9883 h 10000"/>
              <a:gd name="connsiteX97" fmla="*/ 5719 w 8434"/>
              <a:gd name="connsiteY97" fmla="*/ 9644 h 10000"/>
              <a:gd name="connsiteX98" fmla="*/ 5719 w 8434"/>
              <a:gd name="connsiteY98" fmla="*/ 9406 h 10000"/>
              <a:gd name="connsiteX99" fmla="*/ 5541 w 8434"/>
              <a:gd name="connsiteY99" fmla="*/ 9166 h 10000"/>
              <a:gd name="connsiteX100" fmla="*/ 5892 w 8434"/>
              <a:gd name="connsiteY100" fmla="*/ 8810 h 10000"/>
              <a:gd name="connsiteX101" fmla="*/ 6080 w 8434"/>
              <a:gd name="connsiteY101" fmla="*/ 8928 h 10000"/>
              <a:gd name="connsiteX102" fmla="*/ 6252 w 8434"/>
              <a:gd name="connsiteY102" fmla="*/ 8810 h 10000"/>
              <a:gd name="connsiteX103" fmla="*/ 6252 w 8434"/>
              <a:gd name="connsiteY103" fmla="*/ 8692 h 10000"/>
              <a:gd name="connsiteX104" fmla="*/ 6080 w 8434"/>
              <a:gd name="connsiteY104" fmla="*/ 8692 h 10000"/>
              <a:gd name="connsiteX105" fmla="*/ 6252 w 8434"/>
              <a:gd name="connsiteY105" fmla="*/ 8570 h 10000"/>
              <a:gd name="connsiteX106" fmla="*/ 6080 w 8434"/>
              <a:gd name="connsiteY106" fmla="*/ 8332 h 10000"/>
              <a:gd name="connsiteX107" fmla="*/ 5719 w 8434"/>
              <a:gd name="connsiteY107" fmla="*/ 8332 h 10000"/>
              <a:gd name="connsiteX108" fmla="*/ 5541 w 8434"/>
              <a:gd name="connsiteY108" fmla="*/ 8097 h 10000"/>
              <a:gd name="connsiteX109" fmla="*/ 5719 w 8434"/>
              <a:gd name="connsiteY109" fmla="*/ 7501 h 10000"/>
              <a:gd name="connsiteX110" fmla="*/ 6080 w 8434"/>
              <a:gd name="connsiteY110" fmla="*/ 7739 h 10000"/>
              <a:gd name="connsiteX111" fmla="*/ 6252 w 8434"/>
              <a:gd name="connsiteY111" fmla="*/ 7739 h 10000"/>
              <a:gd name="connsiteX112" fmla="*/ 6080 w 8434"/>
              <a:gd name="connsiteY112" fmla="*/ 7501 h 10000"/>
              <a:gd name="connsiteX113" fmla="*/ 6620 w 8434"/>
              <a:gd name="connsiteY113" fmla="*/ 7144 h 10000"/>
              <a:gd name="connsiteX114" fmla="*/ 6981 w 8434"/>
              <a:gd name="connsiteY114" fmla="*/ 7262 h 10000"/>
              <a:gd name="connsiteX115" fmla="*/ 7154 w 8434"/>
              <a:gd name="connsiteY115" fmla="*/ 7144 h 10000"/>
              <a:gd name="connsiteX116" fmla="*/ 7492 w 8434"/>
              <a:gd name="connsiteY116" fmla="*/ 7262 h 10000"/>
              <a:gd name="connsiteX117" fmla="*/ 8053 w 8434"/>
              <a:gd name="connsiteY117" fmla="*/ 7501 h 10000"/>
              <a:gd name="connsiteX118" fmla="*/ 8396 w 8434"/>
              <a:gd name="connsiteY118" fmla="*/ 738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8434" h="10000">
                <a:moveTo>
                  <a:pt x="8434" y="691"/>
                </a:moveTo>
                <a:lnTo>
                  <a:pt x="8053" y="717"/>
                </a:lnTo>
                <a:cubicBezTo>
                  <a:pt x="7979" y="798"/>
                  <a:pt x="7925" y="874"/>
                  <a:pt x="7875" y="955"/>
                </a:cubicBezTo>
                <a:cubicBezTo>
                  <a:pt x="7815" y="874"/>
                  <a:pt x="7746" y="798"/>
                  <a:pt x="7695" y="717"/>
                </a:cubicBezTo>
                <a:lnTo>
                  <a:pt x="7695" y="479"/>
                </a:lnTo>
                <a:lnTo>
                  <a:pt x="5892" y="1193"/>
                </a:lnTo>
                <a:lnTo>
                  <a:pt x="5892" y="1429"/>
                </a:lnTo>
                <a:lnTo>
                  <a:pt x="5541" y="1550"/>
                </a:lnTo>
                <a:cubicBezTo>
                  <a:pt x="5361" y="1471"/>
                  <a:pt x="5179" y="1393"/>
                  <a:pt x="5007" y="1311"/>
                </a:cubicBezTo>
                <a:lnTo>
                  <a:pt x="5541" y="1074"/>
                </a:lnTo>
                <a:cubicBezTo>
                  <a:pt x="5485" y="955"/>
                  <a:pt x="5417" y="834"/>
                  <a:pt x="5351" y="717"/>
                </a:cubicBezTo>
                <a:lnTo>
                  <a:pt x="4648" y="600"/>
                </a:lnTo>
                <a:cubicBezTo>
                  <a:pt x="4705" y="678"/>
                  <a:pt x="4765" y="756"/>
                  <a:pt x="4823" y="834"/>
                </a:cubicBezTo>
                <a:lnTo>
                  <a:pt x="4823" y="1429"/>
                </a:lnTo>
                <a:cubicBezTo>
                  <a:pt x="4885" y="1509"/>
                  <a:pt x="4938" y="1590"/>
                  <a:pt x="5007" y="1669"/>
                </a:cubicBezTo>
                <a:cubicBezTo>
                  <a:pt x="4938" y="1750"/>
                  <a:pt x="4886" y="1828"/>
                  <a:pt x="4823" y="1910"/>
                </a:cubicBezTo>
                <a:lnTo>
                  <a:pt x="4279" y="1790"/>
                </a:lnTo>
                <a:lnTo>
                  <a:pt x="3581" y="2143"/>
                </a:lnTo>
                <a:lnTo>
                  <a:pt x="3928" y="2622"/>
                </a:lnTo>
                <a:lnTo>
                  <a:pt x="2850" y="2384"/>
                </a:lnTo>
                <a:cubicBezTo>
                  <a:pt x="2803" y="2422"/>
                  <a:pt x="2741" y="2461"/>
                  <a:pt x="2681" y="2501"/>
                </a:cubicBezTo>
                <a:cubicBezTo>
                  <a:pt x="2803" y="2622"/>
                  <a:pt x="2908" y="2740"/>
                  <a:pt x="3043" y="2859"/>
                </a:cubicBezTo>
                <a:lnTo>
                  <a:pt x="2681" y="2859"/>
                </a:lnTo>
                <a:lnTo>
                  <a:pt x="2150" y="2622"/>
                </a:lnTo>
                <a:lnTo>
                  <a:pt x="2150" y="1910"/>
                </a:lnTo>
                <a:cubicBezTo>
                  <a:pt x="1985" y="1828"/>
                  <a:pt x="1779" y="1750"/>
                  <a:pt x="1616" y="1669"/>
                </a:cubicBezTo>
                <a:cubicBezTo>
                  <a:pt x="1560" y="1590"/>
                  <a:pt x="1481" y="1509"/>
                  <a:pt x="1431" y="1429"/>
                </a:cubicBezTo>
                <a:cubicBezTo>
                  <a:pt x="1560" y="1471"/>
                  <a:pt x="1667" y="1509"/>
                  <a:pt x="1778" y="1550"/>
                </a:cubicBezTo>
                <a:lnTo>
                  <a:pt x="3206" y="1910"/>
                </a:lnTo>
                <a:lnTo>
                  <a:pt x="4093" y="1550"/>
                </a:lnTo>
                <a:cubicBezTo>
                  <a:pt x="4039" y="1429"/>
                  <a:pt x="3990" y="1311"/>
                  <a:pt x="3928" y="1193"/>
                </a:cubicBezTo>
                <a:cubicBezTo>
                  <a:pt x="3581" y="952"/>
                  <a:pt x="3202" y="717"/>
                  <a:pt x="2850" y="479"/>
                </a:cubicBezTo>
                <a:lnTo>
                  <a:pt x="1778" y="241"/>
                </a:lnTo>
                <a:lnTo>
                  <a:pt x="1778" y="125"/>
                </a:lnTo>
                <a:cubicBezTo>
                  <a:pt x="1667" y="78"/>
                  <a:pt x="1560" y="42"/>
                  <a:pt x="1431" y="0"/>
                </a:cubicBezTo>
                <a:cubicBezTo>
                  <a:pt x="1312" y="40"/>
                  <a:pt x="1184" y="81"/>
                  <a:pt x="1066" y="125"/>
                </a:cubicBezTo>
                <a:lnTo>
                  <a:pt x="1066" y="241"/>
                </a:lnTo>
                <a:lnTo>
                  <a:pt x="890" y="241"/>
                </a:lnTo>
                <a:cubicBezTo>
                  <a:pt x="762" y="321"/>
                  <a:pt x="662" y="399"/>
                  <a:pt x="535" y="479"/>
                </a:cubicBezTo>
                <a:lnTo>
                  <a:pt x="535" y="834"/>
                </a:lnTo>
                <a:cubicBezTo>
                  <a:pt x="662" y="917"/>
                  <a:pt x="762" y="996"/>
                  <a:pt x="890" y="1074"/>
                </a:cubicBezTo>
                <a:cubicBezTo>
                  <a:pt x="836" y="1193"/>
                  <a:pt x="762" y="1311"/>
                  <a:pt x="721" y="1429"/>
                </a:cubicBezTo>
                <a:cubicBezTo>
                  <a:pt x="762" y="1629"/>
                  <a:pt x="836" y="1829"/>
                  <a:pt x="890" y="2028"/>
                </a:cubicBezTo>
                <a:cubicBezTo>
                  <a:pt x="836" y="2143"/>
                  <a:pt x="762" y="2265"/>
                  <a:pt x="721" y="2384"/>
                </a:cubicBezTo>
                <a:cubicBezTo>
                  <a:pt x="836" y="2501"/>
                  <a:pt x="937" y="2622"/>
                  <a:pt x="1066" y="2740"/>
                </a:cubicBezTo>
                <a:cubicBezTo>
                  <a:pt x="1014" y="2819"/>
                  <a:pt x="945" y="2898"/>
                  <a:pt x="890" y="2980"/>
                </a:cubicBezTo>
                <a:cubicBezTo>
                  <a:pt x="1017" y="3058"/>
                  <a:pt x="1131" y="3137"/>
                  <a:pt x="1244" y="3216"/>
                </a:cubicBezTo>
                <a:lnTo>
                  <a:pt x="1244" y="3337"/>
                </a:lnTo>
                <a:cubicBezTo>
                  <a:pt x="1066" y="3534"/>
                  <a:pt x="890" y="3733"/>
                  <a:pt x="721" y="3932"/>
                </a:cubicBezTo>
                <a:lnTo>
                  <a:pt x="163" y="4170"/>
                </a:lnTo>
                <a:lnTo>
                  <a:pt x="350" y="4170"/>
                </a:lnTo>
                <a:cubicBezTo>
                  <a:pt x="482" y="4248"/>
                  <a:pt x="603" y="4326"/>
                  <a:pt x="721" y="4407"/>
                </a:cubicBezTo>
                <a:cubicBezTo>
                  <a:pt x="603" y="4484"/>
                  <a:pt x="482" y="4562"/>
                  <a:pt x="350" y="4644"/>
                </a:cubicBezTo>
                <a:cubicBezTo>
                  <a:pt x="292" y="4686"/>
                  <a:pt x="220" y="4726"/>
                  <a:pt x="163" y="4765"/>
                </a:cubicBezTo>
                <a:lnTo>
                  <a:pt x="0" y="4765"/>
                </a:lnTo>
                <a:cubicBezTo>
                  <a:pt x="38" y="4883"/>
                  <a:pt x="108" y="5001"/>
                  <a:pt x="163" y="5123"/>
                </a:cubicBezTo>
                <a:lnTo>
                  <a:pt x="163" y="5241"/>
                </a:lnTo>
                <a:lnTo>
                  <a:pt x="163" y="5358"/>
                </a:lnTo>
                <a:lnTo>
                  <a:pt x="163" y="5479"/>
                </a:lnTo>
                <a:cubicBezTo>
                  <a:pt x="220" y="5556"/>
                  <a:pt x="287" y="5635"/>
                  <a:pt x="350" y="5714"/>
                </a:cubicBezTo>
                <a:lnTo>
                  <a:pt x="890" y="5835"/>
                </a:lnTo>
                <a:cubicBezTo>
                  <a:pt x="945" y="5875"/>
                  <a:pt x="1014" y="5913"/>
                  <a:pt x="1066" y="5950"/>
                </a:cubicBezTo>
                <a:lnTo>
                  <a:pt x="1066" y="6194"/>
                </a:lnTo>
                <a:cubicBezTo>
                  <a:pt x="1188" y="6311"/>
                  <a:pt x="1305" y="6429"/>
                  <a:pt x="1431" y="6550"/>
                </a:cubicBezTo>
                <a:lnTo>
                  <a:pt x="1616" y="6550"/>
                </a:lnTo>
                <a:cubicBezTo>
                  <a:pt x="1560" y="6628"/>
                  <a:pt x="1482" y="6706"/>
                  <a:pt x="1431" y="6787"/>
                </a:cubicBezTo>
                <a:cubicBezTo>
                  <a:pt x="1364" y="6748"/>
                  <a:pt x="1307" y="6708"/>
                  <a:pt x="1244" y="6670"/>
                </a:cubicBezTo>
                <a:lnTo>
                  <a:pt x="1244" y="6787"/>
                </a:lnTo>
                <a:cubicBezTo>
                  <a:pt x="1305" y="6865"/>
                  <a:pt x="1362" y="6944"/>
                  <a:pt x="1431" y="7025"/>
                </a:cubicBezTo>
                <a:lnTo>
                  <a:pt x="1977" y="7025"/>
                </a:lnTo>
                <a:cubicBezTo>
                  <a:pt x="2024" y="7065"/>
                  <a:pt x="2092" y="7106"/>
                  <a:pt x="2150" y="7144"/>
                </a:cubicBezTo>
                <a:lnTo>
                  <a:pt x="1977" y="7144"/>
                </a:lnTo>
                <a:cubicBezTo>
                  <a:pt x="2029" y="7184"/>
                  <a:pt x="2085" y="7223"/>
                  <a:pt x="2150" y="7262"/>
                </a:cubicBezTo>
                <a:lnTo>
                  <a:pt x="2319" y="7262"/>
                </a:lnTo>
                <a:cubicBezTo>
                  <a:pt x="2373" y="7342"/>
                  <a:pt x="2439" y="7422"/>
                  <a:pt x="2496" y="7501"/>
                </a:cubicBezTo>
                <a:cubicBezTo>
                  <a:pt x="2559" y="7543"/>
                  <a:pt x="2621" y="7579"/>
                  <a:pt x="2681" y="7618"/>
                </a:cubicBezTo>
                <a:cubicBezTo>
                  <a:pt x="2741" y="7579"/>
                  <a:pt x="2803" y="7543"/>
                  <a:pt x="2850" y="7501"/>
                </a:cubicBezTo>
                <a:lnTo>
                  <a:pt x="3754" y="7858"/>
                </a:lnTo>
                <a:cubicBezTo>
                  <a:pt x="3698" y="8017"/>
                  <a:pt x="3640" y="8178"/>
                  <a:pt x="3581" y="8332"/>
                </a:cubicBezTo>
                <a:cubicBezTo>
                  <a:pt x="3506" y="8294"/>
                  <a:pt x="3438" y="8257"/>
                  <a:pt x="3400" y="8216"/>
                </a:cubicBezTo>
                <a:cubicBezTo>
                  <a:pt x="3336" y="8257"/>
                  <a:pt x="3278" y="8294"/>
                  <a:pt x="3206" y="8332"/>
                </a:cubicBezTo>
                <a:lnTo>
                  <a:pt x="3206" y="8570"/>
                </a:lnTo>
                <a:cubicBezTo>
                  <a:pt x="3278" y="8533"/>
                  <a:pt x="3336" y="8494"/>
                  <a:pt x="3400" y="8453"/>
                </a:cubicBezTo>
                <a:cubicBezTo>
                  <a:pt x="3438" y="8494"/>
                  <a:pt x="3506" y="8533"/>
                  <a:pt x="3581" y="8570"/>
                </a:cubicBezTo>
                <a:cubicBezTo>
                  <a:pt x="3409" y="8614"/>
                  <a:pt x="3210" y="8649"/>
                  <a:pt x="3043" y="8692"/>
                </a:cubicBezTo>
                <a:cubicBezTo>
                  <a:pt x="3091" y="8731"/>
                  <a:pt x="3148" y="8770"/>
                  <a:pt x="3206" y="8810"/>
                </a:cubicBezTo>
                <a:cubicBezTo>
                  <a:pt x="3084" y="8891"/>
                  <a:pt x="2988" y="8966"/>
                  <a:pt x="2850" y="9048"/>
                </a:cubicBezTo>
                <a:lnTo>
                  <a:pt x="2681" y="9048"/>
                </a:lnTo>
                <a:lnTo>
                  <a:pt x="2850" y="9048"/>
                </a:lnTo>
                <a:lnTo>
                  <a:pt x="3581" y="9526"/>
                </a:lnTo>
                <a:lnTo>
                  <a:pt x="4473" y="9526"/>
                </a:lnTo>
                <a:lnTo>
                  <a:pt x="4823" y="9644"/>
                </a:lnTo>
                <a:lnTo>
                  <a:pt x="5182" y="9644"/>
                </a:lnTo>
                <a:cubicBezTo>
                  <a:pt x="5310" y="9724"/>
                  <a:pt x="5417" y="9805"/>
                  <a:pt x="5541" y="9883"/>
                </a:cubicBezTo>
                <a:cubicBezTo>
                  <a:pt x="5597" y="9922"/>
                  <a:pt x="5663" y="9962"/>
                  <a:pt x="5719" y="10000"/>
                </a:cubicBezTo>
                <a:lnTo>
                  <a:pt x="5892" y="10000"/>
                </a:lnTo>
                <a:cubicBezTo>
                  <a:pt x="5957" y="9962"/>
                  <a:pt x="6017" y="9922"/>
                  <a:pt x="6080" y="9883"/>
                </a:cubicBezTo>
                <a:lnTo>
                  <a:pt x="5719" y="9644"/>
                </a:lnTo>
                <a:lnTo>
                  <a:pt x="5719" y="9406"/>
                </a:lnTo>
                <a:cubicBezTo>
                  <a:pt x="5663" y="9325"/>
                  <a:pt x="5597" y="9246"/>
                  <a:pt x="5541" y="9166"/>
                </a:cubicBezTo>
                <a:cubicBezTo>
                  <a:pt x="5663" y="9048"/>
                  <a:pt x="5785" y="8928"/>
                  <a:pt x="5892" y="8810"/>
                </a:cubicBezTo>
                <a:cubicBezTo>
                  <a:pt x="5956" y="8849"/>
                  <a:pt x="6016" y="8889"/>
                  <a:pt x="6080" y="8928"/>
                </a:cubicBezTo>
                <a:cubicBezTo>
                  <a:pt x="6144" y="8890"/>
                  <a:pt x="6195" y="8851"/>
                  <a:pt x="6252" y="8810"/>
                </a:cubicBezTo>
                <a:lnTo>
                  <a:pt x="6252" y="8692"/>
                </a:lnTo>
                <a:lnTo>
                  <a:pt x="6080" y="8692"/>
                </a:lnTo>
                <a:cubicBezTo>
                  <a:pt x="6144" y="8649"/>
                  <a:pt x="6195" y="8614"/>
                  <a:pt x="6252" y="8570"/>
                </a:cubicBezTo>
                <a:cubicBezTo>
                  <a:pt x="6195" y="8492"/>
                  <a:pt x="6144" y="8414"/>
                  <a:pt x="6080" y="8332"/>
                </a:cubicBezTo>
                <a:lnTo>
                  <a:pt x="5719" y="8332"/>
                </a:lnTo>
                <a:cubicBezTo>
                  <a:pt x="5663" y="8255"/>
                  <a:pt x="5597" y="8178"/>
                  <a:pt x="5541" y="8097"/>
                </a:cubicBezTo>
                <a:cubicBezTo>
                  <a:pt x="5597" y="7898"/>
                  <a:pt x="5663" y="7696"/>
                  <a:pt x="5719" y="7501"/>
                </a:cubicBezTo>
                <a:cubicBezTo>
                  <a:pt x="5848" y="7581"/>
                  <a:pt x="5957" y="7659"/>
                  <a:pt x="6080" y="7739"/>
                </a:cubicBezTo>
                <a:lnTo>
                  <a:pt x="6252" y="7739"/>
                </a:lnTo>
                <a:cubicBezTo>
                  <a:pt x="6195" y="7659"/>
                  <a:pt x="6144" y="7581"/>
                  <a:pt x="6080" y="7501"/>
                </a:cubicBezTo>
                <a:lnTo>
                  <a:pt x="6620" y="7144"/>
                </a:lnTo>
                <a:cubicBezTo>
                  <a:pt x="6732" y="7184"/>
                  <a:pt x="6857" y="7223"/>
                  <a:pt x="6981" y="7262"/>
                </a:cubicBezTo>
                <a:cubicBezTo>
                  <a:pt x="7050" y="7223"/>
                  <a:pt x="7095" y="7184"/>
                  <a:pt x="7154" y="7144"/>
                </a:cubicBezTo>
                <a:lnTo>
                  <a:pt x="7492" y="7262"/>
                </a:lnTo>
                <a:cubicBezTo>
                  <a:pt x="7686" y="7342"/>
                  <a:pt x="7875" y="7422"/>
                  <a:pt x="8053" y="7501"/>
                </a:cubicBezTo>
                <a:cubicBezTo>
                  <a:pt x="8153" y="7462"/>
                  <a:pt x="8278" y="7423"/>
                  <a:pt x="8396" y="7381"/>
                </a:cubicBezTo>
              </a:path>
            </a:pathLst>
          </a:custGeom>
          <a:solidFill>
            <a:schemeClr val="bg1">
              <a:lumMod val="85000"/>
            </a:schemeClr>
          </a:solidFill>
          <a:ln w="6350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IN" sz="1350" dirty="0">
              <a:solidFill>
                <a:srgbClr val="00234C"/>
              </a:solidFill>
              <a:latin typeface="Verdana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AE672E5-F304-4B9D-AAB4-66CF3D678A9C}"/>
              </a:ext>
            </a:extLst>
          </p:cNvPr>
          <p:cNvSpPr/>
          <p:nvPr/>
        </p:nvSpPr>
        <p:spPr>
          <a:xfrm>
            <a:off x="511248" y="1057275"/>
            <a:ext cx="3288614" cy="346406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de-CH" sz="1350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44" name="Text Placeholder 34">
            <a:extLst>
              <a:ext uri="{FF2B5EF4-FFF2-40B4-BE49-F238E27FC236}">
                <a16:creationId xmlns:a16="http://schemas.microsoft.com/office/drawing/2014/main" id="{0C43738F-A5FD-4E76-915D-F2D1E35118AE}"/>
              </a:ext>
            </a:extLst>
          </p:cNvPr>
          <p:cNvSpPr txBox="1">
            <a:spLocks/>
          </p:cNvSpPr>
          <p:nvPr/>
        </p:nvSpPr>
        <p:spPr>
          <a:xfrm>
            <a:off x="4589431" y="891070"/>
            <a:ext cx="3783548" cy="3620623"/>
          </a:xfrm>
          <a:prstGeom prst="rect">
            <a:avLst/>
          </a:prstGeom>
        </p:spPr>
        <p:txBody>
          <a:bodyPr/>
          <a:lstStyle>
            <a:lvl1pPr marL="0" indent="0" algn="l" defTabSz="9142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Tx/>
              <a:buNone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17" indent="-285717" algn="l" defTabSz="914286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17" indent="-285717" algn="l" defTabSz="914286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3491" indent="-171430" algn="l" defTabSz="914286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0000" marR="0" indent="-171430" algn="l" defTabSz="91428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5718" indent="-171430" algn="l" defTabSz="914286" rtl="0" eaLnBrk="1" latinLnBrk="0" hangingPunct="1">
              <a:spcBef>
                <a:spcPts val="100"/>
              </a:spcBef>
              <a:spcAft>
                <a:spcPts val="1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97144" indent="-171430" algn="l" defTabSz="914286" rtl="0" eaLnBrk="1" latinLnBrk="0" hangingPunct="1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3" indent="-228573" algn="l" defTabSz="91428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18" indent="-228573" algn="l" defTabSz="91428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b="1" dirty="0"/>
              <a:t>Germany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 err="1"/>
              <a:t>Rheinlandklinikum-Lukaskrankenhaus</a:t>
            </a:r>
            <a:r>
              <a:rPr lang="en-US" sz="1050" dirty="0"/>
              <a:t>, Neuss; M. Haude, CCI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 err="1"/>
              <a:t>Deutsches</a:t>
            </a:r>
            <a:r>
              <a:rPr lang="en-US" sz="1050" dirty="0"/>
              <a:t> </a:t>
            </a:r>
            <a:r>
              <a:rPr lang="en-US" sz="1050" dirty="0" err="1"/>
              <a:t>Herzzentrum</a:t>
            </a:r>
            <a:r>
              <a:rPr lang="en-US" sz="1050" dirty="0"/>
              <a:t> München, München; M. Joner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Segeberg </a:t>
            </a:r>
            <a:r>
              <a:rPr lang="en-US" sz="1050" dirty="0" err="1"/>
              <a:t>Kliniken</a:t>
            </a:r>
            <a:r>
              <a:rPr lang="en-US" sz="1050" dirty="0"/>
              <a:t> </a:t>
            </a:r>
            <a:r>
              <a:rPr lang="en-US" sz="1050" dirty="0" err="1"/>
              <a:t>Herzzentrum</a:t>
            </a:r>
            <a:r>
              <a:rPr lang="en-US" sz="1050" dirty="0"/>
              <a:t>, Bad Segeberg; R. Tölg 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 err="1"/>
              <a:t>Herz</a:t>
            </a:r>
            <a:r>
              <a:rPr lang="en-US" sz="1050" dirty="0"/>
              <a:t>- und </a:t>
            </a:r>
            <a:r>
              <a:rPr lang="en-US" sz="1050" dirty="0" err="1"/>
              <a:t>Gefä</a:t>
            </a:r>
            <a:r>
              <a:rPr lang="de-CH" sz="1050" dirty="0" err="1"/>
              <a:t>ßzentrum</a:t>
            </a:r>
            <a:r>
              <a:rPr lang="de-CH" sz="1050" dirty="0"/>
              <a:t> Oberallgäu-Kempten; J. </a:t>
            </a:r>
            <a:r>
              <a:rPr lang="de-CH" sz="1050" dirty="0" err="1"/>
              <a:t>Torzewski</a:t>
            </a:r>
            <a:endParaRPr lang="de-CH" sz="1050" dirty="0"/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de-CH" sz="1050" dirty="0"/>
              <a:t>Johannes Wesling Klinikum Minden, Minden; M. Wiemer</a:t>
            </a:r>
          </a:p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b="1" dirty="0"/>
              <a:t>Poland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 err="1"/>
              <a:t>Miedziowe</a:t>
            </a:r>
            <a:r>
              <a:rPr lang="en-US" sz="1050" dirty="0"/>
              <a:t> Centrum </a:t>
            </a:r>
            <a:r>
              <a:rPr lang="en-US" sz="1050" dirty="0" err="1"/>
              <a:t>Zdrowia</a:t>
            </a:r>
            <a:r>
              <a:rPr lang="en-US" sz="1050" dirty="0"/>
              <a:t> SA, </a:t>
            </a:r>
            <a:r>
              <a:rPr lang="en-US" sz="1050" dirty="0" err="1"/>
              <a:t>Lubin</a:t>
            </a:r>
            <a:r>
              <a:rPr lang="en-US" sz="1050" dirty="0"/>
              <a:t>; A. Wlodarczak</a:t>
            </a:r>
          </a:p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dirty="0"/>
              <a:t>Netherlands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OLVG, Amsterdam; R. J. van der Schaaf</a:t>
            </a:r>
          </a:p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b="1" dirty="0"/>
              <a:t>Belgium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 err="1"/>
              <a:t>Ziekenhuis</a:t>
            </a:r>
            <a:r>
              <a:rPr lang="en-US" sz="1050" dirty="0"/>
              <a:t> Oost Limburg (ZOL), Genk; B. Ferdinande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UZ </a:t>
            </a:r>
            <a:r>
              <a:rPr lang="en-US" sz="1050" dirty="0" err="1"/>
              <a:t>Gasthuisberg</a:t>
            </a:r>
            <a:r>
              <a:rPr lang="en-US" sz="1050" dirty="0"/>
              <a:t>, Leuven; J. Bennett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ZNA </a:t>
            </a:r>
            <a:r>
              <a:rPr lang="en-US" sz="1050" dirty="0" err="1"/>
              <a:t>Middelheim</a:t>
            </a:r>
            <a:r>
              <a:rPr lang="en-US" sz="1050" dirty="0"/>
              <a:t>, </a:t>
            </a:r>
            <a:r>
              <a:rPr lang="en-US" sz="1050" dirty="0" err="1"/>
              <a:t>Antwerpen</a:t>
            </a:r>
            <a:r>
              <a:rPr lang="en-US" sz="1050" dirty="0"/>
              <a:t>; S. Verheye</a:t>
            </a:r>
          </a:p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b="1" dirty="0"/>
              <a:t>Switzerland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HUG, Geneva; J. F. Iglesias</a:t>
            </a:r>
          </a:p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b="1" dirty="0"/>
              <a:t>Sweden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 err="1"/>
              <a:t>Skane</a:t>
            </a:r>
            <a:r>
              <a:rPr lang="en-US" sz="1050" dirty="0"/>
              <a:t> University Hospital, Lund; G. </a:t>
            </a:r>
            <a:r>
              <a:rPr lang="en-US" sz="1050" dirty="0" err="1"/>
              <a:t>Olivecrona</a:t>
            </a:r>
            <a:endParaRPr lang="en-US" sz="1050" dirty="0"/>
          </a:p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b="1" dirty="0"/>
              <a:t>Austria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Med. Uni Hospital, Graz; G. Toth </a:t>
            </a:r>
            <a:r>
              <a:rPr lang="en-US" sz="1050" dirty="0" err="1"/>
              <a:t>Gayor</a:t>
            </a:r>
            <a:endParaRPr lang="en-US" sz="1050" dirty="0"/>
          </a:p>
          <a:p>
            <a:pPr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defRPr/>
            </a:pPr>
            <a:r>
              <a:rPr lang="en-US" sz="1050" b="1" dirty="0"/>
              <a:t>Spain</a:t>
            </a:r>
          </a:p>
          <a:p>
            <a:pPr marL="66675" indent="-66675" defTabSz="685715">
              <a:lnSpc>
                <a:spcPct val="90000"/>
              </a:lnSpc>
              <a:spcAft>
                <a:spcPts val="150"/>
              </a:spcAft>
              <a:buClr>
                <a:srgbClr val="00234C"/>
              </a:buClr>
              <a:buFont typeface="Arial" panose="020B0604020202020204" pitchFamily="34" charset="0"/>
              <a:buChar char="•"/>
              <a:defRPr/>
            </a:pPr>
            <a:r>
              <a:rPr lang="en-US" sz="1050" dirty="0"/>
              <a:t>Hospital </a:t>
            </a:r>
            <a:r>
              <a:rPr lang="en-US" sz="1050" dirty="0" err="1"/>
              <a:t>Clinico</a:t>
            </a:r>
            <a:r>
              <a:rPr lang="en-US" sz="1050" dirty="0"/>
              <a:t> San Carlos, Madrid; J. </a:t>
            </a:r>
            <a:r>
              <a:rPr lang="en-US" sz="1050" dirty="0" err="1"/>
              <a:t>Escaned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491446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EBF7FF0-9CD9-4DF1-9FCB-F396B5A531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538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5" progId="TCLayout.ActiveDocument.1">
                  <p:embed/>
                </p:oleObj>
              </mc:Choice>
              <mc:Fallback>
                <p:oleObj name="think-cell Folie" r:id="rId3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3D22A7-03C5-44F0-A130-97D8D09D97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195212"/>
            <a:ext cx="8229600" cy="848897"/>
          </a:xfrm>
        </p:spPr>
        <p:txBody>
          <a:bodyPr vert="horz">
            <a:normAutofit/>
          </a:bodyPr>
          <a:lstStyle/>
          <a:p>
            <a:r>
              <a:rPr lang="de-CH" sz="4000" dirty="0" err="1"/>
              <a:t>Inclusion</a:t>
            </a:r>
            <a:r>
              <a:rPr lang="de-CH" sz="4000" dirty="0"/>
              <a:t> and </a:t>
            </a:r>
            <a:r>
              <a:rPr lang="de-CH" sz="4000" dirty="0" err="1"/>
              <a:t>Exclusion</a:t>
            </a:r>
            <a:r>
              <a:rPr lang="de-CH" sz="4000" dirty="0"/>
              <a:t> </a:t>
            </a:r>
            <a:r>
              <a:rPr lang="de-CH" sz="4000" dirty="0" err="1"/>
              <a:t>Criteria</a:t>
            </a:r>
            <a:endParaRPr lang="en-US" sz="4000" dirty="0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69B335A-0CAD-4325-9201-6C86EE2C2D09}"/>
              </a:ext>
            </a:extLst>
          </p:cNvPr>
          <p:cNvSpPr txBox="1">
            <a:spLocks/>
          </p:cNvSpPr>
          <p:nvPr/>
        </p:nvSpPr>
        <p:spPr bwMode="auto">
          <a:xfrm>
            <a:off x="228600" y="1007762"/>
            <a:ext cx="4040981" cy="3621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spcAft>
                <a:spcPts val="900"/>
              </a:spcAft>
              <a:buFont typeface="Arial" pitchFamily="34" charset="0"/>
              <a:buNone/>
            </a:pPr>
            <a:r>
              <a:rPr lang="en-US" sz="1400" dirty="0">
                <a:solidFill>
                  <a:srgbClr val="FFFFFF"/>
                </a:solidFill>
                <a:latin typeface="Arial"/>
                <a:ea typeface="ＭＳ Ｐゴシック" pitchFamily="34" charset="-128"/>
              </a:rPr>
              <a:t>n Criteria*</a:t>
            </a:r>
          </a:p>
          <a:p>
            <a:pPr marL="377825" indent="-285750" eaLnBrk="1" hangingPunct="1">
              <a:spcAft>
                <a:spcPts val="900"/>
              </a:spcAft>
              <a:buFont typeface="Wingdings" panose="05000000000000000000" pitchFamily="2" charset="2"/>
              <a:buChar char="§"/>
            </a:pPr>
            <a:r>
              <a:rPr lang="en-US" sz="1400" b="0" dirty="0">
                <a:ea typeface="ＭＳ Ｐゴシック" pitchFamily="34" charset="-128"/>
              </a:rPr>
              <a:t>Maximum of up to two single </a:t>
            </a:r>
            <a:r>
              <a:rPr lang="en-US" sz="1400" b="0" i="1" dirty="0">
                <a:ea typeface="ＭＳ Ｐゴシック" pitchFamily="34" charset="-128"/>
              </a:rPr>
              <a:t>de novo </a:t>
            </a:r>
            <a:r>
              <a:rPr lang="en-US" sz="1400" b="0" dirty="0">
                <a:ea typeface="ＭＳ Ｐゴシック" pitchFamily="34" charset="-128"/>
              </a:rPr>
              <a:t>lesions in two separate coronary arteries </a:t>
            </a:r>
          </a:p>
          <a:p>
            <a:pPr marL="377825" lvl="2" indent="-285750"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Target RVD by visual estimation between 2.5-4.2 mm </a:t>
            </a:r>
          </a:p>
          <a:p>
            <a:pPr marL="377825" lvl="2" indent="-285750"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Target lesion length by visual estimation ≤ 28 mm</a:t>
            </a:r>
          </a:p>
          <a:p>
            <a:pPr marL="377825" lvl="2" indent="-285750"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Target lesion stenosis by visual estimation ≥ 50% - &lt; 100%</a:t>
            </a:r>
          </a:p>
          <a:p>
            <a:pPr marL="377825" lvl="2" indent="-285750"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Subjects with stable or unstable angina pectoris or documented silent ischemia or hemodynamically stable NSTEMI patients without angiographic evidence of thrombus at target lesion</a:t>
            </a:r>
          </a:p>
        </p:txBody>
      </p:sp>
      <p:pic>
        <p:nvPicPr>
          <p:cNvPr id="8" name="Textfeld 11">
            <a:extLst>
              <a:ext uri="{FF2B5EF4-FFF2-40B4-BE49-F238E27FC236}">
                <a16:creationId xmlns:a16="http://schemas.microsoft.com/office/drawing/2014/main" id="{FD3882C6-5154-415A-A21E-EA62C092C4F4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140" y="934533"/>
            <a:ext cx="4356000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>
            <a:extLst>
              <a:ext uri="{FF2B5EF4-FFF2-40B4-BE49-F238E27FC236}">
                <a16:creationId xmlns:a16="http://schemas.microsoft.com/office/drawing/2014/main" id="{0DB9F4FA-CD47-430B-A867-0E4A136F8E77}"/>
              </a:ext>
            </a:extLst>
          </p:cNvPr>
          <p:cNvSpPr txBox="1">
            <a:spLocks/>
          </p:cNvSpPr>
          <p:nvPr/>
        </p:nvSpPr>
        <p:spPr bwMode="auto">
          <a:xfrm>
            <a:off x="4425637" y="1377142"/>
            <a:ext cx="4582151" cy="366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800" b="1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ＭＳ Ｐゴシック" charset="-128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Evidence of STEMI within 72 hours prior to index procedure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LVEF &lt;30%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Thrombus in the target vessel (visualized by QCA)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Heavily calcification lesion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Three-vessels with coronary artery disease requiring treatment at time of procedure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Additional coronary lesion in the same vessel, which requires treatment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Totally occluded coronary artery (TIMI flow 0)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Target lesion involves a side branch &gt; 2.0 mm in diameter 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Ostial lesions</a:t>
            </a:r>
          </a:p>
          <a:p>
            <a:pPr marL="307182" lvl="2" indent="-171450">
              <a:lnSpc>
                <a:spcPct val="90000"/>
              </a:lnSpc>
              <a:spcBef>
                <a:spcPts val="45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ea typeface="ＭＳ Ｐゴシック" pitchFamily="34" charset="-128"/>
              </a:rPr>
              <a:t>Unsuccessful pre-dilatation, residual stenosis more than 20%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9BB8897-AC21-4DB3-8959-24CD6E211641}"/>
              </a:ext>
            </a:extLst>
          </p:cNvPr>
          <p:cNvGrpSpPr/>
          <p:nvPr/>
        </p:nvGrpSpPr>
        <p:grpSpPr>
          <a:xfrm>
            <a:off x="289735" y="934533"/>
            <a:ext cx="3960000" cy="540000"/>
            <a:chOff x="481965" y="1147550"/>
            <a:chExt cx="3960000" cy="540000"/>
          </a:xfrm>
        </p:grpSpPr>
        <p:pic>
          <p:nvPicPr>
            <p:cNvPr id="10" name="Textfeld 11">
              <a:extLst>
                <a:ext uri="{FF2B5EF4-FFF2-40B4-BE49-F238E27FC236}">
                  <a16:creationId xmlns:a16="http://schemas.microsoft.com/office/drawing/2014/main" id="{AA0ECF25-F892-45D3-A7CD-587AE080F76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965" y="1147550"/>
              <a:ext cx="3960000" cy="5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29C7603-FE1A-4363-BBF8-E0BA90FD3BB3}"/>
                </a:ext>
              </a:extLst>
            </p:cNvPr>
            <p:cNvSpPr/>
            <p:nvPr/>
          </p:nvSpPr>
          <p:spPr>
            <a:xfrm>
              <a:off x="1161004" y="1190651"/>
              <a:ext cx="318961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base">
                <a:spcBef>
                  <a:spcPct val="0"/>
                </a:spcBef>
                <a:spcAft>
                  <a:spcPts val="900"/>
                </a:spcAft>
              </a:pPr>
              <a:r>
                <a:rPr lang="en-US" sz="1400" b="1" dirty="0">
                  <a:solidFill>
                    <a:srgbClr val="FFFFFF"/>
                  </a:solidFill>
                  <a:ea typeface="ＭＳ Ｐゴシック" pitchFamily="34" charset="-128"/>
                  <a:cs typeface="Arial" charset="0"/>
                </a:rPr>
                <a:t>Inclusion Criteria*</a:t>
              </a:r>
            </a:p>
          </p:txBody>
        </p:sp>
      </p:grpSp>
      <p:sp>
        <p:nvSpPr>
          <p:cNvPr id="13" name="Text Box 6">
            <a:extLst>
              <a:ext uri="{FF2B5EF4-FFF2-40B4-BE49-F238E27FC236}">
                <a16:creationId xmlns:a16="http://schemas.microsoft.com/office/drawing/2014/main" id="{032EE88F-A88A-4041-974E-968EB18B78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87" y="4732844"/>
            <a:ext cx="172402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685800" eaLnBrk="1" hangingPunct="1">
              <a:spcBef>
                <a:spcPct val="50000"/>
              </a:spcBef>
            </a:pPr>
            <a:r>
              <a:rPr lang="de-CH" sz="800" b="0" i="0" dirty="0">
                <a:solidFill>
                  <a:schemeClr val="bg1"/>
                </a:solidFill>
                <a:latin typeface="+mn-lt"/>
                <a:ea typeface="ＭＳ Ｐゴシック" pitchFamily="34" charset="-128"/>
              </a:rPr>
              <a:t>*list truncated</a:t>
            </a:r>
            <a:endParaRPr lang="en-US" sz="800" b="0" i="0" dirty="0">
              <a:solidFill>
                <a:schemeClr val="bg1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D359775-4CE1-4C61-A2E8-4AD419ABD289}"/>
              </a:ext>
            </a:extLst>
          </p:cNvPr>
          <p:cNvSpPr txBox="1"/>
          <p:nvPr/>
        </p:nvSpPr>
        <p:spPr>
          <a:xfrm>
            <a:off x="5159748" y="1001949"/>
            <a:ext cx="15569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b="1" dirty="0" err="1">
                <a:solidFill>
                  <a:schemeClr val="bg1"/>
                </a:solidFill>
              </a:rPr>
              <a:t>Exclusion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Criteria</a:t>
            </a:r>
            <a:r>
              <a:rPr lang="de-CH" sz="1400" b="1" dirty="0">
                <a:solidFill>
                  <a:schemeClr val="bg1"/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8334459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CA1CD6-D998-4446-952A-152F8A6C0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39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CA1CD6-D998-4446-952A-152F8A6C0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263" y="167009"/>
            <a:ext cx="5826919" cy="5667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de-CH" sz="4000" dirty="0"/>
              <a:t>Patient Flow</a:t>
            </a:r>
          </a:p>
        </p:txBody>
      </p:sp>
      <p:cxnSp>
        <p:nvCxnSpPr>
          <p:cNvPr id="49" name="AutoShape 6"/>
          <p:cNvCxnSpPr>
            <a:cxnSpLocks noChangeShapeType="1"/>
          </p:cNvCxnSpPr>
          <p:nvPr/>
        </p:nvCxnSpPr>
        <p:spPr bwMode="auto">
          <a:xfrm>
            <a:off x="3079371" y="2755394"/>
            <a:ext cx="2208425" cy="0"/>
          </a:xfrm>
          <a:prstGeom prst="straightConnector1">
            <a:avLst/>
          </a:prstGeom>
          <a:noFill/>
          <a:ln w="28575">
            <a:solidFill>
              <a:srgbClr val="8E9295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TextBox 49"/>
          <p:cNvSpPr txBox="1"/>
          <p:nvPr/>
        </p:nvSpPr>
        <p:spPr>
          <a:xfrm>
            <a:off x="5499069" y="2620190"/>
            <a:ext cx="2195156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b="0" i="0" dirty="0"/>
              <a:t>N=1 </a:t>
            </a:r>
            <a:r>
              <a:rPr lang="de-CH" sz="1200" b="0" i="0" dirty="0" err="1"/>
              <a:t>missed</a:t>
            </a:r>
            <a:r>
              <a:rPr lang="de-CH" sz="1200" b="0" i="0" dirty="0"/>
              <a:t> </a:t>
            </a:r>
            <a:r>
              <a:rPr lang="de-CH" sz="1200" b="0" i="0" dirty="0" err="1"/>
              <a:t>visit</a:t>
            </a:r>
            <a:r>
              <a:rPr lang="de-CH" sz="1200" b="0" i="0" dirty="0"/>
              <a:t>* </a:t>
            </a:r>
          </a:p>
          <a:p>
            <a:br>
              <a:rPr lang="de-CH" sz="1050" b="0" i="0" dirty="0"/>
            </a:br>
            <a:br>
              <a:rPr lang="de-CH" sz="1050" b="0" i="0" dirty="0"/>
            </a:br>
            <a:endParaRPr lang="de-CH" sz="1050" b="0" i="0" dirty="0"/>
          </a:p>
        </p:txBody>
      </p:sp>
      <p:sp>
        <p:nvSpPr>
          <p:cNvPr id="10" name="TextBox 9"/>
          <p:cNvSpPr txBox="1"/>
          <p:nvPr/>
        </p:nvSpPr>
        <p:spPr>
          <a:xfrm>
            <a:off x="5487977" y="2857064"/>
            <a:ext cx="2755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0" kern="0" dirty="0">
                <a:latin typeface="+mn-lt"/>
              </a:rPr>
              <a:t>F/U</a:t>
            </a:r>
            <a:r>
              <a:rPr lang="de-CH" sz="1200" i="0" dirty="0">
                <a:latin typeface="+mn-lt"/>
              </a:rPr>
              <a:t> Compliance 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sz="1200" i="0" dirty="0">
                <a:latin typeface="+mn-lt"/>
                <a:ea typeface="+mn-ea"/>
                <a:cs typeface="+mn-cs"/>
              </a:rPr>
              <a:t>Clinical </a:t>
            </a:r>
            <a:r>
              <a:rPr lang="en-US" sz="1200" i="0" kern="0" dirty="0">
                <a:latin typeface="+mn-lt"/>
              </a:rPr>
              <a:t>F/U</a:t>
            </a:r>
            <a:r>
              <a:rPr lang="de-CH" sz="1200" i="0" dirty="0">
                <a:latin typeface="+mn-lt"/>
                <a:ea typeface="+mn-ea"/>
                <a:cs typeface="+mn-cs"/>
              </a:rPr>
              <a:t> = 99.1%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CH" sz="1200" i="0" dirty="0" err="1">
                <a:latin typeface="+mn-lt"/>
                <a:ea typeface="+mn-ea"/>
                <a:cs typeface="+mn-cs"/>
              </a:rPr>
              <a:t>Angiographic</a:t>
            </a:r>
            <a:r>
              <a:rPr lang="de-CH" sz="1200" i="0" dirty="0">
                <a:latin typeface="+mn-lt"/>
                <a:ea typeface="+mn-ea"/>
                <a:cs typeface="+mn-cs"/>
              </a:rPr>
              <a:t> </a:t>
            </a:r>
            <a:r>
              <a:rPr lang="en-US" sz="1200" i="0" kern="0" dirty="0">
                <a:latin typeface="+mn-lt"/>
              </a:rPr>
              <a:t>F/U</a:t>
            </a:r>
            <a:r>
              <a:rPr lang="de-CH" sz="1200" i="0" dirty="0">
                <a:latin typeface="+mn-lt"/>
                <a:ea typeface="+mn-ea"/>
                <a:cs typeface="+mn-cs"/>
              </a:rPr>
              <a:t> = 95.7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3DA182-BA33-4C67-8CE2-C2D0ED1CC431}"/>
              </a:ext>
            </a:extLst>
          </p:cNvPr>
          <p:cNvSpPr txBox="1"/>
          <p:nvPr/>
        </p:nvSpPr>
        <p:spPr>
          <a:xfrm>
            <a:off x="114325" y="4728098"/>
            <a:ext cx="43477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b="0" i="0" dirty="0">
                <a:solidFill>
                  <a:schemeClr val="bg1"/>
                </a:solidFill>
                <a:latin typeface="+mn-lt"/>
              </a:rPr>
              <a:t>F/U: follow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up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; IVUS: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intravascular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ultrasound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; OCT: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optical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coherence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tomography</a:t>
            </a:r>
            <a:endParaRPr lang="de-CH" sz="900" b="0" i="0" dirty="0">
              <a:solidFill>
                <a:schemeClr val="bg1"/>
              </a:solidFill>
              <a:latin typeface="+mn-lt"/>
            </a:endParaRPr>
          </a:p>
          <a:p>
            <a:r>
              <a:rPr lang="de-CH" sz="900" b="0" i="0" dirty="0">
                <a:solidFill>
                  <a:schemeClr val="bg1"/>
                </a:solidFill>
                <a:latin typeface="+mn-lt"/>
              </a:rPr>
              <a:t>*Patient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refused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to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be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contacted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for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follow-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up</a:t>
            </a:r>
            <a:r>
              <a:rPr lang="de-CH" sz="900" b="0" i="0" dirty="0">
                <a:solidFill>
                  <a:schemeClr val="bg1"/>
                </a:solidFill>
                <a:latin typeface="+mn-lt"/>
              </a:rPr>
              <a:t> </a:t>
            </a:r>
            <a:r>
              <a:rPr lang="de-CH" sz="900" b="0" i="0" dirty="0" err="1">
                <a:solidFill>
                  <a:schemeClr val="bg1"/>
                </a:solidFill>
                <a:latin typeface="+mn-lt"/>
              </a:rPr>
              <a:t>visit</a:t>
            </a:r>
            <a:br>
              <a:rPr lang="de-CH" sz="1100" b="0" i="0" dirty="0">
                <a:solidFill>
                  <a:schemeClr val="tx1"/>
                </a:solidFill>
                <a:latin typeface="+mn-lt"/>
              </a:rPr>
            </a:br>
            <a:br>
              <a:rPr lang="de-CH" sz="1100" b="0" i="0" dirty="0">
                <a:solidFill>
                  <a:schemeClr val="tx1"/>
                </a:solidFill>
                <a:latin typeface="+mn-lt"/>
              </a:rPr>
            </a:br>
            <a:endParaRPr lang="de-CH" sz="1100" b="0" i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6" name="Textfeld 11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9243" y="2659442"/>
            <a:ext cx="2662856" cy="2099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7B014EE-3DD9-4594-A168-C29B1332E4B5}"/>
              </a:ext>
            </a:extLst>
          </p:cNvPr>
          <p:cNvGrpSpPr/>
          <p:nvPr/>
        </p:nvGrpSpPr>
        <p:grpSpPr>
          <a:xfrm>
            <a:off x="1791769" y="805189"/>
            <a:ext cx="2757387" cy="3230334"/>
            <a:chOff x="1856722" y="469807"/>
            <a:chExt cx="2757387" cy="3230334"/>
          </a:xfrm>
        </p:grpSpPr>
        <p:cxnSp>
          <p:nvCxnSpPr>
            <p:cNvPr id="48" name="AutoShape 6"/>
            <p:cNvCxnSpPr>
              <a:cxnSpLocks noChangeShapeType="1"/>
            </p:cNvCxnSpPr>
            <p:nvPr/>
          </p:nvCxnSpPr>
          <p:spPr bwMode="auto">
            <a:xfrm flipH="1">
              <a:off x="3121480" y="1340334"/>
              <a:ext cx="2160" cy="544505"/>
            </a:xfrm>
            <a:prstGeom prst="straightConnector1">
              <a:avLst/>
            </a:prstGeom>
            <a:noFill/>
            <a:ln w="28575">
              <a:solidFill>
                <a:srgbClr val="8E929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AutoShape 6"/>
            <p:cNvCxnSpPr>
              <a:cxnSpLocks noChangeShapeType="1"/>
            </p:cNvCxnSpPr>
            <p:nvPr/>
          </p:nvCxnSpPr>
          <p:spPr bwMode="auto">
            <a:xfrm>
              <a:off x="3122696" y="2146592"/>
              <a:ext cx="12241" cy="400198"/>
            </a:xfrm>
            <a:prstGeom prst="straightConnector1">
              <a:avLst/>
            </a:prstGeom>
            <a:noFill/>
            <a:ln w="28575">
              <a:solidFill>
                <a:srgbClr val="8E9295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33" name="Textfeld 11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6722" y="469807"/>
              <a:ext cx="2635396" cy="1608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Textfeld 11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6722" y="1773588"/>
              <a:ext cx="2670330" cy="680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Text Box 15"/>
            <p:cNvSpPr txBox="1">
              <a:spLocks noChangeArrowheads="1"/>
            </p:cNvSpPr>
            <p:nvPr/>
          </p:nvSpPr>
          <p:spPr bwMode="auto">
            <a:xfrm>
              <a:off x="1970595" y="657602"/>
              <a:ext cx="2571750" cy="9387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E9295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40500" rIns="405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defTabSz="685800" eaLnBrk="1" fontAlgn="auto" hangingPunct="1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100" i="0" kern="0" dirty="0">
                  <a:latin typeface="+mn-lt"/>
                </a:rPr>
                <a:t>Baseline </a:t>
              </a:r>
            </a:p>
            <a:p>
              <a:pPr marL="171450" indent="-171450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latin typeface="+mn-lt"/>
                </a:rPr>
                <a:t>N = 116 patients </a:t>
              </a:r>
            </a:p>
            <a:p>
              <a:pPr marL="171450" indent="-171450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latin typeface="+mn-lt"/>
                </a:rPr>
                <a:t>N = 117 lesions</a:t>
              </a:r>
            </a:p>
            <a:p>
              <a:pPr marL="171450" indent="187325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latin typeface="+mn-lt"/>
                </a:rPr>
                <a:t>IVUS N = 103 lesions</a:t>
              </a:r>
            </a:p>
            <a:p>
              <a:pPr marL="171450" indent="187325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latin typeface="+mn-lt"/>
                </a:rPr>
                <a:t>OCT  N = 113 lesions</a:t>
              </a:r>
            </a:p>
          </p:txBody>
        </p:sp>
        <p:sp>
          <p:nvSpPr>
            <p:cNvPr id="41" name="Text Box 16"/>
            <p:cNvSpPr txBox="1">
              <a:spLocks noChangeArrowheads="1"/>
            </p:cNvSpPr>
            <p:nvPr/>
          </p:nvSpPr>
          <p:spPr bwMode="auto">
            <a:xfrm>
              <a:off x="2133071" y="1845183"/>
              <a:ext cx="1998275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8E9295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40500" rIns="4050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i="0" kern="0" dirty="0">
                  <a:latin typeface="+mj-lt"/>
                </a:rPr>
                <a:t>1 </a:t>
              </a:r>
              <a:r>
                <a:rPr lang="en-US" sz="1100" i="0" kern="0" dirty="0">
                  <a:latin typeface="+mn-lt"/>
                </a:rPr>
                <a:t>month </a:t>
              </a:r>
            </a:p>
            <a:p>
              <a:pPr marL="171450" indent="-171450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latin typeface="+mn-lt"/>
                </a:rPr>
                <a:t>Clinical F/U N = 116</a:t>
              </a:r>
            </a:p>
          </p:txBody>
        </p:sp>
        <p:sp>
          <p:nvSpPr>
            <p:cNvPr id="42" name="Text Box 17"/>
            <p:cNvSpPr txBox="1">
              <a:spLocks noChangeArrowheads="1"/>
            </p:cNvSpPr>
            <p:nvPr/>
          </p:nvSpPr>
          <p:spPr bwMode="auto">
            <a:xfrm>
              <a:off x="1983047" y="2592145"/>
              <a:ext cx="2631062" cy="11079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C8CA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40500" rIns="40500">
              <a:spAutoFit/>
            </a:bodyPr>
            <a:lstStyle>
              <a:lvl1pPr marL="177800" indent="-1778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Verdana" pitchFamily="34" charset="0"/>
                  <a:cs typeface="Arial" charset="0"/>
                </a:defRPr>
              </a:lvl9pPr>
            </a:lstStyle>
            <a:p>
              <a:pPr marL="0" indent="0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i="0" kern="0" dirty="0">
                  <a:solidFill>
                    <a:schemeClr val="bg1"/>
                  </a:solidFill>
                  <a:latin typeface="+mn-lt"/>
                </a:rPr>
                <a:t>6 month</a:t>
              </a:r>
              <a:r>
                <a:rPr lang="en-US" sz="1100" b="0" i="0" kern="0" dirty="0">
                  <a:solidFill>
                    <a:schemeClr val="bg1"/>
                  </a:solidFill>
                  <a:latin typeface="+mn-lt"/>
                </a:rPr>
                <a:t> </a:t>
              </a:r>
            </a:p>
            <a:p>
              <a:pPr marL="171450" indent="-171450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solidFill>
                    <a:schemeClr val="bg1"/>
                  </a:solidFill>
                  <a:latin typeface="+mn-lt"/>
                </a:rPr>
                <a:t>Clinical F/U N = 115 patients  </a:t>
              </a:r>
            </a:p>
            <a:p>
              <a:pPr marL="171450" indent="-171450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solidFill>
                    <a:schemeClr val="bg1"/>
                  </a:solidFill>
                  <a:latin typeface="+mn-lt"/>
                </a:rPr>
                <a:t>Angiographic F/U N = 110 patients</a:t>
              </a:r>
            </a:p>
            <a:p>
              <a:pPr marL="358775" indent="-179388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solidFill>
                    <a:schemeClr val="bg1"/>
                  </a:solidFill>
                  <a:latin typeface="+mn-lt"/>
                </a:rPr>
                <a:t>Angio N = 111 lesions</a:t>
              </a:r>
            </a:p>
            <a:p>
              <a:pPr marL="358775" indent="-179388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solidFill>
                    <a:schemeClr val="bg1"/>
                  </a:solidFill>
                  <a:latin typeface="+mn-lt"/>
                </a:rPr>
                <a:t>IVUS  N = 103 lesions</a:t>
              </a:r>
            </a:p>
            <a:p>
              <a:pPr marL="358775" indent="-179388" defTabSz="685800" eaLnBrk="1" fontAlgn="auto" hangingPunct="1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100" b="0" i="0" kern="0" dirty="0">
                  <a:solidFill>
                    <a:schemeClr val="bg1"/>
                  </a:solidFill>
                  <a:latin typeface="+mn-lt"/>
                </a:rPr>
                <a:t>OCT   N = 106 les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2915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2567</Words>
  <Application>Microsoft Office PowerPoint</Application>
  <PresentationFormat>On-screen Show (16:9)</PresentationFormat>
  <Paragraphs>441</Paragraphs>
  <Slides>1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rial</vt:lpstr>
      <vt:lpstr>Arial </vt:lpstr>
      <vt:lpstr>Calibri</vt:lpstr>
      <vt:lpstr>Calibri (Body)</vt:lpstr>
      <vt:lpstr>Calibri Light</vt:lpstr>
      <vt:lpstr>TradeGothic</vt:lpstr>
      <vt:lpstr>Verdana</vt:lpstr>
      <vt:lpstr>Wingdings</vt:lpstr>
      <vt:lpstr>Theme1</vt:lpstr>
      <vt:lpstr>Custom Design</vt:lpstr>
      <vt:lpstr>think-cell Folie</vt:lpstr>
      <vt:lpstr>Safety and performance of the third-generation drug-eluting resorbable coronary magnesium scaffold system in the treatment of subjects with de novo coronary artery lesions: 6-month results of the prospective, multicenter BIOMAG-I first-in-human study  </vt:lpstr>
      <vt:lpstr>PowerPoint Presentation</vt:lpstr>
      <vt:lpstr>Background</vt:lpstr>
      <vt:lpstr>Improvements of DREAMS 3G –  Next Generation RMS</vt:lpstr>
      <vt:lpstr>PowerPoint Presentation</vt:lpstr>
      <vt:lpstr>BIOMAG-I: Study Design</vt:lpstr>
      <vt:lpstr>BIOMAG-I: Clinical Sites</vt:lpstr>
      <vt:lpstr>Inclusion and Exclusion Criteria</vt:lpstr>
      <vt:lpstr>Patient Flow</vt:lpstr>
      <vt:lpstr>Baseline and Lesion Characteristics</vt:lpstr>
      <vt:lpstr>Primary Endpoint In-Scaffold Late Lumen Loss (LLL) at 6 months </vt:lpstr>
      <vt:lpstr>Secondary Endpoint  In-segment Late Lumen Loss (LLL) at 6 months  </vt:lpstr>
      <vt:lpstr>Serial Angiographic Data Analysis  at 6-month F/U</vt:lpstr>
      <vt:lpstr>Serial IVUS Data Analysis   at 6-month F/U</vt:lpstr>
      <vt:lpstr>Serial IVUS-VH Data Analysis  at 6-month F/U</vt:lpstr>
      <vt:lpstr>Serial OCT Data Analysis  at 6-month F/U</vt:lpstr>
      <vt:lpstr>Clinical Results at 6-month F/U</vt:lpstr>
      <vt:lpstr>Conclusion (1)</vt:lpstr>
      <vt:lpstr>Conclusion (2)</vt:lpstr>
    </vt:vector>
  </TitlesOfParts>
  <Company>MedStar Healt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vxm133</dc:creator>
  <cp:lastModifiedBy>Salimes, Bailey G</cp:lastModifiedBy>
  <cp:revision>299</cp:revision>
  <cp:lastPrinted>2020-02-17T20:23:37Z</cp:lastPrinted>
  <dcterms:created xsi:type="dcterms:W3CDTF">2015-01-08T17:01:57Z</dcterms:created>
  <dcterms:modified xsi:type="dcterms:W3CDTF">2023-02-25T20:59:07Z</dcterms:modified>
</cp:coreProperties>
</file>